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  <p:sldMasterId id="2147483761" r:id="rId5"/>
    <p:sldMasterId id="2147483774" r:id="rId6"/>
    <p:sldMasterId id="2147483805" r:id="rId7"/>
  </p:sldMasterIdLst>
  <p:notesMasterIdLst>
    <p:notesMasterId r:id="rId53"/>
  </p:notesMasterIdLst>
  <p:sldIdLst>
    <p:sldId id="256" r:id="rId8"/>
    <p:sldId id="590" r:id="rId9"/>
    <p:sldId id="434" r:id="rId10"/>
    <p:sldId id="448" r:id="rId11"/>
    <p:sldId id="1120" r:id="rId12"/>
    <p:sldId id="2147377585" r:id="rId13"/>
    <p:sldId id="2147377586" r:id="rId14"/>
    <p:sldId id="2147480927" r:id="rId15"/>
    <p:sldId id="2147377570" r:id="rId16"/>
    <p:sldId id="2147376670" r:id="rId17"/>
    <p:sldId id="2147480928" r:id="rId18"/>
    <p:sldId id="2147480936" r:id="rId19"/>
    <p:sldId id="2147480937" r:id="rId20"/>
    <p:sldId id="1448943172" r:id="rId21"/>
    <p:sldId id="1448943173" r:id="rId22"/>
    <p:sldId id="2147480935" r:id="rId23"/>
    <p:sldId id="2147480938" r:id="rId24"/>
    <p:sldId id="2147377587" r:id="rId25"/>
    <p:sldId id="2147377844" r:id="rId26"/>
    <p:sldId id="2147480931" r:id="rId27"/>
    <p:sldId id="2147480939" r:id="rId28"/>
    <p:sldId id="2147480940" r:id="rId29"/>
    <p:sldId id="2147480941" r:id="rId30"/>
    <p:sldId id="2147308953" r:id="rId31"/>
    <p:sldId id="2147475943" r:id="rId32"/>
    <p:sldId id="1252" r:id="rId33"/>
    <p:sldId id="2147475942" r:id="rId34"/>
    <p:sldId id="2147475944" r:id="rId35"/>
    <p:sldId id="2147475935" r:id="rId36"/>
    <p:sldId id="2147475948" r:id="rId37"/>
    <p:sldId id="2147475936" r:id="rId38"/>
    <p:sldId id="2147480934" r:id="rId39"/>
    <p:sldId id="2147475937" r:id="rId40"/>
    <p:sldId id="2147475938" r:id="rId41"/>
    <p:sldId id="2147475939" r:id="rId42"/>
    <p:sldId id="2147475940" r:id="rId43"/>
    <p:sldId id="2147475947" r:id="rId44"/>
    <p:sldId id="2147377584" r:id="rId45"/>
    <p:sldId id="2147480933" r:id="rId46"/>
    <p:sldId id="1158" r:id="rId47"/>
    <p:sldId id="2147475905" r:id="rId48"/>
    <p:sldId id="1232" r:id="rId49"/>
    <p:sldId id="595" r:id="rId50"/>
    <p:sldId id="594" r:id="rId51"/>
    <p:sldId id="2147308951" r:id="rId52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ain Intro" id="{D68DE84B-1B8C-4D09-AA5A-8598B0B78BA7}">
          <p14:sldIdLst>
            <p14:sldId id="256"/>
            <p14:sldId id="590"/>
          </p14:sldIdLst>
        </p14:section>
        <p14:section name="Wanshi" id="{7BCC4CFC-67B9-4BD8-803A-3493640E274D}">
          <p14:sldIdLst>
            <p14:sldId id="434"/>
            <p14:sldId id="448"/>
            <p14:sldId id="1120"/>
            <p14:sldId id="2147377585"/>
            <p14:sldId id="2147377586"/>
            <p14:sldId id="2147480927"/>
            <p14:sldId id="2147377570"/>
            <p14:sldId id="2147376670"/>
            <p14:sldId id="2147480928"/>
            <p14:sldId id="2147480936"/>
            <p14:sldId id="2147480937"/>
            <p14:sldId id="1448943172"/>
            <p14:sldId id="1448943173"/>
            <p14:sldId id="2147480935"/>
            <p14:sldId id="2147480938"/>
            <p14:sldId id="2147377587"/>
            <p14:sldId id="2147377844"/>
            <p14:sldId id="2147480931"/>
            <p14:sldId id="2147480939"/>
            <p14:sldId id="2147480940"/>
            <p14:sldId id="2147480941"/>
          </p14:sldIdLst>
        </p14:section>
        <p14:section name="Puneet" id="{0DE7A6A2-711E-48E8-B13B-21610F09F4BC}">
          <p14:sldIdLst>
            <p14:sldId id="2147308953"/>
            <p14:sldId id="2147475943"/>
            <p14:sldId id="1252"/>
            <p14:sldId id="2147475942"/>
            <p14:sldId id="2147475944"/>
            <p14:sldId id="2147475935"/>
            <p14:sldId id="2147475948"/>
            <p14:sldId id="2147475936"/>
            <p14:sldId id="2147480934"/>
            <p14:sldId id="2147475937"/>
            <p14:sldId id="2147475938"/>
            <p14:sldId id="2147475939"/>
            <p14:sldId id="2147475940"/>
            <p14:sldId id="2147475947"/>
            <p14:sldId id="2147377584"/>
            <p14:sldId id="2147480933"/>
            <p14:sldId id="1158"/>
            <p14:sldId id="2147475905"/>
            <p14:sldId id="1232"/>
          </p14:sldIdLst>
        </p14:section>
        <p14:section name="Q&amp;A/ Conclusion" id="{CDD4DAC0-2B27-4957-AAF6-EACD7B2B8639}">
          <p14:sldIdLst>
            <p14:sldId id="595"/>
            <p14:sldId id="594"/>
            <p14:sldId id="214730895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FAADC"/>
    <a:srgbClr val="004987"/>
    <a:srgbClr val="014479"/>
    <a:srgbClr val="0074D8"/>
    <a:srgbClr val="FF7E2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E0089D2-721F-11BE-5F85-588AE833B359}" v="5" dt="2024-04-03T16:21:41.842"/>
    <p1510:client id="{7415EE4C-56C6-45CC-A7F9-32F1A490DB1C}" v="187" dt="2024-04-03T15:26:48.64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slide" Target="slides/slide43.xml"/><Relationship Id="rId55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notesMaster" Target="notesMasters/notesMaster1.xml"/><Relationship Id="rId58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theme" Target="theme/theme1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microsoft.com/office/2015/10/relationships/revisionInfo" Target="revisionInfo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tableStyles" Target="tableStyles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lie Lailas" userId="S::alailas@atis.org::2487c244-a597-41b3-9378-29e439332fa1" providerId="AD" clId="Web-{11115CF4-55BE-FBC1-4110-74F01304C90D}"/>
    <pc:docChg chg="addSld delSld modSld">
      <pc:chgData name="Allie Lailas" userId="S::alailas@atis.org::2487c244-a597-41b3-9378-29e439332fa1" providerId="AD" clId="Web-{11115CF4-55BE-FBC1-4110-74F01304C90D}" dt="2024-03-28T19:02:14.041" v="117" actId="20577"/>
      <pc:docMkLst>
        <pc:docMk/>
      </pc:docMkLst>
      <pc:sldChg chg="modSp">
        <pc:chgData name="Allie Lailas" userId="S::alailas@atis.org::2487c244-a597-41b3-9378-29e439332fa1" providerId="AD" clId="Web-{11115CF4-55BE-FBC1-4110-74F01304C90D}" dt="2024-03-28T19:00:58.898" v="92" actId="20577"/>
        <pc:sldMkLst>
          <pc:docMk/>
          <pc:sldMk cId="1869165538" sldId="256"/>
        </pc:sldMkLst>
        <pc:spChg chg="mod">
          <ac:chgData name="Allie Lailas" userId="S::alailas@atis.org::2487c244-a597-41b3-9378-29e439332fa1" providerId="AD" clId="Web-{11115CF4-55BE-FBC1-4110-74F01304C90D}" dt="2024-03-28T19:00:58.898" v="92" actId="20577"/>
          <ac:spMkLst>
            <pc:docMk/>
            <pc:sldMk cId="1869165538" sldId="256"/>
            <ac:spMk id="3" creationId="{7EB95792-ABC3-47D6-71D8-52CF52F621CD}"/>
          </ac:spMkLst>
        </pc:spChg>
      </pc:sldChg>
      <pc:sldChg chg="modSp add">
        <pc:chgData name="Allie Lailas" userId="S::alailas@atis.org::2487c244-a597-41b3-9378-29e439332fa1" providerId="AD" clId="Web-{11115CF4-55BE-FBC1-4110-74F01304C90D}" dt="2024-03-28T18:51:53.848" v="38" actId="20577"/>
        <pc:sldMkLst>
          <pc:docMk/>
          <pc:sldMk cId="1963112293" sldId="537"/>
        </pc:sldMkLst>
        <pc:spChg chg="mod">
          <ac:chgData name="Allie Lailas" userId="S::alailas@atis.org::2487c244-a597-41b3-9378-29e439332fa1" providerId="AD" clId="Web-{11115CF4-55BE-FBC1-4110-74F01304C90D}" dt="2024-03-28T18:51:53.848" v="38" actId="20577"/>
          <ac:spMkLst>
            <pc:docMk/>
            <pc:sldMk cId="1963112293" sldId="537"/>
            <ac:spMk id="2" creationId="{4BEFC876-73F5-460D-805B-FE4B3F7B4DFB}"/>
          </ac:spMkLst>
        </pc:spChg>
        <pc:spChg chg="mod">
          <ac:chgData name="Allie Lailas" userId="S::alailas@atis.org::2487c244-a597-41b3-9378-29e439332fa1" providerId="AD" clId="Web-{11115CF4-55BE-FBC1-4110-74F01304C90D}" dt="2024-03-28T18:51:30.613" v="37" actId="20577"/>
          <ac:spMkLst>
            <pc:docMk/>
            <pc:sldMk cId="1963112293" sldId="537"/>
            <ac:spMk id="6" creationId="{6AAB8FB1-402B-473E-9601-27576939D62B}"/>
          </ac:spMkLst>
        </pc:spChg>
      </pc:sldChg>
      <pc:sldChg chg="del">
        <pc:chgData name="Allie Lailas" userId="S::alailas@atis.org::2487c244-a597-41b3-9378-29e439332fa1" providerId="AD" clId="Web-{11115CF4-55BE-FBC1-4110-74F01304C90D}" dt="2024-03-28T18:53:16.179" v="44"/>
        <pc:sldMkLst>
          <pc:docMk/>
          <pc:sldMk cId="1964234947" sldId="539"/>
        </pc:sldMkLst>
      </pc:sldChg>
      <pc:sldChg chg="addSp delSp modSp">
        <pc:chgData name="Allie Lailas" userId="S::alailas@atis.org::2487c244-a597-41b3-9378-29e439332fa1" providerId="AD" clId="Web-{11115CF4-55BE-FBC1-4110-74F01304C90D}" dt="2024-03-28T19:01:52.806" v="107" actId="20577"/>
        <pc:sldMkLst>
          <pc:docMk/>
          <pc:sldMk cId="2777687172" sldId="590"/>
        </pc:sldMkLst>
        <pc:spChg chg="mod">
          <ac:chgData name="Allie Lailas" userId="S::alailas@atis.org::2487c244-a597-41b3-9378-29e439332fa1" providerId="AD" clId="Web-{11115CF4-55BE-FBC1-4110-74F01304C90D}" dt="2024-03-28T19:01:52.806" v="107" actId="20577"/>
          <ac:spMkLst>
            <pc:docMk/>
            <pc:sldMk cId="2777687172" sldId="590"/>
            <ac:spMk id="6" creationId="{CF2C5A29-9515-BCC3-D934-3287000550F1}"/>
          </ac:spMkLst>
        </pc:spChg>
        <pc:spChg chg="mod">
          <ac:chgData name="Allie Lailas" userId="S::alailas@atis.org::2487c244-a597-41b3-9378-29e439332fa1" providerId="AD" clId="Web-{11115CF4-55BE-FBC1-4110-74F01304C90D}" dt="2024-03-28T19:01:46.415" v="105" actId="20577"/>
          <ac:spMkLst>
            <pc:docMk/>
            <pc:sldMk cId="2777687172" sldId="590"/>
            <ac:spMk id="8" creationId="{11BF2A88-2BD8-3186-E48A-1DF161622DE4}"/>
          </ac:spMkLst>
        </pc:spChg>
        <pc:spChg chg="del">
          <ac:chgData name="Allie Lailas" userId="S::alailas@atis.org::2487c244-a597-41b3-9378-29e439332fa1" providerId="AD" clId="Web-{11115CF4-55BE-FBC1-4110-74F01304C90D}" dt="2024-03-28T18:49:29.546" v="0"/>
          <ac:spMkLst>
            <pc:docMk/>
            <pc:sldMk cId="2777687172" sldId="590"/>
            <ac:spMk id="11" creationId="{001B6BBB-CC50-2B0F-2942-E82768845C74}"/>
          </ac:spMkLst>
        </pc:spChg>
        <pc:spChg chg="del mod">
          <ac:chgData name="Allie Lailas" userId="S::alailas@atis.org::2487c244-a597-41b3-9378-29e439332fa1" providerId="AD" clId="Web-{11115CF4-55BE-FBC1-4110-74F01304C90D}" dt="2024-03-28T18:49:38.406" v="7"/>
          <ac:spMkLst>
            <pc:docMk/>
            <pc:sldMk cId="2777687172" sldId="590"/>
            <ac:spMk id="13" creationId="{A6851A81-93B6-6EFB-4FFD-E478EDEA3C2A}"/>
          </ac:spMkLst>
        </pc:spChg>
        <pc:picChg chg="add del mod">
          <ac:chgData name="Allie Lailas" userId="S::alailas@atis.org::2487c244-a597-41b3-9378-29e439332fa1" providerId="AD" clId="Web-{11115CF4-55BE-FBC1-4110-74F01304C90D}" dt="2024-03-28T18:49:58.406" v="10"/>
          <ac:picMkLst>
            <pc:docMk/>
            <pc:sldMk cId="2777687172" sldId="590"/>
            <ac:picMk id="3" creationId="{3B9F5176-C583-12B3-BD95-1ABB9A6A0841}"/>
          </ac:picMkLst>
        </pc:picChg>
        <pc:picChg chg="del">
          <ac:chgData name="Allie Lailas" userId="S::alailas@atis.org::2487c244-a597-41b3-9378-29e439332fa1" providerId="AD" clId="Web-{11115CF4-55BE-FBC1-4110-74F01304C90D}" dt="2024-03-28T18:55:53.622" v="77"/>
          <ac:picMkLst>
            <pc:docMk/>
            <pc:sldMk cId="2777687172" sldId="590"/>
            <ac:picMk id="9" creationId="{F597FA83-433C-FEB6-44E3-B20FA56CDCB7}"/>
          </ac:picMkLst>
        </pc:picChg>
        <pc:picChg chg="mod">
          <ac:chgData name="Allie Lailas" userId="S::alailas@atis.org::2487c244-a597-41b3-9378-29e439332fa1" providerId="AD" clId="Web-{11115CF4-55BE-FBC1-4110-74F01304C90D}" dt="2024-03-28T19:01:44.165" v="104" actId="1076"/>
          <ac:picMkLst>
            <pc:docMk/>
            <pc:sldMk cId="2777687172" sldId="590"/>
            <ac:picMk id="10" creationId="{608209F1-2549-550A-E355-B94A723463E6}"/>
          </ac:picMkLst>
        </pc:picChg>
        <pc:picChg chg="add">
          <ac:chgData name="Allie Lailas" userId="S::alailas@atis.org::2487c244-a597-41b3-9378-29e439332fa1" providerId="AD" clId="Web-{11115CF4-55BE-FBC1-4110-74F01304C90D}" dt="2024-03-28T18:55:53.872" v="78"/>
          <ac:picMkLst>
            <pc:docMk/>
            <pc:sldMk cId="2777687172" sldId="590"/>
            <ac:picMk id="16" creationId="{FF265F85-A966-FFA8-D3FF-17D872F2F07F}"/>
          </ac:picMkLst>
        </pc:picChg>
        <pc:picChg chg="add del">
          <ac:chgData name="Allie Lailas" userId="S::alailas@atis.org::2487c244-a597-41b3-9378-29e439332fa1" providerId="AD" clId="Web-{11115CF4-55BE-FBC1-4110-74F01304C90D}" dt="2024-03-28T18:56:05.497" v="86"/>
          <ac:picMkLst>
            <pc:docMk/>
            <pc:sldMk cId="2777687172" sldId="590"/>
            <ac:picMk id="18" creationId="{0BBB81DB-906E-20B2-4463-F737411804A5}"/>
          </ac:picMkLst>
        </pc:picChg>
        <pc:picChg chg="add del">
          <ac:chgData name="Allie Lailas" userId="S::alailas@atis.org::2487c244-a597-41b3-9378-29e439332fa1" providerId="AD" clId="Web-{11115CF4-55BE-FBC1-4110-74F01304C90D}" dt="2024-03-28T18:56:05.419" v="85"/>
          <ac:picMkLst>
            <pc:docMk/>
            <pc:sldMk cId="2777687172" sldId="590"/>
            <ac:picMk id="20" creationId="{834C0C88-4521-0F41-2373-894DEC06F277}"/>
          </ac:picMkLst>
        </pc:picChg>
        <pc:picChg chg="add del">
          <ac:chgData name="Allie Lailas" userId="S::alailas@atis.org::2487c244-a597-41b3-9378-29e439332fa1" providerId="AD" clId="Web-{11115CF4-55BE-FBC1-4110-74F01304C90D}" dt="2024-03-28T18:56:02.059" v="83"/>
          <ac:picMkLst>
            <pc:docMk/>
            <pc:sldMk cId="2777687172" sldId="590"/>
            <ac:picMk id="22" creationId="{D4EB2220-3413-3B9F-54C7-C81CA74024EA}"/>
          </ac:picMkLst>
        </pc:picChg>
        <pc:picChg chg="add del">
          <ac:chgData name="Allie Lailas" userId="S::alailas@atis.org::2487c244-a597-41b3-9378-29e439332fa1" providerId="AD" clId="Web-{11115CF4-55BE-FBC1-4110-74F01304C90D}" dt="2024-03-28T18:56:03.091" v="84"/>
          <ac:picMkLst>
            <pc:docMk/>
            <pc:sldMk cId="2777687172" sldId="590"/>
            <ac:picMk id="24" creationId="{CDB635FD-AD6E-F097-A59F-EDE295DF978C}"/>
          </ac:picMkLst>
        </pc:picChg>
      </pc:sldChg>
      <pc:sldChg chg="del">
        <pc:chgData name="Allie Lailas" userId="S::alailas@atis.org::2487c244-a597-41b3-9378-29e439332fa1" providerId="AD" clId="Web-{11115CF4-55BE-FBC1-4110-74F01304C90D}" dt="2024-03-28T18:53:15.991" v="43"/>
        <pc:sldMkLst>
          <pc:docMk/>
          <pc:sldMk cId="3764110276" sldId="592"/>
        </pc:sldMkLst>
      </pc:sldChg>
      <pc:sldChg chg="add">
        <pc:chgData name="Allie Lailas" userId="S::alailas@atis.org::2487c244-a597-41b3-9378-29e439332fa1" providerId="AD" clId="Web-{11115CF4-55BE-FBC1-4110-74F01304C90D}" dt="2024-03-28T18:53:11.569" v="42"/>
        <pc:sldMkLst>
          <pc:docMk/>
          <pc:sldMk cId="3229146554" sldId="594"/>
        </pc:sldMkLst>
      </pc:sldChg>
      <pc:sldChg chg="addSp delSp modSp add">
        <pc:chgData name="Allie Lailas" userId="S::alailas@atis.org::2487c244-a597-41b3-9378-29e439332fa1" providerId="AD" clId="Web-{11115CF4-55BE-FBC1-4110-74F01304C90D}" dt="2024-03-28T19:02:14.041" v="117" actId="20577"/>
        <pc:sldMkLst>
          <pc:docMk/>
          <pc:sldMk cId="856883065" sldId="595"/>
        </pc:sldMkLst>
        <pc:spChg chg="mod">
          <ac:chgData name="Allie Lailas" userId="S::alailas@atis.org::2487c244-a597-41b3-9378-29e439332fa1" providerId="AD" clId="Web-{11115CF4-55BE-FBC1-4110-74F01304C90D}" dt="2024-03-28T19:02:04.822" v="114" actId="1076"/>
          <ac:spMkLst>
            <pc:docMk/>
            <pc:sldMk cId="856883065" sldId="595"/>
            <ac:spMk id="6" creationId="{CF2C5A29-9515-BCC3-D934-3287000550F1}"/>
          </ac:spMkLst>
        </pc:spChg>
        <pc:spChg chg="mod">
          <ac:chgData name="Allie Lailas" userId="S::alailas@atis.org::2487c244-a597-41b3-9378-29e439332fa1" providerId="AD" clId="Web-{11115CF4-55BE-FBC1-4110-74F01304C90D}" dt="2024-03-28T19:02:14.041" v="117" actId="20577"/>
          <ac:spMkLst>
            <pc:docMk/>
            <pc:sldMk cId="856883065" sldId="595"/>
            <ac:spMk id="8" creationId="{11BF2A88-2BD8-3186-E48A-1DF161622DE4}"/>
          </ac:spMkLst>
        </pc:spChg>
        <pc:spChg chg="del">
          <ac:chgData name="Allie Lailas" userId="S::alailas@atis.org::2487c244-a597-41b3-9378-29e439332fa1" providerId="AD" clId="Web-{11115CF4-55BE-FBC1-4110-74F01304C90D}" dt="2024-03-28T18:54:30.619" v="53"/>
          <ac:spMkLst>
            <pc:docMk/>
            <pc:sldMk cId="856883065" sldId="595"/>
            <ac:spMk id="11" creationId="{001B6BBB-CC50-2B0F-2942-E82768845C74}"/>
          </ac:spMkLst>
        </pc:spChg>
        <pc:spChg chg="add del mod">
          <ac:chgData name="Allie Lailas" userId="S::alailas@atis.org::2487c244-a597-41b3-9378-29e439332fa1" providerId="AD" clId="Web-{11115CF4-55BE-FBC1-4110-74F01304C90D}" dt="2024-03-28T18:55:12.198" v="57"/>
          <ac:spMkLst>
            <pc:docMk/>
            <pc:sldMk cId="856883065" sldId="595"/>
            <ac:spMk id="13" creationId="{A6851A81-93B6-6EFB-4FFD-E478EDEA3C2A}"/>
          </ac:spMkLst>
        </pc:spChg>
        <pc:picChg chg="del">
          <ac:chgData name="Allie Lailas" userId="S::alailas@atis.org::2487c244-a597-41b3-9378-29e439332fa1" providerId="AD" clId="Web-{11115CF4-55BE-FBC1-4110-74F01304C90D}" dt="2024-03-28T18:54:01.415" v="45"/>
          <ac:picMkLst>
            <pc:docMk/>
            <pc:sldMk cId="856883065" sldId="595"/>
            <ac:picMk id="9" creationId="{F597FA83-433C-FEB6-44E3-B20FA56CDCB7}"/>
          </ac:picMkLst>
        </pc:picChg>
        <pc:picChg chg="add mod">
          <ac:chgData name="Allie Lailas" userId="S::alailas@atis.org::2487c244-a597-41b3-9378-29e439332fa1" providerId="AD" clId="Web-{11115CF4-55BE-FBC1-4110-74F01304C90D}" dt="2024-03-28T18:54:23.540" v="52" actId="1076"/>
          <ac:picMkLst>
            <pc:docMk/>
            <pc:sldMk cId="856883065" sldId="595"/>
            <ac:picMk id="10" creationId="{41F9843A-4515-65B0-AD75-D96E0ABD4C06}"/>
          </ac:picMkLst>
        </pc:picChg>
      </pc:sldChg>
      <pc:sldChg chg="add del">
        <pc:chgData name="Allie Lailas" userId="S::alailas@atis.org::2487c244-a597-41b3-9378-29e439332fa1" providerId="AD" clId="Web-{11115CF4-55BE-FBC1-4110-74F01304C90D}" dt="2024-03-28T18:55:47.465" v="63"/>
        <pc:sldMkLst>
          <pc:docMk/>
          <pc:sldMk cId="746287042" sldId="824"/>
        </pc:sldMkLst>
      </pc:sldChg>
      <pc:sldChg chg="add del">
        <pc:chgData name="Allie Lailas" userId="S::alailas@atis.org::2487c244-a597-41b3-9378-29e439332fa1" providerId="AD" clId="Web-{11115CF4-55BE-FBC1-4110-74F01304C90D}" dt="2024-03-28T18:55:48.450" v="68"/>
        <pc:sldMkLst>
          <pc:docMk/>
          <pc:sldMk cId="0" sldId="1129"/>
        </pc:sldMkLst>
      </pc:sldChg>
      <pc:sldChg chg="add del">
        <pc:chgData name="Allie Lailas" userId="S::alailas@atis.org::2487c244-a597-41b3-9378-29e439332fa1" providerId="AD" clId="Web-{11115CF4-55BE-FBC1-4110-74F01304C90D}" dt="2024-03-28T18:55:46.949" v="62"/>
        <pc:sldMkLst>
          <pc:docMk/>
          <pc:sldMk cId="2784819476" sldId="2144327332"/>
        </pc:sldMkLst>
      </pc:sldChg>
      <pc:sldChg chg="add del">
        <pc:chgData name="Allie Lailas" userId="S::alailas@atis.org::2487c244-a597-41b3-9378-29e439332fa1" providerId="AD" clId="Web-{11115CF4-55BE-FBC1-4110-74F01304C90D}" dt="2024-03-28T18:55:49.121" v="71"/>
        <pc:sldMkLst>
          <pc:docMk/>
          <pc:sldMk cId="95398277" sldId="2144327341"/>
        </pc:sldMkLst>
      </pc:sldChg>
      <pc:sldChg chg="add del">
        <pc:chgData name="Allie Lailas" userId="S::alailas@atis.org::2487c244-a597-41b3-9378-29e439332fa1" providerId="AD" clId="Web-{11115CF4-55BE-FBC1-4110-74F01304C90D}" dt="2024-03-28T18:55:48.184" v="67"/>
        <pc:sldMkLst>
          <pc:docMk/>
          <pc:sldMk cId="3265633853" sldId="2144327376"/>
        </pc:sldMkLst>
      </pc:sldChg>
      <pc:sldChg chg="add del">
        <pc:chgData name="Allie Lailas" userId="S::alailas@atis.org::2487c244-a597-41b3-9378-29e439332fa1" providerId="AD" clId="Web-{11115CF4-55BE-FBC1-4110-74F01304C90D}" dt="2024-03-28T18:55:47.778" v="64"/>
        <pc:sldMkLst>
          <pc:docMk/>
          <pc:sldMk cId="1520988638" sldId="2147307832"/>
        </pc:sldMkLst>
      </pc:sldChg>
      <pc:sldChg chg="add del">
        <pc:chgData name="Allie Lailas" userId="S::alailas@atis.org::2487c244-a597-41b3-9378-29e439332fa1" providerId="AD" clId="Web-{11115CF4-55BE-FBC1-4110-74F01304C90D}" dt="2024-03-28T18:55:47.825" v="65"/>
        <pc:sldMkLst>
          <pc:docMk/>
          <pc:sldMk cId="3555328745" sldId="2147308921"/>
        </pc:sldMkLst>
      </pc:sldChg>
      <pc:sldChg chg="add del">
        <pc:chgData name="Allie Lailas" userId="S::alailas@atis.org::2487c244-a597-41b3-9378-29e439332fa1" providerId="AD" clId="Web-{11115CF4-55BE-FBC1-4110-74F01304C90D}" dt="2024-03-28T18:55:48.043" v="66"/>
        <pc:sldMkLst>
          <pc:docMk/>
          <pc:sldMk cId="3388547623" sldId="2147308928"/>
        </pc:sldMkLst>
      </pc:sldChg>
      <pc:sldChg chg="add del">
        <pc:chgData name="Allie Lailas" userId="S::alailas@atis.org::2487c244-a597-41b3-9378-29e439332fa1" providerId="AD" clId="Web-{11115CF4-55BE-FBC1-4110-74F01304C90D}" dt="2024-03-28T18:55:48.621" v="69"/>
        <pc:sldMkLst>
          <pc:docMk/>
          <pc:sldMk cId="3820459343" sldId="2147308933"/>
        </pc:sldMkLst>
      </pc:sldChg>
      <pc:sldChg chg="add del">
        <pc:chgData name="Allie Lailas" userId="S::alailas@atis.org::2487c244-a597-41b3-9378-29e439332fa1" providerId="AD" clId="Web-{11115CF4-55BE-FBC1-4110-74F01304C90D}" dt="2024-03-28T18:55:25.433" v="59"/>
        <pc:sldMkLst>
          <pc:docMk/>
          <pc:sldMk cId="1877557779" sldId="2147308935"/>
        </pc:sldMkLst>
      </pc:sldChg>
      <pc:sldChg chg="add del">
        <pc:chgData name="Allie Lailas" userId="S::alailas@atis.org::2487c244-a597-41b3-9378-29e439332fa1" providerId="AD" clId="Web-{11115CF4-55BE-FBC1-4110-74F01304C90D}" dt="2024-03-28T18:55:52.872" v="74"/>
        <pc:sldMkLst>
          <pc:docMk/>
          <pc:sldMk cId="3819491761" sldId="2147308936"/>
        </pc:sldMkLst>
      </pc:sldChg>
      <pc:sldChg chg="add del">
        <pc:chgData name="Allie Lailas" userId="S::alailas@atis.org::2487c244-a597-41b3-9378-29e439332fa1" providerId="AD" clId="Web-{11115CF4-55BE-FBC1-4110-74F01304C90D}" dt="2024-03-28T18:55:53.200" v="76"/>
        <pc:sldMkLst>
          <pc:docMk/>
          <pc:sldMk cId="1371857558" sldId="2147308937"/>
        </pc:sldMkLst>
      </pc:sldChg>
      <pc:sldChg chg="add del">
        <pc:chgData name="Allie Lailas" userId="S::alailas@atis.org::2487c244-a597-41b3-9378-29e439332fa1" providerId="AD" clId="Web-{11115CF4-55BE-FBC1-4110-74F01304C90D}" dt="2024-03-28T18:55:48.965" v="70"/>
        <pc:sldMkLst>
          <pc:docMk/>
          <pc:sldMk cId="4058757120" sldId="2147308938"/>
        </pc:sldMkLst>
      </pc:sldChg>
      <pc:sldChg chg="add del">
        <pc:chgData name="Allie Lailas" userId="S::alailas@atis.org::2487c244-a597-41b3-9378-29e439332fa1" providerId="AD" clId="Web-{11115CF4-55BE-FBC1-4110-74F01304C90D}" dt="2024-03-28T18:55:53.043" v="75"/>
        <pc:sldMkLst>
          <pc:docMk/>
          <pc:sldMk cId="1662009663" sldId="2147308939"/>
        </pc:sldMkLst>
      </pc:sldChg>
      <pc:sldChg chg="add del">
        <pc:chgData name="Allie Lailas" userId="S::alailas@atis.org::2487c244-a597-41b3-9378-29e439332fa1" providerId="AD" clId="Web-{11115CF4-55BE-FBC1-4110-74F01304C90D}" dt="2024-03-28T18:55:34.527" v="60"/>
        <pc:sldMkLst>
          <pc:docMk/>
          <pc:sldMk cId="2730435058" sldId="2147308940"/>
        </pc:sldMkLst>
      </pc:sldChg>
      <pc:sldChg chg="add del">
        <pc:chgData name="Allie Lailas" userId="S::alailas@atis.org::2487c244-a597-41b3-9378-29e439332fa1" providerId="AD" clId="Web-{11115CF4-55BE-FBC1-4110-74F01304C90D}" dt="2024-03-28T18:55:40.387" v="61"/>
        <pc:sldMkLst>
          <pc:docMk/>
          <pc:sldMk cId="2412415462" sldId="2147308941"/>
        </pc:sldMkLst>
      </pc:sldChg>
      <pc:sldChg chg="add del">
        <pc:chgData name="Allie Lailas" userId="S::alailas@atis.org::2487c244-a597-41b3-9378-29e439332fa1" providerId="AD" clId="Web-{11115CF4-55BE-FBC1-4110-74F01304C90D}" dt="2024-03-28T18:55:52.309" v="72"/>
        <pc:sldMkLst>
          <pc:docMk/>
          <pc:sldMk cId="3770602565" sldId="2147308945"/>
        </pc:sldMkLst>
      </pc:sldChg>
      <pc:sldChg chg="add del">
        <pc:chgData name="Allie Lailas" userId="S::alailas@atis.org::2487c244-a597-41b3-9378-29e439332fa1" providerId="AD" clId="Web-{11115CF4-55BE-FBC1-4110-74F01304C90D}" dt="2024-03-28T18:55:52.684" v="73"/>
        <pc:sldMkLst>
          <pc:docMk/>
          <pc:sldMk cId="2518506303" sldId="2147308946"/>
        </pc:sldMkLst>
      </pc:sldChg>
      <pc:sldChg chg="add del">
        <pc:chgData name="Allie Lailas" userId="S::alailas@atis.org::2487c244-a597-41b3-9378-29e439332fa1" providerId="AD" clId="Web-{11115CF4-55BE-FBC1-4110-74F01304C90D}" dt="2024-03-28T18:55:14.011" v="58"/>
        <pc:sldMkLst>
          <pc:docMk/>
          <pc:sldMk cId="107270149" sldId="2147308949"/>
        </pc:sldMkLst>
      </pc:sldChg>
      <pc:sldChg chg="modSp add">
        <pc:chgData name="Allie Lailas" userId="S::alailas@atis.org::2487c244-a597-41b3-9378-29e439332fa1" providerId="AD" clId="Web-{11115CF4-55BE-FBC1-4110-74F01304C90D}" dt="2024-03-28T18:52:14.520" v="40" actId="20577"/>
        <pc:sldMkLst>
          <pc:docMk/>
          <pc:sldMk cId="2790548156" sldId="2147308950"/>
        </pc:sldMkLst>
        <pc:spChg chg="mod">
          <ac:chgData name="Allie Lailas" userId="S::alailas@atis.org::2487c244-a597-41b3-9378-29e439332fa1" providerId="AD" clId="Web-{11115CF4-55BE-FBC1-4110-74F01304C90D}" dt="2024-03-28T18:52:14.520" v="40" actId="20577"/>
          <ac:spMkLst>
            <pc:docMk/>
            <pc:sldMk cId="2790548156" sldId="2147308950"/>
            <ac:spMk id="4" creationId="{D6AD9519-4B90-8144-532D-BFFD62FFCBAF}"/>
          </ac:spMkLst>
        </pc:spChg>
      </pc:sldChg>
      <pc:sldChg chg="add">
        <pc:chgData name="Allie Lailas" userId="S::alailas@atis.org::2487c244-a597-41b3-9378-29e439332fa1" providerId="AD" clId="Web-{11115CF4-55BE-FBC1-4110-74F01304C90D}" dt="2024-03-28T18:50:48.767" v="11"/>
        <pc:sldMkLst>
          <pc:docMk/>
          <pc:sldMk cId="2384447351" sldId="2147308951"/>
        </pc:sldMkLst>
      </pc:sldChg>
      <pc:sldMasterChg chg="addSldLayout">
        <pc:chgData name="Allie Lailas" userId="S::alailas@atis.org::2487c244-a597-41b3-9378-29e439332fa1" providerId="AD" clId="Web-{11115CF4-55BE-FBC1-4110-74F01304C90D}" dt="2024-03-28T18:50:52.674" v="32"/>
        <pc:sldMasterMkLst>
          <pc:docMk/>
          <pc:sldMasterMk cId="1304548194" sldId="2147483684"/>
        </pc:sldMasterMkLst>
        <pc:sldLayoutChg chg="add">
          <pc:chgData name="Allie Lailas" userId="S::alailas@atis.org::2487c244-a597-41b3-9378-29e439332fa1" providerId="AD" clId="Web-{11115CF4-55BE-FBC1-4110-74F01304C90D}" dt="2024-03-28T18:50:48.767" v="11"/>
          <pc:sldLayoutMkLst>
            <pc:docMk/>
            <pc:sldMasterMk cId="1304548194" sldId="2147483684"/>
            <pc:sldLayoutMk cId="4152894890" sldId="2147483751"/>
          </pc:sldLayoutMkLst>
        </pc:sldLayoutChg>
        <pc:sldLayoutChg chg="add">
          <pc:chgData name="Allie Lailas" userId="S::alailas@atis.org::2487c244-a597-41b3-9378-29e439332fa1" providerId="AD" clId="Web-{11115CF4-55BE-FBC1-4110-74F01304C90D}" dt="2024-03-28T18:50:49.033" v="12"/>
          <pc:sldLayoutMkLst>
            <pc:docMk/>
            <pc:sldMasterMk cId="1304548194" sldId="2147483684"/>
            <pc:sldLayoutMk cId="3583807804" sldId="2147483752"/>
          </pc:sldLayoutMkLst>
        </pc:sldLayoutChg>
        <pc:sldLayoutChg chg="add">
          <pc:chgData name="Allie Lailas" userId="S::alailas@atis.org::2487c244-a597-41b3-9378-29e439332fa1" providerId="AD" clId="Web-{11115CF4-55BE-FBC1-4110-74F01304C90D}" dt="2024-03-28T18:50:49.158" v="13"/>
          <pc:sldLayoutMkLst>
            <pc:docMk/>
            <pc:sldMasterMk cId="1304548194" sldId="2147483684"/>
            <pc:sldLayoutMk cId="1159581716" sldId="2147483753"/>
          </pc:sldLayoutMkLst>
        </pc:sldLayoutChg>
        <pc:sldLayoutChg chg="add">
          <pc:chgData name="Allie Lailas" userId="S::alailas@atis.org::2487c244-a597-41b3-9378-29e439332fa1" providerId="AD" clId="Web-{11115CF4-55BE-FBC1-4110-74F01304C90D}" dt="2024-03-28T18:50:49.502" v="15"/>
          <pc:sldLayoutMkLst>
            <pc:docMk/>
            <pc:sldMasterMk cId="1304548194" sldId="2147483684"/>
            <pc:sldLayoutMk cId="1966453162" sldId="2147483754"/>
          </pc:sldLayoutMkLst>
        </pc:sldLayoutChg>
        <pc:sldLayoutChg chg="add">
          <pc:chgData name="Allie Lailas" userId="S::alailas@atis.org::2487c244-a597-41b3-9378-29e439332fa1" providerId="AD" clId="Web-{11115CF4-55BE-FBC1-4110-74F01304C90D}" dt="2024-03-28T18:50:49.674" v="16"/>
          <pc:sldLayoutMkLst>
            <pc:docMk/>
            <pc:sldMasterMk cId="1304548194" sldId="2147483684"/>
            <pc:sldLayoutMk cId="2107659514" sldId="2147483755"/>
          </pc:sldLayoutMkLst>
        </pc:sldLayoutChg>
        <pc:sldLayoutChg chg="add">
          <pc:chgData name="Allie Lailas" userId="S::alailas@atis.org::2487c244-a597-41b3-9378-29e439332fa1" providerId="AD" clId="Web-{11115CF4-55BE-FBC1-4110-74F01304C90D}" dt="2024-03-28T18:50:50.830" v="22"/>
          <pc:sldLayoutMkLst>
            <pc:docMk/>
            <pc:sldMasterMk cId="1304548194" sldId="2147483684"/>
            <pc:sldLayoutMk cId="992517528" sldId="2147483756"/>
          </pc:sldLayoutMkLst>
        </pc:sldLayoutChg>
        <pc:sldLayoutChg chg="add">
          <pc:chgData name="Allie Lailas" userId="S::alailas@atis.org::2487c244-a597-41b3-9378-29e439332fa1" providerId="AD" clId="Web-{11115CF4-55BE-FBC1-4110-74F01304C90D}" dt="2024-03-28T18:50:51.596" v="26"/>
          <pc:sldLayoutMkLst>
            <pc:docMk/>
            <pc:sldMasterMk cId="1304548194" sldId="2147483684"/>
            <pc:sldLayoutMk cId="1415968745" sldId="2147483757"/>
          </pc:sldLayoutMkLst>
        </pc:sldLayoutChg>
        <pc:sldLayoutChg chg="add">
          <pc:chgData name="Allie Lailas" userId="S::alailas@atis.org::2487c244-a597-41b3-9378-29e439332fa1" providerId="AD" clId="Web-{11115CF4-55BE-FBC1-4110-74F01304C90D}" dt="2024-03-28T18:50:52.330" v="29"/>
          <pc:sldLayoutMkLst>
            <pc:docMk/>
            <pc:sldMasterMk cId="1304548194" sldId="2147483684"/>
            <pc:sldLayoutMk cId="2451901720" sldId="2147483758"/>
          </pc:sldLayoutMkLst>
        </pc:sldLayoutChg>
        <pc:sldLayoutChg chg="add">
          <pc:chgData name="Allie Lailas" userId="S::alailas@atis.org::2487c244-a597-41b3-9378-29e439332fa1" providerId="AD" clId="Web-{11115CF4-55BE-FBC1-4110-74F01304C90D}" dt="2024-03-28T18:50:52.627" v="31"/>
          <pc:sldLayoutMkLst>
            <pc:docMk/>
            <pc:sldMasterMk cId="1304548194" sldId="2147483684"/>
            <pc:sldLayoutMk cId="3294822795" sldId="2147483759"/>
          </pc:sldLayoutMkLst>
        </pc:sldLayoutChg>
        <pc:sldLayoutChg chg="add">
          <pc:chgData name="Allie Lailas" userId="S::alailas@atis.org::2487c244-a597-41b3-9378-29e439332fa1" providerId="AD" clId="Web-{11115CF4-55BE-FBC1-4110-74F01304C90D}" dt="2024-03-28T18:50:52.674" v="32"/>
          <pc:sldLayoutMkLst>
            <pc:docMk/>
            <pc:sldMasterMk cId="1304548194" sldId="2147483684"/>
            <pc:sldLayoutMk cId="2701047090" sldId="2147483760"/>
          </pc:sldLayoutMkLst>
        </pc:sldLayoutChg>
      </pc:sldMasterChg>
    </pc:docChg>
  </pc:docChgLst>
  <pc:docChgLst>
    <pc:chgData name="Allie Lailas" userId="S::alailas@atis.org::2487c244-a597-41b3-9378-29e439332fa1" providerId="AD" clId="Web-{1E0089D2-721F-11BE-5F85-588AE833B359}"/>
    <pc:docChg chg="modSld">
      <pc:chgData name="Allie Lailas" userId="S::alailas@atis.org::2487c244-a597-41b3-9378-29e439332fa1" providerId="AD" clId="Web-{1E0089D2-721F-11BE-5F85-588AE833B359}" dt="2024-04-03T16:21:41.420" v="3" actId="20577"/>
      <pc:docMkLst>
        <pc:docMk/>
      </pc:docMkLst>
      <pc:sldChg chg="modSp">
        <pc:chgData name="Allie Lailas" userId="S::alailas@atis.org::2487c244-a597-41b3-9378-29e439332fa1" providerId="AD" clId="Web-{1E0089D2-721F-11BE-5F85-588AE833B359}" dt="2024-04-03T16:21:41.420" v="3" actId="20577"/>
        <pc:sldMkLst>
          <pc:docMk/>
          <pc:sldMk cId="1938572795" sldId="2147475935"/>
        </pc:sldMkLst>
        <pc:spChg chg="mod">
          <ac:chgData name="Allie Lailas" userId="S::alailas@atis.org::2487c244-a597-41b3-9378-29e439332fa1" providerId="AD" clId="Web-{1E0089D2-721F-11BE-5F85-588AE833B359}" dt="2024-04-03T16:21:41.420" v="3" actId="20577"/>
          <ac:spMkLst>
            <pc:docMk/>
            <pc:sldMk cId="1938572795" sldId="2147475935"/>
            <ac:spMk id="9" creationId="{5A1265EC-F1A6-875B-1FED-076C7D6E570C}"/>
          </ac:spMkLst>
        </pc:spChg>
      </pc:sldChg>
    </pc:docChg>
  </pc:docChgLst>
  <pc:docChgLst>
    <pc:chgData name="Allie Lailas" userId="S::alailas@atis.org::2487c244-a597-41b3-9378-29e439332fa1" providerId="AD" clId="Web-{9E5A3722-0648-23A9-DFE3-FFCB54AA47D1}"/>
    <pc:docChg chg="modSld">
      <pc:chgData name="Allie Lailas" userId="S::alailas@atis.org::2487c244-a597-41b3-9378-29e439332fa1" providerId="AD" clId="Web-{9E5A3722-0648-23A9-DFE3-FFCB54AA47D1}" dt="2024-03-25T16:01:10.878" v="0" actId="14100"/>
      <pc:docMkLst>
        <pc:docMk/>
      </pc:docMkLst>
      <pc:sldChg chg="modSp">
        <pc:chgData name="Allie Lailas" userId="S::alailas@atis.org::2487c244-a597-41b3-9378-29e439332fa1" providerId="AD" clId="Web-{9E5A3722-0648-23A9-DFE3-FFCB54AA47D1}" dt="2024-03-25T16:01:10.878" v="0" actId="14100"/>
        <pc:sldMkLst>
          <pc:docMk/>
          <pc:sldMk cId="1869165538" sldId="256"/>
        </pc:sldMkLst>
        <pc:spChg chg="mod">
          <ac:chgData name="Allie Lailas" userId="S::alailas@atis.org::2487c244-a597-41b3-9378-29e439332fa1" providerId="AD" clId="Web-{9E5A3722-0648-23A9-DFE3-FFCB54AA47D1}" dt="2024-03-25T16:01:10.878" v="0" actId="14100"/>
          <ac:spMkLst>
            <pc:docMk/>
            <pc:sldMk cId="1869165538" sldId="256"/>
            <ac:spMk id="2" creationId="{97517411-1574-3555-4E65-42C335ADF182}"/>
          </ac:spMkLst>
        </pc:spChg>
      </pc:sldChg>
    </pc:docChg>
  </pc:docChgLst>
  <pc:docChgLst>
    <pc:chgData name="Allie Lailas" userId="2487c244-a597-41b3-9378-29e439332fa1" providerId="ADAL" clId="{41645D0C-E662-406E-A01A-91C81F37ED70}"/>
    <pc:docChg chg="undo custSel addSld delSld modSld sldOrd">
      <pc:chgData name="Allie Lailas" userId="2487c244-a597-41b3-9378-29e439332fa1" providerId="ADAL" clId="{41645D0C-E662-406E-A01A-91C81F37ED70}" dt="2024-03-25T15:59:54.084" v="82" actId="478"/>
      <pc:docMkLst>
        <pc:docMk/>
      </pc:docMkLst>
      <pc:sldChg chg="modSp mod">
        <pc:chgData name="Allie Lailas" userId="2487c244-a597-41b3-9378-29e439332fa1" providerId="ADAL" clId="{41645D0C-E662-406E-A01A-91C81F37ED70}" dt="2024-03-25T15:57:39.372" v="68" actId="1076"/>
        <pc:sldMkLst>
          <pc:docMk/>
          <pc:sldMk cId="1869165538" sldId="256"/>
        </pc:sldMkLst>
        <pc:spChg chg="mod">
          <ac:chgData name="Allie Lailas" userId="2487c244-a597-41b3-9378-29e439332fa1" providerId="ADAL" clId="{41645D0C-E662-406E-A01A-91C81F37ED70}" dt="2024-03-25T15:57:25.145" v="54" actId="255"/>
          <ac:spMkLst>
            <pc:docMk/>
            <pc:sldMk cId="1869165538" sldId="256"/>
            <ac:spMk id="2" creationId="{97517411-1574-3555-4E65-42C335ADF182}"/>
          </ac:spMkLst>
        </pc:spChg>
        <pc:spChg chg="mod">
          <ac:chgData name="Allie Lailas" userId="2487c244-a597-41b3-9378-29e439332fa1" providerId="ADAL" clId="{41645D0C-E662-406E-A01A-91C81F37ED70}" dt="2024-03-25T15:56:50.235" v="5" actId="255"/>
          <ac:spMkLst>
            <pc:docMk/>
            <pc:sldMk cId="1869165538" sldId="256"/>
            <ac:spMk id="3" creationId="{7EB95792-ABC3-47D6-71D8-52CF52F621CD}"/>
          </ac:spMkLst>
        </pc:spChg>
        <pc:spChg chg="mod">
          <ac:chgData name="Allie Lailas" userId="2487c244-a597-41b3-9378-29e439332fa1" providerId="ADAL" clId="{41645D0C-E662-406E-A01A-91C81F37ED70}" dt="2024-03-25T15:57:39.372" v="68" actId="1076"/>
          <ac:spMkLst>
            <pc:docMk/>
            <pc:sldMk cId="1869165538" sldId="256"/>
            <ac:spMk id="4" creationId="{D45ED2B2-A75B-FB73-B5BE-D5A7CD094EAF}"/>
          </ac:spMkLst>
        </pc:spChg>
      </pc:sldChg>
      <pc:sldChg chg="modSp del mod">
        <pc:chgData name="Allie Lailas" userId="2487c244-a597-41b3-9378-29e439332fa1" providerId="ADAL" clId="{41645D0C-E662-406E-A01A-91C81F37ED70}" dt="2024-03-25T15:58:21.407" v="78" actId="47"/>
        <pc:sldMkLst>
          <pc:docMk/>
          <pc:sldMk cId="2007032276" sldId="259"/>
        </pc:sldMkLst>
        <pc:spChg chg="mod">
          <ac:chgData name="Allie Lailas" userId="2487c244-a597-41b3-9378-29e439332fa1" providerId="ADAL" clId="{41645D0C-E662-406E-A01A-91C81F37ED70}" dt="2024-03-25T15:57:54.685" v="74" actId="20577"/>
          <ac:spMkLst>
            <pc:docMk/>
            <pc:sldMk cId="2007032276" sldId="259"/>
            <ac:spMk id="2" creationId="{DA4365C5-299C-AAD2-AB00-5FB30F25EB96}"/>
          </ac:spMkLst>
        </pc:spChg>
      </pc:sldChg>
      <pc:sldChg chg="add">
        <pc:chgData name="Allie Lailas" userId="2487c244-a597-41b3-9378-29e439332fa1" providerId="ADAL" clId="{41645D0C-E662-406E-A01A-91C81F37ED70}" dt="2024-03-25T15:58:26.928" v="79"/>
        <pc:sldMkLst>
          <pc:docMk/>
          <pc:sldMk cId="1964234947" sldId="539"/>
        </pc:sldMkLst>
      </pc:sldChg>
      <pc:sldChg chg="delSp add mod ord">
        <pc:chgData name="Allie Lailas" userId="2487c244-a597-41b3-9378-29e439332fa1" providerId="ADAL" clId="{41645D0C-E662-406E-A01A-91C81F37ED70}" dt="2024-03-25T15:59:54.084" v="82" actId="478"/>
        <pc:sldMkLst>
          <pc:docMk/>
          <pc:sldMk cId="2777687172" sldId="590"/>
        </pc:sldMkLst>
        <pc:picChg chg="del">
          <ac:chgData name="Allie Lailas" userId="2487c244-a597-41b3-9378-29e439332fa1" providerId="ADAL" clId="{41645D0C-E662-406E-A01A-91C81F37ED70}" dt="2024-03-25T15:59:54.084" v="82" actId="478"/>
          <ac:picMkLst>
            <pc:docMk/>
            <pc:sldMk cId="2777687172" sldId="590"/>
            <ac:picMk id="17" creationId="{70440589-1926-DE51-373A-E3CFFD73A9AD}"/>
          </ac:picMkLst>
        </pc:picChg>
      </pc:sldChg>
      <pc:sldChg chg="new">
        <pc:chgData name="Allie Lailas" userId="2487c244-a597-41b3-9378-29e439332fa1" providerId="ADAL" clId="{41645D0C-E662-406E-A01A-91C81F37ED70}" dt="2024-03-25T15:58:34.253" v="80" actId="680"/>
        <pc:sldMkLst>
          <pc:docMk/>
          <pc:sldMk cId="180452943" sldId="591"/>
        </pc:sldMkLst>
      </pc:sldChg>
      <pc:sldChg chg="add">
        <pc:chgData name="Allie Lailas" userId="2487c244-a597-41b3-9378-29e439332fa1" providerId="ADAL" clId="{41645D0C-E662-406E-A01A-91C81F37ED70}" dt="2024-03-25T15:58:38.076" v="81" actId="2890"/>
        <pc:sldMkLst>
          <pc:docMk/>
          <pc:sldMk cId="3764110276" sldId="592"/>
        </pc:sldMkLst>
      </pc:sldChg>
    </pc:docChg>
  </pc:docChgLst>
  <pc:docChgLst>
    <pc:chgData name="Allie Lailas" userId="2487c244-a597-41b3-9378-29e439332fa1" providerId="ADAL" clId="{7415EE4C-56C6-45CC-A7F9-32F1A490DB1C}"/>
    <pc:docChg chg="undo redo custSel addSld delSld modSld sldOrd addMainMaster delMainMaster modMainMaster addSection modSection">
      <pc:chgData name="Allie Lailas" userId="2487c244-a597-41b3-9378-29e439332fa1" providerId="ADAL" clId="{7415EE4C-56C6-45CC-A7F9-32F1A490DB1C}" dt="2024-04-03T15:26:56.570" v="956" actId="1076"/>
      <pc:docMkLst>
        <pc:docMk/>
      </pc:docMkLst>
      <pc:sldChg chg="modSp mod">
        <pc:chgData name="Allie Lailas" userId="2487c244-a597-41b3-9378-29e439332fa1" providerId="ADAL" clId="{7415EE4C-56C6-45CC-A7F9-32F1A490DB1C}" dt="2024-04-02T14:03:19.222" v="394" actId="1076"/>
        <pc:sldMkLst>
          <pc:docMk/>
          <pc:sldMk cId="1869165538" sldId="256"/>
        </pc:sldMkLst>
        <pc:spChg chg="mod">
          <ac:chgData name="Allie Lailas" userId="2487c244-a597-41b3-9378-29e439332fa1" providerId="ADAL" clId="{7415EE4C-56C6-45CC-A7F9-32F1A490DB1C}" dt="2024-04-02T14:03:19.222" v="394" actId="1076"/>
          <ac:spMkLst>
            <pc:docMk/>
            <pc:sldMk cId="1869165538" sldId="256"/>
            <ac:spMk id="4" creationId="{D45ED2B2-A75B-FB73-B5BE-D5A7CD094EAF}"/>
          </ac:spMkLst>
        </pc:spChg>
      </pc:sldChg>
      <pc:sldChg chg="add del">
        <pc:chgData name="Allie Lailas" userId="2487c244-a597-41b3-9378-29e439332fa1" providerId="ADAL" clId="{7415EE4C-56C6-45CC-A7F9-32F1A490DB1C}" dt="2024-04-02T13:46:13.561" v="340"/>
        <pc:sldMkLst>
          <pc:docMk/>
          <pc:sldMk cId="399343419" sldId="434"/>
        </pc:sldMkLst>
      </pc:sldChg>
      <pc:sldChg chg="add del modTransition">
        <pc:chgData name="Allie Lailas" userId="2487c244-a597-41b3-9378-29e439332fa1" providerId="ADAL" clId="{7415EE4C-56C6-45CC-A7F9-32F1A490DB1C}" dt="2024-04-02T13:46:13.561" v="340"/>
        <pc:sldMkLst>
          <pc:docMk/>
          <pc:sldMk cId="1586269898" sldId="448"/>
        </pc:sldMkLst>
      </pc:sldChg>
      <pc:sldChg chg="modSp add del mod">
        <pc:chgData name="Allie Lailas" userId="2487c244-a597-41b3-9378-29e439332fa1" providerId="ADAL" clId="{7415EE4C-56C6-45CC-A7F9-32F1A490DB1C}" dt="2024-04-02T13:35:05.798" v="195" actId="2696"/>
        <pc:sldMkLst>
          <pc:docMk/>
          <pc:sldMk cId="1963112293" sldId="537"/>
        </pc:sldMkLst>
        <pc:spChg chg="mod">
          <ac:chgData name="Allie Lailas" userId="2487c244-a597-41b3-9378-29e439332fa1" providerId="ADAL" clId="{7415EE4C-56C6-45CC-A7F9-32F1A490DB1C}" dt="2024-04-01T18:00:36.006" v="17" actId="20577"/>
          <ac:spMkLst>
            <pc:docMk/>
            <pc:sldMk cId="1963112293" sldId="537"/>
            <ac:spMk id="3" creationId="{CF7C2DC6-7B5C-48EE-A8C3-20B6CFA1A1EA}"/>
          </ac:spMkLst>
        </pc:spChg>
      </pc:sldChg>
      <pc:sldChg chg="addSp modSp mod">
        <pc:chgData name="Allie Lailas" userId="2487c244-a597-41b3-9378-29e439332fa1" providerId="ADAL" clId="{7415EE4C-56C6-45CC-A7F9-32F1A490DB1C}" dt="2024-04-02T13:52:20.358" v="392" actId="14100"/>
        <pc:sldMkLst>
          <pc:docMk/>
          <pc:sldMk cId="2777687172" sldId="590"/>
        </pc:sldMkLst>
        <pc:spChg chg="add mod">
          <ac:chgData name="Allie Lailas" userId="2487c244-a597-41b3-9378-29e439332fa1" providerId="ADAL" clId="{7415EE4C-56C6-45CC-A7F9-32F1A490DB1C}" dt="2024-04-02T13:46:36.665" v="342" actId="20577"/>
          <ac:spMkLst>
            <pc:docMk/>
            <pc:sldMk cId="2777687172" sldId="590"/>
            <ac:spMk id="3" creationId="{E86AEAF9-62CF-D3DB-E011-98345DCDFCA1}"/>
          </ac:spMkLst>
        </pc:spChg>
        <pc:spChg chg="mod">
          <ac:chgData name="Allie Lailas" userId="2487c244-a597-41b3-9378-29e439332fa1" providerId="ADAL" clId="{7415EE4C-56C6-45CC-A7F9-32F1A490DB1C}" dt="2024-04-02T13:49:55.934" v="374" actId="1076"/>
          <ac:spMkLst>
            <pc:docMk/>
            <pc:sldMk cId="2777687172" sldId="590"/>
            <ac:spMk id="6" creationId="{CF2C5A29-9515-BCC3-D934-3287000550F1}"/>
          </ac:spMkLst>
        </pc:spChg>
        <pc:spChg chg="mod">
          <ac:chgData name="Allie Lailas" userId="2487c244-a597-41b3-9378-29e439332fa1" providerId="ADAL" clId="{7415EE4C-56C6-45CC-A7F9-32F1A490DB1C}" dt="2024-04-02T13:50:25.995" v="378" actId="1076"/>
          <ac:spMkLst>
            <pc:docMk/>
            <pc:sldMk cId="2777687172" sldId="590"/>
            <ac:spMk id="7" creationId="{49C0E362-05D8-50CC-D3F3-D006D0AD714E}"/>
          </ac:spMkLst>
        </pc:spChg>
        <pc:spChg chg="mod">
          <ac:chgData name="Allie Lailas" userId="2487c244-a597-41b3-9378-29e439332fa1" providerId="ADAL" clId="{7415EE4C-56C6-45CC-A7F9-32F1A490DB1C}" dt="2024-04-02T13:50:34.315" v="379" actId="1076"/>
          <ac:spMkLst>
            <pc:docMk/>
            <pc:sldMk cId="2777687172" sldId="590"/>
            <ac:spMk id="8" creationId="{11BF2A88-2BD8-3186-E48A-1DF161622DE4}"/>
          </ac:spMkLst>
        </pc:spChg>
        <pc:spChg chg="add mod">
          <ac:chgData name="Allie Lailas" userId="2487c244-a597-41b3-9378-29e439332fa1" providerId="ADAL" clId="{7415EE4C-56C6-45CC-A7F9-32F1A490DB1C}" dt="2024-04-02T13:52:20.358" v="392" actId="14100"/>
          <ac:spMkLst>
            <pc:docMk/>
            <pc:sldMk cId="2777687172" sldId="590"/>
            <ac:spMk id="9" creationId="{FC415D21-82E8-0904-4509-CD5465CE4051}"/>
          </ac:spMkLst>
        </pc:spChg>
        <pc:spChg chg="mod">
          <ac:chgData name="Allie Lailas" userId="2487c244-a597-41b3-9378-29e439332fa1" providerId="ADAL" clId="{7415EE4C-56C6-45CC-A7F9-32F1A490DB1C}" dt="2024-04-02T13:47:02.889" v="343" actId="1076"/>
          <ac:spMkLst>
            <pc:docMk/>
            <pc:sldMk cId="2777687172" sldId="590"/>
            <ac:spMk id="12" creationId="{0BFBA78B-4201-DA00-4C3B-2FFE1C8E90A2}"/>
          </ac:spMkLst>
        </pc:spChg>
        <pc:picChg chg="mod">
          <ac:chgData name="Allie Lailas" userId="2487c244-a597-41b3-9378-29e439332fa1" providerId="ADAL" clId="{7415EE4C-56C6-45CC-A7F9-32F1A490DB1C}" dt="2024-04-02T13:50:15.501" v="377" actId="1076"/>
          <ac:picMkLst>
            <pc:docMk/>
            <pc:sldMk cId="2777687172" sldId="590"/>
            <ac:picMk id="4" creationId="{1E9C7A32-1332-77B7-50E2-B5EF96032C76}"/>
          </ac:picMkLst>
        </pc:picChg>
        <pc:picChg chg="mod">
          <ac:chgData name="Allie Lailas" userId="2487c244-a597-41b3-9378-29e439332fa1" providerId="ADAL" clId="{7415EE4C-56C6-45CC-A7F9-32F1A490DB1C}" dt="2024-04-02T13:50:05.179" v="375" actId="1076"/>
          <ac:picMkLst>
            <pc:docMk/>
            <pc:sldMk cId="2777687172" sldId="590"/>
            <ac:picMk id="5" creationId="{C7520266-F5A6-364E-7588-62C61F302A17}"/>
          </ac:picMkLst>
        </pc:picChg>
        <pc:picChg chg="mod">
          <ac:chgData name="Allie Lailas" userId="2487c244-a597-41b3-9378-29e439332fa1" providerId="ADAL" clId="{7415EE4C-56C6-45CC-A7F9-32F1A490DB1C}" dt="2024-04-02T13:50:10.685" v="376" actId="1076"/>
          <ac:picMkLst>
            <pc:docMk/>
            <pc:sldMk cId="2777687172" sldId="590"/>
            <ac:picMk id="16" creationId="{FF265F85-A966-FFA8-D3FF-17D872F2F07F}"/>
          </ac:picMkLst>
        </pc:picChg>
      </pc:sldChg>
      <pc:sldChg chg="del">
        <pc:chgData name="Allie Lailas" userId="2487c244-a597-41b3-9378-29e439332fa1" providerId="ADAL" clId="{7415EE4C-56C6-45CC-A7F9-32F1A490DB1C}" dt="2024-04-01T17:59:41.987" v="8" actId="2696"/>
        <pc:sldMkLst>
          <pc:docMk/>
          <pc:sldMk cId="180452943" sldId="591"/>
        </pc:sldMkLst>
      </pc:sldChg>
      <pc:sldChg chg="modSp mod">
        <pc:chgData name="Allie Lailas" userId="2487c244-a597-41b3-9378-29e439332fa1" providerId="ADAL" clId="{7415EE4C-56C6-45CC-A7F9-32F1A490DB1C}" dt="2024-04-02T14:10:15.050" v="443" actId="12788"/>
        <pc:sldMkLst>
          <pc:docMk/>
          <pc:sldMk cId="3229146554" sldId="594"/>
        </pc:sldMkLst>
        <pc:spChg chg="mod">
          <ac:chgData name="Allie Lailas" userId="2487c244-a597-41b3-9378-29e439332fa1" providerId="ADAL" clId="{7415EE4C-56C6-45CC-A7F9-32F1A490DB1C}" dt="2024-04-02T14:10:06.042" v="441" actId="12788"/>
          <ac:spMkLst>
            <pc:docMk/>
            <pc:sldMk cId="3229146554" sldId="594"/>
            <ac:spMk id="8" creationId="{2FB53EF6-C5FF-005E-6020-C680D425160A}"/>
          </ac:spMkLst>
        </pc:spChg>
        <pc:picChg chg="mod">
          <ac:chgData name="Allie Lailas" userId="2487c244-a597-41b3-9378-29e439332fa1" providerId="ADAL" clId="{7415EE4C-56C6-45CC-A7F9-32F1A490DB1C}" dt="2024-04-02T14:10:15.050" v="443" actId="12788"/>
          <ac:picMkLst>
            <pc:docMk/>
            <pc:sldMk cId="3229146554" sldId="594"/>
            <ac:picMk id="2" creationId="{2C2A8881-71A6-21A3-2EA9-7C0607295F31}"/>
          </ac:picMkLst>
        </pc:picChg>
      </pc:sldChg>
      <pc:sldChg chg="addSp modSp mod">
        <pc:chgData name="Allie Lailas" userId="2487c244-a597-41b3-9378-29e439332fa1" providerId="ADAL" clId="{7415EE4C-56C6-45CC-A7F9-32F1A490DB1C}" dt="2024-04-02T16:52:49.822" v="790" actId="1076"/>
        <pc:sldMkLst>
          <pc:docMk/>
          <pc:sldMk cId="856883065" sldId="595"/>
        </pc:sldMkLst>
        <pc:spChg chg="add mod">
          <ac:chgData name="Allie Lailas" userId="2487c244-a597-41b3-9378-29e439332fa1" providerId="ADAL" clId="{7415EE4C-56C6-45CC-A7F9-32F1A490DB1C}" dt="2024-04-02T14:08:54.538" v="433" actId="1076"/>
          <ac:spMkLst>
            <pc:docMk/>
            <pc:sldMk cId="856883065" sldId="595"/>
            <ac:spMk id="9" creationId="{D20BF425-1B8F-B26C-1EDA-1F3186CDF29F}"/>
          </ac:spMkLst>
        </pc:spChg>
        <pc:spChg chg="add mod">
          <ac:chgData name="Allie Lailas" userId="2487c244-a597-41b3-9378-29e439332fa1" providerId="ADAL" clId="{7415EE4C-56C6-45CC-A7F9-32F1A490DB1C}" dt="2024-04-02T14:09:00.832" v="434" actId="1076"/>
          <ac:spMkLst>
            <pc:docMk/>
            <pc:sldMk cId="856883065" sldId="595"/>
            <ac:spMk id="11" creationId="{BF5A9382-23F9-C7BC-42CC-0AF13ECBBFAE}"/>
          </ac:spMkLst>
        </pc:spChg>
        <pc:spChg chg="mod">
          <ac:chgData name="Allie Lailas" userId="2487c244-a597-41b3-9378-29e439332fa1" providerId="ADAL" clId="{7415EE4C-56C6-45CC-A7F9-32F1A490DB1C}" dt="2024-04-02T16:52:49.822" v="790" actId="1076"/>
          <ac:spMkLst>
            <pc:docMk/>
            <pc:sldMk cId="856883065" sldId="595"/>
            <ac:spMk id="12" creationId="{0BFBA78B-4201-DA00-4C3B-2FFE1C8E90A2}"/>
          </ac:spMkLst>
        </pc:spChg>
      </pc:sldChg>
      <pc:sldChg chg="modSp add del mod">
        <pc:chgData name="Allie Lailas" userId="2487c244-a597-41b3-9378-29e439332fa1" providerId="ADAL" clId="{7415EE4C-56C6-45CC-A7F9-32F1A490DB1C}" dt="2024-04-02T16:06:55.347" v="490" actId="12788"/>
        <pc:sldMkLst>
          <pc:docMk/>
          <pc:sldMk cId="1064337417" sldId="1120"/>
        </pc:sldMkLst>
        <pc:spChg chg="mod">
          <ac:chgData name="Allie Lailas" userId="2487c244-a597-41b3-9378-29e439332fa1" providerId="ADAL" clId="{7415EE4C-56C6-45CC-A7F9-32F1A490DB1C}" dt="2024-04-02T16:06:55.347" v="490" actId="12788"/>
          <ac:spMkLst>
            <pc:docMk/>
            <pc:sldMk cId="1064337417" sldId="1120"/>
            <ac:spMk id="2" creationId="{D5F8CA0F-D8F1-4A1D-B054-9C9D5323BB36}"/>
          </ac:spMkLst>
        </pc:spChg>
      </pc:sldChg>
      <pc:sldChg chg="modSp add del mod ord">
        <pc:chgData name="Allie Lailas" userId="2487c244-a597-41b3-9378-29e439332fa1" providerId="ADAL" clId="{7415EE4C-56C6-45CC-A7F9-32F1A490DB1C}" dt="2024-04-03T15:17:07.942" v="933"/>
        <pc:sldMkLst>
          <pc:docMk/>
          <pc:sldMk cId="3304272316" sldId="1158"/>
        </pc:sldMkLst>
        <pc:spChg chg="mod">
          <ac:chgData name="Allie Lailas" userId="2487c244-a597-41b3-9378-29e439332fa1" providerId="ADAL" clId="{7415EE4C-56C6-45CC-A7F9-32F1A490DB1C}" dt="2024-04-03T13:49:40.054" v="931" actId="1076"/>
          <ac:spMkLst>
            <pc:docMk/>
            <pc:sldMk cId="3304272316" sldId="1158"/>
            <ac:spMk id="17473" creationId="{C3AF14EE-D00F-FF88-D0EF-DCB82A375C54}"/>
          </ac:spMkLst>
        </pc:spChg>
      </pc:sldChg>
      <pc:sldChg chg="add">
        <pc:chgData name="Allie Lailas" userId="2487c244-a597-41b3-9378-29e439332fa1" providerId="ADAL" clId="{7415EE4C-56C6-45CC-A7F9-32F1A490DB1C}" dt="2024-04-03T15:17:29.727" v="934"/>
        <pc:sldMkLst>
          <pc:docMk/>
          <pc:sldMk cId="3732880308" sldId="1232"/>
        </pc:sldMkLst>
      </pc:sldChg>
      <pc:sldChg chg="modSp add del mod">
        <pc:chgData name="Allie Lailas" userId="2487c244-a597-41b3-9378-29e439332fa1" providerId="ADAL" clId="{7415EE4C-56C6-45CC-A7F9-32F1A490DB1C}" dt="2024-04-03T13:30:35.638" v="846" actId="20577"/>
        <pc:sldMkLst>
          <pc:docMk/>
          <pc:sldMk cId="2825940224" sldId="1252"/>
        </pc:sldMkLst>
        <pc:spChg chg="mod">
          <ac:chgData name="Allie Lailas" userId="2487c244-a597-41b3-9378-29e439332fa1" providerId="ADAL" clId="{7415EE4C-56C6-45CC-A7F9-32F1A490DB1C}" dt="2024-04-03T13:30:35.638" v="846" actId="20577"/>
          <ac:spMkLst>
            <pc:docMk/>
            <pc:sldMk cId="2825940224" sldId="1252"/>
            <ac:spMk id="5" creationId="{00000000-0000-0000-0000-000000000000}"/>
          </ac:spMkLst>
        </pc:spChg>
        <pc:spChg chg="mod">
          <ac:chgData name="Allie Lailas" userId="2487c244-a597-41b3-9378-29e439332fa1" providerId="ADAL" clId="{7415EE4C-56C6-45CC-A7F9-32F1A490DB1C}" dt="2024-04-02T16:00:19.569" v="465" actId="20577"/>
          <ac:spMkLst>
            <pc:docMk/>
            <pc:sldMk cId="2825940224" sldId="1252"/>
            <ac:spMk id="15362" creationId="{00000000-0000-0000-0000-000000000000}"/>
          </ac:spMkLst>
        </pc:spChg>
      </pc:sldChg>
      <pc:sldChg chg="modSp add del mod">
        <pc:chgData name="Allie Lailas" userId="2487c244-a597-41b3-9378-29e439332fa1" providerId="ADAL" clId="{7415EE4C-56C6-45CC-A7F9-32F1A490DB1C}" dt="2024-04-03T13:23:58.413" v="835" actId="1076"/>
        <pc:sldMkLst>
          <pc:docMk/>
          <pc:sldMk cId="3024171299" sldId="1448943172"/>
        </pc:sldMkLst>
        <pc:spChg chg="mod">
          <ac:chgData name="Allie Lailas" userId="2487c244-a597-41b3-9378-29e439332fa1" providerId="ADAL" clId="{7415EE4C-56C6-45CC-A7F9-32F1A490DB1C}" dt="2024-04-03T13:23:58.413" v="835" actId="1076"/>
          <ac:spMkLst>
            <pc:docMk/>
            <pc:sldMk cId="3024171299" sldId="1448943172"/>
            <ac:spMk id="2" creationId="{D86AD414-EA56-EF49-BE3B-D059F853C84C}"/>
          </ac:spMkLst>
        </pc:spChg>
      </pc:sldChg>
      <pc:sldChg chg="modSp add del mod">
        <pc:chgData name="Allie Lailas" userId="2487c244-a597-41b3-9378-29e439332fa1" providerId="ADAL" clId="{7415EE4C-56C6-45CC-A7F9-32F1A490DB1C}" dt="2024-04-03T13:24:46.675" v="842" actId="12788"/>
        <pc:sldMkLst>
          <pc:docMk/>
          <pc:sldMk cId="3068058050" sldId="1448943173"/>
        </pc:sldMkLst>
        <pc:spChg chg="mod">
          <ac:chgData name="Allie Lailas" userId="2487c244-a597-41b3-9378-29e439332fa1" providerId="ADAL" clId="{7415EE4C-56C6-45CC-A7F9-32F1A490DB1C}" dt="2024-04-03T13:23:34.115" v="832" actId="12788"/>
          <ac:spMkLst>
            <pc:docMk/>
            <pc:sldMk cId="3068058050" sldId="1448943173"/>
            <ac:spMk id="2" creationId="{D86AD414-EA56-EF49-BE3B-D059F853C84C}"/>
          </ac:spMkLst>
        </pc:spChg>
        <pc:spChg chg="mod">
          <ac:chgData name="Allie Lailas" userId="2487c244-a597-41b3-9378-29e439332fa1" providerId="ADAL" clId="{7415EE4C-56C6-45CC-A7F9-32F1A490DB1C}" dt="2024-04-02T16:27:06.757" v="623" actId="255"/>
          <ac:spMkLst>
            <pc:docMk/>
            <pc:sldMk cId="3068058050" sldId="1448943173"/>
            <ac:spMk id="3" creationId="{BABEDD71-4449-5D33-6DB4-142FC8A7BE81}"/>
          </ac:spMkLst>
        </pc:spChg>
        <pc:graphicFrameChg chg="mod modGraphic">
          <ac:chgData name="Allie Lailas" userId="2487c244-a597-41b3-9378-29e439332fa1" providerId="ADAL" clId="{7415EE4C-56C6-45CC-A7F9-32F1A490DB1C}" dt="2024-04-03T13:24:46.675" v="842" actId="12788"/>
          <ac:graphicFrameMkLst>
            <pc:docMk/>
            <pc:sldMk cId="3068058050" sldId="1448943173"/>
            <ac:graphicFrameMk id="8" creationId="{8934321D-7DFD-4A63-B85F-B6D7116FAF74}"/>
          </ac:graphicFrameMkLst>
        </pc:graphicFrameChg>
      </pc:sldChg>
      <pc:sldChg chg="del">
        <pc:chgData name="Allie Lailas" userId="2487c244-a597-41b3-9378-29e439332fa1" providerId="ADAL" clId="{7415EE4C-56C6-45CC-A7F9-32F1A490DB1C}" dt="2024-04-02T13:43:39.155" v="331" actId="2696"/>
        <pc:sldMkLst>
          <pc:docMk/>
          <pc:sldMk cId="2790548156" sldId="2147308950"/>
        </pc:sldMkLst>
      </pc:sldChg>
      <pc:sldChg chg="new add del">
        <pc:chgData name="Allie Lailas" userId="2487c244-a597-41b3-9378-29e439332fa1" providerId="ADAL" clId="{7415EE4C-56C6-45CC-A7F9-32F1A490DB1C}" dt="2024-04-01T18:38:22.923" v="125" actId="47"/>
        <pc:sldMkLst>
          <pc:docMk/>
          <pc:sldMk cId="1068619450" sldId="2147308952"/>
        </pc:sldMkLst>
      </pc:sldChg>
      <pc:sldChg chg="new del">
        <pc:chgData name="Allie Lailas" userId="2487c244-a597-41b3-9378-29e439332fa1" providerId="ADAL" clId="{7415EE4C-56C6-45CC-A7F9-32F1A490DB1C}" dt="2024-04-02T13:46:27.052" v="341" actId="2696"/>
        <pc:sldMkLst>
          <pc:docMk/>
          <pc:sldMk cId="2537968854" sldId="2147308952"/>
        </pc:sldMkLst>
      </pc:sldChg>
      <pc:sldChg chg="add del">
        <pc:chgData name="Allie Lailas" userId="2487c244-a597-41b3-9378-29e439332fa1" providerId="ADAL" clId="{7415EE4C-56C6-45CC-A7F9-32F1A490DB1C}" dt="2024-04-01T18:37:46.221" v="122"/>
        <pc:sldMkLst>
          <pc:docMk/>
          <pc:sldMk cId="457624017" sldId="2147308953"/>
        </pc:sldMkLst>
      </pc:sldChg>
      <pc:sldChg chg="add del">
        <pc:chgData name="Allie Lailas" userId="2487c244-a597-41b3-9378-29e439332fa1" providerId="ADAL" clId="{7415EE4C-56C6-45CC-A7F9-32F1A490DB1C}" dt="2024-04-01T18:39:01.235" v="126" actId="47"/>
        <pc:sldMkLst>
          <pc:docMk/>
          <pc:sldMk cId="867702517" sldId="2147308953"/>
        </pc:sldMkLst>
      </pc:sldChg>
      <pc:sldChg chg="add del">
        <pc:chgData name="Allie Lailas" userId="2487c244-a597-41b3-9378-29e439332fa1" providerId="ADAL" clId="{7415EE4C-56C6-45CC-A7F9-32F1A490DB1C}" dt="2024-04-02T13:28:49.353" v="144"/>
        <pc:sldMkLst>
          <pc:docMk/>
          <pc:sldMk cId="2825388183" sldId="2147308953"/>
        </pc:sldMkLst>
      </pc:sldChg>
      <pc:sldChg chg="modSp add mod">
        <pc:chgData name="Allie Lailas" userId="2487c244-a597-41b3-9378-29e439332fa1" providerId="ADAL" clId="{7415EE4C-56C6-45CC-A7F9-32F1A490DB1C}" dt="2024-04-02T13:35:01.633" v="194" actId="20577"/>
        <pc:sldMkLst>
          <pc:docMk/>
          <pc:sldMk cId="2976314509" sldId="2147308953"/>
        </pc:sldMkLst>
        <pc:spChg chg="mod">
          <ac:chgData name="Allie Lailas" userId="2487c244-a597-41b3-9378-29e439332fa1" providerId="ADAL" clId="{7415EE4C-56C6-45CC-A7F9-32F1A490DB1C}" dt="2024-04-02T13:34:59.585" v="193" actId="20577"/>
          <ac:spMkLst>
            <pc:docMk/>
            <pc:sldMk cId="2976314509" sldId="2147308953"/>
            <ac:spMk id="3" creationId="{CF7C2DC6-7B5C-48EE-A8C3-20B6CFA1A1EA}"/>
          </ac:spMkLst>
        </pc:spChg>
        <pc:spChg chg="mod">
          <ac:chgData name="Allie Lailas" userId="2487c244-a597-41b3-9378-29e439332fa1" providerId="ADAL" clId="{7415EE4C-56C6-45CC-A7F9-32F1A490DB1C}" dt="2024-04-02T13:35:01.633" v="194" actId="20577"/>
          <ac:spMkLst>
            <pc:docMk/>
            <pc:sldMk cId="2976314509" sldId="2147308953"/>
            <ac:spMk id="6" creationId="{6AAB8FB1-402B-473E-9601-27576939D62B}"/>
          </ac:spMkLst>
        </pc:spChg>
      </pc:sldChg>
      <pc:sldChg chg="modSp add del mod">
        <pc:chgData name="Allie Lailas" userId="2487c244-a597-41b3-9378-29e439332fa1" providerId="ADAL" clId="{7415EE4C-56C6-45CC-A7F9-32F1A490DB1C}" dt="2024-04-02T13:28:43.474" v="142"/>
        <pc:sldMkLst>
          <pc:docMk/>
          <pc:sldMk cId="3249060630" sldId="2147308953"/>
        </pc:sldMkLst>
        <pc:spChg chg="mod">
          <ac:chgData name="Allie Lailas" userId="2487c244-a597-41b3-9378-29e439332fa1" providerId="ADAL" clId="{7415EE4C-56C6-45CC-A7F9-32F1A490DB1C}" dt="2024-04-02T13:28:41.567" v="140" actId="20577"/>
          <ac:spMkLst>
            <pc:docMk/>
            <pc:sldMk cId="3249060630" sldId="2147308953"/>
            <ac:spMk id="3" creationId="{CF7C2DC6-7B5C-48EE-A8C3-20B6CFA1A1EA}"/>
          </ac:spMkLst>
        </pc:spChg>
        <pc:spChg chg="mod">
          <ac:chgData name="Allie Lailas" userId="2487c244-a597-41b3-9378-29e439332fa1" providerId="ADAL" clId="{7415EE4C-56C6-45CC-A7F9-32F1A490DB1C}" dt="2024-04-02T13:28:40.955" v="139" actId="20577"/>
          <ac:spMkLst>
            <pc:docMk/>
            <pc:sldMk cId="3249060630" sldId="2147308953"/>
            <ac:spMk id="6" creationId="{6AAB8FB1-402B-473E-9601-27576939D62B}"/>
          </ac:spMkLst>
        </pc:spChg>
      </pc:sldChg>
      <pc:sldChg chg="delSp modSp add del mod">
        <pc:chgData name="Allie Lailas" userId="2487c244-a597-41b3-9378-29e439332fa1" providerId="ADAL" clId="{7415EE4C-56C6-45CC-A7F9-32F1A490DB1C}" dt="2024-04-02T16:24:22.262" v="593" actId="20577"/>
        <pc:sldMkLst>
          <pc:docMk/>
          <pc:sldMk cId="3956208735" sldId="2147376670"/>
        </pc:sldMkLst>
        <pc:spChg chg="mod">
          <ac:chgData name="Allie Lailas" userId="2487c244-a597-41b3-9378-29e439332fa1" providerId="ADAL" clId="{7415EE4C-56C6-45CC-A7F9-32F1A490DB1C}" dt="2024-04-02T16:24:22.262" v="593" actId="20577"/>
          <ac:spMkLst>
            <pc:docMk/>
            <pc:sldMk cId="3956208735" sldId="2147376670"/>
            <ac:spMk id="3" creationId="{87FBBAD0-2DD7-4B18-9609-188AA3DD34AD}"/>
          </ac:spMkLst>
        </pc:spChg>
        <pc:spChg chg="mod">
          <ac:chgData name="Allie Lailas" userId="2487c244-a597-41b3-9378-29e439332fa1" providerId="ADAL" clId="{7415EE4C-56C6-45CC-A7F9-32F1A490DB1C}" dt="2024-04-02T16:23:51.303" v="586" actId="403"/>
          <ac:spMkLst>
            <pc:docMk/>
            <pc:sldMk cId="3956208735" sldId="2147376670"/>
            <ac:spMk id="4" creationId="{02CD45F6-4B3E-421E-AF51-9CB4E9502329}"/>
          </ac:spMkLst>
        </pc:spChg>
        <pc:spChg chg="del">
          <ac:chgData name="Allie Lailas" userId="2487c244-a597-41b3-9378-29e439332fa1" providerId="ADAL" clId="{7415EE4C-56C6-45CC-A7F9-32F1A490DB1C}" dt="2024-04-02T14:07:04.980" v="428" actId="478"/>
          <ac:spMkLst>
            <pc:docMk/>
            <pc:sldMk cId="3956208735" sldId="2147376670"/>
            <ac:spMk id="612" creationId="{9065C995-9188-7F1A-3A09-6B2FCCF41045}"/>
          </ac:spMkLst>
        </pc:spChg>
      </pc:sldChg>
      <pc:sldChg chg="addSp delSp modSp add del mod">
        <pc:chgData name="Allie Lailas" userId="2487c244-a597-41b3-9378-29e439332fa1" providerId="ADAL" clId="{7415EE4C-56C6-45CC-A7F9-32F1A490DB1C}" dt="2024-04-03T13:17:54.258" v="819" actId="1076"/>
        <pc:sldMkLst>
          <pc:docMk/>
          <pc:sldMk cId="4261078120" sldId="2147377570"/>
        </pc:sldMkLst>
        <pc:spChg chg="mod">
          <ac:chgData name="Allie Lailas" userId="2487c244-a597-41b3-9378-29e439332fa1" providerId="ADAL" clId="{7415EE4C-56C6-45CC-A7F9-32F1A490DB1C}" dt="2024-04-03T13:17:00.992" v="818" actId="1076"/>
          <ac:spMkLst>
            <pc:docMk/>
            <pc:sldMk cId="4261078120" sldId="2147377570"/>
            <ac:spMk id="3" creationId="{15690A02-6D2B-4A74-8102-099247CC5143}"/>
          </ac:spMkLst>
        </pc:spChg>
        <pc:spChg chg="add del">
          <ac:chgData name="Allie Lailas" userId="2487c244-a597-41b3-9378-29e439332fa1" providerId="ADAL" clId="{7415EE4C-56C6-45CC-A7F9-32F1A490DB1C}" dt="2024-04-02T16:04:46.665" v="481" actId="22"/>
          <ac:spMkLst>
            <pc:docMk/>
            <pc:sldMk cId="4261078120" sldId="2147377570"/>
            <ac:spMk id="4" creationId="{81692D41-077F-ECC9-6714-C09758766B4B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24" creationId="{0C118FB7-C80C-435B-B552-8B2B8914724E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25" creationId="{C3FF49A4-37FD-4BA7-94D0-79B1E0C9B8D5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26" creationId="{778C6181-0CB4-4CFF-92C1-725A63A15A29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28" creationId="{ABE32877-E67B-4B9C-A008-83CDCF6EDB39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29" creationId="{9DC8B14F-2ED0-4124-A88A-FD6AA1568F7D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30" creationId="{549D964F-72F4-44D4-B048-F34AE4875A88}"/>
          </ac:spMkLst>
        </pc:spChg>
        <pc:spChg chg="mod">
          <ac:chgData name="Allie Lailas" userId="2487c244-a597-41b3-9378-29e439332fa1" providerId="ADAL" clId="{7415EE4C-56C6-45CC-A7F9-32F1A490DB1C}" dt="2024-04-02T16:22:31.651" v="580" actId="1076"/>
          <ac:spMkLst>
            <pc:docMk/>
            <pc:sldMk cId="4261078120" sldId="2147377570"/>
            <ac:spMk id="33" creationId="{E9EDD836-8A56-4B53-8A03-C813DD4AE25B}"/>
          </ac:spMkLst>
        </pc:spChg>
        <pc:spChg chg="mod">
          <ac:chgData name="Allie Lailas" userId="2487c244-a597-41b3-9378-29e439332fa1" providerId="ADAL" clId="{7415EE4C-56C6-45CC-A7F9-32F1A490DB1C}" dt="2024-04-03T13:17:54.258" v="819" actId="1076"/>
          <ac:spMkLst>
            <pc:docMk/>
            <pc:sldMk cId="4261078120" sldId="2147377570"/>
            <ac:spMk id="34" creationId="{B5A5C4D3-1F7A-42E6-810A-D87BAFFFD54F}"/>
          </ac:spMkLst>
        </pc:spChg>
        <pc:spChg chg="mod">
          <ac:chgData name="Allie Lailas" userId="2487c244-a597-41b3-9378-29e439332fa1" providerId="ADAL" clId="{7415EE4C-56C6-45CC-A7F9-32F1A490DB1C}" dt="2024-04-02T16:23:15.585" v="584" actId="1076"/>
          <ac:spMkLst>
            <pc:docMk/>
            <pc:sldMk cId="4261078120" sldId="2147377570"/>
            <ac:spMk id="35" creationId="{599F8E76-B101-47B0-B47C-9B3F2CA29DE0}"/>
          </ac:spMkLst>
        </pc:spChg>
        <pc:spChg chg="mod">
          <ac:chgData name="Allie Lailas" userId="2487c244-a597-41b3-9378-29e439332fa1" providerId="ADAL" clId="{7415EE4C-56C6-45CC-A7F9-32F1A490DB1C}" dt="2024-04-02T16:22:37.246" v="581" actId="1076"/>
          <ac:spMkLst>
            <pc:docMk/>
            <pc:sldMk cId="4261078120" sldId="2147377570"/>
            <ac:spMk id="36" creationId="{E11F4CF5-A0E6-4197-9409-4C869E850382}"/>
          </ac:spMkLst>
        </pc:spChg>
        <pc:spChg chg="mod">
          <ac:chgData name="Allie Lailas" userId="2487c244-a597-41b3-9378-29e439332fa1" providerId="ADAL" clId="{7415EE4C-56C6-45CC-A7F9-32F1A490DB1C}" dt="2024-04-02T16:22:58.652" v="583" actId="1076"/>
          <ac:spMkLst>
            <pc:docMk/>
            <pc:sldMk cId="4261078120" sldId="2147377570"/>
            <ac:spMk id="37" creationId="{62B234A2-591B-4A9C-9CD3-B329A0869852}"/>
          </ac:spMkLst>
        </pc:spChg>
        <pc:spChg chg="mod">
          <ac:chgData name="Allie Lailas" userId="2487c244-a597-41b3-9378-29e439332fa1" providerId="ADAL" clId="{7415EE4C-56C6-45CC-A7F9-32F1A490DB1C}" dt="2024-04-02T16:21:29.895" v="576" actId="1076"/>
          <ac:spMkLst>
            <pc:docMk/>
            <pc:sldMk cId="4261078120" sldId="2147377570"/>
            <ac:spMk id="38" creationId="{E5687738-2BC9-4A69-99E4-1E20D23D7723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74" creationId="{0B0D9ED3-98A4-40FA-B8AB-D3D488065ECF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75" creationId="{D365432F-52CB-4735-8241-87543FB275DC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76" creationId="{7F691882-8D8B-41C3-9432-4B2308F1E175}"/>
          </ac:spMkLst>
        </pc:spChg>
        <pc:spChg chg="mod">
          <ac:chgData name="Allie Lailas" userId="2487c244-a597-41b3-9378-29e439332fa1" providerId="ADAL" clId="{7415EE4C-56C6-45CC-A7F9-32F1A490DB1C}" dt="2024-04-02T16:22:14.436" v="579" actId="1076"/>
          <ac:spMkLst>
            <pc:docMk/>
            <pc:sldMk cId="4261078120" sldId="2147377570"/>
            <ac:spMk id="151" creationId="{628BBF5D-D78F-4F83-B85A-6F50E267FA2C}"/>
          </ac:spMkLst>
        </pc:spChg>
        <pc:spChg chg="mod">
          <ac:chgData name="Allie Lailas" userId="2487c244-a597-41b3-9378-29e439332fa1" providerId="ADAL" clId="{7415EE4C-56C6-45CC-A7F9-32F1A490DB1C}" dt="2024-04-02T16:22:44.293" v="582" actId="1076"/>
          <ac:spMkLst>
            <pc:docMk/>
            <pc:sldMk cId="4261078120" sldId="2147377570"/>
            <ac:spMk id="189" creationId="{4F49F4E0-6C9C-1DE2-2990-30B6CA920CDD}"/>
          </ac:spMkLst>
        </pc:spChg>
        <pc:spChg chg="mod">
          <ac:chgData name="Allie Lailas" userId="2487c244-a597-41b3-9378-29e439332fa1" providerId="ADAL" clId="{7415EE4C-56C6-45CC-A7F9-32F1A490DB1C}" dt="2024-04-02T16:22:44.293" v="582" actId="1076"/>
          <ac:spMkLst>
            <pc:docMk/>
            <pc:sldMk cId="4261078120" sldId="2147377570"/>
            <ac:spMk id="190" creationId="{00E6DC1C-7D1D-6A29-AB26-C5FA516A488E}"/>
          </ac:spMkLst>
        </pc:spChg>
        <pc:spChg chg="mod">
          <ac:chgData name="Allie Lailas" userId="2487c244-a597-41b3-9378-29e439332fa1" providerId="ADAL" clId="{7415EE4C-56C6-45CC-A7F9-32F1A490DB1C}" dt="2024-04-02T16:22:44.293" v="582" actId="1076"/>
          <ac:spMkLst>
            <pc:docMk/>
            <pc:sldMk cId="4261078120" sldId="2147377570"/>
            <ac:spMk id="191" creationId="{1B26D15F-D09C-BE9D-A42E-E98530DD82B7}"/>
          </ac:spMkLst>
        </pc:spChg>
        <pc:spChg chg="mod">
          <ac:chgData name="Allie Lailas" userId="2487c244-a597-41b3-9378-29e439332fa1" providerId="ADAL" clId="{7415EE4C-56C6-45CC-A7F9-32F1A490DB1C}" dt="2024-04-02T16:22:44.293" v="582" actId="1076"/>
          <ac:spMkLst>
            <pc:docMk/>
            <pc:sldMk cId="4261078120" sldId="2147377570"/>
            <ac:spMk id="193" creationId="{8E84F8DF-6E89-723C-1A1E-25AAC7E307E7}"/>
          </ac:spMkLst>
        </pc:spChg>
        <pc:spChg chg="mod">
          <ac:chgData name="Allie Lailas" userId="2487c244-a597-41b3-9378-29e439332fa1" providerId="ADAL" clId="{7415EE4C-56C6-45CC-A7F9-32F1A490DB1C}" dt="2024-04-02T16:22:44.293" v="582" actId="1076"/>
          <ac:spMkLst>
            <pc:docMk/>
            <pc:sldMk cId="4261078120" sldId="2147377570"/>
            <ac:spMk id="194" creationId="{850E11EC-A36B-93C6-F8E2-21258B674CED}"/>
          </ac:spMkLst>
        </pc:spChg>
        <pc:spChg chg="mod">
          <ac:chgData name="Allie Lailas" userId="2487c244-a597-41b3-9378-29e439332fa1" providerId="ADAL" clId="{7415EE4C-56C6-45CC-A7F9-32F1A490DB1C}" dt="2024-04-02T16:22:44.293" v="582" actId="1076"/>
          <ac:spMkLst>
            <pc:docMk/>
            <pc:sldMk cId="4261078120" sldId="2147377570"/>
            <ac:spMk id="195" creationId="{CD637E63-DCFF-6131-A931-020D743A8BEF}"/>
          </ac:spMkLst>
        </pc:spChg>
        <pc:spChg chg="mod">
          <ac:chgData name="Allie Lailas" userId="2487c244-a597-41b3-9378-29e439332fa1" providerId="ADAL" clId="{7415EE4C-56C6-45CC-A7F9-32F1A490DB1C}" dt="2024-04-02T16:22:44.293" v="582" actId="1076"/>
          <ac:spMkLst>
            <pc:docMk/>
            <pc:sldMk cId="4261078120" sldId="2147377570"/>
            <ac:spMk id="196" creationId="{0D25E904-8972-1639-422A-AEF39FE1F77C}"/>
          </ac:spMkLst>
        </pc:spChg>
        <pc:spChg chg="mod">
          <ac:chgData name="Allie Lailas" userId="2487c244-a597-41b3-9378-29e439332fa1" providerId="ADAL" clId="{7415EE4C-56C6-45CC-A7F9-32F1A490DB1C}" dt="2024-04-02T16:22:44.293" v="582" actId="1076"/>
          <ac:spMkLst>
            <pc:docMk/>
            <pc:sldMk cId="4261078120" sldId="2147377570"/>
            <ac:spMk id="199" creationId="{D6C358B5-9433-FCDA-2928-FBF243FD6B25}"/>
          </ac:spMkLst>
        </pc:spChg>
        <pc:spChg chg="mod">
          <ac:chgData name="Allie Lailas" userId="2487c244-a597-41b3-9378-29e439332fa1" providerId="ADAL" clId="{7415EE4C-56C6-45CC-A7F9-32F1A490DB1C}" dt="2024-04-02T16:22:44.293" v="582" actId="1076"/>
          <ac:spMkLst>
            <pc:docMk/>
            <pc:sldMk cId="4261078120" sldId="2147377570"/>
            <ac:spMk id="200" creationId="{79F5774D-F461-50AC-CD25-835DA623E167}"/>
          </ac:spMkLst>
        </pc:spChg>
        <pc:spChg chg="mod">
          <ac:chgData name="Allie Lailas" userId="2487c244-a597-41b3-9378-29e439332fa1" providerId="ADAL" clId="{7415EE4C-56C6-45CC-A7F9-32F1A490DB1C}" dt="2024-04-02T16:22:44.293" v="582" actId="1076"/>
          <ac:spMkLst>
            <pc:docMk/>
            <pc:sldMk cId="4261078120" sldId="2147377570"/>
            <ac:spMk id="201" creationId="{9CA2AC6F-66EB-A715-4462-B3ADD407C8E9}"/>
          </ac:spMkLst>
        </pc:spChg>
        <pc:spChg chg="mod">
          <ac:chgData name="Allie Lailas" userId="2487c244-a597-41b3-9378-29e439332fa1" providerId="ADAL" clId="{7415EE4C-56C6-45CC-A7F9-32F1A490DB1C}" dt="2024-04-02T16:22:44.293" v="582" actId="1076"/>
          <ac:spMkLst>
            <pc:docMk/>
            <pc:sldMk cId="4261078120" sldId="2147377570"/>
            <ac:spMk id="202" creationId="{0C0EB5F2-CED5-B236-6FCE-9450F84C543C}"/>
          </ac:spMkLst>
        </pc:spChg>
        <pc:spChg chg="mod">
          <ac:chgData name="Allie Lailas" userId="2487c244-a597-41b3-9378-29e439332fa1" providerId="ADAL" clId="{7415EE4C-56C6-45CC-A7F9-32F1A490DB1C}" dt="2024-04-02T16:22:44.293" v="582" actId="1076"/>
          <ac:spMkLst>
            <pc:docMk/>
            <pc:sldMk cId="4261078120" sldId="2147377570"/>
            <ac:spMk id="203" creationId="{F85092D4-48F8-B2C5-FADA-5DF48C45B861}"/>
          </ac:spMkLst>
        </pc:spChg>
        <pc:spChg chg="mod">
          <ac:chgData name="Allie Lailas" userId="2487c244-a597-41b3-9378-29e439332fa1" providerId="ADAL" clId="{7415EE4C-56C6-45CC-A7F9-32F1A490DB1C}" dt="2024-04-02T16:22:44.293" v="582" actId="1076"/>
          <ac:spMkLst>
            <pc:docMk/>
            <pc:sldMk cId="4261078120" sldId="2147377570"/>
            <ac:spMk id="204" creationId="{E8D44455-E961-A5E3-4223-6ACE28080891}"/>
          </ac:spMkLst>
        </pc:spChg>
        <pc:spChg chg="mod">
          <ac:chgData name="Allie Lailas" userId="2487c244-a597-41b3-9378-29e439332fa1" providerId="ADAL" clId="{7415EE4C-56C6-45CC-A7F9-32F1A490DB1C}" dt="2024-04-02T16:22:44.293" v="582" actId="1076"/>
          <ac:spMkLst>
            <pc:docMk/>
            <pc:sldMk cId="4261078120" sldId="2147377570"/>
            <ac:spMk id="205" creationId="{627B4E81-6083-DCF5-5A17-236831EFD0F0}"/>
          </ac:spMkLst>
        </pc:spChg>
        <pc:spChg chg="mod">
          <ac:chgData name="Allie Lailas" userId="2487c244-a597-41b3-9378-29e439332fa1" providerId="ADAL" clId="{7415EE4C-56C6-45CC-A7F9-32F1A490DB1C}" dt="2024-04-02T16:22:44.293" v="582" actId="1076"/>
          <ac:spMkLst>
            <pc:docMk/>
            <pc:sldMk cId="4261078120" sldId="2147377570"/>
            <ac:spMk id="206" creationId="{1A93C6F5-10E4-7036-33FA-BC1FDCE20387}"/>
          </ac:spMkLst>
        </pc:spChg>
        <pc:spChg chg="mod">
          <ac:chgData name="Allie Lailas" userId="2487c244-a597-41b3-9378-29e439332fa1" providerId="ADAL" clId="{7415EE4C-56C6-45CC-A7F9-32F1A490DB1C}" dt="2024-04-02T16:22:44.293" v="582" actId="1076"/>
          <ac:spMkLst>
            <pc:docMk/>
            <pc:sldMk cId="4261078120" sldId="2147377570"/>
            <ac:spMk id="207" creationId="{7255DF03-212A-469F-507F-CCEBA2EA45DC}"/>
          </ac:spMkLst>
        </pc:spChg>
        <pc:spChg chg="mod">
          <ac:chgData name="Allie Lailas" userId="2487c244-a597-41b3-9378-29e439332fa1" providerId="ADAL" clId="{7415EE4C-56C6-45CC-A7F9-32F1A490DB1C}" dt="2024-04-02T16:22:44.293" v="582" actId="1076"/>
          <ac:spMkLst>
            <pc:docMk/>
            <pc:sldMk cId="4261078120" sldId="2147377570"/>
            <ac:spMk id="208" creationId="{1635D40F-6DD7-B624-6F87-7F1BC6022835}"/>
          </ac:spMkLst>
        </pc:spChg>
        <pc:spChg chg="mod">
          <ac:chgData name="Allie Lailas" userId="2487c244-a597-41b3-9378-29e439332fa1" providerId="ADAL" clId="{7415EE4C-56C6-45CC-A7F9-32F1A490DB1C}" dt="2024-04-02T16:22:44.293" v="582" actId="1076"/>
          <ac:spMkLst>
            <pc:docMk/>
            <pc:sldMk cId="4261078120" sldId="2147377570"/>
            <ac:spMk id="209" creationId="{44F56C71-B8CE-F0EB-F1C5-5021150A0484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60" creationId="{06C1E93B-F2E8-FC88-652A-0B8BD817EDD2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61" creationId="{03AA7CE1-6FBE-E034-4631-34D396353F1C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62" creationId="{7478BF5B-6963-6B28-EB8E-30F4E379EC44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63" creationId="{E1B806A6-8C12-13E7-D2CA-3615AA4ABCBB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64" creationId="{43AEA45E-02D3-AFBE-721C-AC243D8BBD29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65" creationId="{93B59283-A704-577E-0F54-4443938AD67D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66" creationId="{F0C94464-AC81-641B-9599-272E16D5C041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68" creationId="{0D45CCA5-B177-1207-DAED-368E455E6EC9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69" creationId="{E0FBD4F6-4213-AAF8-3F08-704A70DC72A0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70" creationId="{B99FC9E9-9B03-A2FB-BDEC-DDC2F9526FB1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71" creationId="{6933DA76-D6A6-3413-5E28-5F457BD709D6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78" creationId="{129CA583-267B-74DA-CD42-058D149A5C91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82" creationId="{D92C57CF-7245-B163-69C0-E24929666098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83" creationId="{04D65F03-9346-5088-47F7-0C0D6C753619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84" creationId="{4A93279F-3B78-3F62-0FEE-43207FF25119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85" creationId="{D2C5CD93-7680-3411-DD88-79FAEF64C356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86" creationId="{1921EC22-414F-859B-A07B-1FD018946C14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87" creationId="{5400E506-BCEA-F5E9-50B4-523CD20F5CCC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88" creationId="{872D97B9-A845-7A10-3297-3C493C9AF63B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89" creationId="{5163BB81-BC23-1C7E-A470-5D0E423C2E51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90" creationId="{0DC28BB5-1EE1-E2BC-8624-3C802E7487FD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91" creationId="{CB46CAEF-27FA-FFE8-AC14-A6CB1E73DE3A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92" creationId="{3B6685B0-DA1D-35F4-119C-3346C998CA63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93" creationId="{3C04037D-D42B-9B3E-81C8-A42D6980C72B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94" creationId="{F5D24E23-1668-710A-8837-3F871560CEBC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95" creationId="{C655D78F-16F0-FDDA-3157-E622A14DF331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96" creationId="{0D2EA08A-8E77-EF33-3D7B-AB4059473590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97" creationId="{F92179B7-CE9B-5A0B-4BA2-D4BBA76AD271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98" creationId="{CEA2A294-1F1C-DD10-7024-EFF9D39A3B65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499" creationId="{4E452A9C-EEDE-D77A-D9B3-4F93E44D3C9A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00" creationId="{2763D032-B610-A15B-DD16-267EE6C420DC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01" creationId="{A5BD1FEB-70D3-30A2-4618-757E0E4D3901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02" creationId="{8C542050-952F-CBCA-412D-D66D0F94A36F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03" creationId="{71CA184F-BC43-33F2-D2EE-A1D7315EF204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04" creationId="{EC0B0A5B-C320-5B76-D503-D2676307BFBF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05" creationId="{873837E7-02A5-E4A0-9B10-E674F6F92194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06" creationId="{9D7AC457-E962-F720-4B2C-14675BE9700A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07" creationId="{DBA21D8C-A0B2-1893-029F-5FF9A0218DF0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15" creationId="{60420D9B-3028-A021-D831-578DE0CC28C0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17" creationId="{4925F20F-2008-0CC2-DA37-EC14FF8C9A3F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18" creationId="{B2DE926C-2A92-7E27-4EB5-E91D4851303F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19" creationId="{1ED408CC-5FC7-C56A-0C05-62EA9D0D633E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20" creationId="{3B7B0D00-6095-61CA-4ED5-6FACC1B3F2EC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21" creationId="{57AD01CF-3550-403F-59AF-559DBC61B97A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22" creationId="{DB1723EE-8345-3566-926B-3AB7BE93A9BB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26" creationId="{3ACC9B6E-AC94-FFC2-D6C8-73E807548125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27" creationId="{AF4E878F-2DC1-D765-15A4-699A602FE02F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28" creationId="{C5FA4AF5-58C7-0824-6CBA-E6EE4659E602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29" creationId="{9369448A-5551-0D59-3FEC-03AFDA8303B1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30" creationId="{5CE2DFBA-BB98-446D-0924-B8793535D03C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31" creationId="{E8E26D69-5B42-8D9E-A79C-4CFF9D5D9EDC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32" creationId="{F7C5D429-1C7C-6176-2703-2BB0BD2D868E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33" creationId="{94A3C9BC-3B6C-09CA-4D22-5753A8BD3AC0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34" creationId="{9DD563EB-0578-7683-18C1-FE66CDAE323A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35" creationId="{4EF5F079-2D84-6387-B52C-655CEB0AE011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36" creationId="{C5F8588D-5E62-F722-8308-16768519BB82}"/>
          </ac:spMkLst>
        </pc:spChg>
        <pc:spChg chg="mod">
          <ac:chgData name="Allie Lailas" userId="2487c244-a597-41b3-9378-29e439332fa1" providerId="ADAL" clId="{7415EE4C-56C6-45CC-A7F9-32F1A490DB1C}" dt="2024-04-02T16:21:46.909" v="577" actId="1076"/>
          <ac:spMkLst>
            <pc:docMk/>
            <pc:sldMk cId="4261078120" sldId="2147377570"/>
            <ac:spMk id="537" creationId="{E45E8EDB-5504-31C3-59BF-C597750FDA48}"/>
          </ac:spMkLst>
        </pc:s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23" creationId="{181642CF-857A-4C37-8000-50537073BD8C}"/>
          </ac:grpSpMkLst>
        </pc:gr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27" creationId="{4DB63878-4FE9-4CAD-98A1-52CCB748295E}"/>
          </ac:grpSpMkLst>
        </pc:gr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73" creationId="{847C3B75-8568-4DAD-8871-BB4FF37C4030}"/>
          </ac:grpSpMkLst>
        </pc:grpChg>
        <pc:grpChg chg="mod">
          <ac:chgData name="Allie Lailas" userId="2487c244-a597-41b3-9378-29e439332fa1" providerId="ADAL" clId="{7415EE4C-56C6-45CC-A7F9-32F1A490DB1C}" dt="2024-04-02T16:22:44.293" v="582" actId="1076"/>
          <ac:grpSpMkLst>
            <pc:docMk/>
            <pc:sldMk cId="4261078120" sldId="2147377570"/>
            <ac:grpSpMk id="184" creationId="{94587C2A-2EC2-2EEA-EEDB-76687214A005}"/>
          </ac:grpSpMkLst>
        </pc:grpChg>
        <pc:grpChg chg="mod">
          <ac:chgData name="Allie Lailas" userId="2487c244-a597-41b3-9378-29e439332fa1" providerId="ADAL" clId="{7415EE4C-56C6-45CC-A7F9-32F1A490DB1C}" dt="2024-04-02T16:22:44.293" v="582" actId="1076"/>
          <ac:grpSpMkLst>
            <pc:docMk/>
            <pc:sldMk cId="4261078120" sldId="2147377570"/>
            <ac:grpSpMk id="185" creationId="{337D552E-A9F6-1F46-F7C6-6DE395E07F01}"/>
          </ac:grpSpMkLst>
        </pc:grpChg>
        <pc:grpChg chg="mod">
          <ac:chgData name="Allie Lailas" userId="2487c244-a597-41b3-9378-29e439332fa1" providerId="ADAL" clId="{7415EE4C-56C6-45CC-A7F9-32F1A490DB1C}" dt="2024-04-02T16:22:44.293" v="582" actId="1076"/>
          <ac:grpSpMkLst>
            <pc:docMk/>
            <pc:sldMk cId="4261078120" sldId="2147377570"/>
            <ac:grpSpMk id="186" creationId="{FB637D11-E59B-EBD5-230D-E78FF2B1C75A}"/>
          </ac:grpSpMkLst>
        </pc:grpChg>
        <pc:grpChg chg="mod">
          <ac:chgData name="Allie Lailas" userId="2487c244-a597-41b3-9378-29e439332fa1" providerId="ADAL" clId="{7415EE4C-56C6-45CC-A7F9-32F1A490DB1C}" dt="2024-04-02T16:22:44.293" v="582" actId="1076"/>
          <ac:grpSpMkLst>
            <pc:docMk/>
            <pc:sldMk cId="4261078120" sldId="2147377570"/>
            <ac:grpSpMk id="187" creationId="{294127C8-9D33-48AE-3FE9-78E8343CAC0B}"/>
          </ac:grpSpMkLst>
        </pc:grpChg>
        <pc:grpChg chg="mod">
          <ac:chgData name="Allie Lailas" userId="2487c244-a597-41b3-9378-29e439332fa1" providerId="ADAL" clId="{7415EE4C-56C6-45CC-A7F9-32F1A490DB1C}" dt="2024-04-02T16:22:44.293" v="582" actId="1076"/>
          <ac:grpSpMkLst>
            <pc:docMk/>
            <pc:sldMk cId="4261078120" sldId="2147377570"/>
            <ac:grpSpMk id="188" creationId="{7637EB4E-C5EE-0F38-3D43-560AD952C25B}"/>
          </ac:grpSpMkLst>
        </pc:grpChg>
        <pc:grpChg chg="mod">
          <ac:chgData name="Allie Lailas" userId="2487c244-a597-41b3-9378-29e439332fa1" providerId="ADAL" clId="{7415EE4C-56C6-45CC-A7F9-32F1A490DB1C}" dt="2024-04-02T16:22:44.293" v="582" actId="1076"/>
          <ac:grpSpMkLst>
            <pc:docMk/>
            <pc:sldMk cId="4261078120" sldId="2147377570"/>
            <ac:grpSpMk id="192" creationId="{9BD77BA1-2454-81C2-1AEA-574483C1D7F8}"/>
          </ac:grpSpMkLst>
        </pc:grpChg>
        <pc:grpChg chg="mod">
          <ac:chgData name="Allie Lailas" userId="2487c244-a597-41b3-9378-29e439332fa1" providerId="ADAL" clId="{7415EE4C-56C6-45CC-A7F9-32F1A490DB1C}" dt="2024-04-02T16:22:44.293" v="582" actId="1076"/>
          <ac:grpSpMkLst>
            <pc:docMk/>
            <pc:sldMk cId="4261078120" sldId="2147377570"/>
            <ac:grpSpMk id="197" creationId="{8E1FF556-37AC-C81C-1A6C-3AF2C7AC0EBC}"/>
          </ac:grpSpMkLst>
        </pc:grpChg>
        <pc:grpChg chg="mod">
          <ac:chgData name="Allie Lailas" userId="2487c244-a597-41b3-9378-29e439332fa1" providerId="ADAL" clId="{7415EE4C-56C6-45CC-A7F9-32F1A490DB1C}" dt="2024-04-02T16:22:44.293" v="582" actId="1076"/>
          <ac:grpSpMkLst>
            <pc:docMk/>
            <pc:sldMk cId="4261078120" sldId="2147377570"/>
            <ac:grpSpMk id="198" creationId="{FFD1F018-D19A-374B-7D21-941A5B6BC898}"/>
          </ac:grpSpMkLst>
        </pc:gr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456" creationId="{0FD4C9F4-7355-58B9-0BF2-8CFB8653ECC4}"/>
          </ac:grpSpMkLst>
        </pc:gr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457" creationId="{D212B7E9-D4A7-D4D9-1681-9DBC65AB4E01}"/>
          </ac:grpSpMkLst>
        </pc:gr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458" creationId="{C7E447A8-19D8-A7B8-082E-49170E228F8B}"/>
          </ac:grpSpMkLst>
        </pc:gr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459" creationId="{D8CA1256-9284-52D8-861F-D1670D49E765}"/>
          </ac:grpSpMkLst>
        </pc:gr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467" creationId="{94598CBC-7823-AF26-C834-76F97CDB1BE4}"/>
          </ac:grpSpMkLst>
        </pc:gr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472" creationId="{13295E84-BD8B-8123-AC72-954E3F7F7028}"/>
          </ac:grpSpMkLst>
        </pc:gr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473" creationId="{4B11A09F-B3C3-EB87-E7C7-A5F564EC9292}"/>
          </ac:grpSpMkLst>
        </pc:gr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474" creationId="{D2686404-259B-4C7C-1C3A-44D4F329A16C}"/>
          </ac:grpSpMkLst>
        </pc:gr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475" creationId="{E4D56BCD-A65A-8657-379B-4C81EDA4EEE0}"/>
          </ac:grpSpMkLst>
        </pc:gr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476" creationId="{A31D785B-9FF6-C8B0-9225-5ED41D718D54}"/>
          </ac:grpSpMkLst>
        </pc:gr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477" creationId="{48E587A4-6972-1FDE-CF81-A36867864DB5}"/>
          </ac:grpSpMkLst>
        </pc:gr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479" creationId="{F39FBB26-296E-E6D4-0095-CB59224A5422}"/>
          </ac:grpSpMkLst>
        </pc:gr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480" creationId="{3C9B9B77-B492-2BD4-0EB3-0F11B1159846}"/>
          </ac:grpSpMkLst>
        </pc:gr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481" creationId="{9C6334FC-691E-33E8-81AA-121E875377C0}"/>
          </ac:grpSpMkLst>
        </pc:gr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508" creationId="{E62558A2-8151-98D5-CF81-6178AC42AEE8}"/>
          </ac:grpSpMkLst>
        </pc:gr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510" creationId="{8E5C4F3C-29EC-B519-B407-69390F48013E}"/>
          </ac:grpSpMkLst>
        </pc:gr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511" creationId="{EF15D70C-D2D3-4813-283F-538AC4361C00}"/>
          </ac:grpSpMkLst>
        </pc:gr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512" creationId="{7565A509-D2F0-8765-7BF5-E7BDBCCC375A}"/>
          </ac:grpSpMkLst>
        </pc:gr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516" creationId="{8EC39EB4-4D52-B3CA-74FA-76EF550EB4A7}"/>
          </ac:grpSpMkLst>
        </pc:gr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523" creationId="{69DDACAF-FF7D-36F5-2B4B-880FCE0B7704}"/>
          </ac:grpSpMkLst>
        </pc:gr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524" creationId="{205A7A32-52E1-D092-D297-09A3EDA689E9}"/>
          </ac:grpSpMkLst>
        </pc:grpChg>
        <pc:grpChg chg="mod">
          <ac:chgData name="Allie Lailas" userId="2487c244-a597-41b3-9378-29e439332fa1" providerId="ADAL" clId="{7415EE4C-56C6-45CC-A7F9-32F1A490DB1C}" dt="2024-04-02T16:21:46.909" v="577" actId="1076"/>
          <ac:grpSpMkLst>
            <pc:docMk/>
            <pc:sldMk cId="4261078120" sldId="2147377570"/>
            <ac:grpSpMk id="525" creationId="{06C6E6B8-5DE2-15AF-F04A-22E526DBCF6C}"/>
          </ac:grpSpMkLst>
        </pc:grpChg>
        <pc:cxnChg chg="mod">
          <ac:chgData name="Allie Lailas" userId="2487c244-a597-41b3-9378-29e439332fa1" providerId="ADAL" clId="{7415EE4C-56C6-45CC-A7F9-32F1A490DB1C}" dt="2024-04-02T16:20:25.195" v="570" actId="14100"/>
          <ac:cxnSpMkLst>
            <pc:docMk/>
            <pc:sldMk cId="4261078120" sldId="2147377570"/>
            <ac:cxnSpMk id="31" creationId="{1BCE0528-B77E-4549-BED9-23AB8780704D}"/>
          </ac:cxnSpMkLst>
        </pc:cxnChg>
        <pc:cxnChg chg="mod">
          <ac:chgData name="Allie Lailas" userId="2487c244-a597-41b3-9378-29e439332fa1" providerId="ADAL" clId="{7415EE4C-56C6-45CC-A7F9-32F1A490DB1C}" dt="2024-04-02T16:21:55.761" v="578" actId="14100"/>
          <ac:cxnSpMkLst>
            <pc:docMk/>
            <pc:sldMk cId="4261078120" sldId="2147377570"/>
            <ac:cxnSpMk id="32" creationId="{BB2444B3-9918-4279-B32C-1462414808AD}"/>
          </ac:cxnSpMkLst>
        </pc:cxnChg>
        <pc:cxnChg chg="mod">
          <ac:chgData name="Allie Lailas" userId="2487c244-a597-41b3-9378-29e439332fa1" providerId="ADAL" clId="{7415EE4C-56C6-45CC-A7F9-32F1A490DB1C}" dt="2024-04-02T16:21:46.909" v="577" actId="1076"/>
          <ac:cxnSpMkLst>
            <pc:docMk/>
            <pc:sldMk cId="4261078120" sldId="2147377570"/>
            <ac:cxnSpMk id="509" creationId="{3D54CC39-F18C-2B5F-23A3-FC72A0B6FD48}"/>
          </ac:cxnSpMkLst>
        </pc:cxnChg>
        <pc:cxnChg chg="mod">
          <ac:chgData name="Allie Lailas" userId="2487c244-a597-41b3-9378-29e439332fa1" providerId="ADAL" clId="{7415EE4C-56C6-45CC-A7F9-32F1A490DB1C}" dt="2024-04-02T16:21:46.909" v="577" actId="1076"/>
          <ac:cxnSpMkLst>
            <pc:docMk/>
            <pc:sldMk cId="4261078120" sldId="2147377570"/>
            <ac:cxnSpMk id="513" creationId="{43D0CD6A-C674-4D86-7323-E929C65D2D7A}"/>
          </ac:cxnSpMkLst>
        </pc:cxnChg>
        <pc:cxnChg chg="mod">
          <ac:chgData name="Allie Lailas" userId="2487c244-a597-41b3-9378-29e439332fa1" providerId="ADAL" clId="{7415EE4C-56C6-45CC-A7F9-32F1A490DB1C}" dt="2024-04-02T16:21:46.909" v="577" actId="1076"/>
          <ac:cxnSpMkLst>
            <pc:docMk/>
            <pc:sldMk cId="4261078120" sldId="2147377570"/>
            <ac:cxnSpMk id="514" creationId="{83574766-41FE-94AD-63AF-B06FA130425C}"/>
          </ac:cxnSpMkLst>
        </pc:cxnChg>
      </pc:sldChg>
      <pc:sldChg chg="modSp add del mod">
        <pc:chgData name="Allie Lailas" userId="2487c244-a597-41b3-9378-29e439332fa1" providerId="ADAL" clId="{7415EE4C-56C6-45CC-A7F9-32F1A490DB1C}" dt="2024-04-03T13:44:22.123" v="900" actId="20577"/>
        <pc:sldMkLst>
          <pc:docMk/>
          <pc:sldMk cId="2024597592" sldId="2147377584"/>
        </pc:sldMkLst>
        <pc:spChg chg="mod">
          <ac:chgData name="Allie Lailas" userId="2487c244-a597-41b3-9378-29e439332fa1" providerId="ADAL" clId="{7415EE4C-56C6-45CC-A7F9-32F1A490DB1C}" dt="2024-04-02T16:52:09.970" v="789" actId="1076"/>
          <ac:spMkLst>
            <pc:docMk/>
            <pc:sldMk cId="2024597592" sldId="2147377584"/>
            <ac:spMk id="3" creationId="{E60DD59B-F6B6-C884-A15D-C6031D65E7CD}"/>
          </ac:spMkLst>
        </pc:spChg>
        <pc:graphicFrameChg chg="mod">
          <ac:chgData name="Allie Lailas" userId="2487c244-a597-41b3-9378-29e439332fa1" providerId="ADAL" clId="{7415EE4C-56C6-45CC-A7F9-32F1A490DB1C}" dt="2024-04-03T13:44:22.123" v="900" actId="20577"/>
          <ac:graphicFrameMkLst>
            <pc:docMk/>
            <pc:sldMk cId="2024597592" sldId="2147377584"/>
            <ac:graphicFrameMk id="6" creationId="{2DD653F5-AF66-7CFC-1B0F-09CF85375E03}"/>
          </ac:graphicFrameMkLst>
        </pc:graphicFrameChg>
      </pc:sldChg>
      <pc:sldChg chg="modSp add del mod">
        <pc:chgData name="Allie Lailas" userId="2487c244-a597-41b3-9378-29e439332fa1" providerId="ADAL" clId="{7415EE4C-56C6-45CC-A7F9-32F1A490DB1C}" dt="2024-04-03T13:16:26.774" v="817" actId="1076"/>
        <pc:sldMkLst>
          <pc:docMk/>
          <pc:sldMk cId="1607590095" sldId="2147377585"/>
        </pc:sldMkLst>
        <pc:spChg chg="mod">
          <ac:chgData name="Allie Lailas" userId="2487c244-a597-41b3-9378-29e439332fa1" providerId="ADAL" clId="{7415EE4C-56C6-45CC-A7F9-32F1A490DB1C}" dt="2024-04-02T16:07:18.357" v="496" actId="12788"/>
          <ac:spMkLst>
            <pc:docMk/>
            <pc:sldMk cId="1607590095" sldId="2147377585"/>
            <ac:spMk id="2" creationId="{EE8012BD-7C63-43CF-9A4E-8C639A2A58A5}"/>
          </ac:spMkLst>
        </pc:spChg>
        <pc:spChg chg="mod">
          <ac:chgData name="Allie Lailas" userId="2487c244-a597-41b3-9378-29e439332fa1" providerId="ADAL" clId="{7415EE4C-56C6-45CC-A7F9-32F1A490DB1C}" dt="2024-04-02T16:11:42.803" v="526" actId="1076"/>
          <ac:spMkLst>
            <pc:docMk/>
            <pc:sldMk cId="1607590095" sldId="2147377585"/>
            <ac:spMk id="95" creationId="{D6C7B044-EBB0-4994-95F7-728F02A33BEE}"/>
          </ac:spMkLst>
        </pc:spChg>
        <pc:spChg chg="mod">
          <ac:chgData name="Allie Lailas" userId="2487c244-a597-41b3-9378-29e439332fa1" providerId="ADAL" clId="{7415EE4C-56C6-45CC-A7F9-32F1A490DB1C}" dt="2024-04-03T13:14:51.968" v="808" actId="1076"/>
          <ac:spMkLst>
            <pc:docMk/>
            <pc:sldMk cId="1607590095" sldId="2147377585"/>
            <ac:spMk id="157" creationId="{49C64989-E106-42D0-8CB9-0A5711B0C32D}"/>
          </ac:spMkLst>
        </pc:spChg>
        <pc:spChg chg="mod">
          <ac:chgData name="Allie Lailas" userId="2487c244-a597-41b3-9378-29e439332fa1" providerId="ADAL" clId="{7415EE4C-56C6-45CC-A7F9-32F1A490DB1C}" dt="2024-04-03T13:15:00.894" v="809" actId="1076"/>
          <ac:spMkLst>
            <pc:docMk/>
            <pc:sldMk cId="1607590095" sldId="2147377585"/>
            <ac:spMk id="158" creationId="{541D5B71-83E0-4950-A755-977C9EC409E0}"/>
          </ac:spMkLst>
        </pc:spChg>
        <pc:spChg chg="mod">
          <ac:chgData name="Allie Lailas" userId="2487c244-a597-41b3-9378-29e439332fa1" providerId="ADAL" clId="{7415EE4C-56C6-45CC-A7F9-32F1A490DB1C}" dt="2024-04-03T13:16:26.774" v="817" actId="1076"/>
          <ac:spMkLst>
            <pc:docMk/>
            <pc:sldMk cId="1607590095" sldId="2147377585"/>
            <ac:spMk id="159" creationId="{44315DED-A536-45E0-87E0-F9D493D054CB}"/>
          </ac:spMkLst>
        </pc:spChg>
        <pc:spChg chg="mod">
          <ac:chgData name="Allie Lailas" userId="2487c244-a597-41b3-9378-29e439332fa1" providerId="ADAL" clId="{7415EE4C-56C6-45CC-A7F9-32F1A490DB1C}" dt="2024-04-02T16:10:08.758" v="518" actId="403"/>
          <ac:spMkLst>
            <pc:docMk/>
            <pc:sldMk cId="1607590095" sldId="2147377585"/>
            <ac:spMk id="160" creationId="{A066C6B8-CFEA-454A-9044-40E0C799E42A}"/>
          </ac:spMkLst>
        </pc:spChg>
        <pc:spChg chg="mod">
          <ac:chgData name="Allie Lailas" userId="2487c244-a597-41b3-9378-29e439332fa1" providerId="ADAL" clId="{7415EE4C-56C6-45CC-A7F9-32F1A490DB1C}" dt="2024-04-02T16:11:02.142" v="523" actId="408"/>
          <ac:spMkLst>
            <pc:docMk/>
            <pc:sldMk cId="1607590095" sldId="2147377585"/>
            <ac:spMk id="161" creationId="{BECCA670-BD04-49FA-9D85-F62878B6C34D}"/>
          </ac:spMkLst>
        </pc:spChg>
        <pc:spChg chg="mod">
          <ac:chgData name="Allie Lailas" userId="2487c244-a597-41b3-9378-29e439332fa1" providerId="ADAL" clId="{7415EE4C-56C6-45CC-A7F9-32F1A490DB1C}" dt="2024-04-02T16:11:02.142" v="523" actId="408"/>
          <ac:spMkLst>
            <pc:docMk/>
            <pc:sldMk cId="1607590095" sldId="2147377585"/>
            <ac:spMk id="162" creationId="{9BBDD26D-B49A-4AC3-BE97-ED28142420A4}"/>
          </ac:spMkLst>
        </pc:spChg>
        <pc:spChg chg="mod">
          <ac:chgData name="Allie Lailas" userId="2487c244-a597-41b3-9378-29e439332fa1" providerId="ADAL" clId="{7415EE4C-56C6-45CC-A7F9-32F1A490DB1C}" dt="2024-04-02T16:10:56.548" v="521" actId="12788"/>
          <ac:spMkLst>
            <pc:docMk/>
            <pc:sldMk cId="1607590095" sldId="2147377585"/>
            <ac:spMk id="163" creationId="{80DAC8B9-42CB-438E-BB49-45316684339D}"/>
          </ac:spMkLst>
        </pc:spChg>
        <pc:spChg chg="mod">
          <ac:chgData name="Allie Lailas" userId="2487c244-a597-41b3-9378-29e439332fa1" providerId="ADAL" clId="{7415EE4C-56C6-45CC-A7F9-32F1A490DB1C}" dt="2024-04-02T16:10:56.548" v="521" actId="12788"/>
          <ac:spMkLst>
            <pc:docMk/>
            <pc:sldMk cId="1607590095" sldId="2147377585"/>
            <ac:spMk id="164" creationId="{E1DF8BD8-0880-4689-8B95-BCE1D84A4515}"/>
          </ac:spMkLst>
        </pc:spChg>
        <pc:spChg chg="mod">
          <ac:chgData name="Allie Lailas" userId="2487c244-a597-41b3-9378-29e439332fa1" providerId="ADAL" clId="{7415EE4C-56C6-45CC-A7F9-32F1A490DB1C}" dt="2024-04-02T16:11:02.142" v="523" actId="408"/>
          <ac:spMkLst>
            <pc:docMk/>
            <pc:sldMk cId="1607590095" sldId="2147377585"/>
            <ac:spMk id="165" creationId="{2E9EA705-6A15-4F8C-8656-608C4F93AA33}"/>
          </ac:spMkLst>
        </pc:spChg>
        <pc:spChg chg="mod">
          <ac:chgData name="Allie Lailas" userId="2487c244-a597-41b3-9378-29e439332fa1" providerId="ADAL" clId="{7415EE4C-56C6-45CC-A7F9-32F1A490DB1C}" dt="2024-04-03T13:15:58.079" v="813" actId="1076"/>
          <ac:spMkLst>
            <pc:docMk/>
            <pc:sldMk cId="1607590095" sldId="2147377585"/>
            <ac:spMk id="171" creationId="{13170EB6-3200-4CCA-8CD7-14D4AAB48658}"/>
          </ac:spMkLst>
        </pc:spChg>
        <pc:grpChg chg="mod">
          <ac:chgData name="Allie Lailas" userId="2487c244-a597-41b3-9378-29e439332fa1" providerId="ADAL" clId="{7415EE4C-56C6-45CC-A7F9-32F1A490DB1C}" dt="2024-04-02T16:08:24.573" v="503" actId="1076"/>
          <ac:grpSpMkLst>
            <pc:docMk/>
            <pc:sldMk cId="1607590095" sldId="2147377585"/>
            <ac:grpSpMk id="123" creationId="{BF288BFE-2CBD-471B-826F-E9233B40C0B6}"/>
          </ac:grpSpMkLst>
        </pc:grpChg>
        <pc:grpChg chg="mod">
          <ac:chgData name="Allie Lailas" userId="2487c244-a597-41b3-9378-29e439332fa1" providerId="ADAL" clId="{7415EE4C-56C6-45CC-A7F9-32F1A490DB1C}" dt="2024-04-02T16:08:40.111" v="504" actId="14100"/>
          <ac:grpSpMkLst>
            <pc:docMk/>
            <pc:sldMk cId="1607590095" sldId="2147377585"/>
            <ac:grpSpMk id="155" creationId="{B5B5909A-92B2-41B5-83AD-91854F064570}"/>
          </ac:grpSpMkLst>
        </pc:grpChg>
      </pc:sldChg>
      <pc:sldChg chg="addSp delSp modSp add del mod">
        <pc:chgData name="Allie Lailas" userId="2487c244-a597-41b3-9378-29e439332fa1" providerId="ADAL" clId="{7415EE4C-56C6-45CC-A7F9-32F1A490DB1C}" dt="2024-04-03T13:11:31.885" v="794" actId="14100"/>
        <pc:sldMkLst>
          <pc:docMk/>
          <pc:sldMk cId="1458420073" sldId="2147377586"/>
        </pc:sldMkLst>
        <pc:spChg chg="mod">
          <ac:chgData name="Allie Lailas" userId="2487c244-a597-41b3-9378-29e439332fa1" providerId="ADAL" clId="{7415EE4C-56C6-45CC-A7F9-32F1A490DB1C}" dt="2024-04-02T16:12:23.479" v="532" actId="12788"/>
          <ac:spMkLst>
            <pc:docMk/>
            <pc:sldMk cId="1458420073" sldId="2147377586"/>
            <ac:spMk id="2" creationId="{EE8012BD-7C63-43CF-9A4E-8C639A2A58A5}"/>
          </ac:spMkLst>
        </pc:spChg>
        <pc:cxnChg chg="add del mod">
          <ac:chgData name="Allie Lailas" userId="2487c244-a597-41b3-9378-29e439332fa1" providerId="ADAL" clId="{7415EE4C-56C6-45CC-A7F9-32F1A490DB1C}" dt="2024-04-03T13:11:31.885" v="794" actId="14100"/>
          <ac:cxnSpMkLst>
            <pc:docMk/>
            <pc:sldMk cId="1458420073" sldId="2147377586"/>
            <ac:cxnSpMk id="5" creationId="{53A3A609-C784-487B-B1C0-106949743FFB}"/>
          </ac:cxnSpMkLst>
        </pc:cxnChg>
      </pc:sldChg>
      <pc:sldChg chg="delSp add del mod">
        <pc:chgData name="Allie Lailas" userId="2487c244-a597-41b3-9378-29e439332fa1" providerId="ADAL" clId="{7415EE4C-56C6-45CC-A7F9-32F1A490DB1C}" dt="2024-04-02T14:07:22.450" v="429" actId="478"/>
        <pc:sldMkLst>
          <pc:docMk/>
          <pc:sldMk cId="759914124" sldId="2147377587"/>
        </pc:sldMkLst>
        <pc:spChg chg="del">
          <ac:chgData name="Allie Lailas" userId="2487c244-a597-41b3-9378-29e439332fa1" providerId="ADAL" clId="{7415EE4C-56C6-45CC-A7F9-32F1A490DB1C}" dt="2024-04-02T14:07:22.450" v="429" actId="478"/>
          <ac:spMkLst>
            <pc:docMk/>
            <pc:sldMk cId="759914124" sldId="2147377587"/>
            <ac:spMk id="2" creationId="{8D86E125-A789-4DAA-AB54-4E334620A316}"/>
          </ac:spMkLst>
        </pc:spChg>
      </pc:sldChg>
      <pc:sldChg chg="add del">
        <pc:chgData name="Allie Lailas" userId="2487c244-a597-41b3-9378-29e439332fa1" providerId="ADAL" clId="{7415EE4C-56C6-45CC-A7F9-32F1A490DB1C}" dt="2024-04-02T13:46:13.561" v="340"/>
        <pc:sldMkLst>
          <pc:docMk/>
          <pc:sldMk cId="579001289" sldId="2147377844"/>
        </pc:sldMkLst>
      </pc:sldChg>
      <pc:sldChg chg="modSp add del mod">
        <pc:chgData name="Allie Lailas" userId="2487c244-a597-41b3-9378-29e439332fa1" providerId="ADAL" clId="{7415EE4C-56C6-45CC-A7F9-32F1A490DB1C}" dt="2024-04-03T13:49:17.798" v="930"/>
        <pc:sldMkLst>
          <pc:docMk/>
          <pc:sldMk cId="834690761" sldId="2147475905"/>
        </pc:sldMkLst>
        <pc:spChg chg="mod">
          <ac:chgData name="Allie Lailas" userId="2487c244-a597-41b3-9378-29e439332fa1" providerId="ADAL" clId="{7415EE4C-56C6-45CC-A7F9-32F1A490DB1C}" dt="2024-04-02T13:32:57.478" v="185" actId="20577"/>
          <ac:spMkLst>
            <pc:docMk/>
            <pc:sldMk cId="834690761" sldId="2147475905"/>
            <ac:spMk id="5" creationId="{07ABE1F6-B84A-C4DA-EA00-62D19B89DB88}"/>
          </ac:spMkLst>
        </pc:spChg>
        <pc:graphicFrameChg chg="mod modGraphic">
          <ac:chgData name="Allie Lailas" userId="2487c244-a597-41b3-9378-29e439332fa1" providerId="ADAL" clId="{7415EE4C-56C6-45CC-A7F9-32F1A490DB1C}" dt="2024-04-03T13:49:17.798" v="930"/>
          <ac:graphicFrameMkLst>
            <pc:docMk/>
            <pc:sldMk cId="834690761" sldId="2147475905"/>
            <ac:graphicFrameMk id="20" creationId="{67740BD7-B3A3-EDF6-4677-EE23C138D0EA}"/>
          </ac:graphicFrameMkLst>
        </pc:graphicFrameChg>
      </pc:sldChg>
      <pc:sldChg chg="modSp add del mod">
        <pc:chgData name="Allie Lailas" userId="2487c244-a597-41b3-9378-29e439332fa1" providerId="ADAL" clId="{7415EE4C-56C6-45CC-A7F9-32F1A490DB1C}" dt="2024-04-03T13:42:17.318" v="885" actId="20577"/>
        <pc:sldMkLst>
          <pc:docMk/>
          <pc:sldMk cId="1938572795" sldId="2147475935"/>
        </pc:sldMkLst>
        <pc:spChg chg="mod">
          <ac:chgData name="Allie Lailas" userId="2487c244-a597-41b3-9378-29e439332fa1" providerId="ADAL" clId="{7415EE4C-56C6-45CC-A7F9-32F1A490DB1C}" dt="2024-04-03T13:31:16.877" v="847" actId="1076"/>
          <ac:spMkLst>
            <pc:docMk/>
            <pc:sldMk cId="1938572795" sldId="2147475935"/>
            <ac:spMk id="2" creationId="{EB93054C-AAAE-5B4F-BF8F-8966AEDD38C1}"/>
          </ac:spMkLst>
        </pc:spChg>
        <pc:spChg chg="mod">
          <ac:chgData name="Allie Lailas" userId="2487c244-a597-41b3-9378-29e439332fa1" providerId="ADAL" clId="{7415EE4C-56C6-45CC-A7F9-32F1A490DB1C}" dt="2024-04-02T16:45:20.592" v="756" actId="20577"/>
          <ac:spMkLst>
            <pc:docMk/>
            <pc:sldMk cId="1938572795" sldId="2147475935"/>
            <ac:spMk id="9" creationId="{5A1265EC-F1A6-875B-1FED-076C7D6E570C}"/>
          </ac:spMkLst>
        </pc:spChg>
        <pc:graphicFrameChg chg="modGraphic">
          <ac:chgData name="Allie Lailas" userId="2487c244-a597-41b3-9378-29e439332fa1" providerId="ADAL" clId="{7415EE4C-56C6-45CC-A7F9-32F1A490DB1C}" dt="2024-04-03T13:42:17.318" v="885" actId="20577"/>
          <ac:graphicFrameMkLst>
            <pc:docMk/>
            <pc:sldMk cId="1938572795" sldId="2147475935"/>
            <ac:graphicFrameMk id="8" creationId="{26CC7F50-0D20-1988-C0E3-4CCF49F54BC7}"/>
          </ac:graphicFrameMkLst>
        </pc:graphicFrameChg>
      </pc:sldChg>
      <pc:sldChg chg="modSp add del mod">
        <pc:chgData name="Allie Lailas" userId="2487c244-a597-41b3-9378-29e439332fa1" providerId="ADAL" clId="{7415EE4C-56C6-45CC-A7F9-32F1A490DB1C}" dt="2024-04-03T15:24:31.484" v="936" actId="113"/>
        <pc:sldMkLst>
          <pc:docMk/>
          <pc:sldMk cId="2569467746" sldId="2147475936"/>
        </pc:sldMkLst>
        <pc:spChg chg="mod">
          <ac:chgData name="Allie Lailas" userId="2487c244-a597-41b3-9378-29e439332fa1" providerId="ADAL" clId="{7415EE4C-56C6-45CC-A7F9-32F1A490DB1C}" dt="2024-04-02T16:50:44.257" v="785" actId="1076"/>
          <ac:spMkLst>
            <pc:docMk/>
            <pc:sldMk cId="2569467746" sldId="2147475936"/>
            <ac:spMk id="19458" creationId="{D0072777-E1E6-3C1F-E102-15E95E69EEB6}"/>
          </ac:spMkLst>
        </pc:spChg>
        <pc:graphicFrameChg chg="mod modGraphic">
          <ac:chgData name="Allie Lailas" userId="2487c244-a597-41b3-9378-29e439332fa1" providerId="ADAL" clId="{7415EE4C-56C6-45CC-A7F9-32F1A490DB1C}" dt="2024-04-03T15:24:31.484" v="936" actId="113"/>
          <ac:graphicFrameMkLst>
            <pc:docMk/>
            <pc:sldMk cId="2569467746" sldId="2147475936"/>
            <ac:graphicFrameMk id="3" creationId="{947D706D-4B92-197B-A7D9-17DD9ECE8109}"/>
          </ac:graphicFrameMkLst>
        </pc:graphicFrameChg>
      </pc:sldChg>
      <pc:sldChg chg="modSp add del mod">
        <pc:chgData name="Allie Lailas" userId="2487c244-a597-41b3-9378-29e439332fa1" providerId="ADAL" clId="{7415EE4C-56C6-45CC-A7F9-32F1A490DB1C}" dt="2024-04-02T16:48:14.001" v="768" actId="1076"/>
        <pc:sldMkLst>
          <pc:docMk/>
          <pc:sldMk cId="337135240" sldId="2147475937"/>
        </pc:sldMkLst>
        <pc:spChg chg="mod">
          <ac:chgData name="Allie Lailas" userId="2487c244-a597-41b3-9378-29e439332fa1" providerId="ADAL" clId="{7415EE4C-56C6-45CC-A7F9-32F1A490DB1C}" dt="2024-04-02T16:48:14.001" v="768" actId="1076"/>
          <ac:spMkLst>
            <pc:docMk/>
            <pc:sldMk cId="337135240" sldId="2147475937"/>
            <ac:spMk id="19458" creationId="{D0072777-E1E6-3C1F-E102-15E95E69EEB6}"/>
          </ac:spMkLst>
        </pc:spChg>
      </pc:sldChg>
      <pc:sldChg chg="addSp delSp modSp add del mod">
        <pc:chgData name="Allie Lailas" userId="2487c244-a597-41b3-9378-29e439332fa1" providerId="ADAL" clId="{7415EE4C-56C6-45CC-A7F9-32F1A490DB1C}" dt="2024-04-03T15:25:32.726" v="940" actId="12788"/>
        <pc:sldMkLst>
          <pc:docMk/>
          <pc:sldMk cId="3686350653" sldId="2147475938"/>
        </pc:sldMkLst>
        <pc:spChg chg="mod">
          <ac:chgData name="Allie Lailas" userId="2487c244-a597-41b3-9378-29e439332fa1" providerId="ADAL" clId="{7415EE4C-56C6-45CC-A7F9-32F1A490DB1C}" dt="2024-04-03T13:41:02.699" v="871" actId="1076"/>
          <ac:spMkLst>
            <pc:docMk/>
            <pc:sldMk cId="3686350653" sldId="2147475938"/>
            <ac:spMk id="19458" creationId="{D0072777-E1E6-3C1F-E102-15E95E69EEB6}"/>
          </ac:spMkLst>
        </pc:spChg>
        <pc:graphicFrameChg chg="del modGraphic">
          <ac:chgData name="Allie Lailas" userId="2487c244-a597-41b3-9378-29e439332fa1" providerId="ADAL" clId="{7415EE4C-56C6-45CC-A7F9-32F1A490DB1C}" dt="2024-04-03T15:25:19.864" v="937" actId="478"/>
          <ac:graphicFrameMkLst>
            <pc:docMk/>
            <pc:sldMk cId="3686350653" sldId="2147475938"/>
            <ac:graphicFrameMk id="3" creationId="{688677FD-44AC-70DC-3515-77824792F996}"/>
          </ac:graphicFrameMkLst>
        </pc:graphicFrameChg>
        <pc:picChg chg="add mod">
          <ac:chgData name="Allie Lailas" userId="2487c244-a597-41b3-9378-29e439332fa1" providerId="ADAL" clId="{7415EE4C-56C6-45CC-A7F9-32F1A490DB1C}" dt="2024-04-03T15:25:32.726" v="940" actId="12788"/>
          <ac:picMkLst>
            <pc:docMk/>
            <pc:sldMk cId="3686350653" sldId="2147475938"/>
            <ac:picMk id="2" creationId="{1F42427A-893E-E2D8-1492-5EE82A57E2E5}"/>
          </ac:picMkLst>
        </pc:picChg>
      </pc:sldChg>
      <pc:sldChg chg="modSp add del mod">
        <pc:chgData name="Allie Lailas" userId="2487c244-a597-41b3-9378-29e439332fa1" providerId="ADAL" clId="{7415EE4C-56C6-45CC-A7F9-32F1A490DB1C}" dt="2024-04-03T15:25:46.044" v="941" actId="20577"/>
        <pc:sldMkLst>
          <pc:docMk/>
          <pc:sldMk cId="2872652131" sldId="2147475939"/>
        </pc:sldMkLst>
        <pc:spChg chg="mod">
          <ac:chgData name="Allie Lailas" userId="2487c244-a597-41b3-9378-29e439332fa1" providerId="ADAL" clId="{7415EE4C-56C6-45CC-A7F9-32F1A490DB1C}" dt="2024-04-03T13:40:49.001" v="870" actId="1076"/>
          <ac:spMkLst>
            <pc:docMk/>
            <pc:sldMk cId="2872652131" sldId="2147475939"/>
            <ac:spMk id="19458" creationId="{D0072777-E1E6-3C1F-E102-15E95E69EEB6}"/>
          </ac:spMkLst>
        </pc:spChg>
        <pc:graphicFrameChg chg="mod modGraphic">
          <ac:chgData name="Allie Lailas" userId="2487c244-a597-41b3-9378-29e439332fa1" providerId="ADAL" clId="{7415EE4C-56C6-45CC-A7F9-32F1A490DB1C}" dt="2024-04-03T15:25:46.044" v="941" actId="20577"/>
          <ac:graphicFrameMkLst>
            <pc:docMk/>
            <pc:sldMk cId="2872652131" sldId="2147475939"/>
            <ac:graphicFrameMk id="2" creationId="{F850F585-8490-2F6D-932D-DBD3FFC1A7F1}"/>
          </ac:graphicFrameMkLst>
        </pc:graphicFrameChg>
      </pc:sldChg>
      <pc:sldChg chg="addSp delSp modSp add del mod">
        <pc:chgData name="Allie Lailas" userId="2487c244-a597-41b3-9378-29e439332fa1" providerId="ADAL" clId="{7415EE4C-56C6-45CC-A7F9-32F1A490DB1C}" dt="2024-04-03T15:26:56.570" v="956" actId="1076"/>
        <pc:sldMkLst>
          <pc:docMk/>
          <pc:sldMk cId="3854579893" sldId="2147475940"/>
        </pc:sldMkLst>
        <pc:graphicFrameChg chg="del mod modGraphic">
          <ac:chgData name="Allie Lailas" userId="2487c244-a597-41b3-9378-29e439332fa1" providerId="ADAL" clId="{7415EE4C-56C6-45CC-A7F9-32F1A490DB1C}" dt="2024-04-03T15:26:04.834" v="942" actId="478"/>
          <ac:graphicFrameMkLst>
            <pc:docMk/>
            <pc:sldMk cId="3854579893" sldId="2147475940"/>
            <ac:graphicFrameMk id="2" creationId="{C425AE9F-F292-C1EC-6CBE-0CE219B34DFB}"/>
          </ac:graphicFrameMkLst>
        </pc:graphicFrameChg>
        <pc:graphicFrameChg chg="add mod">
          <ac:chgData name="Allie Lailas" userId="2487c244-a597-41b3-9378-29e439332fa1" providerId="ADAL" clId="{7415EE4C-56C6-45CC-A7F9-32F1A490DB1C}" dt="2024-04-03T15:26:56.570" v="956" actId="1076"/>
          <ac:graphicFrameMkLst>
            <pc:docMk/>
            <pc:sldMk cId="3854579893" sldId="2147475940"/>
            <ac:graphicFrameMk id="6" creationId="{08A8D536-B75B-D676-0E6F-04A594C50ACD}"/>
          </ac:graphicFrameMkLst>
        </pc:graphicFrameChg>
        <pc:picChg chg="add mod">
          <ac:chgData name="Allie Lailas" userId="2487c244-a597-41b3-9378-29e439332fa1" providerId="ADAL" clId="{7415EE4C-56C6-45CC-A7F9-32F1A490DB1C}" dt="2024-04-03T15:26:16.638" v="946"/>
          <ac:picMkLst>
            <pc:docMk/>
            <pc:sldMk cId="3854579893" sldId="2147475940"/>
            <ac:picMk id="3" creationId="{77DEA90E-1E0D-77D4-28C3-844934D67FBB}"/>
          </ac:picMkLst>
        </pc:picChg>
        <pc:picChg chg="add mod">
          <ac:chgData name="Allie Lailas" userId="2487c244-a597-41b3-9378-29e439332fa1" providerId="ADAL" clId="{7415EE4C-56C6-45CC-A7F9-32F1A490DB1C}" dt="2024-04-03T15:26:26.056" v="952"/>
          <ac:picMkLst>
            <pc:docMk/>
            <pc:sldMk cId="3854579893" sldId="2147475940"/>
            <ac:picMk id="4" creationId="{77DEA90E-1E0D-77D4-28C3-844934D67FBB}"/>
          </ac:picMkLst>
        </pc:picChg>
        <pc:picChg chg="add del mod">
          <ac:chgData name="Allie Lailas" userId="2487c244-a597-41b3-9378-29e439332fa1" providerId="ADAL" clId="{7415EE4C-56C6-45CC-A7F9-32F1A490DB1C}" dt="2024-04-03T15:26:44.517" v="954" actId="478"/>
          <ac:picMkLst>
            <pc:docMk/>
            <pc:sldMk cId="3854579893" sldId="2147475940"/>
            <ac:picMk id="5" creationId="{77DEA90E-1E0D-77D4-28C3-844934D67FBB}"/>
          </ac:picMkLst>
        </pc:picChg>
      </pc:sldChg>
      <pc:sldChg chg="modSp add del mod">
        <pc:chgData name="Allie Lailas" userId="2487c244-a597-41b3-9378-29e439332fa1" providerId="ADAL" clId="{7415EE4C-56C6-45CC-A7F9-32F1A490DB1C}" dt="2024-04-02T16:46:42.060" v="760" actId="1076"/>
        <pc:sldMkLst>
          <pc:docMk/>
          <pc:sldMk cId="1197728327" sldId="2147475942"/>
        </pc:sldMkLst>
        <pc:spChg chg="mod">
          <ac:chgData name="Allie Lailas" userId="2487c244-a597-41b3-9378-29e439332fa1" providerId="ADAL" clId="{7415EE4C-56C6-45CC-A7F9-32F1A490DB1C}" dt="2024-04-02T16:46:36.456" v="759" actId="1076"/>
          <ac:spMkLst>
            <pc:docMk/>
            <pc:sldMk cId="1197728327" sldId="2147475942"/>
            <ac:spMk id="8" creationId="{4529D5F7-C804-30F0-F29A-3C48C133F194}"/>
          </ac:spMkLst>
        </pc:spChg>
        <pc:picChg chg="mod">
          <ac:chgData name="Allie Lailas" userId="2487c244-a597-41b3-9378-29e439332fa1" providerId="ADAL" clId="{7415EE4C-56C6-45CC-A7F9-32F1A490DB1C}" dt="2024-04-02T16:46:42.060" v="760" actId="1076"/>
          <ac:picMkLst>
            <pc:docMk/>
            <pc:sldMk cId="1197728327" sldId="2147475942"/>
            <ac:picMk id="3" creationId="{8084CEC0-6A94-4B20-8D78-C7675F131530}"/>
          </ac:picMkLst>
        </pc:picChg>
      </pc:sldChg>
      <pc:sldChg chg="modSp add del mod">
        <pc:chgData name="Allie Lailas" userId="2487c244-a597-41b3-9378-29e439332fa1" providerId="ADAL" clId="{7415EE4C-56C6-45CC-A7F9-32F1A490DB1C}" dt="2024-04-02T16:46:26.278" v="758" actId="1076"/>
        <pc:sldMkLst>
          <pc:docMk/>
          <pc:sldMk cId="4276513319" sldId="2147475943"/>
        </pc:sldMkLst>
        <pc:spChg chg="mod">
          <ac:chgData name="Allie Lailas" userId="2487c244-a597-41b3-9378-29e439332fa1" providerId="ADAL" clId="{7415EE4C-56C6-45CC-A7F9-32F1A490DB1C}" dt="2024-04-02T16:46:26.278" v="758" actId="1076"/>
          <ac:spMkLst>
            <pc:docMk/>
            <pc:sldMk cId="4276513319" sldId="2147475943"/>
            <ac:spMk id="2" creationId="{33F633A9-77C1-9AF9-D028-912FD7B02391}"/>
          </ac:spMkLst>
        </pc:spChg>
      </pc:sldChg>
      <pc:sldChg chg="modSp add del mod">
        <pc:chgData name="Allie Lailas" userId="2487c244-a597-41b3-9378-29e439332fa1" providerId="ADAL" clId="{7415EE4C-56C6-45CC-A7F9-32F1A490DB1C}" dt="2024-04-02T16:46:52.252" v="761" actId="1076"/>
        <pc:sldMkLst>
          <pc:docMk/>
          <pc:sldMk cId="1941781720" sldId="2147475944"/>
        </pc:sldMkLst>
        <pc:spChg chg="mod">
          <ac:chgData name="Allie Lailas" userId="2487c244-a597-41b3-9378-29e439332fa1" providerId="ADAL" clId="{7415EE4C-56C6-45CC-A7F9-32F1A490DB1C}" dt="2024-04-02T16:46:52.252" v="761" actId="1076"/>
          <ac:spMkLst>
            <pc:docMk/>
            <pc:sldMk cId="1941781720" sldId="2147475944"/>
            <ac:spMk id="8" creationId="{548705B4-A24C-30D4-4CB8-2A11A3F70522}"/>
          </ac:spMkLst>
        </pc:spChg>
      </pc:sldChg>
      <pc:sldChg chg="modSp add del mod">
        <pc:chgData name="Allie Lailas" userId="2487c244-a597-41b3-9378-29e439332fa1" providerId="ADAL" clId="{7415EE4C-56C6-45CC-A7F9-32F1A490DB1C}" dt="2024-04-02T16:02:16.211" v="476" actId="20577"/>
        <pc:sldMkLst>
          <pc:docMk/>
          <pc:sldMk cId="2716508956" sldId="2147475947"/>
        </pc:sldMkLst>
        <pc:spChg chg="mod">
          <ac:chgData name="Allie Lailas" userId="2487c244-a597-41b3-9378-29e439332fa1" providerId="ADAL" clId="{7415EE4C-56C6-45CC-A7F9-32F1A490DB1C}" dt="2024-04-02T16:02:16.211" v="476" actId="20577"/>
          <ac:spMkLst>
            <pc:docMk/>
            <pc:sldMk cId="2716508956" sldId="2147475947"/>
            <ac:spMk id="2" creationId="{4D711872-7B2A-5CE3-A13B-6AEAB88FF476}"/>
          </ac:spMkLst>
        </pc:spChg>
        <pc:graphicFrameChg chg="mod">
          <ac:chgData name="Allie Lailas" userId="2487c244-a597-41b3-9378-29e439332fa1" providerId="ADAL" clId="{7415EE4C-56C6-45CC-A7F9-32F1A490DB1C}" dt="2024-04-02T13:43:03.811" v="330" actId="20577"/>
          <ac:graphicFrameMkLst>
            <pc:docMk/>
            <pc:sldMk cId="2716508956" sldId="2147475947"/>
            <ac:graphicFrameMk id="5" creationId="{61BDA80F-7471-B8BC-D47D-08DC952A2338}"/>
          </ac:graphicFrameMkLst>
        </pc:graphicFrameChg>
      </pc:sldChg>
      <pc:sldChg chg="modSp add del mod">
        <pc:chgData name="Allie Lailas" userId="2487c244-a597-41b3-9378-29e439332fa1" providerId="ADAL" clId="{7415EE4C-56C6-45CC-A7F9-32F1A490DB1C}" dt="2024-04-03T13:42:32.206" v="886" actId="403"/>
        <pc:sldMkLst>
          <pc:docMk/>
          <pc:sldMk cId="3101108786" sldId="2147475948"/>
        </pc:sldMkLst>
        <pc:spChg chg="mod">
          <ac:chgData name="Allie Lailas" userId="2487c244-a597-41b3-9378-29e439332fa1" providerId="ADAL" clId="{7415EE4C-56C6-45CC-A7F9-32F1A490DB1C}" dt="2024-04-02T16:50:23.045" v="782" actId="1076"/>
          <ac:spMkLst>
            <pc:docMk/>
            <pc:sldMk cId="3101108786" sldId="2147475948"/>
            <ac:spMk id="19458" creationId="{D0072777-E1E6-3C1F-E102-15E95E69EEB6}"/>
          </ac:spMkLst>
        </pc:spChg>
        <pc:graphicFrameChg chg="mod modGraphic">
          <ac:chgData name="Allie Lailas" userId="2487c244-a597-41b3-9378-29e439332fa1" providerId="ADAL" clId="{7415EE4C-56C6-45CC-A7F9-32F1A490DB1C}" dt="2024-04-03T13:42:32.206" v="886" actId="403"/>
          <ac:graphicFrameMkLst>
            <pc:docMk/>
            <pc:sldMk cId="3101108786" sldId="2147475948"/>
            <ac:graphicFrameMk id="4" creationId="{B070AED0-C1E5-4104-D288-F58942B178C5}"/>
          </ac:graphicFrameMkLst>
        </pc:graphicFrameChg>
      </pc:sldChg>
      <pc:sldChg chg="modSp add del mod">
        <pc:chgData name="Allie Lailas" userId="2487c244-a597-41b3-9378-29e439332fa1" providerId="ADAL" clId="{7415EE4C-56C6-45CC-A7F9-32F1A490DB1C}" dt="2024-04-02T16:13:07.691" v="538" actId="403"/>
        <pc:sldMkLst>
          <pc:docMk/>
          <pc:sldMk cId="2853168682" sldId="2147480927"/>
        </pc:sldMkLst>
        <pc:spChg chg="mod">
          <ac:chgData name="Allie Lailas" userId="2487c244-a597-41b3-9378-29e439332fa1" providerId="ADAL" clId="{7415EE4C-56C6-45CC-A7F9-32F1A490DB1C}" dt="2024-04-02T16:13:07.691" v="538" actId="403"/>
          <ac:spMkLst>
            <pc:docMk/>
            <pc:sldMk cId="2853168682" sldId="2147480927"/>
            <ac:spMk id="2" creationId="{50A01D2B-02A1-AFFA-5CA6-58EE07AA9D77}"/>
          </ac:spMkLst>
        </pc:spChg>
      </pc:sldChg>
      <pc:sldChg chg="modSp add del mod">
        <pc:chgData name="Allie Lailas" userId="2487c244-a597-41b3-9378-29e439332fa1" providerId="ADAL" clId="{7415EE4C-56C6-45CC-A7F9-32F1A490DB1C}" dt="2024-04-02T16:24:51.002" v="596" actId="12788"/>
        <pc:sldMkLst>
          <pc:docMk/>
          <pc:sldMk cId="2700747826" sldId="2147480928"/>
        </pc:sldMkLst>
        <pc:spChg chg="mod">
          <ac:chgData name="Allie Lailas" userId="2487c244-a597-41b3-9378-29e439332fa1" providerId="ADAL" clId="{7415EE4C-56C6-45CC-A7F9-32F1A490DB1C}" dt="2024-04-02T16:24:51.002" v="596" actId="12788"/>
          <ac:spMkLst>
            <pc:docMk/>
            <pc:sldMk cId="2700747826" sldId="2147480928"/>
            <ac:spMk id="2" creationId="{06D00331-1B11-BB55-4E94-458E7326F0E9}"/>
          </ac:spMkLst>
        </pc:spChg>
      </pc:sldChg>
      <pc:sldChg chg="modSp add del mod">
        <pc:chgData name="Allie Lailas" userId="2487c244-a597-41b3-9378-29e439332fa1" providerId="ADAL" clId="{7415EE4C-56C6-45CC-A7F9-32F1A490DB1C}" dt="2024-04-02T16:33:00.186" v="671" actId="20577"/>
        <pc:sldMkLst>
          <pc:docMk/>
          <pc:sldMk cId="2523984295" sldId="2147480931"/>
        </pc:sldMkLst>
        <pc:spChg chg="mod">
          <ac:chgData name="Allie Lailas" userId="2487c244-a597-41b3-9378-29e439332fa1" providerId="ADAL" clId="{7415EE4C-56C6-45CC-A7F9-32F1A490DB1C}" dt="2024-04-02T16:32:32.402" v="662" actId="1076"/>
          <ac:spMkLst>
            <pc:docMk/>
            <pc:sldMk cId="2523984295" sldId="2147480931"/>
            <ac:spMk id="2" creationId="{C6DBA319-42D5-64D4-7856-501E736335EF}"/>
          </ac:spMkLst>
        </pc:spChg>
        <pc:spChg chg="mod">
          <ac:chgData name="Allie Lailas" userId="2487c244-a597-41b3-9378-29e439332fa1" providerId="ADAL" clId="{7415EE4C-56C6-45CC-A7F9-32F1A490DB1C}" dt="2024-04-02T16:33:00.186" v="671" actId="20577"/>
          <ac:spMkLst>
            <pc:docMk/>
            <pc:sldMk cId="2523984295" sldId="2147480931"/>
            <ac:spMk id="3" creationId="{447FC71A-636B-C826-D976-846A6C207694}"/>
          </ac:spMkLst>
        </pc:spChg>
        <pc:spChg chg="mod">
          <ac:chgData name="Allie Lailas" userId="2487c244-a597-41b3-9378-29e439332fa1" providerId="ADAL" clId="{7415EE4C-56C6-45CC-A7F9-32F1A490DB1C}" dt="2024-04-02T16:32:46.584" v="665" actId="1076"/>
          <ac:spMkLst>
            <pc:docMk/>
            <pc:sldMk cId="2523984295" sldId="2147480931"/>
            <ac:spMk id="10" creationId="{0B4365AA-C6EB-02C6-75DB-4618C64100A8}"/>
          </ac:spMkLst>
        </pc:spChg>
      </pc:sldChg>
      <pc:sldChg chg="modSp add del">
        <pc:chgData name="Allie Lailas" userId="2487c244-a597-41b3-9378-29e439332fa1" providerId="ADAL" clId="{7415EE4C-56C6-45CC-A7F9-32F1A490DB1C}" dt="2024-04-03T13:46:28.938" v="902" actId="20577"/>
        <pc:sldMkLst>
          <pc:docMk/>
          <pc:sldMk cId="3512679975" sldId="2147480933"/>
        </pc:sldMkLst>
        <pc:graphicFrameChg chg="mod">
          <ac:chgData name="Allie Lailas" userId="2487c244-a597-41b3-9378-29e439332fa1" providerId="ADAL" clId="{7415EE4C-56C6-45CC-A7F9-32F1A490DB1C}" dt="2024-04-03T13:46:28.938" v="902" actId="20577"/>
          <ac:graphicFrameMkLst>
            <pc:docMk/>
            <pc:sldMk cId="3512679975" sldId="2147480933"/>
            <ac:graphicFrameMk id="6" creationId="{7CF41496-AB72-D7EA-26EC-43F4A0E61885}"/>
          </ac:graphicFrameMkLst>
        </pc:graphicFrameChg>
      </pc:sldChg>
      <pc:sldChg chg="modSp add del mod">
        <pc:chgData name="Allie Lailas" userId="2487c244-a597-41b3-9378-29e439332fa1" providerId="ADAL" clId="{7415EE4C-56C6-45CC-A7F9-32F1A490DB1C}" dt="2024-04-03T13:43:02.231" v="888" actId="1076"/>
        <pc:sldMkLst>
          <pc:docMk/>
          <pc:sldMk cId="2184256468" sldId="2147480934"/>
        </pc:sldMkLst>
        <pc:spChg chg="mod">
          <ac:chgData name="Allie Lailas" userId="2487c244-a597-41b3-9378-29e439332fa1" providerId="ADAL" clId="{7415EE4C-56C6-45CC-A7F9-32F1A490DB1C}" dt="2024-04-03T13:43:02.231" v="888" actId="1076"/>
          <ac:spMkLst>
            <pc:docMk/>
            <pc:sldMk cId="2184256468" sldId="2147480934"/>
            <ac:spMk id="19458" creationId="{0DABE70D-1C96-8E27-C8A0-BFB4166DC420}"/>
          </ac:spMkLst>
        </pc:spChg>
        <pc:graphicFrameChg chg="mod modGraphic">
          <ac:chgData name="Allie Lailas" userId="2487c244-a597-41b3-9378-29e439332fa1" providerId="ADAL" clId="{7415EE4C-56C6-45CC-A7F9-32F1A490DB1C}" dt="2024-04-03T13:38:10.085" v="865" actId="207"/>
          <ac:graphicFrameMkLst>
            <pc:docMk/>
            <pc:sldMk cId="2184256468" sldId="2147480934"/>
            <ac:graphicFrameMk id="3" creationId="{E13B9F99-36E5-E5E3-65CE-0440AF2A5D21}"/>
          </ac:graphicFrameMkLst>
        </pc:graphicFrameChg>
      </pc:sldChg>
      <pc:sldChg chg="modSp add del mod">
        <pc:chgData name="Allie Lailas" userId="2487c244-a597-41b3-9378-29e439332fa1" providerId="ADAL" clId="{7415EE4C-56C6-45CC-A7F9-32F1A490DB1C}" dt="2024-04-03T13:23:52.162" v="834" actId="1076"/>
        <pc:sldMkLst>
          <pc:docMk/>
          <pc:sldMk cId="688558987" sldId="2147480935"/>
        </pc:sldMkLst>
        <pc:spChg chg="mod">
          <ac:chgData name="Allie Lailas" userId="2487c244-a597-41b3-9378-29e439332fa1" providerId="ADAL" clId="{7415EE4C-56C6-45CC-A7F9-32F1A490DB1C}" dt="2024-04-03T13:23:52.162" v="834" actId="1076"/>
          <ac:spMkLst>
            <pc:docMk/>
            <pc:sldMk cId="688558987" sldId="2147480935"/>
            <ac:spMk id="2" creationId="{14EBEB00-3716-0EE5-0E5A-895D361AAF28}"/>
          </ac:spMkLst>
        </pc:spChg>
        <pc:spChg chg="mod">
          <ac:chgData name="Allie Lailas" userId="2487c244-a597-41b3-9378-29e439332fa1" providerId="ADAL" clId="{7415EE4C-56C6-45CC-A7F9-32F1A490DB1C}" dt="2024-04-02T16:27:18.164" v="627" actId="403"/>
          <ac:spMkLst>
            <pc:docMk/>
            <pc:sldMk cId="688558987" sldId="2147480935"/>
            <ac:spMk id="4" creationId="{DB400B58-2584-4D1F-3D4A-86F09D435299}"/>
          </ac:spMkLst>
        </pc:spChg>
      </pc:sldChg>
      <pc:sldChg chg="modSp add del mod">
        <pc:chgData name="Allie Lailas" userId="2487c244-a597-41b3-9378-29e439332fa1" providerId="ADAL" clId="{7415EE4C-56C6-45CC-A7F9-32F1A490DB1C}" dt="2024-04-02T16:25:33.591" v="609" actId="313"/>
        <pc:sldMkLst>
          <pc:docMk/>
          <pc:sldMk cId="3442385970" sldId="2147480936"/>
        </pc:sldMkLst>
        <pc:spChg chg="mod">
          <ac:chgData name="Allie Lailas" userId="2487c244-a597-41b3-9378-29e439332fa1" providerId="ADAL" clId="{7415EE4C-56C6-45CC-A7F9-32F1A490DB1C}" dt="2024-04-02T16:25:33.591" v="609" actId="313"/>
          <ac:spMkLst>
            <pc:docMk/>
            <pc:sldMk cId="3442385970" sldId="2147480936"/>
            <ac:spMk id="3" creationId="{85A010F5-21E4-91F7-5000-7D218E76CCDE}"/>
          </ac:spMkLst>
        </pc:spChg>
        <pc:spChg chg="mod">
          <ac:chgData name="Allie Lailas" userId="2487c244-a597-41b3-9378-29e439332fa1" providerId="ADAL" clId="{7415EE4C-56C6-45CC-A7F9-32F1A490DB1C}" dt="2024-04-02T16:25:02.539" v="598" actId="403"/>
          <ac:spMkLst>
            <pc:docMk/>
            <pc:sldMk cId="3442385970" sldId="2147480936"/>
            <ac:spMk id="4" creationId="{B94854BE-5D67-8718-666D-9D4ECA740896}"/>
          </ac:spMkLst>
        </pc:spChg>
      </pc:sldChg>
      <pc:sldChg chg="modSp add del mod">
        <pc:chgData name="Allie Lailas" userId="2487c244-a597-41b3-9378-29e439332fa1" providerId="ADAL" clId="{7415EE4C-56C6-45CC-A7F9-32F1A490DB1C}" dt="2024-04-03T13:22:34.111" v="826" actId="1076"/>
        <pc:sldMkLst>
          <pc:docMk/>
          <pc:sldMk cId="3242092029" sldId="2147480937"/>
        </pc:sldMkLst>
        <pc:spChg chg="mod">
          <ac:chgData name="Allie Lailas" userId="2487c244-a597-41b3-9378-29e439332fa1" providerId="ADAL" clId="{7415EE4C-56C6-45CC-A7F9-32F1A490DB1C}" dt="2024-04-03T13:22:34.111" v="826" actId="1076"/>
          <ac:spMkLst>
            <pc:docMk/>
            <pc:sldMk cId="3242092029" sldId="2147480937"/>
            <ac:spMk id="6" creationId="{FBFFD828-53D7-BEC0-E4D2-C5ACED1568FD}"/>
          </ac:spMkLst>
        </pc:spChg>
      </pc:sldChg>
      <pc:sldChg chg="modSp add del mod">
        <pc:chgData name="Allie Lailas" userId="2487c244-a597-41b3-9378-29e439332fa1" providerId="ADAL" clId="{7415EE4C-56C6-45CC-A7F9-32F1A490DB1C}" dt="2024-04-03T13:24:35.690" v="841" actId="12788"/>
        <pc:sldMkLst>
          <pc:docMk/>
          <pc:sldMk cId="2967906369" sldId="2147480938"/>
        </pc:sldMkLst>
        <pc:spChg chg="mod">
          <ac:chgData name="Allie Lailas" userId="2487c244-a597-41b3-9378-29e439332fa1" providerId="ADAL" clId="{7415EE4C-56C6-45CC-A7F9-32F1A490DB1C}" dt="2024-04-03T13:24:20.267" v="840" actId="12788"/>
          <ac:spMkLst>
            <pc:docMk/>
            <pc:sldMk cId="2967906369" sldId="2147480938"/>
            <ac:spMk id="2" creationId="{4B7AA5B4-711F-71C2-509E-EADDFDFF4CE4}"/>
          </ac:spMkLst>
        </pc:spChg>
        <pc:spChg chg="mod">
          <ac:chgData name="Allie Lailas" userId="2487c244-a597-41b3-9378-29e439332fa1" providerId="ADAL" clId="{7415EE4C-56C6-45CC-A7F9-32F1A490DB1C}" dt="2024-04-02T16:27:48.379" v="634" actId="1076"/>
          <ac:spMkLst>
            <pc:docMk/>
            <pc:sldMk cId="2967906369" sldId="2147480938"/>
            <ac:spMk id="3" creationId="{D7E4C361-B16B-9EDA-9D4C-45EB64D1AD80}"/>
          </ac:spMkLst>
        </pc:spChg>
        <pc:graphicFrameChg chg="mod">
          <ac:chgData name="Allie Lailas" userId="2487c244-a597-41b3-9378-29e439332fa1" providerId="ADAL" clId="{7415EE4C-56C6-45CC-A7F9-32F1A490DB1C}" dt="2024-04-03T13:24:35.690" v="841" actId="12788"/>
          <ac:graphicFrameMkLst>
            <pc:docMk/>
            <pc:sldMk cId="2967906369" sldId="2147480938"/>
            <ac:graphicFrameMk id="5" creationId="{C9ADF7B1-54A4-3759-B360-02F65A2CC2C8}"/>
          </ac:graphicFrameMkLst>
        </pc:graphicFrameChg>
      </pc:sldChg>
      <pc:sldChg chg="modSp add mod">
        <pc:chgData name="Allie Lailas" userId="2487c244-a597-41b3-9378-29e439332fa1" providerId="ADAL" clId="{7415EE4C-56C6-45CC-A7F9-32F1A490DB1C}" dt="2024-04-02T16:37:18.420" v="714" actId="12788"/>
        <pc:sldMkLst>
          <pc:docMk/>
          <pc:sldMk cId="719206058" sldId="2147480939"/>
        </pc:sldMkLst>
        <pc:spChg chg="mod">
          <ac:chgData name="Allie Lailas" userId="2487c244-a597-41b3-9378-29e439332fa1" providerId="ADAL" clId="{7415EE4C-56C6-45CC-A7F9-32F1A490DB1C}" dt="2024-04-02T16:37:18.420" v="714" actId="12788"/>
          <ac:spMkLst>
            <pc:docMk/>
            <pc:sldMk cId="719206058" sldId="2147480939"/>
            <ac:spMk id="2" creationId="{3DB5A8A8-F4CE-4836-B683-FCE1F67DF46B}"/>
          </ac:spMkLst>
        </pc:spChg>
        <pc:spChg chg="mod">
          <ac:chgData name="Allie Lailas" userId="2487c244-a597-41b3-9378-29e439332fa1" providerId="ADAL" clId="{7415EE4C-56C6-45CC-A7F9-32F1A490DB1C}" dt="2024-04-02T16:36:06.135" v="707" actId="1076"/>
          <ac:spMkLst>
            <pc:docMk/>
            <pc:sldMk cId="719206058" sldId="2147480939"/>
            <ac:spMk id="4" creationId="{33F3E545-3C25-4FFD-D297-8AF3AD5E7954}"/>
          </ac:spMkLst>
        </pc:spChg>
      </pc:sldChg>
      <pc:sldChg chg="add del">
        <pc:chgData name="Allie Lailas" userId="2487c244-a597-41b3-9378-29e439332fa1" providerId="ADAL" clId="{7415EE4C-56C6-45CC-A7F9-32F1A490DB1C}" dt="2024-04-02T13:46:13.260" v="339"/>
        <pc:sldMkLst>
          <pc:docMk/>
          <pc:sldMk cId="3410966353" sldId="2147480939"/>
        </pc:sldMkLst>
      </pc:sldChg>
      <pc:sldChg chg="modSp add mod">
        <pc:chgData name="Allie Lailas" userId="2487c244-a597-41b3-9378-29e439332fa1" providerId="ADAL" clId="{7415EE4C-56C6-45CC-A7F9-32F1A490DB1C}" dt="2024-04-02T16:40:33.049" v="750" actId="20577"/>
        <pc:sldMkLst>
          <pc:docMk/>
          <pc:sldMk cId="21580784" sldId="2147480940"/>
        </pc:sldMkLst>
        <pc:spChg chg="mod">
          <ac:chgData name="Allie Lailas" userId="2487c244-a597-41b3-9378-29e439332fa1" providerId="ADAL" clId="{7415EE4C-56C6-45CC-A7F9-32F1A490DB1C}" dt="2024-04-02T16:37:09.771" v="713" actId="12788"/>
          <ac:spMkLst>
            <pc:docMk/>
            <pc:sldMk cId="21580784" sldId="2147480940"/>
            <ac:spMk id="2" creationId="{9E74A188-1969-D0B6-05BA-6F9091769AEA}"/>
          </ac:spMkLst>
        </pc:spChg>
        <pc:spChg chg="mod">
          <ac:chgData name="Allie Lailas" userId="2487c244-a597-41b3-9378-29e439332fa1" providerId="ADAL" clId="{7415EE4C-56C6-45CC-A7F9-32F1A490DB1C}" dt="2024-04-02T16:40:33.049" v="750" actId="20577"/>
          <ac:spMkLst>
            <pc:docMk/>
            <pc:sldMk cId="21580784" sldId="2147480940"/>
            <ac:spMk id="4" creationId="{68E0BF8B-22AB-36F5-B71A-D80705308467}"/>
          </ac:spMkLst>
        </pc:spChg>
        <pc:spChg chg="mod">
          <ac:chgData name="Allie Lailas" userId="2487c244-a597-41b3-9378-29e439332fa1" providerId="ADAL" clId="{7415EE4C-56C6-45CC-A7F9-32F1A490DB1C}" dt="2024-04-02T16:40:10.206" v="741" actId="1076"/>
          <ac:spMkLst>
            <pc:docMk/>
            <pc:sldMk cId="21580784" sldId="2147480940"/>
            <ac:spMk id="10" creationId="{5FD5B696-DF44-201B-8671-F2EBD9995D43}"/>
          </ac:spMkLst>
        </pc:spChg>
      </pc:sldChg>
      <pc:sldChg chg="modSp add del mod">
        <pc:chgData name="Allie Lailas" userId="2487c244-a597-41b3-9378-29e439332fa1" providerId="ADAL" clId="{7415EE4C-56C6-45CC-A7F9-32F1A490DB1C}" dt="2024-04-02T13:46:13.260" v="339"/>
        <pc:sldMkLst>
          <pc:docMk/>
          <pc:sldMk cId="2467809801" sldId="2147480940"/>
        </pc:sldMkLst>
        <pc:spChg chg="mod">
          <ac:chgData name="Allie Lailas" userId="2487c244-a597-41b3-9378-29e439332fa1" providerId="ADAL" clId="{7415EE4C-56C6-45CC-A7F9-32F1A490DB1C}" dt="2024-04-02T13:46:13.260" v="339"/>
          <ac:spMkLst>
            <pc:docMk/>
            <pc:sldMk cId="2467809801" sldId="2147480940"/>
            <ac:spMk id="4" creationId="{68E0BF8B-22AB-36F5-B71A-D80705308467}"/>
          </ac:spMkLst>
        </pc:spChg>
      </pc:sldChg>
      <pc:sldChg chg="add del modTransition">
        <pc:chgData name="Allie Lailas" userId="2487c244-a597-41b3-9378-29e439332fa1" providerId="ADAL" clId="{7415EE4C-56C6-45CC-A7F9-32F1A490DB1C}" dt="2024-04-02T13:46:13.260" v="339"/>
        <pc:sldMkLst>
          <pc:docMk/>
          <pc:sldMk cId="788205045" sldId="2147480941"/>
        </pc:sldMkLst>
      </pc:sldChg>
      <pc:sldChg chg="modSp add mod">
        <pc:chgData name="Allie Lailas" userId="2487c244-a597-41b3-9378-29e439332fa1" providerId="ADAL" clId="{7415EE4C-56C6-45CC-A7F9-32F1A490DB1C}" dt="2024-04-02T16:41:04.670" v="753" actId="1076"/>
        <pc:sldMkLst>
          <pc:docMk/>
          <pc:sldMk cId="2165156776" sldId="2147480941"/>
        </pc:sldMkLst>
        <pc:spChg chg="mod">
          <ac:chgData name="Allie Lailas" userId="2487c244-a597-41b3-9378-29e439332fa1" providerId="ADAL" clId="{7415EE4C-56C6-45CC-A7F9-32F1A490DB1C}" dt="2024-04-02T16:41:04.670" v="753" actId="1076"/>
          <ac:spMkLst>
            <pc:docMk/>
            <pc:sldMk cId="2165156776" sldId="2147480941"/>
            <ac:spMk id="17473" creationId="{C3AF14EE-D00F-FF88-D0EF-DCB82A375C54}"/>
          </ac:spMkLst>
        </pc:spChg>
      </pc:sldChg>
      <pc:sldChg chg="add del">
        <pc:chgData name="Allie Lailas" userId="2487c244-a597-41b3-9378-29e439332fa1" providerId="ADAL" clId="{7415EE4C-56C6-45CC-A7F9-32F1A490DB1C}" dt="2024-04-02T16:23:25.684" v="585" actId="47"/>
        <pc:sldMkLst>
          <pc:docMk/>
          <pc:sldMk cId="545330128" sldId="2147480942"/>
        </pc:sldMkLst>
      </pc:sldChg>
      <pc:sldChg chg="add del">
        <pc:chgData name="Allie Lailas" userId="2487c244-a597-41b3-9378-29e439332fa1" providerId="ADAL" clId="{7415EE4C-56C6-45CC-A7F9-32F1A490DB1C}" dt="2024-04-02T16:05:11.849" v="487"/>
        <pc:sldMkLst>
          <pc:docMk/>
          <pc:sldMk cId="2068828680" sldId="2147480942"/>
        </pc:sldMkLst>
      </pc:sldChg>
      <pc:sldChg chg="add del">
        <pc:chgData name="Allie Lailas" userId="2487c244-a597-41b3-9378-29e439332fa1" providerId="ADAL" clId="{7415EE4C-56C6-45CC-A7F9-32F1A490DB1C}" dt="2024-04-02T16:33:30.161" v="677"/>
        <pc:sldMkLst>
          <pc:docMk/>
          <pc:sldMk cId="2176767076" sldId="2147480942"/>
        </pc:sldMkLst>
      </pc:sldChg>
      <pc:sldChg chg="add del">
        <pc:chgData name="Allie Lailas" userId="2487c244-a597-41b3-9378-29e439332fa1" providerId="ADAL" clId="{7415EE4C-56C6-45CC-A7F9-32F1A490DB1C}" dt="2024-04-02T16:31:21.164" v="659" actId="47"/>
        <pc:sldMkLst>
          <pc:docMk/>
          <pc:sldMk cId="2590468520" sldId="2147480942"/>
        </pc:sldMkLst>
      </pc:sldChg>
      <pc:sldChg chg="add del">
        <pc:chgData name="Allie Lailas" userId="2487c244-a597-41b3-9378-29e439332fa1" providerId="ADAL" clId="{7415EE4C-56C6-45CC-A7F9-32F1A490DB1C}" dt="2024-04-02T16:04:59.201" v="483"/>
        <pc:sldMkLst>
          <pc:docMk/>
          <pc:sldMk cId="2689797954" sldId="2147480942"/>
        </pc:sldMkLst>
      </pc:sldChg>
      <pc:sldChg chg="add del">
        <pc:chgData name="Allie Lailas" userId="2487c244-a597-41b3-9378-29e439332fa1" providerId="ADAL" clId="{7415EE4C-56C6-45CC-A7F9-32F1A490DB1C}" dt="2024-04-02T16:12:53.844" v="536"/>
        <pc:sldMkLst>
          <pc:docMk/>
          <pc:sldMk cId="2756981092" sldId="2147480942"/>
        </pc:sldMkLst>
      </pc:sldChg>
      <pc:sldChg chg="addSp add del">
        <pc:chgData name="Allie Lailas" userId="2487c244-a597-41b3-9378-29e439332fa1" providerId="ADAL" clId="{7415EE4C-56C6-45CC-A7F9-32F1A490DB1C}" dt="2024-04-02T16:14:53.507" v="553"/>
        <pc:sldMkLst>
          <pc:docMk/>
          <pc:sldMk cId="3149265253" sldId="2147480942"/>
        </pc:sldMkLst>
        <pc:picChg chg="add">
          <ac:chgData name="Allie Lailas" userId="2487c244-a597-41b3-9378-29e439332fa1" providerId="ADAL" clId="{7415EE4C-56C6-45CC-A7F9-32F1A490DB1C}" dt="2024-04-02T16:14:28.183" v="548"/>
          <ac:picMkLst>
            <pc:docMk/>
            <pc:sldMk cId="3149265253" sldId="2147480942"/>
            <ac:picMk id="2" creationId="{D82ACEF2-C3D6-D91E-E112-9482EE836BDC}"/>
          </ac:picMkLst>
        </pc:picChg>
      </pc:sldChg>
      <pc:sldChg chg="add del">
        <pc:chgData name="Allie Lailas" userId="2487c244-a597-41b3-9378-29e439332fa1" providerId="ADAL" clId="{7415EE4C-56C6-45CC-A7F9-32F1A490DB1C}" dt="2024-04-02T16:31:06.789" v="657"/>
        <pc:sldMkLst>
          <pc:docMk/>
          <pc:sldMk cId="3907927447" sldId="2147480942"/>
        </pc:sldMkLst>
      </pc:sldChg>
      <pc:sldChg chg="add del">
        <pc:chgData name="Allie Lailas" userId="2487c244-a597-41b3-9378-29e439332fa1" providerId="ADAL" clId="{7415EE4C-56C6-45CC-A7F9-32F1A490DB1C}" dt="2024-04-02T16:17:53.929" v="560" actId="27028"/>
        <pc:sldMkLst>
          <pc:docMk/>
          <pc:sldMk cId="4271377359" sldId="2147480942"/>
        </pc:sldMkLst>
      </pc:sldChg>
      <pc:sldChg chg="add del">
        <pc:chgData name="Allie Lailas" userId="2487c244-a597-41b3-9378-29e439332fa1" providerId="ADAL" clId="{7415EE4C-56C6-45CC-A7F9-32F1A490DB1C}" dt="2024-04-02T16:17:53.929" v="560" actId="27028"/>
        <pc:sldMkLst>
          <pc:docMk/>
          <pc:sldMk cId="355870701" sldId="2147480943"/>
        </pc:sldMkLst>
      </pc:sldChg>
      <pc:sldChg chg="add del">
        <pc:chgData name="Allie Lailas" userId="2487c244-a597-41b3-9378-29e439332fa1" providerId="ADAL" clId="{7415EE4C-56C6-45CC-A7F9-32F1A490DB1C}" dt="2024-04-02T16:15:28.397" v="556" actId="47"/>
        <pc:sldMkLst>
          <pc:docMk/>
          <pc:sldMk cId="449964456" sldId="2147480943"/>
        </pc:sldMkLst>
      </pc:sldChg>
      <pc:sldChg chg="add del">
        <pc:chgData name="Allie Lailas" userId="2487c244-a597-41b3-9378-29e439332fa1" providerId="ADAL" clId="{7415EE4C-56C6-45CC-A7F9-32F1A490DB1C}" dt="2024-04-02T16:14:49.265" v="552"/>
        <pc:sldMkLst>
          <pc:docMk/>
          <pc:sldMk cId="454173560" sldId="2147480943"/>
        </pc:sldMkLst>
      </pc:sldChg>
      <pc:sldChg chg="add del">
        <pc:chgData name="Allie Lailas" userId="2487c244-a597-41b3-9378-29e439332fa1" providerId="ADAL" clId="{7415EE4C-56C6-45CC-A7F9-32F1A490DB1C}" dt="2024-04-02T16:05:11.346" v="486"/>
        <pc:sldMkLst>
          <pc:docMk/>
          <pc:sldMk cId="454187616" sldId="2147480943"/>
        </pc:sldMkLst>
      </pc:sldChg>
      <pc:sldChg chg="add del">
        <pc:chgData name="Allie Lailas" userId="2487c244-a597-41b3-9378-29e439332fa1" providerId="ADAL" clId="{7415EE4C-56C6-45CC-A7F9-32F1A490DB1C}" dt="2024-04-02T16:33:29.175" v="676"/>
        <pc:sldMkLst>
          <pc:docMk/>
          <pc:sldMk cId="1130781132" sldId="2147480943"/>
        </pc:sldMkLst>
      </pc:sldChg>
      <pc:sldChg chg="add del">
        <pc:chgData name="Allie Lailas" userId="2487c244-a597-41b3-9378-29e439332fa1" providerId="ADAL" clId="{7415EE4C-56C6-45CC-A7F9-32F1A490DB1C}" dt="2024-04-02T16:33:20.390" v="674"/>
        <pc:sldMkLst>
          <pc:docMk/>
          <pc:sldMk cId="1247500097" sldId="2147480943"/>
        </pc:sldMkLst>
      </pc:sldChg>
      <pc:sldChg chg="add del">
        <pc:chgData name="Allie Lailas" userId="2487c244-a597-41b3-9378-29e439332fa1" providerId="ADAL" clId="{7415EE4C-56C6-45CC-A7F9-32F1A490DB1C}" dt="2024-04-02T16:17:53.929" v="560" actId="27028"/>
        <pc:sldMkLst>
          <pc:docMk/>
          <pc:sldMk cId="1096313045" sldId="2147480944"/>
        </pc:sldMkLst>
      </pc:sldChg>
      <pc:sldChg chg="add del">
        <pc:chgData name="Allie Lailas" userId="2487c244-a597-41b3-9378-29e439332fa1" providerId="ADAL" clId="{7415EE4C-56C6-45CC-A7F9-32F1A490DB1C}" dt="2024-04-02T16:17:53.929" v="560" actId="27028"/>
        <pc:sldMkLst>
          <pc:docMk/>
          <pc:sldMk cId="1541227562" sldId="2147480945"/>
        </pc:sldMkLst>
      </pc:sldChg>
      <pc:sldChg chg="add del">
        <pc:chgData name="Allie Lailas" userId="2487c244-a597-41b3-9378-29e439332fa1" providerId="ADAL" clId="{7415EE4C-56C6-45CC-A7F9-32F1A490DB1C}" dt="2024-04-02T16:17:53.929" v="560" actId="27028"/>
        <pc:sldMkLst>
          <pc:docMk/>
          <pc:sldMk cId="2995063147" sldId="2147480946"/>
        </pc:sldMkLst>
      </pc:sldChg>
      <pc:sldChg chg="add del">
        <pc:chgData name="Allie Lailas" userId="2487c244-a597-41b3-9378-29e439332fa1" providerId="ADAL" clId="{7415EE4C-56C6-45CC-A7F9-32F1A490DB1C}" dt="2024-04-02T16:17:53.929" v="560" actId="27028"/>
        <pc:sldMkLst>
          <pc:docMk/>
          <pc:sldMk cId="2306934926" sldId="2147480947"/>
        </pc:sldMkLst>
      </pc:sldChg>
      <pc:sldChg chg="add del">
        <pc:chgData name="Allie Lailas" userId="2487c244-a597-41b3-9378-29e439332fa1" providerId="ADAL" clId="{7415EE4C-56C6-45CC-A7F9-32F1A490DB1C}" dt="2024-04-02T16:17:53.929" v="560" actId="27028"/>
        <pc:sldMkLst>
          <pc:docMk/>
          <pc:sldMk cId="2366889358" sldId="2147480948"/>
        </pc:sldMkLst>
      </pc:sldChg>
      <pc:sldChg chg="add del">
        <pc:chgData name="Allie Lailas" userId="2487c244-a597-41b3-9378-29e439332fa1" providerId="ADAL" clId="{7415EE4C-56C6-45CC-A7F9-32F1A490DB1C}" dt="2024-04-02T16:17:53.929" v="560" actId="27028"/>
        <pc:sldMkLst>
          <pc:docMk/>
          <pc:sldMk cId="1452968710" sldId="2147480949"/>
        </pc:sldMkLst>
      </pc:sldChg>
      <pc:sldChg chg="add del">
        <pc:chgData name="Allie Lailas" userId="2487c244-a597-41b3-9378-29e439332fa1" providerId="ADAL" clId="{7415EE4C-56C6-45CC-A7F9-32F1A490DB1C}" dt="2024-04-02T16:17:53.929" v="560" actId="27028"/>
        <pc:sldMkLst>
          <pc:docMk/>
          <pc:sldMk cId="1189125712" sldId="2147480950"/>
        </pc:sldMkLst>
      </pc:sldChg>
      <pc:sldChg chg="add del">
        <pc:chgData name="Allie Lailas" userId="2487c244-a597-41b3-9378-29e439332fa1" providerId="ADAL" clId="{7415EE4C-56C6-45CC-A7F9-32F1A490DB1C}" dt="2024-04-02T16:17:53.929" v="560" actId="27028"/>
        <pc:sldMkLst>
          <pc:docMk/>
          <pc:sldMk cId="3957249375" sldId="2147480951"/>
        </pc:sldMkLst>
      </pc:sldChg>
      <pc:sldChg chg="add del">
        <pc:chgData name="Allie Lailas" userId="2487c244-a597-41b3-9378-29e439332fa1" providerId="ADAL" clId="{7415EE4C-56C6-45CC-A7F9-32F1A490DB1C}" dt="2024-04-02T16:17:53.929" v="560" actId="27028"/>
        <pc:sldMkLst>
          <pc:docMk/>
          <pc:sldMk cId="431408420" sldId="2147480952"/>
        </pc:sldMkLst>
      </pc:sldChg>
      <pc:sldChg chg="modSp add del">
        <pc:chgData name="Allie Lailas" userId="2487c244-a597-41b3-9378-29e439332fa1" providerId="ADAL" clId="{7415EE4C-56C6-45CC-A7F9-32F1A490DB1C}" dt="2024-04-02T16:17:53.929" v="560" actId="27028"/>
        <pc:sldMkLst>
          <pc:docMk/>
          <pc:sldMk cId="2273583904" sldId="2147480953"/>
        </pc:sldMkLst>
        <pc:graphicFrameChg chg="mod">
          <ac:chgData name="Allie Lailas" userId="2487c244-a597-41b3-9378-29e439332fa1" providerId="ADAL" clId="{7415EE4C-56C6-45CC-A7F9-32F1A490DB1C}" dt="2024-04-02T16:17:41.181" v="559"/>
          <ac:graphicFrameMkLst>
            <pc:docMk/>
            <pc:sldMk cId="2273583904" sldId="2147480953"/>
            <ac:graphicFrameMk id="4" creationId="{D6DDFD08-0BA0-48A0-91F7-3281389640BC}"/>
          </ac:graphicFrameMkLst>
        </pc:graphicFrameChg>
      </pc:sldChg>
      <pc:sldChg chg="modSp add del">
        <pc:chgData name="Allie Lailas" userId="2487c244-a597-41b3-9378-29e439332fa1" providerId="ADAL" clId="{7415EE4C-56C6-45CC-A7F9-32F1A490DB1C}" dt="2024-04-02T16:17:53.929" v="560" actId="27028"/>
        <pc:sldMkLst>
          <pc:docMk/>
          <pc:sldMk cId="224783053" sldId="2147480954"/>
        </pc:sldMkLst>
        <pc:graphicFrameChg chg="mod">
          <ac:chgData name="Allie Lailas" userId="2487c244-a597-41b3-9378-29e439332fa1" providerId="ADAL" clId="{7415EE4C-56C6-45CC-A7F9-32F1A490DB1C}" dt="2024-04-02T16:17:41.181" v="559"/>
          <ac:graphicFrameMkLst>
            <pc:docMk/>
            <pc:sldMk cId="224783053" sldId="2147480954"/>
            <ac:graphicFrameMk id="8" creationId="{8934321D-7DFD-4A63-B85F-B6D7116FAF74}"/>
          </ac:graphicFrameMkLst>
        </pc:graphicFrameChg>
      </pc:sldChg>
      <pc:sldChg chg="modSp add del">
        <pc:chgData name="Allie Lailas" userId="2487c244-a597-41b3-9378-29e439332fa1" providerId="ADAL" clId="{7415EE4C-56C6-45CC-A7F9-32F1A490DB1C}" dt="2024-04-02T16:17:53.929" v="560" actId="27028"/>
        <pc:sldMkLst>
          <pc:docMk/>
          <pc:sldMk cId="42887675" sldId="2147480955"/>
        </pc:sldMkLst>
        <pc:graphicFrameChg chg="mod">
          <ac:chgData name="Allie Lailas" userId="2487c244-a597-41b3-9378-29e439332fa1" providerId="ADAL" clId="{7415EE4C-56C6-45CC-A7F9-32F1A490DB1C}" dt="2024-04-02T16:17:41.181" v="559"/>
          <ac:graphicFrameMkLst>
            <pc:docMk/>
            <pc:sldMk cId="42887675" sldId="2147480955"/>
            <ac:graphicFrameMk id="3" creationId="{D1F2B774-760E-2B13-A5E8-C12637D70C50}"/>
          </ac:graphicFrameMkLst>
        </pc:graphicFrameChg>
      </pc:sldChg>
      <pc:sldChg chg="add del">
        <pc:chgData name="Allie Lailas" userId="2487c244-a597-41b3-9378-29e439332fa1" providerId="ADAL" clId="{7415EE4C-56C6-45CC-A7F9-32F1A490DB1C}" dt="2024-04-02T16:17:53.929" v="560" actId="27028"/>
        <pc:sldMkLst>
          <pc:docMk/>
          <pc:sldMk cId="3036608484" sldId="2147480956"/>
        </pc:sldMkLst>
      </pc:sldChg>
      <pc:sldChg chg="add del">
        <pc:chgData name="Allie Lailas" userId="2487c244-a597-41b3-9378-29e439332fa1" providerId="ADAL" clId="{7415EE4C-56C6-45CC-A7F9-32F1A490DB1C}" dt="2024-04-02T16:17:53.929" v="560" actId="27028"/>
        <pc:sldMkLst>
          <pc:docMk/>
          <pc:sldMk cId="830021149" sldId="2147480957"/>
        </pc:sldMkLst>
      </pc:sldChg>
      <pc:sldChg chg="add del">
        <pc:chgData name="Allie Lailas" userId="2487c244-a597-41b3-9378-29e439332fa1" providerId="ADAL" clId="{7415EE4C-56C6-45CC-A7F9-32F1A490DB1C}" dt="2024-04-02T16:17:53.929" v="560" actId="27028"/>
        <pc:sldMkLst>
          <pc:docMk/>
          <pc:sldMk cId="4183497605" sldId="2147480958"/>
        </pc:sldMkLst>
      </pc:sldChg>
      <pc:sldChg chg="add del">
        <pc:chgData name="Allie Lailas" userId="2487c244-a597-41b3-9378-29e439332fa1" providerId="ADAL" clId="{7415EE4C-56C6-45CC-A7F9-32F1A490DB1C}" dt="2024-04-02T16:17:53.929" v="560" actId="27028"/>
        <pc:sldMkLst>
          <pc:docMk/>
          <pc:sldMk cId="1314148628" sldId="2147480959"/>
        </pc:sldMkLst>
      </pc:sldChg>
      <pc:sldChg chg="add del">
        <pc:chgData name="Allie Lailas" userId="2487c244-a597-41b3-9378-29e439332fa1" providerId="ADAL" clId="{7415EE4C-56C6-45CC-A7F9-32F1A490DB1C}" dt="2024-04-02T16:17:53.929" v="560" actId="27028"/>
        <pc:sldMkLst>
          <pc:docMk/>
          <pc:sldMk cId="1169591291" sldId="2147480960"/>
        </pc:sldMkLst>
      </pc:sldChg>
      <pc:sldChg chg="add del">
        <pc:chgData name="Allie Lailas" userId="2487c244-a597-41b3-9378-29e439332fa1" providerId="ADAL" clId="{7415EE4C-56C6-45CC-A7F9-32F1A490DB1C}" dt="2024-04-02T16:17:53.929" v="560" actId="27028"/>
        <pc:sldMkLst>
          <pc:docMk/>
          <pc:sldMk cId="2698799234" sldId="2147480961"/>
        </pc:sldMkLst>
      </pc:sldChg>
      <pc:sldChg chg="add del">
        <pc:chgData name="Allie Lailas" userId="2487c244-a597-41b3-9378-29e439332fa1" providerId="ADAL" clId="{7415EE4C-56C6-45CC-A7F9-32F1A490DB1C}" dt="2024-04-02T16:17:53.929" v="560" actId="27028"/>
        <pc:sldMkLst>
          <pc:docMk/>
          <pc:sldMk cId="2506429657" sldId="2147480962"/>
        </pc:sldMkLst>
      </pc:sldChg>
      <pc:sldChg chg="add del">
        <pc:chgData name="Allie Lailas" userId="2487c244-a597-41b3-9378-29e439332fa1" providerId="ADAL" clId="{7415EE4C-56C6-45CC-A7F9-32F1A490DB1C}" dt="2024-04-02T16:17:53.929" v="560" actId="27028"/>
        <pc:sldMkLst>
          <pc:docMk/>
          <pc:sldMk cId="2203536814" sldId="2147480963"/>
        </pc:sldMkLst>
      </pc:sldChg>
      <pc:sldMasterChg chg="delSp mod delSldLayout modSldLayout">
        <pc:chgData name="Allie Lailas" userId="2487c244-a597-41b3-9378-29e439332fa1" providerId="ADAL" clId="{7415EE4C-56C6-45CC-A7F9-32F1A490DB1C}" dt="2024-04-02T13:36:23.730" v="205" actId="478"/>
        <pc:sldMasterMkLst>
          <pc:docMk/>
          <pc:sldMasterMk cId="1304548194" sldId="2147483684"/>
        </pc:sldMasterMkLst>
        <pc:spChg chg="del">
          <ac:chgData name="Allie Lailas" userId="2487c244-a597-41b3-9378-29e439332fa1" providerId="ADAL" clId="{7415EE4C-56C6-45CC-A7F9-32F1A490DB1C}" dt="2024-04-02T13:35:30.274" v="196" actId="478"/>
          <ac:spMkLst>
            <pc:docMk/>
            <pc:sldMasterMk cId="1304548194" sldId="2147483684"/>
            <ac:spMk id="6" creationId="{995026B5-B8F2-ACDE-AC52-A8DE56126357}"/>
          </ac:spMkLst>
        </pc:spChg>
        <pc:sldLayoutChg chg="delSp mod">
          <pc:chgData name="Allie Lailas" userId="2487c244-a597-41b3-9378-29e439332fa1" providerId="ADAL" clId="{7415EE4C-56C6-45CC-A7F9-32F1A490DB1C}" dt="2024-04-02T13:35:35.749" v="197" actId="478"/>
          <pc:sldLayoutMkLst>
            <pc:docMk/>
            <pc:sldMasterMk cId="1304548194" sldId="2147483684"/>
            <pc:sldLayoutMk cId="450233158" sldId="2147483713"/>
          </pc:sldLayoutMkLst>
          <pc:spChg chg="del">
            <ac:chgData name="Allie Lailas" userId="2487c244-a597-41b3-9378-29e439332fa1" providerId="ADAL" clId="{7415EE4C-56C6-45CC-A7F9-32F1A490DB1C}" dt="2024-04-02T13:35:35.749" v="197" actId="478"/>
            <ac:spMkLst>
              <pc:docMk/>
              <pc:sldMasterMk cId="1304548194" sldId="2147483684"/>
              <pc:sldLayoutMk cId="450233158" sldId="2147483713"/>
              <ac:spMk id="6" creationId="{1F109688-C23D-4420-BBC7-3DC66DC5FC9C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3:35:54.938" v="198" actId="478"/>
          <pc:sldLayoutMkLst>
            <pc:docMk/>
            <pc:sldMasterMk cId="1304548194" sldId="2147483684"/>
            <pc:sldLayoutMk cId="3583807804" sldId="2147483752"/>
          </pc:sldLayoutMkLst>
          <pc:spChg chg="del">
            <ac:chgData name="Allie Lailas" userId="2487c244-a597-41b3-9378-29e439332fa1" providerId="ADAL" clId="{7415EE4C-56C6-45CC-A7F9-32F1A490DB1C}" dt="2024-04-02T13:35:54.938" v="198" actId="478"/>
            <ac:spMkLst>
              <pc:docMk/>
              <pc:sldMasterMk cId="1304548194" sldId="2147483684"/>
              <pc:sldLayoutMk cId="3583807804" sldId="2147483752"/>
              <ac:spMk id="7" creationId="{00000000-0000-0000-0000-000000000000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3:35:59.137" v="199" actId="478"/>
          <pc:sldLayoutMkLst>
            <pc:docMk/>
            <pc:sldMasterMk cId="1304548194" sldId="2147483684"/>
            <pc:sldLayoutMk cId="1159581716" sldId="2147483753"/>
          </pc:sldLayoutMkLst>
          <pc:spChg chg="del">
            <ac:chgData name="Allie Lailas" userId="2487c244-a597-41b3-9378-29e439332fa1" providerId="ADAL" clId="{7415EE4C-56C6-45CC-A7F9-32F1A490DB1C}" dt="2024-04-02T13:35:59.137" v="199" actId="478"/>
            <ac:spMkLst>
              <pc:docMk/>
              <pc:sldMasterMk cId="1304548194" sldId="2147483684"/>
              <pc:sldLayoutMk cId="1159581716" sldId="2147483753"/>
              <ac:spMk id="4" creationId="{D0C1CC39-0CB4-EEEB-C84D-361963F55340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3:36:05.189" v="200" actId="478"/>
          <pc:sldLayoutMkLst>
            <pc:docMk/>
            <pc:sldMasterMk cId="1304548194" sldId="2147483684"/>
            <pc:sldLayoutMk cId="1966453162" sldId="2147483754"/>
          </pc:sldLayoutMkLst>
          <pc:spChg chg="del">
            <ac:chgData name="Allie Lailas" userId="2487c244-a597-41b3-9378-29e439332fa1" providerId="ADAL" clId="{7415EE4C-56C6-45CC-A7F9-32F1A490DB1C}" dt="2024-04-02T13:36:05.189" v="200" actId="478"/>
            <ac:spMkLst>
              <pc:docMk/>
              <pc:sldMasterMk cId="1304548194" sldId="2147483684"/>
              <pc:sldLayoutMk cId="1966453162" sldId="2147483754"/>
              <ac:spMk id="2" creationId="{1A3FE42B-5B07-D9EA-0B61-18F2E855EBEF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3:36:08.605" v="201" actId="478"/>
          <pc:sldLayoutMkLst>
            <pc:docMk/>
            <pc:sldMasterMk cId="1304548194" sldId="2147483684"/>
            <pc:sldLayoutMk cId="2107659514" sldId="2147483755"/>
          </pc:sldLayoutMkLst>
          <pc:spChg chg="del">
            <ac:chgData name="Allie Lailas" userId="2487c244-a597-41b3-9378-29e439332fa1" providerId="ADAL" clId="{7415EE4C-56C6-45CC-A7F9-32F1A490DB1C}" dt="2024-04-02T13:36:08.605" v="201" actId="478"/>
            <ac:spMkLst>
              <pc:docMk/>
              <pc:sldMasterMk cId="1304548194" sldId="2147483684"/>
              <pc:sldLayoutMk cId="2107659514" sldId="2147483755"/>
              <ac:spMk id="2" creationId="{6730984E-A2B4-4580-60DD-7C88671736DB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3:36:12.129" v="202" actId="478"/>
          <pc:sldLayoutMkLst>
            <pc:docMk/>
            <pc:sldMasterMk cId="1304548194" sldId="2147483684"/>
            <pc:sldLayoutMk cId="992517528" sldId="2147483756"/>
          </pc:sldLayoutMkLst>
          <pc:spChg chg="del">
            <ac:chgData name="Allie Lailas" userId="2487c244-a597-41b3-9378-29e439332fa1" providerId="ADAL" clId="{7415EE4C-56C6-45CC-A7F9-32F1A490DB1C}" dt="2024-04-02T13:36:12.129" v="202" actId="478"/>
            <ac:spMkLst>
              <pc:docMk/>
              <pc:sldMasterMk cId="1304548194" sldId="2147483684"/>
              <pc:sldLayoutMk cId="992517528" sldId="2147483756"/>
              <ac:spMk id="2" creationId="{67EBA4AE-0F1F-F935-60A5-557052CE386D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3:36:16.618" v="203" actId="478"/>
          <pc:sldLayoutMkLst>
            <pc:docMk/>
            <pc:sldMasterMk cId="1304548194" sldId="2147483684"/>
            <pc:sldLayoutMk cId="1415968745" sldId="2147483757"/>
          </pc:sldLayoutMkLst>
          <pc:spChg chg="del">
            <ac:chgData name="Allie Lailas" userId="2487c244-a597-41b3-9378-29e439332fa1" providerId="ADAL" clId="{7415EE4C-56C6-45CC-A7F9-32F1A490DB1C}" dt="2024-04-02T13:36:16.618" v="203" actId="478"/>
            <ac:spMkLst>
              <pc:docMk/>
              <pc:sldMasterMk cId="1304548194" sldId="2147483684"/>
              <pc:sldLayoutMk cId="1415968745" sldId="2147483757"/>
              <ac:spMk id="8" creationId="{2ECA068F-33E9-49A1-91D7-5DEEB74C1094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3:36:20.024" v="204" actId="478"/>
          <pc:sldLayoutMkLst>
            <pc:docMk/>
            <pc:sldMasterMk cId="1304548194" sldId="2147483684"/>
            <pc:sldLayoutMk cId="2451901720" sldId="2147483758"/>
          </pc:sldLayoutMkLst>
          <pc:spChg chg="del">
            <ac:chgData name="Allie Lailas" userId="2487c244-a597-41b3-9378-29e439332fa1" providerId="ADAL" clId="{7415EE4C-56C6-45CC-A7F9-32F1A490DB1C}" dt="2024-04-02T13:36:20.024" v="204" actId="478"/>
            <ac:spMkLst>
              <pc:docMk/>
              <pc:sldMasterMk cId="1304548194" sldId="2147483684"/>
              <pc:sldLayoutMk cId="2451901720" sldId="2147483758"/>
              <ac:spMk id="3" creationId="{CEE799A1-63A6-94B5-0AE8-7F74588B0690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3:36:23.730" v="205" actId="478"/>
          <pc:sldLayoutMkLst>
            <pc:docMk/>
            <pc:sldMasterMk cId="1304548194" sldId="2147483684"/>
            <pc:sldLayoutMk cId="3294822795" sldId="2147483759"/>
          </pc:sldLayoutMkLst>
          <pc:spChg chg="del">
            <ac:chgData name="Allie Lailas" userId="2487c244-a597-41b3-9378-29e439332fa1" providerId="ADAL" clId="{7415EE4C-56C6-45CC-A7F9-32F1A490DB1C}" dt="2024-04-02T13:36:23.730" v="205" actId="478"/>
            <ac:spMkLst>
              <pc:docMk/>
              <pc:sldMasterMk cId="1304548194" sldId="2147483684"/>
              <pc:sldLayoutMk cId="3294822795" sldId="2147483759"/>
              <ac:spMk id="6" creationId="{1F109688-C23D-4420-BBC7-3DC66DC5FC9C}"/>
            </ac:spMkLst>
          </pc:spChg>
        </pc:sldLayoutChg>
        <pc:sldLayoutChg chg="del">
          <pc:chgData name="Allie Lailas" userId="2487c244-a597-41b3-9378-29e439332fa1" providerId="ADAL" clId="{7415EE4C-56C6-45CC-A7F9-32F1A490DB1C}" dt="2024-04-01T18:37:51.199" v="124" actId="47"/>
          <pc:sldLayoutMkLst>
            <pc:docMk/>
            <pc:sldMasterMk cId="1304548194" sldId="2147483684"/>
            <pc:sldLayoutMk cId="3683952572" sldId="2147483761"/>
          </pc:sldLayoutMkLst>
        </pc:sldLayoutChg>
      </pc:sldMasterChg>
      <pc:sldMasterChg chg="add del addSldLayout delSldLayout">
        <pc:chgData name="Allie Lailas" userId="2487c244-a597-41b3-9378-29e439332fa1" providerId="ADAL" clId="{7415EE4C-56C6-45CC-A7F9-32F1A490DB1C}" dt="2024-04-02T16:17:53.929" v="560" actId="27028"/>
        <pc:sldMasterMkLst>
          <pc:docMk/>
          <pc:sldMasterMk cId="2430339617" sldId="2147483691"/>
        </pc:sldMasterMkLst>
        <pc:sldLayoutChg chg="add del">
          <pc:chgData name="Allie Lailas" userId="2487c244-a597-41b3-9378-29e439332fa1" providerId="ADAL" clId="{7415EE4C-56C6-45CC-A7F9-32F1A490DB1C}" dt="2024-04-02T16:17:53.929" v="560" actId="27028"/>
          <pc:sldLayoutMkLst>
            <pc:docMk/>
            <pc:sldMasterMk cId="2430339617" sldId="2147483691"/>
            <pc:sldLayoutMk cId="3113759811" sldId="2147483692"/>
          </pc:sldLayoutMkLst>
        </pc:sldLayoutChg>
        <pc:sldLayoutChg chg="add del">
          <pc:chgData name="Allie Lailas" userId="2487c244-a597-41b3-9378-29e439332fa1" providerId="ADAL" clId="{7415EE4C-56C6-45CC-A7F9-32F1A490DB1C}" dt="2024-04-02T16:17:53.929" v="560" actId="27028"/>
          <pc:sldLayoutMkLst>
            <pc:docMk/>
            <pc:sldMasterMk cId="2430339617" sldId="2147483691"/>
            <pc:sldLayoutMk cId="2583555665" sldId="2147483693"/>
          </pc:sldLayoutMkLst>
        </pc:sldLayoutChg>
        <pc:sldLayoutChg chg="add del">
          <pc:chgData name="Allie Lailas" userId="2487c244-a597-41b3-9378-29e439332fa1" providerId="ADAL" clId="{7415EE4C-56C6-45CC-A7F9-32F1A490DB1C}" dt="2024-04-02T16:17:53.929" v="560" actId="27028"/>
          <pc:sldLayoutMkLst>
            <pc:docMk/>
            <pc:sldMasterMk cId="2430339617" sldId="2147483691"/>
            <pc:sldLayoutMk cId="4045933555" sldId="2147483694"/>
          </pc:sldLayoutMkLst>
        </pc:sldLayoutChg>
        <pc:sldLayoutChg chg="add del">
          <pc:chgData name="Allie Lailas" userId="2487c244-a597-41b3-9378-29e439332fa1" providerId="ADAL" clId="{7415EE4C-56C6-45CC-A7F9-32F1A490DB1C}" dt="2024-04-02T16:17:53.929" v="560" actId="27028"/>
          <pc:sldLayoutMkLst>
            <pc:docMk/>
            <pc:sldMasterMk cId="2430339617" sldId="2147483691"/>
            <pc:sldLayoutMk cId="2072460120" sldId="2147483697"/>
          </pc:sldLayoutMkLst>
        </pc:sldLayoutChg>
        <pc:sldLayoutChg chg="add del">
          <pc:chgData name="Allie Lailas" userId="2487c244-a597-41b3-9378-29e439332fa1" providerId="ADAL" clId="{7415EE4C-56C6-45CC-A7F9-32F1A490DB1C}" dt="2024-04-02T16:17:53.929" v="560" actId="27028"/>
          <pc:sldLayoutMkLst>
            <pc:docMk/>
            <pc:sldMasterMk cId="2430339617" sldId="2147483691"/>
            <pc:sldLayoutMk cId="4171032475" sldId="2147483698"/>
          </pc:sldLayoutMkLst>
        </pc:sldLayoutChg>
        <pc:sldLayoutChg chg="add del">
          <pc:chgData name="Allie Lailas" userId="2487c244-a597-41b3-9378-29e439332fa1" providerId="ADAL" clId="{7415EE4C-56C6-45CC-A7F9-32F1A490DB1C}" dt="2024-04-02T16:17:53.929" v="560" actId="27028"/>
          <pc:sldLayoutMkLst>
            <pc:docMk/>
            <pc:sldMasterMk cId="2430339617" sldId="2147483691"/>
            <pc:sldLayoutMk cId="474487594" sldId="2147483700"/>
          </pc:sldLayoutMkLst>
        </pc:sldLayoutChg>
        <pc:sldLayoutChg chg="add del">
          <pc:chgData name="Allie Lailas" userId="2487c244-a597-41b3-9378-29e439332fa1" providerId="ADAL" clId="{7415EE4C-56C6-45CC-A7F9-32F1A490DB1C}" dt="2024-04-02T16:17:53.929" v="560" actId="27028"/>
          <pc:sldLayoutMkLst>
            <pc:docMk/>
            <pc:sldMasterMk cId="2430339617" sldId="2147483691"/>
            <pc:sldLayoutMk cId="1994446224" sldId="2147483703"/>
          </pc:sldLayoutMkLst>
        </pc:sldLayoutChg>
        <pc:sldLayoutChg chg="add del">
          <pc:chgData name="Allie Lailas" userId="2487c244-a597-41b3-9378-29e439332fa1" providerId="ADAL" clId="{7415EE4C-56C6-45CC-A7F9-32F1A490DB1C}" dt="2024-04-02T16:17:53.929" v="560" actId="27028"/>
          <pc:sldLayoutMkLst>
            <pc:docMk/>
            <pc:sldMasterMk cId="2430339617" sldId="2147483691"/>
            <pc:sldLayoutMk cId="2816474532" sldId="2147483704"/>
          </pc:sldLayoutMkLst>
        </pc:sldLayoutChg>
        <pc:sldLayoutChg chg="add del">
          <pc:chgData name="Allie Lailas" userId="2487c244-a597-41b3-9378-29e439332fa1" providerId="ADAL" clId="{7415EE4C-56C6-45CC-A7F9-32F1A490DB1C}" dt="2024-04-02T16:17:53.929" v="560" actId="27028"/>
          <pc:sldLayoutMkLst>
            <pc:docMk/>
            <pc:sldMasterMk cId="2430339617" sldId="2147483691"/>
            <pc:sldLayoutMk cId="2100163597" sldId="2147483706"/>
          </pc:sldLayoutMkLst>
        </pc:sldLayoutChg>
        <pc:sldLayoutChg chg="add del">
          <pc:chgData name="Allie Lailas" userId="2487c244-a597-41b3-9378-29e439332fa1" providerId="ADAL" clId="{7415EE4C-56C6-45CC-A7F9-32F1A490DB1C}" dt="2024-04-02T16:17:53.929" v="560" actId="27028"/>
          <pc:sldLayoutMkLst>
            <pc:docMk/>
            <pc:sldMasterMk cId="2430339617" sldId="2147483691"/>
            <pc:sldLayoutMk cId="3981981097" sldId="2147483707"/>
          </pc:sldLayoutMkLst>
        </pc:sldLayoutChg>
        <pc:sldLayoutChg chg="add del">
          <pc:chgData name="Allie Lailas" userId="2487c244-a597-41b3-9378-29e439332fa1" providerId="ADAL" clId="{7415EE4C-56C6-45CC-A7F9-32F1A490DB1C}" dt="2024-04-02T16:17:53.929" v="560" actId="27028"/>
          <pc:sldLayoutMkLst>
            <pc:docMk/>
            <pc:sldMasterMk cId="2430339617" sldId="2147483691"/>
            <pc:sldLayoutMk cId="1357487805" sldId="2147483708"/>
          </pc:sldLayoutMkLst>
        </pc:sldLayoutChg>
      </pc:sldMasterChg>
      <pc:sldMasterChg chg="modSldLayout">
        <pc:chgData name="Allie Lailas" userId="2487c244-a597-41b3-9378-29e439332fa1" providerId="ADAL" clId="{7415EE4C-56C6-45CC-A7F9-32F1A490DB1C}" dt="2024-04-02T13:37:21.149" v="221" actId="478"/>
        <pc:sldMasterMkLst>
          <pc:docMk/>
          <pc:sldMasterMk cId="2289909243" sldId="2147483761"/>
        </pc:sldMasterMkLst>
        <pc:sldLayoutChg chg="delSp modSp mod">
          <pc:chgData name="Allie Lailas" userId="2487c244-a597-41b3-9378-29e439332fa1" providerId="ADAL" clId="{7415EE4C-56C6-45CC-A7F9-32F1A490DB1C}" dt="2024-04-02T13:36:34.992" v="208" actId="478"/>
          <pc:sldLayoutMkLst>
            <pc:docMk/>
            <pc:sldMasterMk cId="2289909243" sldId="2147483761"/>
            <pc:sldLayoutMk cId="1965350983" sldId="2147483763"/>
          </pc:sldLayoutMkLst>
          <pc:spChg chg="mod">
            <ac:chgData name="Allie Lailas" userId="2487c244-a597-41b3-9378-29e439332fa1" providerId="ADAL" clId="{7415EE4C-56C6-45CC-A7F9-32F1A490DB1C}" dt="2024-04-02T13:36:32.581" v="207" actId="20577"/>
            <ac:spMkLst>
              <pc:docMk/>
              <pc:sldMasterMk cId="2289909243" sldId="2147483761"/>
              <pc:sldLayoutMk cId="1965350983" sldId="2147483763"/>
              <ac:spMk id="3" creationId="{ECEFE900-9DF1-45C4-8B75-B0EC05524C49}"/>
            </ac:spMkLst>
          </pc:spChg>
          <pc:spChg chg="del">
            <ac:chgData name="Allie Lailas" userId="2487c244-a597-41b3-9378-29e439332fa1" providerId="ADAL" clId="{7415EE4C-56C6-45CC-A7F9-32F1A490DB1C}" dt="2024-04-02T13:36:34.992" v="208" actId="478"/>
            <ac:spMkLst>
              <pc:docMk/>
              <pc:sldMasterMk cId="2289909243" sldId="2147483761"/>
              <pc:sldLayoutMk cId="1965350983" sldId="2147483763"/>
              <ac:spMk id="8" creationId="{2ECA068F-33E9-49A1-91D7-5DEEB74C1094}"/>
            </ac:spMkLst>
          </pc:spChg>
        </pc:sldLayoutChg>
        <pc:sldLayoutChg chg="addSp delSp mod">
          <pc:chgData name="Allie Lailas" userId="2487c244-a597-41b3-9378-29e439332fa1" providerId="ADAL" clId="{7415EE4C-56C6-45CC-A7F9-32F1A490DB1C}" dt="2024-04-02T13:36:51.936" v="213" actId="478"/>
          <pc:sldLayoutMkLst>
            <pc:docMk/>
            <pc:sldMasterMk cId="2289909243" sldId="2147483761"/>
            <pc:sldLayoutMk cId="759165255" sldId="2147483764"/>
          </pc:sldLayoutMkLst>
          <pc:spChg chg="add del">
            <ac:chgData name="Allie Lailas" userId="2487c244-a597-41b3-9378-29e439332fa1" providerId="ADAL" clId="{7415EE4C-56C6-45CC-A7F9-32F1A490DB1C}" dt="2024-04-02T13:36:46.786" v="212" actId="478"/>
            <ac:spMkLst>
              <pc:docMk/>
              <pc:sldMasterMk cId="2289909243" sldId="2147483761"/>
              <pc:sldLayoutMk cId="759165255" sldId="2147483764"/>
              <ac:spMk id="3" creationId="{ECEFE900-9DF1-45C4-8B75-B0EC05524C49}"/>
            </ac:spMkLst>
          </pc:spChg>
          <pc:spChg chg="add del">
            <ac:chgData name="Allie Lailas" userId="2487c244-a597-41b3-9378-29e439332fa1" providerId="ADAL" clId="{7415EE4C-56C6-45CC-A7F9-32F1A490DB1C}" dt="2024-04-02T13:36:51.936" v="213" actId="478"/>
            <ac:spMkLst>
              <pc:docMk/>
              <pc:sldMasterMk cId="2289909243" sldId="2147483761"/>
              <pc:sldLayoutMk cId="759165255" sldId="2147483764"/>
              <ac:spMk id="7" creationId="{6C564DF0-4AA8-4DE8-9CC7-34488E16E029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3:36:56.654" v="214" actId="478"/>
          <pc:sldLayoutMkLst>
            <pc:docMk/>
            <pc:sldMasterMk cId="2289909243" sldId="2147483761"/>
            <pc:sldLayoutMk cId="604518703" sldId="2147483765"/>
          </pc:sldLayoutMkLst>
          <pc:spChg chg="del">
            <ac:chgData name="Allie Lailas" userId="2487c244-a597-41b3-9378-29e439332fa1" providerId="ADAL" clId="{7415EE4C-56C6-45CC-A7F9-32F1A490DB1C}" dt="2024-04-02T13:36:56.654" v="214" actId="478"/>
            <ac:spMkLst>
              <pc:docMk/>
              <pc:sldMasterMk cId="2289909243" sldId="2147483761"/>
              <pc:sldLayoutMk cId="604518703" sldId="2147483765"/>
              <ac:spMk id="8" creationId="{2ECA068F-33E9-49A1-91D7-5DEEB74C1094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3:37:03.730" v="215" actId="478"/>
          <pc:sldLayoutMkLst>
            <pc:docMk/>
            <pc:sldMasterMk cId="2289909243" sldId="2147483761"/>
            <pc:sldLayoutMk cId="1727836810" sldId="2147483766"/>
          </pc:sldLayoutMkLst>
          <pc:spChg chg="del">
            <ac:chgData name="Allie Lailas" userId="2487c244-a597-41b3-9378-29e439332fa1" providerId="ADAL" clId="{7415EE4C-56C6-45CC-A7F9-32F1A490DB1C}" dt="2024-04-02T13:37:03.730" v="215" actId="478"/>
            <ac:spMkLst>
              <pc:docMk/>
              <pc:sldMasterMk cId="2289909243" sldId="2147483761"/>
              <pc:sldLayoutMk cId="1727836810" sldId="2147483766"/>
              <ac:spMk id="6" creationId="{05AA6559-0DF5-4AED-AD77-E15D1091AA4D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3:37:08.035" v="216" actId="478"/>
          <pc:sldLayoutMkLst>
            <pc:docMk/>
            <pc:sldMasterMk cId="2289909243" sldId="2147483761"/>
            <pc:sldLayoutMk cId="4092104762" sldId="2147483767"/>
          </pc:sldLayoutMkLst>
          <pc:spChg chg="del">
            <ac:chgData name="Allie Lailas" userId="2487c244-a597-41b3-9378-29e439332fa1" providerId="ADAL" clId="{7415EE4C-56C6-45CC-A7F9-32F1A490DB1C}" dt="2024-04-02T13:37:08.035" v="216" actId="478"/>
            <ac:spMkLst>
              <pc:docMk/>
              <pc:sldMasterMk cId="2289909243" sldId="2147483761"/>
              <pc:sldLayoutMk cId="4092104762" sldId="2147483767"/>
              <ac:spMk id="8" creationId="{96FD93B3-C27C-4860-B2F4-EB389131D2ED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3:37:10.616" v="217" actId="478"/>
          <pc:sldLayoutMkLst>
            <pc:docMk/>
            <pc:sldMasterMk cId="2289909243" sldId="2147483761"/>
            <pc:sldLayoutMk cId="172821908" sldId="2147483768"/>
          </pc:sldLayoutMkLst>
          <pc:spChg chg="del">
            <ac:chgData name="Allie Lailas" userId="2487c244-a597-41b3-9378-29e439332fa1" providerId="ADAL" clId="{7415EE4C-56C6-45CC-A7F9-32F1A490DB1C}" dt="2024-04-02T13:37:10.616" v="217" actId="478"/>
            <ac:spMkLst>
              <pc:docMk/>
              <pc:sldMasterMk cId="2289909243" sldId="2147483761"/>
              <pc:sldLayoutMk cId="172821908" sldId="2147483768"/>
              <ac:spMk id="8" creationId="{18B760BD-B82F-463A-8B8A-CF2EBD475EA7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3:37:12.754" v="218" actId="478"/>
          <pc:sldLayoutMkLst>
            <pc:docMk/>
            <pc:sldMasterMk cId="2289909243" sldId="2147483761"/>
            <pc:sldLayoutMk cId="20650751" sldId="2147483769"/>
          </pc:sldLayoutMkLst>
          <pc:spChg chg="del">
            <ac:chgData name="Allie Lailas" userId="2487c244-a597-41b3-9378-29e439332fa1" providerId="ADAL" clId="{7415EE4C-56C6-45CC-A7F9-32F1A490DB1C}" dt="2024-04-02T13:37:12.754" v="218" actId="478"/>
            <ac:spMkLst>
              <pc:docMk/>
              <pc:sldMasterMk cId="2289909243" sldId="2147483761"/>
              <pc:sldLayoutMk cId="20650751" sldId="2147483769"/>
              <ac:spMk id="8" creationId="{ABAC7D7A-A720-4CCE-8228-BA966124321E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3:37:16.375" v="219" actId="478"/>
          <pc:sldLayoutMkLst>
            <pc:docMk/>
            <pc:sldMasterMk cId="2289909243" sldId="2147483761"/>
            <pc:sldLayoutMk cId="1448165846" sldId="2147483771"/>
          </pc:sldLayoutMkLst>
          <pc:spChg chg="del">
            <ac:chgData name="Allie Lailas" userId="2487c244-a597-41b3-9378-29e439332fa1" providerId="ADAL" clId="{7415EE4C-56C6-45CC-A7F9-32F1A490DB1C}" dt="2024-04-02T13:37:16.375" v="219" actId="478"/>
            <ac:spMkLst>
              <pc:docMk/>
              <pc:sldMasterMk cId="2289909243" sldId="2147483761"/>
              <pc:sldLayoutMk cId="1448165846" sldId="2147483771"/>
              <ac:spMk id="3" creationId="{CEE799A1-63A6-94B5-0AE8-7F74588B0690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3:37:18.002" v="220" actId="478"/>
          <pc:sldLayoutMkLst>
            <pc:docMk/>
            <pc:sldMasterMk cId="2289909243" sldId="2147483761"/>
            <pc:sldLayoutMk cId="290668065" sldId="2147483772"/>
          </pc:sldLayoutMkLst>
          <pc:spChg chg="del">
            <ac:chgData name="Allie Lailas" userId="2487c244-a597-41b3-9378-29e439332fa1" providerId="ADAL" clId="{7415EE4C-56C6-45CC-A7F9-32F1A490DB1C}" dt="2024-04-02T13:37:18.002" v="220" actId="478"/>
            <ac:spMkLst>
              <pc:docMk/>
              <pc:sldMasterMk cId="2289909243" sldId="2147483761"/>
              <pc:sldLayoutMk cId="290668065" sldId="2147483772"/>
              <ac:spMk id="4" creationId="{D0C1CC39-0CB4-EEEB-C84D-361963F55340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3:37:21.149" v="221" actId="478"/>
          <pc:sldLayoutMkLst>
            <pc:docMk/>
            <pc:sldMasterMk cId="2289909243" sldId="2147483761"/>
            <pc:sldLayoutMk cId="3155865240" sldId="2147483773"/>
          </pc:sldLayoutMkLst>
          <pc:spChg chg="del">
            <ac:chgData name="Allie Lailas" userId="2487c244-a597-41b3-9378-29e439332fa1" providerId="ADAL" clId="{7415EE4C-56C6-45CC-A7F9-32F1A490DB1C}" dt="2024-04-02T13:37:21.149" v="221" actId="478"/>
            <ac:spMkLst>
              <pc:docMk/>
              <pc:sldMasterMk cId="2289909243" sldId="2147483761"/>
              <pc:sldLayoutMk cId="3155865240" sldId="2147483773"/>
              <ac:spMk id="7" creationId="{00000000-0000-0000-0000-000000000000}"/>
            </ac:spMkLst>
          </pc:spChg>
        </pc:sldLayoutChg>
      </pc:sldMasterChg>
      <pc:sldMasterChg chg="del delSldLayout">
        <pc:chgData name="Allie Lailas" userId="2487c244-a597-41b3-9378-29e439332fa1" providerId="ADAL" clId="{7415EE4C-56C6-45CC-A7F9-32F1A490DB1C}" dt="2024-04-01T18:39:01.235" v="126" actId="47"/>
        <pc:sldMasterMkLst>
          <pc:docMk/>
          <pc:sldMasterMk cId="3275459798" sldId="2147483762"/>
        </pc:sldMasterMkLst>
        <pc:sldLayoutChg chg="del">
          <pc:chgData name="Allie Lailas" userId="2487c244-a597-41b3-9378-29e439332fa1" providerId="ADAL" clId="{7415EE4C-56C6-45CC-A7F9-32F1A490DB1C}" dt="2024-04-01T18:39:01.235" v="126" actId="47"/>
          <pc:sldLayoutMkLst>
            <pc:docMk/>
            <pc:sldMasterMk cId="3275459798" sldId="2147483762"/>
            <pc:sldLayoutMk cId="2363454324" sldId="2147483763"/>
          </pc:sldLayoutMkLst>
        </pc:sldLayoutChg>
        <pc:sldLayoutChg chg="del">
          <pc:chgData name="Allie Lailas" userId="2487c244-a597-41b3-9378-29e439332fa1" providerId="ADAL" clId="{7415EE4C-56C6-45CC-A7F9-32F1A490DB1C}" dt="2024-04-01T18:39:01.235" v="126" actId="47"/>
          <pc:sldLayoutMkLst>
            <pc:docMk/>
            <pc:sldMasterMk cId="3275459798" sldId="2147483762"/>
            <pc:sldLayoutMk cId="4020889205" sldId="2147483764"/>
          </pc:sldLayoutMkLst>
        </pc:sldLayoutChg>
        <pc:sldLayoutChg chg="del">
          <pc:chgData name="Allie Lailas" userId="2487c244-a597-41b3-9378-29e439332fa1" providerId="ADAL" clId="{7415EE4C-56C6-45CC-A7F9-32F1A490DB1C}" dt="2024-04-01T18:39:01.235" v="126" actId="47"/>
          <pc:sldLayoutMkLst>
            <pc:docMk/>
            <pc:sldMasterMk cId="3275459798" sldId="2147483762"/>
            <pc:sldLayoutMk cId="1436898645" sldId="2147483765"/>
          </pc:sldLayoutMkLst>
        </pc:sldLayoutChg>
        <pc:sldLayoutChg chg="del">
          <pc:chgData name="Allie Lailas" userId="2487c244-a597-41b3-9378-29e439332fa1" providerId="ADAL" clId="{7415EE4C-56C6-45CC-A7F9-32F1A490DB1C}" dt="2024-04-01T18:39:01.235" v="126" actId="47"/>
          <pc:sldLayoutMkLst>
            <pc:docMk/>
            <pc:sldMasterMk cId="3275459798" sldId="2147483762"/>
            <pc:sldLayoutMk cId="3214258708" sldId="2147483766"/>
          </pc:sldLayoutMkLst>
        </pc:sldLayoutChg>
        <pc:sldLayoutChg chg="del">
          <pc:chgData name="Allie Lailas" userId="2487c244-a597-41b3-9378-29e439332fa1" providerId="ADAL" clId="{7415EE4C-56C6-45CC-A7F9-32F1A490DB1C}" dt="2024-04-01T18:39:01.235" v="126" actId="47"/>
          <pc:sldLayoutMkLst>
            <pc:docMk/>
            <pc:sldMasterMk cId="3275459798" sldId="2147483762"/>
            <pc:sldLayoutMk cId="1679582568" sldId="2147483767"/>
          </pc:sldLayoutMkLst>
        </pc:sldLayoutChg>
        <pc:sldLayoutChg chg="del">
          <pc:chgData name="Allie Lailas" userId="2487c244-a597-41b3-9378-29e439332fa1" providerId="ADAL" clId="{7415EE4C-56C6-45CC-A7F9-32F1A490DB1C}" dt="2024-04-01T18:39:01.235" v="126" actId="47"/>
          <pc:sldLayoutMkLst>
            <pc:docMk/>
            <pc:sldMasterMk cId="3275459798" sldId="2147483762"/>
            <pc:sldLayoutMk cId="795847474" sldId="2147483768"/>
          </pc:sldLayoutMkLst>
        </pc:sldLayoutChg>
        <pc:sldLayoutChg chg="del">
          <pc:chgData name="Allie Lailas" userId="2487c244-a597-41b3-9378-29e439332fa1" providerId="ADAL" clId="{7415EE4C-56C6-45CC-A7F9-32F1A490DB1C}" dt="2024-04-01T18:39:01.235" v="126" actId="47"/>
          <pc:sldLayoutMkLst>
            <pc:docMk/>
            <pc:sldMasterMk cId="3275459798" sldId="2147483762"/>
            <pc:sldLayoutMk cId="1209821952" sldId="2147483769"/>
          </pc:sldLayoutMkLst>
        </pc:sldLayoutChg>
        <pc:sldLayoutChg chg="del">
          <pc:chgData name="Allie Lailas" userId="2487c244-a597-41b3-9378-29e439332fa1" providerId="ADAL" clId="{7415EE4C-56C6-45CC-A7F9-32F1A490DB1C}" dt="2024-04-01T18:39:01.235" v="126" actId="47"/>
          <pc:sldLayoutMkLst>
            <pc:docMk/>
            <pc:sldMasterMk cId="3275459798" sldId="2147483762"/>
            <pc:sldLayoutMk cId="4252458701" sldId="2147483770"/>
          </pc:sldLayoutMkLst>
        </pc:sldLayoutChg>
        <pc:sldLayoutChg chg="del">
          <pc:chgData name="Allie Lailas" userId="2487c244-a597-41b3-9378-29e439332fa1" providerId="ADAL" clId="{7415EE4C-56C6-45CC-A7F9-32F1A490DB1C}" dt="2024-04-01T18:39:01.235" v="126" actId="47"/>
          <pc:sldLayoutMkLst>
            <pc:docMk/>
            <pc:sldMasterMk cId="3275459798" sldId="2147483762"/>
            <pc:sldLayoutMk cId="3930514413" sldId="2147483771"/>
          </pc:sldLayoutMkLst>
        </pc:sldLayoutChg>
        <pc:sldLayoutChg chg="del">
          <pc:chgData name="Allie Lailas" userId="2487c244-a597-41b3-9378-29e439332fa1" providerId="ADAL" clId="{7415EE4C-56C6-45CC-A7F9-32F1A490DB1C}" dt="2024-04-01T18:39:01.235" v="126" actId="47"/>
          <pc:sldLayoutMkLst>
            <pc:docMk/>
            <pc:sldMasterMk cId="3275459798" sldId="2147483762"/>
            <pc:sldLayoutMk cId="3252602804" sldId="2147483772"/>
          </pc:sldLayoutMkLst>
        </pc:sldLayoutChg>
        <pc:sldLayoutChg chg="del">
          <pc:chgData name="Allie Lailas" userId="2487c244-a597-41b3-9378-29e439332fa1" providerId="ADAL" clId="{7415EE4C-56C6-45CC-A7F9-32F1A490DB1C}" dt="2024-04-01T18:39:01.235" v="126" actId="47"/>
          <pc:sldLayoutMkLst>
            <pc:docMk/>
            <pc:sldMasterMk cId="3275459798" sldId="2147483762"/>
            <pc:sldLayoutMk cId="69489827" sldId="2147483773"/>
          </pc:sldLayoutMkLst>
        </pc:sldLayoutChg>
      </pc:sldMasterChg>
      <pc:sldMasterChg chg="delSp modSp mod modSldLayout">
        <pc:chgData name="Allie Lailas" userId="2487c244-a597-41b3-9378-29e439332fa1" providerId="ADAL" clId="{7415EE4C-56C6-45CC-A7F9-32F1A490DB1C}" dt="2024-04-02T14:06:32.162" v="427" actId="478"/>
        <pc:sldMasterMkLst>
          <pc:docMk/>
          <pc:sldMasterMk cId="2207797739" sldId="2147483774"/>
        </pc:sldMasterMkLst>
        <pc:spChg chg="del mod">
          <ac:chgData name="Allie Lailas" userId="2487c244-a597-41b3-9378-29e439332fa1" providerId="ADAL" clId="{7415EE4C-56C6-45CC-A7F9-32F1A490DB1C}" dt="2024-04-02T13:37:24.725" v="224"/>
          <ac:spMkLst>
            <pc:docMk/>
            <pc:sldMasterMk cId="2207797739" sldId="2147483774"/>
            <ac:spMk id="9" creationId="{51520E06-BF98-49FF-91DB-15EBE855DD9E}"/>
          </ac:spMkLst>
        </pc:spChg>
        <pc:sldLayoutChg chg="delSp mod">
          <pc:chgData name="Allie Lailas" userId="2487c244-a597-41b3-9378-29e439332fa1" providerId="ADAL" clId="{7415EE4C-56C6-45CC-A7F9-32F1A490DB1C}" dt="2024-04-02T14:06:32.162" v="427" actId="478"/>
          <pc:sldLayoutMkLst>
            <pc:docMk/>
            <pc:sldMasterMk cId="2207797739" sldId="2147483774"/>
            <pc:sldLayoutMk cId="3132438578" sldId="2147483787"/>
          </pc:sldLayoutMkLst>
          <pc:spChg chg="del">
            <ac:chgData name="Allie Lailas" userId="2487c244-a597-41b3-9378-29e439332fa1" providerId="ADAL" clId="{7415EE4C-56C6-45CC-A7F9-32F1A490DB1C}" dt="2024-04-02T14:06:32.162" v="427" actId="478"/>
            <ac:spMkLst>
              <pc:docMk/>
              <pc:sldMasterMk cId="2207797739" sldId="2147483774"/>
              <pc:sldLayoutMk cId="3132438578" sldId="2147483787"/>
              <ac:spMk id="29" creationId="{EFDF4199-9905-E94D-9EEB-E7016E48C0FC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4:06:27.772" v="426" actId="478"/>
          <pc:sldLayoutMkLst>
            <pc:docMk/>
            <pc:sldMasterMk cId="2207797739" sldId="2147483774"/>
            <pc:sldLayoutMk cId="1561395597" sldId="2147483789"/>
          </pc:sldLayoutMkLst>
          <pc:spChg chg="del">
            <ac:chgData name="Allie Lailas" userId="2487c244-a597-41b3-9378-29e439332fa1" providerId="ADAL" clId="{7415EE4C-56C6-45CC-A7F9-32F1A490DB1C}" dt="2024-04-02T14:06:27.772" v="426" actId="478"/>
            <ac:spMkLst>
              <pc:docMk/>
              <pc:sldMasterMk cId="2207797739" sldId="2147483774"/>
              <pc:sldLayoutMk cId="1561395597" sldId="2147483789"/>
              <ac:spMk id="15" creationId="{3F655609-5439-9C4A-8F0D-9AB5A1AAC9A3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4:06:24.860" v="425" actId="478"/>
          <pc:sldLayoutMkLst>
            <pc:docMk/>
            <pc:sldMasterMk cId="2207797739" sldId="2147483774"/>
            <pc:sldLayoutMk cId="2423326210" sldId="2147483790"/>
          </pc:sldLayoutMkLst>
          <pc:spChg chg="del">
            <ac:chgData name="Allie Lailas" userId="2487c244-a597-41b3-9378-29e439332fa1" providerId="ADAL" clId="{7415EE4C-56C6-45CC-A7F9-32F1A490DB1C}" dt="2024-04-02T14:06:24.860" v="425" actId="478"/>
            <ac:spMkLst>
              <pc:docMk/>
              <pc:sldMasterMk cId="2207797739" sldId="2147483774"/>
              <pc:sldLayoutMk cId="2423326210" sldId="2147483790"/>
              <ac:spMk id="13" creationId="{9D4875CE-AB47-3643-8581-D89E9CF7EFC1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4:06:19.109" v="424" actId="478"/>
          <pc:sldLayoutMkLst>
            <pc:docMk/>
            <pc:sldMasterMk cId="2207797739" sldId="2147483774"/>
            <pc:sldLayoutMk cId="1966800242" sldId="2147483791"/>
          </pc:sldLayoutMkLst>
          <pc:spChg chg="del">
            <ac:chgData name="Allie Lailas" userId="2487c244-a597-41b3-9378-29e439332fa1" providerId="ADAL" clId="{7415EE4C-56C6-45CC-A7F9-32F1A490DB1C}" dt="2024-04-02T14:06:19.109" v="424" actId="478"/>
            <ac:spMkLst>
              <pc:docMk/>
              <pc:sldMasterMk cId="2207797739" sldId="2147483774"/>
              <pc:sldLayoutMk cId="1966800242" sldId="2147483791"/>
              <ac:spMk id="18" creationId="{F5846515-4871-AA4D-B71A-1561CC2E3701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4:06:16.023" v="423" actId="478"/>
          <pc:sldLayoutMkLst>
            <pc:docMk/>
            <pc:sldMasterMk cId="2207797739" sldId="2147483774"/>
            <pc:sldLayoutMk cId="4001687122" sldId="2147483792"/>
          </pc:sldLayoutMkLst>
          <pc:spChg chg="del">
            <ac:chgData name="Allie Lailas" userId="2487c244-a597-41b3-9378-29e439332fa1" providerId="ADAL" clId="{7415EE4C-56C6-45CC-A7F9-32F1A490DB1C}" dt="2024-04-02T14:06:16.023" v="423" actId="478"/>
            <ac:spMkLst>
              <pc:docMk/>
              <pc:sldMasterMk cId="2207797739" sldId="2147483774"/>
              <pc:sldLayoutMk cId="4001687122" sldId="2147483792"/>
              <ac:spMk id="19" creationId="{C90FD0E6-78D1-5F44-A938-3A961F43FACD}"/>
            </ac:spMkLst>
          </pc:spChg>
          <pc:spChg chg="del">
            <ac:chgData name="Allie Lailas" userId="2487c244-a597-41b3-9378-29e439332fa1" providerId="ADAL" clId="{7415EE4C-56C6-45CC-A7F9-32F1A490DB1C}" dt="2024-04-02T14:06:15.041" v="422" actId="478"/>
            <ac:spMkLst>
              <pc:docMk/>
              <pc:sldMasterMk cId="2207797739" sldId="2147483774"/>
              <pc:sldLayoutMk cId="4001687122" sldId="2147483792"/>
              <ac:spMk id="21" creationId="{3B808FDC-D2A2-42EB-B356-E69E4A048F8E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4:06:13.566" v="421" actId="478"/>
          <pc:sldLayoutMkLst>
            <pc:docMk/>
            <pc:sldMasterMk cId="2207797739" sldId="2147483774"/>
            <pc:sldLayoutMk cId="4066039147" sldId="2147483793"/>
          </pc:sldLayoutMkLst>
          <pc:spChg chg="del">
            <ac:chgData name="Allie Lailas" userId="2487c244-a597-41b3-9378-29e439332fa1" providerId="ADAL" clId="{7415EE4C-56C6-45CC-A7F9-32F1A490DB1C}" dt="2024-04-02T14:06:13.566" v="421" actId="478"/>
            <ac:spMkLst>
              <pc:docMk/>
              <pc:sldMasterMk cId="2207797739" sldId="2147483774"/>
              <pc:sldLayoutMk cId="4066039147" sldId="2147483793"/>
              <ac:spMk id="13" creationId="{9D4875CE-AB47-3643-8581-D89E9CF7EFC1}"/>
            </ac:spMkLst>
          </pc:spChg>
          <pc:spChg chg="del">
            <ac:chgData name="Allie Lailas" userId="2487c244-a597-41b3-9378-29e439332fa1" providerId="ADAL" clId="{7415EE4C-56C6-45CC-A7F9-32F1A490DB1C}" dt="2024-04-02T14:06:12.697" v="420" actId="478"/>
            <ac:spMkLst>
              <pc:docMk/>
              <pc:sldMasterMk cId="2207797739" sldId="2147483774"/>
              <pc:sldLayoutMk cId="4066039147" sldId="2147483793"/>
              <ac:spMk id="20" creationId="{FE9A3852-307B-4677-A2E2-D7DC495E366A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4:06:10.745" v="419" actId="478"/>
          <pc:sldLayoutMkLst>
            <pc:docMk/>
            <pc:sldMasterMk cId="2207797739" sldId="2147483774"/>
            <pc:sldLayoutMk cId="4267587263" sldId="2147483794"/>
          </pc:sldLayoutMkLst>
          <pc:spChg chg="del">
            <ac:chgData name="Allie Lailas" userId="2487c244-a597-41b3-9378-29e439332fa1" providerId="ADAL" clId="{7415EE4C-56C6-45CC-A7F9-32F1A490DB1C}" dt="2024-04-02T14:06:09.347" v="418" actId="478"/>
            <ac:spMkLst>
              <pc:docMk/>
              <pc:sldMasterMk cId="2207797739" sldId="2147483774"/>
              <pc:sldLayoutMk cId="4267587263" sldId="2147483794"/>
              <ac:spMk id="12" creationId="{55D0C779-F23A-40CE-B4C7-842A10085F59}"/>
            </ac:spMkLst>
          </pc:spChg>
          <pc:spChg chg="del">
            <ac:chgData name="Allie Lailas" userId="2487c244-a597-41b3-9378-29e439332fa1" providerId="ADAL" clId="{7415EE4C-56C6-45CC-A7F9-32F1A490DB1C}" dt="2024-04-02T14:06:10.745" v="419" actId="478"/>
            <ac:spMkLst>
              <pc:docMk/>
              <pc:sldMasterMk cId="2207797739" sldId="2147483774"/>
              <pc:sldLayoutMk cId="4267587263" sldId="2147483794"/>
              <ac:spMk id="13" creationId="{4578484E-3DC4-4DF6-819B-FDDDA6F166CB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4:06:07.871" v="417" actId="478"/>
          <pc:sldLayoutMkLst>
            <pc:docMk/>
            <pc:sldMasterMk cId="2207797739" sldId="2147483774"/>
            <pc:sldLayoutMk cId="2042074248" sldId="2147483795"/>
          </pc:sldLayoutMkLst>
          <pc:spChg chg="del">
            <ac:chgData name="Allie Lailas" userId="2487c244-a597-41b3-9378-29e439332fa1" providerId="ADAL" clId="{7415EE4C-56C6-45CC-A7F9-32F1A490DB1C}" dt="2024-04-02T14:06:07.871" v="417" actId="478"/>
            <ac:spMkLst>
              <pc:docMk/>
              <pc:sldMasterMk cId="2207797739" sldId="2147483774"/>
              <pc:sldLayoutMk cId="2042074248" sldId="2147483795"/>
              <ac:spMk id="20" creationId="{DC922DFF-5663-40DE-9B54-4149EDB7740E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4:06:05.695" v="416" actId="478"/>
          <pc:sldLayoutMkLst>
            <pc:docMk/>
            <pc:sldMasterMk cId="2207797739" sldId="2147483774"/>
            <pc:sldLayoutMk cId="235483951" sldId="2147483796"/>
          </pc:sldLayoutMkLst>
          <pc:spChg chg="del">
            <ac:chgData name="Allie Lailas" userId="2487c244-a597-41b3-9378-29e439332fa1" providerId="ADAL" clId="{7415EE4C-56C6-45CC-A7F9-32F1A490DB1C}" dt="2024-04-02T14:06:05.695" v="416" actId="478"/>
            <ac:spMkLst>
              <pc:docMk/>
              <pc:sldMasterMk cId="2207797739" sldId="2147483774"/>
              <pc:sldLayoutMk cId="235483951" sldId="2147483796"/>
              <ac:spMk id="17" creationId="{4B30B67E-5DCD-4732-882C-64DE9CC86419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4:05:59.515" v="415" actId="478"/>
          <pc:sldLayoutMkLst>
            <pc:docMk/>
            <pc:sldMasterMk cId="2207797739" sldId="2147483774"/>
            <pc:sldLayoutMk cId="2575523075" sldId="2147483798"/>
          </pc:sldLayoutMkLst>
          <pc:spChg chg="del">
            <ac:chgData name="Allie Lailas" userId="2487c244-a597-41b3-9378-29e439332fa1" providerId="ADAL" clId="{7415EE4C-56C6-45CC-A7F9-32F1A490DB1C}" dt="2024-04-02T14:05:59.515" v="415" actId="478"/>
            <ac:spMkLst>
              <pc:docMk/>
              <pc:sldMasterMk cId="2207797739" sldId="2147483774"/>
              <pc:sldLayoutMk cId="2575523075" sldId="2147483798"/>
              <ac:spMk id="13" creationId="{9D4875CE-AB47-3643-8581-D89E9CF7EFC1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4:05:57.050" v="414" actId="478"/>
          <pc:sldLayoutMkLst>
            <pc:docMk/>
            <pc:sldMasterMk cId="2207797739" sldId="2147483774"/>
            <pc:sldLayoutMk cId="2939137481" sldId="2147483799"/>
          </pc:sldLayoutMkLst>
          <pc:spChg chg="del">
            <ac:chgData name="Allie Lailas" userId="2487c244-a597-41b3-9378-29e439332fa1" providerId="ADAL" clId="{7415EE4C-56C6-45CC-A7F9-32F1A490DB1C}" dt="2024-04-02T14:05:57.050" v="414" actId="478"/>
            <ac:spMkLst>
              <pc:docMk/>
              <pc:sldMasterMk cId="2207797739" sldId="2147483774"/>
              <pc:sldLayoutMk cId="2939137481" sldId="2147483799"/>
              <ac:spMk id="13" creationId="{9D4875CE-AB47-3643-8581-D89E9CF7EFC1}"/>
            </ac:spMkLst>
          </pc:spChg>
          <pc:spChg chg="del">
            <ac:chgData name="Allie Lailas" userId="2487c244-a597-41b3-9378-29e439332fa1" providerId="ADAL" clId="{7415EE4C-56C6-45CC-A7F9-32F1A490DB1C}" dt="2024-04-02T14:05:53.687" v="413" actId="478"/>
            <ac:spMkLst>
              <pc:docMk/>
              <pc:sldMasterMk cId="2207797739" sldId="2147483774"/>
              <pc:sldLayoutMk cId="2939137481" sldId="2147483799"/>
              <ac:spMk id="861" creationId="{00000000-0000-0000-0000-000000000000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4:05:49.986" v="412" actId="478"/>
          <pc:sldLayoutMkLst>
            <pc:docMk/>
            <pc:sldMasterMk cId="2207797739" sldId="2147483774"/>
            <pc:sldLayoutMk cId="934703932" sldId="2147483800"/>
          </pc:sldLayoutMkLst>
          <pc:spChg chg="del">
            <ac:chgData name="Allie Lailas" userId="2487c244-a597-41b3-9378-29e439332fa1" providerId="ADAL" clId="{7415EE4C-56C6-45CC-A7F9-32F1A490DB1C}" dt="2024-04-02T14:05:49.986" v="412" actId="478"/>
            <ac:spMkLst>
              <pc:docMk/>
              <pc:sldMasterMk cId="2207797739" sldId="2147483774"/>
              <pc:sldLayoutMk cId="934703932" sldId="2147483800"/>
              <ac:spMk id="15" creationId="{3F655609-5439-9C4A-8F0D-9AB5A1AAC9A3}"/>
            </ac:spMkLst>
          </pc:spChg>
        </pc:sldLayoutChg>
        <pc:sldLayoutChg chg="delSp modSp mod">
          <pc:chgData name="Allie Lailas" userId="2487c244-a597-41b3-9378-29e439332fa1" providerId="ADAL" clId="{7415EE4C-56C6-45CC-A7F9-32F1A490DB1C}" dt="2024-04-02T14:05:46.433" v="411"/>
          <pc:sldLayoutMkLst>
            <pc:docMk/>
            <pc:sldMasterMk cId="2207797739" sldId="2147483774"/>
            <pc:sldLayoutMk cId="3482237833" sldId="2147483801"/>
          </pc:sldLayoutMkLst>
          <pc:spChg chg="del mod">
            <ac:chgData name="Allie Lailas" userId="2487c244-a597-41b3-9378-29e439332fa1" providerId="ADAL" clId="{7415EE4C-56C6-45CC-A7F9-32F1A490DB1C}" dt="2024-04-02T14:05:46.433" v="411"/>
            <ac:spMkLst>
              <pc:docMk/>
              <pc:sldMasterMk cId="2207797739" sldId="2147483774"/>
              <pc:sldLayoutMk cId="3482237833" sldId="2147483801"/>
              <ac:spMk id="3" creationId="{0BEB0009-31D2-7F1C-7E4B-ED83DD0D77BB}"/>
            </ac:spMkLst>
          </pc:spChg>
        </pc:sldLayoutChg>
        <pc:sldLayoutChg chg="delSp mod">
          <pc:chgData name="Allie Lailas" userId="2487c244-a597-41b3-9378-29e439332fa1" providerId="ADAL" clId="{7415EE4C-56C6-45CC-A7F9-32F1A490DB1C}" dt="2024-04-02T14:05:40.095" v="408" actId="478"/>
          <pc:sldLayoutMkLst>
            <pc:docMk/>
            <pc:sldMasterMk cId="2207797739" sldId="2147483774"/>
            <pc:sldLayoutMk cId="815344005" sldId="2147483803"/>
          </pc:sldLayoutMkLst>
          <pc:spChg chg="del">
            <ac:chgData name="Allie Lailas" userId="2487c244-a597-41b3-9378-29e439332fa1" providerId="ADAL" clId="{7415EE4C-56C6-45CC-A7F9-32F1A490DB1C}" dt="2024-04-02T14:05:40.095" v="408" actId="478"/>
            <ac:spMkLst>
              <pc:docMk/>
              <pc:sldMasterMk cId="2207797739" sldId="2147483774"/>
              <pc:sldLayoutMk cId="815344005" sldId="2147483803"/>
              <ac:spMk id="4" creationId="{00000000-0000-0000-0000-000000000000}"/>
            </ac:spMkLst>
          </pc:spChg>
        </pc:sldLayoutChg>
      </pc:sldMasterChg>
      <pc:sldMasterChg chg="delSp modSp mod modSldLayout">
        <pc:chgData name="Allie Lailas" userId="2487c244-a597-41b3-9378-29e439332fa1" providerId="ADAL" clId="{7415EE4C-56C6-45CC-A7F9-32F1A490DB1C}" dt="2024-04-02T14:05:22.228" v="407"/>
        <pc:sldMasterMkLst>
          <pc:docMk/>
          <pc:sldMasterMk cId="750616049" sldId="2147483805"/>
        </pc:sldMasterMkLst>
        <pc:spChg chg="del mod">
          <ac:chgData name="Allie Lailas" userId="2487c244-a597-41b3-9378-29e439332fa1" providerId="ADAL" clId="{7415EE4C-56C6-45CC-A7F9-32F1A490DB1C}" dt="2024-04-02T14:04:25.310" v="397" actId="478"/>
          <ac:spMkLst>
            <pc:docMk/>
            <pc:sldMasterMk cId="750616049" sldId="2147483805"/>
            <ac:spMk id="5" creationId="{10107ACB-6C9C-4721-BBBF-F429AA9FB76B}"/>
          </ac:spMkLst>
        </pc:spChg>
        <pc:sldLayoutChg chg="delSp modSp mod">
          <pc:chgData name="Allie Lailas" userId="2487c244-a597-41b3-9378-29e439332fa1" providerId="ADAL" clId="{7415EE4C-56C6-45CC-A7F9-32F1A490DB1C}" dt="2024-04-02T14:05:22.228" v="407"/>
          <pc:sldLayoutMkLst>
            <pc:docMk/>
            <pc:sldMasterMk cId="750616049" sldId="2147483805"/>
            <pc:sldLayoutMk cId="2678843142" sldId="2147483810"/>
          </pc:sldLayoutMkLst>
          <pc:spChg chg="del mod">
            <ac:chgData name="Allie Lailas" userId="2487c244-a597-41b3-9378-29e439332fa1" providerId="ADAL" clId="{7415EE4C-56C6-45CC-A7F9-32F1A490DB1C}" dt="2024-04-02T14:05:22.228" v="407"/>
            <ac:spMkLst>
              <pc:docMk/>
              <pc:sldMasterMk cId="750616049" sldId="2147483805"/>
              <pc:sldLayoutMk cId="2678843142" sldId="2147483810"/>
              <ac:spMk id="4" creationId="{24570DB2-C64B-4F9F-8D05-563F9ADD3A24}"/>
            </ac:spMkLst>
          </pc:spChg>
        </pc:sldLayoutChg>
        <pc:sldLayoutChg chg="delSp modSp mod">
          <pc:chgData name="Allie Lailas" userId="2487c244-a597-41b3-9378-29e439332fa1" providerId="ADAL" clId="{7415EE4C-56C6-45CC-A7F9-32F1A490DB1C}" dt="2024-04-02T14:05:16.809" v="403" actId="478"/>
          <pc:sldLayoutMkLst>
            <pc:docMk/>
            <pc:sldMasterMk cId="750616049" sldId="2147483805"/>
            <pc:sldLayoutMk cId="1046161868" sldId="2147483812"/>
          </pc:sldLayoutMkLst>
          <pc:spChg chg="del mod">
            <ac:chgData name="Allie Lailas" userId="2487c244-a597-41b3-9378-29e439332fa1" providerId="ADAL" clId="{7415EE4C-56C6-45CC-A7F9-32F1A490DB1C}" dt="2024-04-02T14:05:16.809" v="403" actId="478"/>
            <ac:spMkLst>
              <pc:docMk/>
              <pc:sldMasterMk cId="750616049" sldId="2147483805"/>
              <pc:sldLayoutMk cId="1046161868" sldId="2147483812"/>
              <ac:spMk id="6" creationId="{3B17CAFC-A6A0-488A-86FF-5D715DB4D9A0}"/>
            </ac:spMkLst>
          </pc:spChg>
        </pc:sldLayoutChg>
        <pc:sldLayoutChg chg="delSp modSp mod">
          <pc:chgData name="Allie Lailas" userId="2487c244-a597-41b3-9378-29e439332fa1" providerId="ADAL" clId="{7415EE4C-56C6-45CC-A7F9-32F1A490DB1C}" dt="2024-04-02T14:05:07.231" v="399" actId="478"/>
          <pc:sldLayoutMkLst>
            <pc:docMk/>
            <pc:sldMasterMk cId="750616049" sldId="2147483805"/>
            <pc:sldLayoutMk cId="3729677578" sldId="2147483813"/>
          </pc:sldLayoutMkLst>
          <pc:spChg chg="del mod">
            <ac:chgData name="Allie Lailas" userId="2487c244-a597-41b3-9378-29e439332fa1" providerId="ADAL" clId="{7415EE4C-56C6-45CC-A7F9-32F1A490DB1C}" dt="2024-04-02T14:05:07.231" v="399" actId="478"/>
            <ac:spMkLst>
              <pc:docMk/>
              <pc:sldMasterMk cId="750616049" sldId="2147483805"/>
              <pc:sldLayoutMk cId="3729677578" sldId="2147483813"/>
              <ac:spMk id="11" creationId="{68544918-59EA-42FF-BD90-3E9394ACFC21}"/>
            </ac:spMkLst>
          </pc:spChg>
        </pc:sldLayoutChg>
      </pc:sldMasterChg>
      <pc:sldMasterChg chg="del delSldLayout">
        <pc:chgData name="Allie Lailas" userId="2487c244-a597-41b3-9378-29e439332fa1" providerId="ADAL" clId="{7415EE4C-56C6-45CC-A7F9-32F1A490DB1C}" dt="2024-04-02T16:15:28.397" v="556" actId="47"/>
        <pc:sldMasterMkLst>
          <pc:docMk/>
          <pc:sldMasterMk cId="2702847513" sldId="2147483817"/>
        </pc:sldMasterMkLst>
        <pc:sldLayoutChg chg="del">
          <pc:chgData name="Allie Lailas" userId="2487c244-a597-41b3-9378-29e439332fa1" providerId="ADAL" clId="{7415EE4C-56C6-45CC-A7F9-32F1A490DB1C}" dt="2024-04-02T16:15:28.397" v="556" actId="47"/>
          <pc:sldLayoutMkLst>
            <pc:docMk/>
            <pc:sldMasterMk cId="2702847513" sldId="2147483817"/>
            <pc:sldLayoutMk cId="4201642033" sldId="2147483818"/>
          </pc:sldLayoutMkLst>
        </pc:sldLayoutChg>
        <pc:sldLayoutChg chg="del">
          <pc:chgData name="Allie Lailas" userId="2487c244-a597-41b3-9378-29e439332fa1" providerId="ADAL" clId="{7415EE4C-56C6-45CC-A7F9-32F1A490DB1C}" dt="2024-04-02T16:15:28.397" v="556" actId="47"/>
          <pc:sldLayoutMkLst>
            <pc:docMk/>
            <pc:sldMasterMk cId="2702847513" sldId="2147483817"/>
            <pc:sldLayoutMk cId="4193565031" sldId="2147483819"/>
          </pc:sldLayoutMkLst>
        </pc:sldLayoutChg>
        <pc:sldLayoutChg chg="del">
          <pc:chgData name="Allie Lailas" userId="2487c244-a597-41b3-9378-29e439332fa1" providerId="ADAL" clId="{7415EE4C-56C6-45CC-A7F9-32F1A490DB1C}" dt="2024-04-02T16:15:28.397" v="556" actId="47"/>
          <pc:sldLayoutMkLst>
            <pc:docMk/>
            <pc:sldMasterMk cId="2702847513" sldId="2147483817"/>
            <pc:sldLayoutMk cId="1442701256" sldId="2147483820"/>
          </pc:sldLayoutMkLst>
        </pc:sldLayoutChg>
        <pc:sldLayoutChg chg="del">
          <pc:chgData name="Allie Lailas" userId="2487c244-a597-41b3-9378-29e439332fa1" providerId="ADAL" clId="{7415EE4C-56C6-45CC-A7F9-32F1A490DB1C}" dt="2024-04-02T16:15:28.397" v="556" actId="47"/>
          <pc:sldLayoutMkLst>
            <pc:docMk/>
            <pc:sldMasterMk cId="2702847513" sldId="2147483817"/>
            <pc:sldLayoutMk cId="1841250241" sldId="2147483821"/>
          </pc:sldLayoutMkLst>
        </pc:sldLayoutChg>
        <pc:sldLayoutChg chg="del">
          <pc:chgData name="Allie Lailas" userId="2487c244-a597-41b3-9378-29e439332fa1" providerId="ADAL" clId="{7415EE4C-56C6-45CC-A7F9-32F1A490DB1C}" dt="2024-04-02T16:15:28.397" v="556" actId="47"/>
          <pc:sldLayoutMkLst>
            <pc:docMk/>
            <pc:sldMasterMk cId="2702847513" sldId="2147483817"/>
            <pc:sldLayoutMk cId="277620567" sldId="2147483822"/>
          </pc:sldLayoutMkLst>
        </pc:sldLayoutChg>
        <pc:sldLayoutChg chg="del">
          <pc:chgData name="Allie Lailas" userId="2487c244-a597-41b3-9378-29e439332fa1" providerId="ADAL" clId="{7415EE4C-56C6-45CC-A7F9-32F1A490DB1C}" dt="2024-04-02T16:15:28.397" v="556" actId="47"/>
          <pc:sldLayoutMkLst>
            <pc:docMk/>
            <pc:sldMasterMk cId="2702847513" sldId="2147483817"/>
            <pc:sldLayoutMk cId="1447957968" sldId="2147483823"/>
          </pc:sldLayoutMkLst>
        </pc:sldLayoutChg>
        <pc:sldLayoutChg chg="del">
          <pc:chgData name="Allie Lailas" userId="2487c244-a597-41b3-9378-29e439332fa1" providerId="ADAL" clId="{7415EE4C-56C6-45CC-A7F9-32F1A490DB1C}" dt="2024-04-02T16:15:28.397" v="556" actId="47"/>
          <pc:sldLayoutMkLst>
            <pc:docMk/>
            <pc:sldMasterMk cId="2702847513" sldId="2147483817"/>
            <pc:sldLayoutMk cId="1485528423" sldId="2147483824"/>
          </pc:sldLayoutMkLst>
        </pc:sldLayoutChg>
        <pc:sldLayoutChg chg="del">
          <pc:chgData name="Allie Lailas" userId="2487c244-a597-41b3-9378-29e439332fa1" providerId="ADAL" clId="{7415EE4C-56C6-45CC-A7F9-32F1A490DB1C}" dt="2024-04-02T16:15:28.397" v="556" actId="47"/>
          <pc:sldLayoutMkLst>
            <pc:docMk/>
            <pc:sldMasterMk cId="2702847513" sldId="2147483817"/>
            <pc:sldLayoutMk cId="1941124578" sldId="2147483825"/>
          </pc:sldLayoutMkLst>
        </pc:sldLayoutChg>
        <pc:sldLayoutChg chg="del">
          <pc:chgData name="Allie Lailas" userId="2487c244-a597-41b3-9378-29e439332fa1" providerId="ADAL" clId="{7415EE4C-56C6-45CC-A7F9-32F1A490DB1C}" dt="2024-04-02T16:15:28.397" v="556" actId="47"/>
          <pc:sldLayoutMkLst>
            <pc:docMk/>
            <pc:sldMasterMk cId="2702847513" sldId="2147483817"/>
            <pc:sldLayoutMk cId="2492345792" sldId="2147483826"/>
          </pc:sldLayoutMkLst>
        </pc:sldLayoutChg>
        <pc:sldLayoutChg chg="del">
          <pc:chgData name="Allie Lailas" userId="2487c244-a597-41b3-9378-29e439332fa1" providerId="ADAL" clId="{7415EE4C-56C6-45CC-A7F9-32F1A490DB1C}" dt="2024-04-02T16:15:28.397" v="556" actId="47"/>
          <pc:sldLayoutMkLst>
            <pc:docMk/>
            <pc:sldMasterMk cId="2702847513" sldId="2147483817"/>
            <pc:sldLayoutMk cId="4086969188" sldId="2147483827"/>
          </pc:sldLayoutMkLst>
        </pc:sldLayoutChg>
        <pc:sldLayoutChg chg="del">
          <pc:chgData name="Allie Lailas" userId="2487c244-a597-41b3-9378-29e439332fa1" providerId="ADAL" clId="{7415EE4C-56C6-45CC-A7F9-32F1A490DB1C}" dt="2024-04-02T16:15:28.397" v="556" actId="47"/>
          <pc:sldLayoutMkLst>
            <pc:docMk/>
            <pc:sldMasterMk cId="2702847513" sldId="2147483817"/>
            <pc:sldLayoutMk cId="336197045" sldId="2147483828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_80000095_DF00181D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85003499999999999"/>
        </c:manualLayout>
      </c:layout>
      <c:pieChart>
        <c:varyColors val="0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legend>
      <c:legendPos val="b"/>
      <c:layout>
        <c:manualLayout>
          <c:xMode val="edge"/>
          <c:yMode val="edge"/>
          <c:x val="4.1227E-2"/>
          <c:y val="0.95121999999999995"/>
          <c:w val="0.91754599999999997"/>
          <c:h val="4.8779599999999999E-2"/>
        </c:manualLayout>
      </c:layout>
      <c:overlay val="1"/>
      <c:spPr>
        <a:noFill/>
        <a:ln w="12700" cap="flat">
          <a:noFill/>
          <a:miter lim="400000"/>
        </a:ln>
        <a:effectLst/>
      </c:spPr>
      <c:txPr>
        <a:bodyPr rot="0"/>
        <a:lstStyle/>
        <a:p>
          <a:pPr>
            <a:defRPr sz="1800" b="0" i="0" u="none" strike="noStrike">
              <a:solidFill>
                <a:srgbClr val="000000"/>
              </a:solidFill>
              <a:latin typeface="Intel Clear"/>
            </a:defRPr>
          </a:pPr>
          <a:endParaRPr lang="en-US"/>
        </a:p>
      </c:txPr>
    </c:legend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3gpp.org/ftp/tsg_sa/TSG_SA/TSGS_103_Maastricht_2024-03/Docs/SP-240458.zip" TargetMode="External"/><Relationship Id="rId1" Type="http://schemas.openxmlformats.org/officeDocument/2006/relationships/hyperlink" Target="https://www.3gpp.org/ftp/tsg_sa/TSG_SA/TSGS_102_Edinburgh_2023-12/Docs/SP-231693.zip" TargetMode="External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sv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image" Target="../media/image47.svg"/><Relationship Id="rId1" Type="http://schemas.openxmlformats.org/officeDocument/2006/relationships/image" Target="../media/image46.png"/><Relationship Id="rId6" Type="http://schemas.openxmlformats.org/officeDocument/2006/relationships/image" Target="../media/image51.svg"/><Relationship Id="rId5" Type="http://schemas.openxmlformats.org/officeDocument/2006/relationships/image" Target="../media/image50.png"/><Relationship Id="rId4" Type="http://schemas.openxmlformats.org/officeDocument/2006/relationships/image" Target="../media/image49.svg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svg"/><Relationship Id="rId2" Type="http://schemas.openxmlformats.org/officeDocument/2006/relationships/image" Target="../media/image54.png"/><Relationship Id="rId1" Type="http://schemas.openxmlformats.org/officeDocument/2006/relationships/hyperlink" Target="https://www.3gpp.org/ftp/tsg_sa/TSG_SA/TSGS_103_Maastricht_2024-03/Docs/SP-240456.zip" TargetMode="External"/><Relationship Id="rId5" Type="http://schemas.openxmlformats.org/officeDocument/2006/relationships/image" Target="../media/image57.svg"/><Relationship Id="rId4" Type="http://schemas.openxmlformats.org/officeDocument/2006/relationships/image" Target="../media/image56.png"/></Relationships>
</file>

<file path=ppt/diagrams/_rels/drawing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3gpp.org/ftp/tsg_sa/TSG_SA/TSGS_103_Maastricht_2024-03/Docs/SP-240458.zip" TargetMode="External"/><Relationship Id="rId1" Type="http://schemas.openxmlformats.org/officeDocument/2006/relationships/hyperlink" Target="https://www.3gpp.org/ftp/tsg_sa/TSG_SA/TSGS_102_Edinburgh_2023-12/Docs/SP-231693.zip" TargetMode="External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sv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image" Target="../media/image47.svg"/><Relationship Id="rId1" Type="http://schemas.openxmlformats.org/officeDocument/2006/relationships/image" Target="../media/image46.png"/><Relationship Id="rId6" Type="http://schemas.openxmlformats.org/officeDocument/2006/relationships/image" Target="../media/image51.svg"/><Relationship Id="rId5" Type="http://schemas.openxmlformats.org/officeDocument/2006/relationships/image" Target="../media/image50.png"/><Relationship Id="rId4" Type="http://schemas.openxmlformats.org/officeDocument/2006/relationships/image" Target="../media/image49.sv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3gpp.org/ftp/tsg_sa/TSG_SA/TSGS_103_Maastricht_2024-03/Docs/SP-240456.zip" TargetMode="External"/><Relationship Id="rId2" Type="http://schemas.openxmlformats.org/officeDocument/2006/relationships/image" Target="../media/image55.svg"/><Relationship Id="rId1" Type="http://schemas.openxmlformats.org/officeDocument/2006/relationships/image" Target="../media/image54.png"/><Relationship Id="rId5" Type="http://schemas.openxmlformats.org/officeDocument/2006/relationships/image" Target="../media/image57.svg"/><Relationship Id="rId4" Type="http://schemas.openxmlformats.org/officeDocument/2006/relationships/image" Target="../media/image56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6F0E0FE-2725-43C4-8070-ECA683916BAC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B026AFC8-CA97-48C8-BA88-5546D32E7CCE}">
      <dgm:prSet/>
      <dgm:spPr/>
      <dgm:t>
        <a:bodyPr/>
        <a:lstStyle/>
        <a:p>
          <a:r>
            <a:rPr lang="en-GB" b="1"/>
            <a:t>Background</a:t>
          </a:r>
          <a:endParaRPr lang="en-US"/>
        </a:p>
      </dgm:t>
    </dgm:pt>
    <dgm:pt modelId="{A9C8FD30-DF09-497E-9B6C-141DF2AEAA0A}" type="parTrans" cxnId="{F4CD2EF7-9D17-4817-984B-B26AC201DC13}">
      <dgm:prSet/>
      <dgm:spPr/>
      <dgm:t>
        <a:bodyPr/>
        <a:lstStyle/>
        <a:p>
          <a:endParaRPr lang="en-US"/>
        </a:p>
      </dgm:t>
    </dgm:pt>
    <dgm:pt modelId="{05B7D693-430B-4E16-95A4-9023B2791EAE}" type="sibTrans" cxnId="{F4CD2EF7-9D17-4817-984B-B26AC201DC13}">
      <dgm:prSet/>
      <dgm:spPr/>
      <dgm:t>
        <a:bodyPr/>
        <a:lstStyle/>
        <a:p>
          <a:endParaRPr lang="en-US"/>
        </a:p>
      </dgm:t>
    </dgm:pt>
    <dgm:pt modelId="{AEC5C193-E4FF-4D8D-A68C-7CA8CF2EF45B}">
      <dgm:prSet/>
      <dgm:spPr/>
      <dgm:t>
        <a:bodyPr/>
        <a:lstStyle/>
        <a:p>
          <a:pPr>
            <a:spcBef>
              <a:spcPts val="1200"/>
            </a:spcBef>
            <a:spcAft>
              <a:spcPts val="1200"/>
            </a:spcAft>
            <a:buFont typeface="Arial" panose="020B0604020202020204" pitchFamily="34" charset="0"/>
            <a:buChar char="•"/>
          </a:pPr>
          <a:r>
            <a:rPr lang="en-GB"/>
            <a:t>ITU-R has agreed on the timeline for IMT-2030</a:t>
          </a:r>
          <a:endParaRPr lang="en-US"/>
        </a:p>
      </dgm:t>
    </dgm:pt>
    <dgm:pt modelId="{010B4F35-5A6C-4B99-A6AB-264E647368CB}" type="parTrans" cxnId="{5F9E68F2-1962-4385-B70D-9B64FC4F91B1}">
      <dgm:prSet/>
      <dgm:spPr/>
      <dgm:t>
        <a:bodyPr/>
        <a:lstStyle/>
        <a:p>
          <a:endParaRPr lang="en-US"/>
        </a:p>
      </dgm:t>
    </dgm:pt>
    <dgm:pt modelId="{61E2A91E-DDC2-42F6-A695-4E45405C2063}" type="sibTrans" cxnId="{5F9E68F2-1962-4385-B70D-9B64FC4F91B1}">
      <dgm:prSet/>
      <dgm:spPr/>
      <dgm:t>
        <a:bodyPr/>
        <a:lstStyle/>
        <a:p>
          <a:endParaRPr lang="en-US"/>
        </a:p>
      </dgm:t>
    </dgm:pt>
    <dgm:pt modelId="{D496DD48-6ABC-4C86-B302-F9BA9EA2F057}">
      <dgm:prSet/>
      <dgm:spPr/>
      <dgm:t>
        <a:bodyPr/>
        <a:lstStyle/>
        <a:p>
          <a:pPr>
            <a:spcBef>
              <a:spcPts val="1200"/>
            </a:spcBef>
            <a:spcAft>
              <a:spcPts val="1200"/>
            </a:spcAft>
            <a:buFont typeface="Arial" panose="020B0604020202020204" pitchFamily="34" charset="0"/>
            <a:buChar char="•"/>
          </a:pPr>
          <a:r>
            <a:rPr lang="en-GB"/>
            <a:t>In </a:t>
          </a:r>
          <a:r>
            <a:rPr lang="en-GB" b="1"/>
            <a:t>Dec ‘23</a:t>
          </a:r>
          <a:r>
            <a:rPr lang="en-GB"/>
            <a:t>, 3GPP agreed on some first key aspects of the 6G timeline (</a:t>
          </a:r>
          <a:r>
            <a:rPr lang="en-GB" b="1">
              <a:hlinkClick xmlns:r="http://schemas.openxmlformats.org/officeDocument/2006/relationships" r:id="rId1"/>
            </a:rPr>
            <a:t>SP-231693</a:t>
          </a:r>
          <a:r>
            <a:rPr lang="en-GB"/>
            <a:t>) </a:t>
          </a:r>
          <a:endParaRPr lang="en-US"/>
        </a:p>
      </dgm:t>
    </dgm:pt>
    <dgm:pt modelId="{078F9946-78C6-4E9C-8FA0-120EFB9A2AE6}" type="parTrans" cxnId="{AFBFA2B1-8E51-4826-BF67-987C774E4C88}">
      <dgm:prSet/>
      <dgm:spPr/>
      <dgm:t>
        <a:bodyPr/>
        <a:lstStyle/>
        <a:p>
          <a:endParaRPr lang="en-US"/>
        </a:p>
      </dgm:t>
    </dgm:pt>
    <dgm:pt modelId="{257CCE5F-336E-41CD-AEE2-205CECEF8748}" type="sibTrans" cxnId="{AFBFA2B1-8E51-4826-BF67-987C774E4C88}">
      <dgm:prSet/>
      <dgm:spPr/>
      <dgm:t>
        <a:bodyPr/>
        <a:lstStyle/>
        <a:p>
          <a:endParaRPr lang="en-US"/>
        </a:p>
      </dgm:t>
    </dgm:pt>
    <dgm:pt modelId="{C2AD077A-E7D3-474E-8450-C51445DD93A9}">
      <dgm:prSet/>
      <dgm:spPr/>
      <dgm:t>
        <a:bodyPr/>
        <a:lstStyle/>
        <a:p>
          <a:pPr>
            <a:spcBef>
              <a:spcPts val="1200"/>
            </a:spcBef>
            <a:spcAft>
              <a:spcPts val="1200"/>
            </a:spcAft>
            <a:buFont typeface="Arial" panose="020B0604020202020204" pitchFamily="34" charset="0"/>
            <a:buChar char="•"/>
          </a:pPr>
          <a:r>
            <a:rPr lang="en-GB"/>
            <a:t>3GPP is expected to discuss further details of the 6G timeline in future meetings</a:t>
          </a:r>
          <a:endParaRPr lang="en-US"/>
        </a:p>
      </dgm:t>
    </dgm:pt>
    <dgm:pt modelId="{79FC435D-3359-4859-BEB9-69A73E17491F}" type="parTrans" cxnId="{F331D86C-4293-4069-9B4B-F27A24EBA670}">
      <dgm:prSet/>
      <dgm:spPr/>
      <dgm:t>
        <a:bodyPr/>
        <a:lstStyle/>
        <a:p>
          <a:endParaRPr lang="en-US"/>
        </a:p>
      </dgm:t>
    </dgm:pt>
    <dgm:pt modelId="{6691D786-3DAA-466A-8A0B-C71499ADCC53}" type="sibTrans" cxnId="{F331D86C-4293-4069-9B4B-F27A24EBA670}">
      <dgm:prSet/>
      <dgm:spPr/>
      <dgm:t>
        <a:bodyPr/>
        <a:lstStyle/>
        <a:p>
          <a:endParaRPr lang="en-US"/>
        </a:p>
      </dgm:t>
    </dgm:pt>
    <dgm:pt modelId="{A27F51D9-374C-424A-8C55-E78307192FDE}">
      <dgm:prSet/>
      <dgm:spPr/>
      <dgm:t>
        <a:bodyPr/>
        <a:lstStyle/>
        <a:p>
          <a:r>
            <a:rPr lang="en-GB" b="1"/>
            <a:t>Key agreements from SA #102/#103</a:t>
          </a:r>
          <a:endParaRPr lang="en-US"/>
        </a:p>
      </dgm:t>
    </dgm:pt>
    <dgm:pt modelId="{06444E9C-9492-4FB9-9A0A-F45646CA356C}" type="parTrans" cxnId="{BD47AA49-4F97-4A53-B6CC-2E51B12A4A90}">
      <dgm:prSet/>
      <dgm:spPr/>
      <dgm:t>
        <a:bodyPr/>
        <a:lstStyle/>
        <a:p>
          <a:endParaRPr lang="en-US"/>
        </a:p>
      </dgm:t>
    </dgm:pt>
    <dgm:pt modelId="{080A6B5A-25AF-401F-BB16-7F222F418A13}" type="sibTrans" cxnId="{BD47AA49-4F97-4A53-B6CC-2E51B12A4A90}">
      <dgm:prSet/>
      <dgm:spPr/>
      <dgm:t>
        <a:bodyPr/>
        <a:lstStyle/>
        <a:p>
          <a:endParaRPr lang="en-US"/>
        </a:p>
      </dgm:t>
    </dgm:pt>
    <dgm:pt modelId="{05ED64AD-2422-44FB-A73E-C75BF8955D60}">
      <dgm:prSet/>
      <dgm:spPr/>
      <dgm:t>
        <a:bodyPr/>
        <a:lstStyle/>
        <a:p>
          <a:pPr>
            <a:spcBef>
              <a:spcPts val="1200"/>
            </a:spcBef>
            <a:spcAft>
              <a:spcPts val="1200"/>
            </a:spcAft>
            <a:buFont typeface="Arial" panose="020B0604020202020204" pitchFamily="34" charset="0"/>
            <a:buChar char="•"/>
          </a:pPr>
          <a:r>
            <a:rPr lang="en-GB" b="1"/>
            <a:t>May ‘24 </a:t>
          </a:r>
          <a:r>
            <a:rPr lang="en-GB"/>
            <a:t>– 3GPP Stage-1 workshop on IMT-2030 use cases</a:t>
          </a:r>
          <a:endParaRPr lang="en-US"/>
        </a:p>
      </dgm:t>
    </dgm:pt>
    <dgm:pt modelId="{C11692DA-9C63-402C-8A68-4945533988E0}" type="parTrans" cxnId="{DD369EBF-0044-4013-869B-33B55B920904}">
      <dgm:prSet/>
      <dgm:spPr/>
      <dgm:t>
        <a:bodyPr/>
        <a:lstStyle/>
        <a:p>
          <a:endParaRPr lang="en-US"/>
        </a:p>
      </dgm:t>
    </dgm:pt>
    <dgm:pt modelId="{35F6CE9E-FF44-4AD5-B963-57AB5C4309D9}" type="sibTrans" cxnId="{DD369EBF-0044-4013-869B-33B55B920904}">
      <dgm:prSet/>
      <dgm:spPr/>
      <dgm:t>
        <a:bodyPr/>
        <a:lstStyle/>
        <a:p>
          <a:endParaRPr lang="en-US"/>
        </a:p>
      </dgm:t>
    </dgm:pt>
    <dgm:pt modelId="{F8C1A2DE-DE81-486E-8F67-38997238E5DC}">
      <dgm:prSet/>
      <dgm:spPr/>
      <dgm:t>
        <a:bodyPr/>
        <a:lstStyle/>
        <a:p>
          <a:pPr>
            <a:spcBef>
              <a:spcPts val="1200"/>
            </a:spcBef>
            <a:spcAft>
              <a:spcPts val="1200"/>
            </a:spcAft>
            <a:buFont typeface="Arial" panose="020B0604020202020204" pitchFamily="34" charset="0"/>
            <a:buChar char="•"/>
          </a:pPr>
          <a:r>
            <a:rPr lang="en-GB" b="1"/>
            <a:t>March ‘25 </a:t>
          </a:r>
          <a:r>
            <a:rPr lang="en-GB"/>
            <a:t>– 3GPP wide workshop to kick off Rel-20 technical studies in SA and RAN</a:t>
          </a:r>
          <a:endParaRPr lang="en-US"/>
        </a:p>
      </dgm:t>
    </dgm:pt>
    <dgm:pt modelId="{176F2D43-B550-49E0-A10D-A116CFA8FD4C}" type="parTrans" cxnId="{E66CA129-9C6C-44D3-9891-10FC1329FF37}">
      <dgm:prSet/>
      <dgm:spPr/>
      <dgm:t>
        <a:bodyPr/>
        <a:lstStyle/>
        <a:p>
          <a:endParaRPr lang="en-US"/>
        </a:p>
      </dgm:t>
    </dgm:pt>
    <dgm:pt modelId="{E054DEBA-83F6-4C7B-B81E-9DB273143B66}" type="sibTrans" cxnId="{E66CA129-9C6C-44D3-9891-10FC1329FF37}">
      <dgm:prSet/>
      <dgm:spPr/>
      <dgm:t>
        <a:bodyPr/>
        <a:lstStyle/>
        <a:p>
          <a:endParaRPr lang="en-US"/>
        </a:p>
      </dgm:t>
    </dgm:pt>
    <dgm:pt modelId="{3FA4E308-169F-490B-B15F-9D7298B0B429}">
      <dgm:prSet/>
      <dgm:spPr/>
      <dgm:t>
        <a:bodyPr/>
        <a:lstStyle/>
        <a:p>
          <a:pPr>
            <a:spcBef>
              <a:spcPts val="1200"/>
            </a:spcBef>
            <a:spcAft>
              <a:spcPts val="1200"/>
            </a:spcAft>
            <a:buFont typeface="Arial" panose="020B0604020202020204" pitchFamily="34" charset="0"/>
            <a:buChar char="•"/>
          </a:pPr>
          <a:r>
            <a:rPr lang="en-GB" b="1"/>
            <a:t>June ‘25 </a:t>
          </a:r>
          <a:r>
            <a:rPr lang="en-GB"/>
            <a:t>- Approval of SA2 studies on 6G</a:t>
          </a:r>
          <a:endParaRPr lang="en-US"/>
        </a:p>
      </dgm:t>
    </dgm:pt>
    <dgm:pt modelId="{F3C92604-AABB-4E0F-93A3-92BE39D67FD7}" type="parTrans" cxnId="{A06200C7-D482-429C-9F8D-6D5C658804B9}">
      <dgm:prSet/>
      <dgm:spPr/>
      <dgm:t>
        <a:bodyPr/>
        <a:lstStyle/>
        <a:p>
          <a:endParaRPr lang="en-US"/>
        </a:p>
      </dgm:t>
    </dgm:pt>
    <dgm:pt modelId="{0B2B4C74-4DE0-40EC-A552-C3CBA150328C}" type="sibTrans" cxnId="{A06200C7-D482-429C-9F8D-6D5C658804B9}">
      <dgm:prSet/>
      <dgm:spPr/>
      <dgm:t>
        <a:bodyPr/>
        <a:lstStyle/>
        <a:p>
          <a:endParaRPr lang="en-US"/>
        </a:p>
      </dgm:t>
    </dgm:pt>
    <dgm:pt modelId="{7E35D442-2BDF-42AA-B240-B9AB21AC4D37}">
      <dgm:prSet/>
      <dgm:spPr/>
      <dgm:t>
        <a:bodyPr/>
        <a:lstStyle/>
        <a:p>
          <a:pPr>
            <a:spcBef>
              <a:spcPts val="1200"/>
            </a:spcBef>
            <a:spcAft>
              <a:spcPts val="1200"/>
            </a:spcAft>
            <a:buFont typeface="Arial" panose="020B0604020202020204" pitchFamily="34" charset="0"/>
            <a:buChar char="•"/>
          </a:pPr>
          <a:r>
            <a:rPr lang="en-GB"/>
            <a:t>6G Studies in Release 20 and 6G normative work in Release 21</a:t>
          </a:r>
          <a:endParaRPr lang="en-US"/>
        </a:p>
      </dgm:t>
    </dgm:pt>
    <dgm:pt modelId="{22E4E505-E9C5-4921-AC68-4D7AE96034C7}" type="parTrans" cxnId="{B24816A5-25E7-4191-9CAD-1296C5D797B0}">
      <dgm:prSet/>
      <dgm:spPr/>
      <dgm:t>
        <a:bodyPr/>
        <a:lstStyle/>
        <a:p>
          <a:endParaRPr lang="en-US"/>
        </a:p>
      </dgm:t>
    </dgm:pt>
    <dgm:pt modelId="{6E6E1FEC-AD2E-4300-BBB8-D4B6A40CA275}" type="sibTrans" cxnId="{B24816A5-25E7-4191-9CAD-1296C5D797B0}">
      <dgm:prSet/>
      <dgm:spPr/>
      <dgm:t>
        <a:bodyPr/>
        <a:lstStyle/>
        <a:p>
          <a:endParaRPr lang="en-US"/>
        </a:p>
      </dgm:t>
    </dgm:pt>
    <dgm:pt modelId="{6DEED8B6-58F9-4E85-BD5B-24C0E52957A1}">
      <dgm:prSet/>
      <dgm:spPr/>
      <dgm:t>
        <a:bodyPr/>
        <a:lstStyle/>
        <a:p>
          <a:pPr>
            <a:spcBef>
              <a:spcPts val="1200"/>
            </a:spcBef>
            <a:spcAft>
              <a:spcPts val="1200"/>
            </a:spcAft>
            <a:buFont typeface="Arial" panose="020B0604020202020204" pitchFamily="34" charset="0"/>
            <a:buChar char="•"/>
          </a:pPr>
          <a:r>
            <a:rPr lang="en-US"/>
            <a:t>Release 21 is expected to be delivered with a </a:t>
          </a:r>
          <a:r>
            <a:rPr lang="en-US" b="1"/>
            <a:t>single drop </a:t>
          </a:r>
          <a:r>
            <a:rPr lang="en-US"/>
            <a:t>(i.e., a single code freeze)</a:t>
          </a:r>
        </a:p>
      </dgm:t>
    </dgm:pt>
    <dgm:pt modelId="{39E2B5B0-6FA8-4B5E-8018-9E57252B1908}" type="parTrans" cxnId="{EDB0EB3C-917C-4C28-94BE-09DAFD2C0764}">
      <dgm:prSet/>
      <dgm:spPr/>
      <dgm:t>
        <a:bodyPr/>
        <a:lstStyle/>
        <a:p>
          <a:endParaRPr lang="en-US"/>
        </a:p>
      </dgm:t>
    </dgm:pt>
    <dgm:pt modelId="{4132320C-6131-4B73-96A8-4E05AD3F89C9}" type="sibTrans" cxnId="{EDB0EB3C-917C-4C28-94BE-09DAFD2C0764}">
      <dgm:prSet/>
      <dgm:spPr/>
      <dgm:t>
        <a:bodyPr/>
        <a:lstStyle/>
        <a:p>
          <a:endParaRPr lang="en-US"/>
        </a:p>
      </dgm:t>
    </dgm:pt>
    <dgm:pt modelId="{B15E4E3B-533F-4F7F-BC71-6949EABD0A11}">
      <dgm:prSet/>
      <dgm:spPr/>
      <dgm:t>
        <a:bodyPr/>
        <a:lstStyle/>
        <a:p>
          <a:pPr>
            <a:spcBef>
              <a:spcPts val="1200"/>
            </a:spcBef>
            <a:spcAft>
              <a:spcPts val="1200"/>
            </a:spcAft>
            <a:buFont typeface="Arial" panose="020B0604020202020204" pitchFamily="34" charset="0"/>
            <a:buChar char="•"/>
          </a:pPr>
          <a:r>
            <a:rPr lang="en-GB"/>
            <a:t>In </a:t>
          </a:r>
          <a:r>
            <a:rPr lang="en-GB" b="1"/>
            <a:t>Mar ‘24</a:t>
          </a:r>
          <a:r>
            <a:rPr lang="en-GB"/>
            <a:t>, 3GPP agreed on some additional consideration for 6G timeline (</a:t>
          </a:r>
          <a:r>
            <a:rPr lang="en-GB" b="1">
              <a:hlinkClick xmlns:r="http://schemas.openxmlformats.org/officeDocument/2006/relationships" r:id="rId2"/>
            </a:rPr>
            <a:t>SP-240458</a:t>
          </a:r>
          <a:r>
            <a:rPr lang="en-GB"/>
            <a:t>)</a:t>
          </a:r>
          <a:endParaRPr lang="en-US"/>
        </a:p>
      </dgm:t>
    </dgm:pt>
    <dgm:pt modelId="{40DA6E32-996B-479D-8B7F-C3BD24B0FF24}" type="parTrans" cxnId="{935A4190-39B4-4A6C-8B48-40EEC96ED899}">
      <dgm:prSet/>
      <dgm:spPr/>
      <dgm:t>
        <a:bodyPr/>
        <a:lstStyle/>
        <a:p>
          <a:endParaRPr lang="en-US"/>
        </a:p>
      </dgm:t>
    </dgm:pt>
    <dgm:pt modelId="{0FCFF30B-61CE-4971-903B-2D37BD506D1B}" type="sibTrans" cxnId="{935A4190-39B4-4A6C-8B48-40EEC96ED899}">
      <dgm:prSet/>
      <dgm:spPr/>
      <dgm:t>
        <a:bodyPr/>
        <a:lstStyle/>
        <a:p>
          <a:endParaRPr lang="en-US"/>
        </a:p>
      </dgm:t>
    </dgm:pt>
    <dgm:pt modelId="{BA4CFF97-3982-4A39-BE8E-95B9CE3B002D}" type="pres">
      <dgm:prSet presAssocID="{86F0E0FE-2725-43C4-8070-ECA683916BAC}" presName="Name0" presStyleCnt="0">
        <dgm:presLayoutVars>
          <dgm:dir/>
          <dgm:animLvl val="lvl"/>
          <dgm:resizeHandles val="exact"/>
        </dgm:presLayoutVars>
      </dgm:prSet>
      <dgm:spPr/>
    </dgm:pt>
    <dgm:pt modelId="{A002D11A-DBCC-4B70-A419-1754BE8C00EF}" type="pres">
      <dgm:prSet presAssocID="{B026AFC8-CA97-48C8-BA88-5546D32E7CCE}" presName="composite" presStyleCnt="0"/>
      <dgm:spPr/>
    </dgm:pt>
    <dgm:pt modelId="{64803CA8-EA99-429A-97ED-B37472454252}" type="pres">
      <dgm:prSet presAssocID="{B026AFC8-CA97-48C8-BA88-5546D32E7CCE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8D3236E7-28B7-4626-A3F5-DFB8F2DA6893}" type="pres">
      <dgm:prSet presAssocID="{B026AFC8-CA97-48C8-BA88-5546D32E7CCE}" presName="desTx" presStyleLbl="alignAccFollowNode1" presStyleIdx="0" presStyleCnt="2">
        <dgm:presLayoutVars>
          <dgm:bulletEnabled val="1"/>
        </dgm:presLayoutVars>
      </dgm:prSet>
      <dgm:spPr/>
    </dgm:pt>
    <dgm:pt modelId="{CF9CE971-61A1-4EF7-9E98-236AEE2AAA87}" type="pres">
      <dgm:prSet presAssocID="{05B7D693-430B-4E16-95A4-9023B2791EAE}" presName="space" presStyleCnt="0"/>
      <dgm:spPr/>
    </dgm:pt>
    <dgm:pt modelId="{02A5F206-7902-4AF9-B1DA-37C841A87325}" type="pres">
      <dgm:prSet presAssocID="{A27F51D9-374C-424A-8C55-E78307192FDE}" presName="composite" presStyleCnt="0"/>
      <dgm:spPr/>
    </dgm:pt>
    <dgm:pt modelId="{5E9833AD-A339-4556-82C7-509F446B7750}" type="pres">
      <dgm:prSet presAssocID="{A27F51D9-374C-424A-8C55-E78307192FDE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07DDB651-1CED-4CEA-AA48-F75D3DBB4055}" type="pres">
      <dgm:prSet presAssocID="{A27F51D9-374C-424A-8C55-E78307192FDE}" presName="desTx" presStyleLbl="alignAccFollowNode1" presStyleIdx="1" presStyleCnt="2">
        <dgm:presLayoutVars>
          <dgm:bulletEnabled val="1"/>
        </dgm:presLayoutVars>
      </dgm:prSet>
      <dgm:spPr/>
    </dgm:pt>
  </dgm:ptLst>
  <dgm:cxnLst>
    <dgm:cxn modelId="{A200C717-4343-4D43-87B4-A721E0A054E9}" type="presOf" srcId="{AEC5C193-E4FF-4D8D-A68C-7CA8CF2EF45B}" destId="{8D3236E7-28B7-4626-A3F5-DFB8F2DA6893}" srcOrd="0" destOrd="0" presId="urn:microsoft.com/office/officeart/2005/8/layout/hList1"/>
    <dgm:cxn modelId="{E66CA129-9C6C-44D3-9891-10FC1329FF37}" srcId="{A27F51D9-374C-424A-8C55-E78307192FDE}" destId="{F8C1A2DE-DE81-486E-8F67-38997238E5DC}" srcOrd="1" destOrd="0" parTransId="{176F2D43-B550-49E0-A10D-A116CFA8FD4C}" sibTransId="{E054DEBA-83F6-4C7B-B81E-9DB273143B66}"/>
    <dgm:cxn modelId="{EDB0EB3C-917C-4C28-94BE-09DAFD2C0764}" srcId="{A27F51D9-374C-424A-8C55-E78307192FDE}" destId="{6DEED8B6-58F9-4E85-BD5B-24C0E52957A1}" srcOrd="4" destOrd="0" parTransId="{39E2B5B0-6FA8-4B5E-8018-9E57252B1908}" sibTransId="{4132320C-6131-4B73-96A8-4E05AD3F89C9}"/>
    <dgm:cxn modelId="{E4731D66-9CAD-4EDC-83DF-4602ED4EC216}" type="presOf" srcId="{B15E4E3B-533F-4F7F-BC71-6949EABD0A11}" destId="{8D3236E7-28B7-4626-A3F5-DFB8F2DA6893}" srcOrd="0" destOrd="2" presId="urn:microsoft.com/office/officeart/2005/8/layout/hList1"/>
    <dgm:cxn modelId="{BD47AA49-4F97-4A53-B6CC-2E51B12A4A90}" srcId="{86F0E0FE-2725-43C4-8070-ECA683916BAC}" destId="{A27F51D9-374C-424A-8C55-E78307192FDE}" srcOrd="1" destOrd="0" parTransId="{06444E9C-9492-4FB9-9A0A-F45646CA356C}" sibTransId="{080A6B5A-25AF-401F-BB16-7F222F418A13}"/>
    <dgm:cxn modelId="{F331D86C-4293-4069-9B4B-F27A24EBA670}" srcId="{B026AFC8-CA97-48C8-BA88-5546D32E7CCE}" destId="{C2AD077A-E7D3-474E-8450-C51445DD93A9}" srcOrd="3" destOrd="0" parTransId="{79FC435D-3359-4859-BEB9-69A73E17491F}" sibTransId="{6691D786-3DAA-466A-8A0B-C71499ADCC53}"/>
    <dgm:cxn modelId="{94367E55-BF54-437B-937E-1C5FEB7F43C9}" type="presOf" srcId="{D496DD48-6ABC-4C86-B302-F9BA9EA2F057}" destId="{8D3236E7-28B7-4626-A3F5-DFB8F2DA6893}" srcOrd="0" destOrd="1" presId="urn:microsoft.com/office/officeart/2005/8/layout/hList1"/>
    <dgm:cxn modelId="{5123F279-197B-4DE4-A329-5712AE98FD5F}" type="presOf" srcId="{B026AFC8-CA97-48C8-BA88-5546D32E7CCE}" destId="{64803CA8-EA99-429A-97ED-B37472454252}" srcOrd="0" destOrd="0" presId="urn:microsoft.com/office/officeart/2005/8/layout/hList1"/>
    <dgm:cxn modelId="{935A4190-39B4-4A6C-8B48-40EEC96ED899}" srcId="{B026AFC8-CA97-48C8-BA88-5546D32E7CCE}" destId="{B15E4E3B-533F-4F7F-BC71-6949EABD0A11}" srcOrd="2" destOrd="0" parTransId="{40DA6E32-996B-479D-8B7F-C3BD24B0FF24}" sibTransId="{0FCFF30B-61CE-4971-903B-2D37BD506D1B}"/>
    <dgm:cxn modelId="{B9CE019B-F08E-4412-98DD-F15B38DD5BF3}" type="presOf" srcId="{05ED64AD-2422-44FB-A73E-C75BF8955D60}" destId="{07DDB651-1CED-4CEA-AA48-F75D3DBB4055}" srcOrd="0" destOrd="0" presId="urn:microsoft.com/office/officeart/2005/8/layout/hList1"/>
    <dgm:cxn modelId="{B24816A5-25E7-4191-9CAD-1296C5D797B0}" srcId="{A27F51D9-374C-424A-8C55-E78307192FDE}" destId="{7E35D442-2BDF-42AA-B240-B9AB21AC4D37}" srcOrd="3" destOrd="0" parTransId="{22E4E505-E9C5-4921-AC68-4D7AE96034C7}" sibTransId="{6E6E1FEC-AD2E-4300-BBB8-D4B6A40CA275}"/>
    <dgm:cxn modelId="{7633AEA5-AA14-477B-8FFA-9EC61B62B6D7}" type="presOf" srcId="{A27F51D9-374C-424A-8C55-E78307192FDE}" destId="{5E9833AD-A339-4556-82C7-509F446B7750}" srcOrd="0" destOrd="0" presId="urn:microsoft.com/office/officeart/2005/8/layout/hList1"/>
    <dgm:cxn modelId="{0E1FD4AA-685E-4320-97DE-74AEB76F2A2C}" type="presOf" srcId="{F8C1A2DE-DE81-486E-8F67-38997238E5DC}" destId="{07DDB651-1CED-4CEA-AA48-F75D3DBB4055}" srcOrd="0" destOrd="1" presId="urn:microsoft.com/office/officeart/2005/8/layout/hList1"/>
    <dgm:cxn modelId="{AFBFA2B1-8E51-4826-BF67-987C774E4C88}" srcId="{B026AFC8-CA97-48C8-BA88-5546D32E7CCE}" destId="{D496DD48-6ABC-4C86-B302-F9BA9EA2F057}" srcOrd="1" destOrd="0" parTransId="{078F9946-78C6-4E9C-8FA0-120EFB9A2AE6}" sibTransId="{257CCE5F-336E-41CD-AEE2-205CECEF8748}"/>
    <dgm:cxn modelId="{611A9CB2-82B5-4EF1-80CF-4E8D3E8FFAA3}" type="presOf" srcId="{6DEED8B6-58F9-4E85-BD5B-24C0E52957A1}" destId="{07DDB651-1CED-4CEA-AA48-F75D3DBB4055}" srcOrd="0" destOrd="4" presId="urn:microsoft.com/office/officeart/2005/8/layout/hList1"/>
    <dgm:cxn modelId="{DD369EBF-0044-4013-869B-33B55B920904}" srcId="{A27F51D9-374C-424A-8C55-E78307192FDE}" destId="{05ED64AD-2422-44FB-A73E-C75BF8955D60}" srcOrd="0" destOrd="0" parTransId="{C11692DA-9C63-402C-8A68-4945533988E0}" sibTransId="{35F6CE9E-FF44-4AD5-B963-57AB5C4309D9}"/>
    <dgm:cxn modelId="{A175F2C4-ABA3-4B25-A66C-1F147375F30B}" type="presOf" srcId="{3FA4E308-169F-490B-B15F-9D7298B0B429}" destId="{07DDB651-1CED-4CEA-AA48-F75D3DBB4055}" srcOrd="0" destOrd="2" presId="urn:microsoft.com/office/officeart/2005/8/layout/hList1"/>
    <dgm:cxn modelId="{A06200C7-D482-429C-9F8D-6D5C658804B9}" srcId="{A27F51D9-374C-424A-8C55-E78307192FDE}" destId="{3FA4E308-169F-490B-B15F-9D7298B0B429}" srcOrd="2" destOrd="0" parTransId="{F3C92604-AABB-4E0F-93A3-92BE39D67FD7}" sibTransId="{0B2B4C74-4DE0-40EC-A552-C3CBA150328C}"/>
    <dgm:cxn modelId="{C54918DF-1B55-4D03-B308-91497C939F32}" type="presOf" srcId="{86F0E0FE-2725-43C4-8070-ECA683916BAC}" destId="{BA4CFF97-3982-4A39-BE8E-95B9CE3B002D}" srcOrd="0" destOrd="0" presId="urn:microsoft.com/office/officeart/2005/8/layout/hList1"/>
    <dgm:cxn modelId="{82EB18E2-2F66-494E-8120-A5118E4FE4D1}" type="presOf" srcId="{7E35D442-2BDF-42AA-B240-B9AB21AC4D37}" destId="{07DDB651-1CED-4CEA-AA48-F75D3DBB4055}" srcOrd="0" destOrd="3" presId="urn:microsoft.com/office/officeart/2005/8/layout/hList1"/>
    <dgm:cxn modelId="{73AFDDF0-7764-4298-877F-355888E26836}" type="presOf" srcId="{C2AD077A-E7D3-474E-8450-C51445DD93A9}" destId="{8D3236E7-28B7-4626-A3F5-DFB8F2DA6893}" srcOrd="0" destOrd="3" presId="urn:microsoft.com/office/officeart/2005/8/layout/hList1"/>
    <dgm:cxn modelId="{5F9E68F2-1962-4385-B70D-9B64FC4F91B1}" srcId="{B026AFC8-CA97-48C8-BA88-5546D32E7CCE}" destId="{AEC5C193-E4FF-4D8D-A68C-7CA8CF2EF45B}" srcOrd="0" destOrd="0" parTransId="{010B4F35-5A6C-4B99-A6AB-264E647368CB}" sibTransId="{61E2A91E-DDC2-42F6-A695-4E45405C2063}"/>
    <dgm:cxn modelId="{F4CD2EF7-9D17-4817-984B-B26AC201DC13}" srcId="{86F0E0FE-2725-43C4-8070-ECA683916BAC}" destId="{B026AFC8-CA97-48C8-BA88-5546D32E7CCE}" srcOrd="0" destOrd="0" parTransId="{A9C8FD30-DF09-497E-9B6C-141DF2AEAA0A}" sibTransId="{05B7D693-430B-4E16-95A4-9023B2791EAE}"/>
    <dgm:cxn modelId="{EEA7BEE0-6C75-45FE-9DB1-BD1D35DEF671}" type="presParOf" srcId="{BA4CFF97-3982-4A39-BE8E-95B9CE3B002D}" destId="{A002D11A-DBCC-4B70-A419-1754BE8C00EF}" srcOrd="0" destOrd="0" presId="urn:microsoft.com/office/officeart/2005/8/layout/hList1"/>
    <dgm:cxn modelId="{09F4F21D-0155-4FE4-9666-9B0DBA28836E}" type="presParOf" srcId="{A002D11A-DBCC-4B70-A419-1754BE8C00EF}" destId="{64803CA8-EA99-429A-97ED-B37472454252}" srcOrd="0" destOrd="0" presId="urn:microsoft.com/office/officeart/2005/8/layout/hList1"/>
    <dgm:cxn modelId="{DB598B0F-2BB3-450A-A672-EDEF98004A93}" type="presParOf" srcId="{A002D11A-DBCC-4B70-A419-1754BE8C00EF}" destId="{8D3236E7-28B7-4626-A3F5-DFB8F2DA6893}" srcOrd="1" destOrd="0" presId="urn:microsoft.com/office/officeart/2005/8/layout/hList1"/>
    <dgm:cxn modelId="{E98753A7-9837-471C-881E-002D1F03AD8B}" type="presParOf" srcId="{BA4CFF97-3982-4A39-BE8E-95B9CE3B002D}" destId="{CF9CE971-61A1-4EF7-9E98-236AEE2AAA87}" srcOrd="1" destOrd="0" presId="urn:microsoft.com/office/officeart/2005/8/layout/hList1"/>
    <dgm:cxn modelId="{F2444F7D-1CF5-422A-8AEF-C1DF59A727BE}" type="presParOf" srcId="{BA4CFF97-3982-4A39-BE8E-95B9CE3B002D}" destId="{02A5F206-7902-4AF9-B1DA-37C841A87325}" srcOrd="2" destOrd="0" presId="urn:microsoft.com/office/officeart/2005/8/layout/hList1"/>
    <dgm:cxn modelId="{CAB736D9-4649-4314-98D4-93F9FDA30F58}" type="presParOf" srcId="{02A5F206-7902-4AF9-B1DA-37C841A87325}" destId="{5E9833AD-A339-4556-82C7-509F446B7750}" srcOrd="0" destOrd="0" presId="urn:microsoft.com/office/officeart/2005/8/layout/hList1"/>
    <dgm:cxn modelId="{81FD89E7-E99C-446C-8FA8-6869D61B1838}" type="presParOf" srcId="{02A5F206-7902-4AF9-B1DA-37C841A87325}" destId="{07DDB651-1CED-4CEA-AA48-F75D3DBB4055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DA10720-7229-4ACC-931A-D97ADCAE5F98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C0D24171-B176-4D25-8BFA-067691423C13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/>
            <a:t>Stage-1 Workshop on IMT2030 Use Cases: May 8</a:t>
          </a:r>
          <a:r>
            <a:rPr lang="en-US" b="1" baseline="30000"/>
            <a:t>th</a:t>
          </a:r>
          <a:r>
            <a:rPr lang="en-US" b="1"/>
            <a:t> – 10</a:t>
          </a:r>
          <a:r>
            <a:rPr lang="en-US" b="1" baseline="30000"/>
            <a:t>th </a:t>
          </a:r>
          <a:r>
            <a:rPr lang="en-US" b="1"/>
            <a:t>(Wednesday – Friday), 2024</a:t>
          </a:r>
          <a:endParaRPr lang="en-US"/>
        </a:p>
      </dgm:t>
    </dgm:pt>
    <dgm:pt modelId="{27481E55-047F-4888-A195-7B9DBBBFFA87}" type="parTrans" cxnId="{918DD222-661D-49C9-A328-5EFD07E5603B}">
      <dgm:prSet/>
      <dgm:spPr/>
      <dgm:t>
        <a:bodyPr/>
        <a:lstStyle/>
        <a:p>
          <a:endParaRPr lang="en-US"/>
        </a:p>
      </dgm:t>
    </dgm:pt>
    <dgm:pt modelId="{E9B9BD1F-BFD8-48E4-B80B-34580152C973}" type="sibTrans" cxnId="{918DD222-661D-49C9-A328-5EFD07E5603B}">
      <dgm:prSet/>
      <dgm:spPr/>
      <dgm:t>
        <a:bodyPr/>
        <a:lstStyle/>
        <a:p>
          <a:endParaRPr lang="en-US"/>
        </a:p>
      </dgm:t>
    </dgm:pt>
    <dgm:pt modelId="{96288541-6BD7-40E7-8DDE-DE1E42FA56CA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/>
            <a:t>First 3GPP TSG-wide 6G Workshop: March 10</a:t>
          </a:r>
          <a:r>
            <a:rPr lang="en-US" b="1" baseline="30000"/>
            <a:t>th</a:t>
          </a:r>
          <a:r>
            <a:rPr lang="en-US" b="1"/>
            <a:t> – 11</a:t>
          </a:r>
          <a:r>
            <a:rPr lang="en-US" b="1" baseline="30000"/>
            <a:t>th </a:t>
          </a:r>
          <a:r>
            <a:rPr lang="en-US" b="1"/>
            <a:t>(Monday – Tuesday), 2025 </a:t>
          </a:r>
          <a:endParaRPr lang="en-US"/>
        </a:p>
      </dgm:t>
    </dgm:pt>
    <dgm:pt modelId="{422FA1E2-D7FF-43F3-B2DD-44DC40BB9A89}" type="parTrans" cxnId="{4F329D87-D238-4455-86FD-BA3D7333E593}">
      <dgm:prSet/>
      <dgm:spPr/>
      <dgm:t>
        <a:bodyPr/>
        <a:lstStyle/>
        <a:p>
          <a:endParaRPr lang="en-US"/>
        </a:p>
      </dgm:t>
    </dgm:pt>
    <dgm:pt modelId="{B7DE7270-F2B6-4A26-A917-BD4D24989B5A}" type="sibTrans" cxnId="{4F329D87-D238-4455-86FD-BA3D7333E593}">
      <dgm:prSet/>
      <dgm:spPr/>
      <dgm:t>
        <a:bodyPr/>
        <a:lstStyle/>
        <a:p>
          <a:endParaRPr lang="en-US"/>
        </a:p>
      </dgm:t>
    </dgm:pt>
    <dgm:pt modelId="{BE633089-0EE5-4C9E-9031-7B7751A825A8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Details TBD (e.g., whether to have a joint or separate workshop across TSGs, how to handle contributions, etc.)</a:t>
          </a:r>
        </a:p>
      </dgm:t>
    </dgm:pt>
    <dgm:pt modelId="{176C0298-4B62-4CA3-BD37-8C82DB96EB07}" type="parTrans" cxnId="{0DA8FE18-0AB1-479B-B93F-9CE7D2D45BB1}">
      <dgm:prSet/>
      <dgm:spPr/>
      <dgm:t>
        <a:bodyPr/>
        <a:lstStyle/>
        <a:p>
          <a:endParaRPr lang="en-US"/>
        </a:p>
      </dgm:t>
    </dgm:pt>
    <dgm:pt modelId="{90C52E80-DC17-4A4C-A156-70D9E7587A85}" type="sibTrans" cxnId="{0DA8FE18-0AB1-479B-B93F-9CE7D2D45BB1}">
      <dgm:prSet/>
      <dgm:spPr/>
      <dgm:t>
        <a:bodyPr/>
        <a:lstStyle/>
        <a:p>
          <a:endParaRPr lang="en-US"/>
        </a:p>
      </dgm:t>
    </dgm:pt>
    <dgm:pt modelId="{0CB97D33-7157-4EF7-9A9F-F521C8E2BC66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TSG#107 plenary meetings are to be scheduled subsequently in the same week</a:t>
          </a:r>
        </a:p>
      </dgm:t>
    </dgm:pt>
    <dgm:pt modelId="{EE8F57A7-2D42-4B0E-9E0A-13F18580547F}" type="parTrans" cxnId="{DE58FCDD-1428-49FE-81F8-DF1FAE1BBAA2}">
      <dgm:prSet/>
      <dgm:spPr/>
      <dgm:t>
        <a:bodyPr/>
        <a:lstStyle/>
        <a:p>
          <a:endParaRPr lang="en-US"/>
        </a:p>
      </dgm:t>
    </dgm:pt>
    <dgm:pt modelId="{5887D4FA-D413-40DB-B877-AFF30BE11E82}" type="sibTrans" cxnId="{DE58FCDD-1428-49FE-81F8-DF1FAE1BBAA2}">
      <dgm:prSet/>
      <dgm:spPr/>
      <dgm:t>
        <a:bodyPr/>
        <a:lstStyle/>
        <a:p>
          <a:endParaRPr lang="en-US"/>
        </a:p>
      </dgm:t>
    </dgm:pt>
    <dgm:pt modelId="{2B8BBF23-B34A-4563-8DA8-CC72858F0C4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/>
            <a:t>Studies for 6G </a:t>
          </a:r>
          <a:r>
            <a:rPr lang="en-US"/>
            <a:t>in 3GPP: from </a:t>
          </a:r>
          <a:r>
            <a:rPr lang="en-US" b="1"/>
            <a:t>Release 20</a:t>
          </a:r>
          <a:endParaRPr lang="en-US"/>
        </a:p>
      </dgm:t>
    </dgm:pt>
    <dgm:pt modelId="{C012E1F8-0D3B-4C20-AD46-445F6D5B3893}" type="parTrans" cxnId="{763A2ADF-45F3-4036-A0AC-1BD5BE581984}">
      <dgm:prSet/>
      <dgm:spPr/>
      <dgm:t>
        <a:bodyPr/>
        <a:lstStyle/>
        <a:p>
          <a:endParaRPr lang="en-US"/>
        </a:p>
      </dgm:t>
    </dgm:pt>
    <dgm:pt modelId="{5233FF55-9554-4E55-8D44-18DBE6714E53}" type="sibTrans" cxnId="{763A2ADF-45F3-4036-A0AC-1BD5BE581984}">
      <dgm:prSet/>
      <dgm:spPr/>
      <dgm:t>
        <a:bodyPr/>
        <a:lstStyle/>
        <a:p>
          <a:endParaRPr lang="en-US"/>
        </a:p>
      </dgm:t>
    </dgm:pt>
    <dgm:pt modelId="{673BDC61-2D68-4206-9A1E-1125FC55A219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/>
            <a:t>See Next Slide for more details</a:t>
          </a:r>
          <a:endParaRPr lang="en-US"/>
        </a:p>
      </dgm:t>
    </dgm:pt>
    <dgm:pt modelId="{C1204B50-FF5D-4224-8282-417A2974F74B}" type="parTrans" cxnId="{48A902D3-446C-4C1E-A655-D5B352CB1960}">
      <dgm:prSet/>
      <dgm:spPr/>
      <dgm:t>
        <a:bodyPr/>
        <a:lstStyle/>
        <a:p>
          <a:endParaRPr lang="en-US"/>
        </a:p>
      </dgm:t>
    </dgm:pt>
    <dgm:pt modelId="{77A13DCA-5B5D-4E57-BAE7-3C25F49F670F}" type="sibTrans" cxnId="{48A902D3-446C-4C1E-A655-D5B352CB1960}">
      <dgm:prSet/>
      <dgm:spPr/>
      <dgm:t>
        <a:bodyPr/>
        <a:lstStyle/>
        <a:p>
          <a:endParaRPr lang="en-US"/>
        </a:p>
      </dgm:t>
    </dgm:pt>
    <dgm:pt modelId="{96D2D741-DABD-46B4-8EE7-AF06BF2591DA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/>
            <a:t>Normative Work for 6G </a:t>
          </a:r>
          <a:r>
            <a:rPr lang="en-US"/>
            <a:t>in 3GPP: from </a:t>
          </a:r>
          <a:r>
            <a:rPr lang="en-US" b="1"/>
            <a:t>Release 21</a:t>
          </a:r>
          <a:endParaRPr lang="en-US"/>
        </a:p>
      </dgm:t>
    </dgm:pt>
    <dgm:pt modelId="{2F002A89-008C-4306-B38C-6DDD3E40A70D}" type="parTrans" cxnId="{6E7411BF-F4C3-46B8-9F51-5244E0111F0E}">
      <dgm:prSet/>
      <dgm:spPr/>
      <dgm:t>
        <a:bodyPr/>
        <a:lstStyle/>
        <a:p>
          <a:endParaRPr lang="en-US"/>
        </a:p>
      </dgm:t>
    </dgm:pt>
    <dgm:pt modelId="{639DF1BD-9A7B-494E-8DBE-A5D8798D922C}" type="sibTrans" cxnId="{6E7411BF-F4C3-46B8-9F51-5244E0111F0E}">
      <dgm:prSet/>
      <dgm:spPr/>
      <dgm:t>
        <a:bodyPr/>
        <a:lstStyle/>
        <a:p>
          <a:endParaRPr lang="en-US"/>
        </a:p>
      </dgm:t>
    </dgm:pt>
    <dgm:pt modelId="{37C7464E-2EE2-4082-A59C-66625EACB1CB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/>
            <a:t>Release 21 </a:t>
          </a:r>
          <a:r>
            <a:rPr lang="en-US"/>
            <a:t>is expected to produce the 1</a:t>
          </a:r>
          <a:r>
            <a:rPr lang="en-US" baseline="30000"/>
            <a:t>st</a:t>
          </a:r>
          <a:r>
            <a:rPr lang="en-US"/>
            <a:t> set of 3GPP </a:t>
          </a:r>
          <a:r>
            <a:rPr lang="en-US" b="1"/>
            <a:t>6G technical specifications</a:t>
          </a:r>
          <a:r>
            <a:rPr lang="en-US"/>
            <a:t>, and will be the release for </a:t>
          </a:r>
          <a:r>
            <a:rPr lang="en-US" b="1"/>
            <a:t>IMT-2030 submission </a:t>
          </a:r>
          <a:r>
            <a:rPr lang="en-US"/>
            <a:t>before 2030</a:t>
          </a:r>
        </a:p>
      </dgm:t>
    </dgm:pt>
    <dgm:pt modelId="{31F5D25D-0DCB-4EEA-8B3A-6176135236DE}" type="parTrans" cxnId="{AD57CE5D-7C2D-4DC8-A653-0BC9B75D1FDF}">
      <dgm:prSet/>
      <dgm:spPr/>
      <dgm:t>
        <a:bodyPr/>
        <a:lstStyle/>
        <a:p>
          <a:endParaRPr lang="en-US"/>
        </a:p>
      </dgm:t>
    </dgm:pt>
    <dgm:pt modelId="{D9AEBB62-A8FF-4AA4-9B3B-C24C2C22D8A8}" type="sibTrans" cxnId="{AD57CE5D-7C2D-4DC8-A653-0BC9B75D1FDF}">
      <dgm:prSet/>
      <dgm:spPr/>
      <dgm:t>
        <a:bodyPr/>
        <a:lstStyle/>
        <a:p>
          <a:endParaRPr lang="en-US"/>
        </a:p>
      </dgm:t>
    </dgm:pt>
    <dgm:pt modelId="{FCA4327D-BE23-46E4-9889-40F5CCC4612B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/>
            <a:t>Release 21 </a:t>
          </a:r>
          <a:r>
            <a:rPr lang="en-US"/>
            <a:t>is expected to be delivered with a </a:t>
          </a:r>
          <a:r>
            <a:rPr lang="en-US" b="1"/>
            <a:t>single drop </a:t>
          </a:r>
          <a:r>
            <a:rPr lang="en-US"/>
            <a:t>(i.e., a single code freeze)</a:t>
          </a:r>
        </a:p>
      </dgm:t>
    </dgm:pt>
    <dgm:pt modelId="{4A72E7CA-9BA2-46A1-97C6-5FA5787A5A04}" type="parTrans" cxnId="{3D0027AA-F45E-47E7-8973-198E957DE7C1}">
      <dgm:prSet/>
      <dgm:spPr/>
      <dgm:t>
        <a:bodyPr/>
        <a:lstStyle/>
        <a:p>
          <a:endParaRPr lang="en-US"/>
        </a:p>
      </dgm:t>
    </dgm:pt>
    <dgm:pt modelId="{6A5A9866-8A7E-444E-91CC-110EDBC6E0B3}" type="sibTrans" cxnId="{3D0027AA-F45E-47E7-8973-198E957DE7C1}">
      <dgm:prSet/>
      <dgm:spPr/>
      <dgm:t>
        <a:bodyPr/>
        <a:lstStyle/>
        <a:p>
          <a:endParaRPr lang="en-US"/>
        </a:p>
      </dgm:t>
    </dgm:pt>
    <dgm:pt modelId="{500CF98A-17B2-496D-B3D3-F0CF3FC86433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/>
            <a:t>Rel-21 timeline is to be decided no later than June 2026</a:t>
          </a:r>
          <a:r>
            <a:rPr lang="en-US"/>
            <a:t>. However, ASN.1/</a:t>
          </a:r>
          <a:r>
            <a:rPr lang="en-US" err="1"/>
            <a:t>OpenAPI</a:t>
          </a:r>
          <a:r>
            <a:rPr lang="en-US"/>
            <a:t> freeze date is no earlier than March 2029</a:t>
          </a:r>
        </a:p>
      </dgm:t>
    </dgm:pt>
    <dgm:pt modelId="{C6DD2E9D-6465-4234-81AA-D38139AEEFE9}" type="parTrans" cxnId="{16A8E62A-6879-4FB1-8B60-D93432C4FA6C}">
      <dgm:prSet/>
      <dgm:spPr/>
      <dgm:t>
        <a:bodyPr/>
        <a:lstStyle/>
        <a:p>
          <a:endParaRPr lang="en-US"/>
        </a:p>
      </dgm:t>
    </dgm:pt>
    <dgm:pt modelId="{2BE389FE-2E4A-4FE5-898F-D8FDEB590CB8}" type="sibTrans" cxnId="{16A8E62A-6879-4FB1-8B60-D93432C4FA6C}">
      <dgm:prSet/>
      <dgm:spPr/>
      <dgm:t>
        <a:bodyPr/>
        <a:lstStyle/>
        <a:p>
          <a:endParaRPr lang="en-US"/>
        </a:p>
      </dgm:t>
    </dgm:pt>
    <dgm:pt modelId="{43C2142D-5D3C-489C-A780-9E28FA972646}" type="pres">
      <dgm:prSet presAssocID="{4DA10720-7229-4ACC-931A-D97ADCAE5F98}" presName="root" presStyleCnt="0">
        <dgm:presLayoutVars>
          <dgm:dir/>
          <dgm:resizeHandles val="exact"/>
        </dgm:presLayoutVars>
      </dgm:prSet>
      <dgm:spPr/>
    </dgm:pt>
    <dgm:pt modelId="{EB38BFB0-A95E-4434-9CE7-49651B28AD2F}" type="pres">
      <dgm:prSet presAssocID="{C0D24171-B176-4D25-8BFA-067691423C13}" presName="compNode" presStyleCnt="0"/>
      <dgm:spPr/>
    </dgm:pt>
    <dgm:pt modelId="{86572E8D-B689-4B52-A2EB-FCDBC68EEB8E}" type="pres">
      <dgm:prSet presAssocID="{C0D24171-B176-4D25-8BFA-067691423C13}" presName="bgRect" presStyleLbl="bgShp" presStyleIdx="0" presStyleCnt="4"/>
      <dgm:spPr/>
    </dgm:pt>
    <dgm:pt modelId="{3ACB36A6-B378-4C9B-9E8F-90D164C85076}" type="pres">
      <dgm:prSet presAssocID="{C0D24171-B176-4D25-8BFA-067691423C13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eeting"/>
        </a:ext>
      </dgm:extLst>
    </dgm:pt>
    <dgm:pt modelId="{C6E06653-37EF-42A9-AB4E-727830D1DEA0}" type="pres">
      <dgm:prSet presAssocID="{C0D24171-B176-4D25-8BFA-067691423C13}" presName="spaceRect" presStyleCnt="0"/>
      <dgm:spPr/>
    </dgm:pt>
    <dgm:pt modelId="{9630616E-9696-45A8-B93D-B90AFC9B3F54}" type="pres">
      <dgm:prSet presAssocID="{C0D24171-B176-4D25-8BFA-067691423C13}" presName="parTx" presStyleLbl="revTx" presStyleIdx="0" presStyleCnt="7">
        <dgm:presLayoutVars>
          <dgm:chMax val="0"/>
          <dgm:chPref val="0"/>
        </dgm:presLayoutVars>
      </dgm:prSet>
      <dgm:spPr/>
    </dgm:pt>
    <dgm:pt modelId="{8ECDEA22-2AAB-42B9-9E0A-681C6D81A750}" type="pres">
      <dgm:prSet presAssocID="{E9B9BD1F-BFD8-48E4-B80B-34580152C973}" presName="sibTrans" presStyleCnt="0"/>
      <dgm:spPr/>
    </dgm:pt>
    <dgm:pt modelId="{67DE2E97-F61B-48B8-866B-84019BFBB37C}" type="pres">
      <dgm:prSet presAssocID="{96288541-6BD7-40E7-8DDE-DE1E42FA56CA}" presName="compNode" presStyleCnt="0"/>
      <dgm:spPr/>
    </dgm:pt>
    <dgm:pt modelId="{BCAEC6C9-9B61-4A90-9ACC-245B50E30D84}" type="pres">
      <dgm:prSet presAssocID="{96288541-6BD7-40E7-8DDE-DE1E42FA56CA}" presName="bgRect" presStyleLbl="bgShp" presStyleIdx="1" presStyleCnt="4"/>
      <dgm:spPr/>
    </dgm:pt>
    <dgm:pt modelId="{C9879C8B-7031-48B1-A216-C3D1A4068C88}" type="pres">
      <dgm:prSet presAssocID="{96288541-6BD7-40E7-8DDE-DE1E42FA56CA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FE2B93C0-DF6A-45EB-BDA1-0A0530313BC5}" type="pres">
      <dgm:prSet presAssocID="{96288541-6BD7-40E7-8DDE-DE1E42FA56CA}" presName="spaceRect" presStyleCnt="0"/>
      <dgm:spPr/>
    </dgm:pt>
    <dgm:pt modelId="{24DED46A-C737-4BAF-8378-A6ABC8F6E4C4}" type="pres">
      <dgm:prSet presAssocID="{96288541-6BD7-40E7-8DDE-DE1E42FA56CA}" presName="parTx" presStyleLbl="revTx" presStyleIdx="1" presStyleCnt="7">
        <dgm:presLayoutVars>
          <dgm:chMax val="0"/>
          <dgm:chPref val="0"/>
        </dgm:presLayoutVars>
      </dgm:prSet>
      <dgm:spPr/>
    </dgm:pt>
    <dgm:pt modelId="{B7409212-95BF-492D-8B0D-1B3748753709}" type="pres">
      <dgm:prSet presAssocID="{96288541-6BD7-40E7-8DDE-DE1E42FA56CA}" presName="desTx" presStyleLbl="revTx" presStyleIdx="2" presStyleCnt="7">
        <dgm:presLayoutVars/>
      </dgm:prSet>
      <dgm:spPr/>
    </dgm:pt>
    <dgm:pt modelId="{7A9709C6-E6C3-4E92-93E5-C83CC28D11BF}" type="pres">
      <dgm:prSet presAssocID="{B7DE7270-F2B6-4A26-A917-BD4D24989B5A}" presName="sibTrans" presStyleCnt="0"/>
      <dgm:spPr/>
    </dgm:pt>
    <dgm:pt modelId="{D45947D8-ACB2-41F5-B013-8F67DB9836CB}" type="pres">
      <dgm:prSet presAssocID="{2B8BBF23-B34A-4563-8DA8-CC72858F0C4C}" presName="compNode" presStyleCnt="0"/>
      <dgm:spPr/>
    </dgm:pt>
    <dgm:pt modelId="{22BD67CB-F822-4460-933F-41064CA7F181}" type="pres">
      <dgm:prSet presAssocID="{2B8BBF23-B34A-4563-8DA8-CC72858F0C4C}" presName="bgRect" presStyleLbl="bgShp" presStyleIdx="2" presStyleCnt="4"/>
      <dgm:spPr/>
    </dgm:pt>
    <dgm:pt modelId="{D2D95371-65E6-44FC-BEBA-B9F02C5580A8}" type="pres">
      <dgm:prSet presAssocID="{2B8BBF23-B34A-4563-8DA8-CC72858F0C4C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ospital"/>
        </a:ext>
      </dgm:extLst>
    </dgm:pt>
    <dgm:pt modelId="{2DE5256C-EF35-4145-A562-79A3590FFC1E}" type="pres">
      <dgm:prSet presAssocID="{2B8BBF23-B34A-4563-8DA8-CC72858F0C4C}" presName="spaceRect" presStyleCnt="0"/>
      <dgm:spPr/>
    </dgm:pt>
    <dgm:pt modelId="{34EEF4EC-6265-4550-8549-BE2187E184FC}" type="pres">
      <dgm:prSet presAssocID="{2B8BBF23-B34A-4563-8DA8-CC72858F0C4C}" presName="parTx" presStyleLbl="revTx" presStyleIdx="3" presStyleCnt="7">
        <dgm:presLayoutVars>
          <dgm:chMax val="0"/>
          <dgm:chPref val="0"/>
        </dgm:presLayoutVars>
      </dgm:prSet>
      <dgm:spPr/>
    </dgm:pt>
    <dgm:pt modelId="{2A8A1A62-76A8-4C47-B214-9B72122FAEE0}" type="pres">
      <dgm:prSet presAssocID="{2B8BBF23-B34A-4563-8DA8-CC72858F0C4C}" presName="desTx" presStyleLbl="revTx" presStyleIdx="4" presStyleCnt="7">
        <dgm:presLayoutVars/>
      </dgm:prSet>
      <dgm:spPr/>
    </dgm:pt>
    <dgm:pt modelId="{4247E13B-1F3A-4B50-9053-59C2E2694E67}" type="pres">
      <dgm:prSet presAssocID="{5233FF55-9554-4E55-8D44-18DBE6714E53}" presName="sibTrans" presStyleCnt="0"/>
      <dgm:spPr/>
    </dgm:pt>
    <dgm:pt modelId="{3B302D55-5FE0-4749-86BC-B40BC3286A63}" type="pres">
      <dgm:prSet presAssocID="{96D2D741-DABD-46B4-8EE7-AF06BF2591DA}" presName="compNode" presStyleCnt="0"/>
      <dgm:spPr/>
    </dgm:pt>
    <dgm:pt modelId="{848B605D-DBC6-450D-9876-94FF0C3AD5FB}" type="pres">
      <dgm:prSet presAssocID="{96D2D741-DABD-46B4-8EE7-AF06BF2591DA}" presName="bgRect" presStyleLbl="bgShp" presStyleIdx="3" presStyleCnt="4"/>
      <dgm:spPr/>
    </dgm:pt>
    <dgm:pt modelId="{D4DF9EAD-AC66-408F-A35A-5B12204CBE49}" type="pres">
      <dgm:prSet presAssocID="{96D2D741-DABD-46B4-8EE7-AF06BF2591DA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ooks"/>
        </a:ext>
      </dgm:extLst>
    </dgm:pt>
    <dgm:pt modelId="{719AC4E1-AD90-4C39-BC62-DF526F2038BB}" type="pres">
      <dgm:prSet presAssocID="{96D2D741-DABD-46B4-8EE7-AF06BF2591DA}" presName="spaceRect" presStyleCnt="0"/>
      <dgm:spPr/>
    </dgm:pt>
    <dgm:pt modelId="{216A31EE-5873-4621-98DA-D12BB2F0F350}" type="pres">
      <dgm:prSet presAssocID="{96D2D741-DABD-46B4-8EE7-AF06BF2591DA}" presName="parTx" presStyleLbl="revTx" presStyleIdx="5" presStyleCnt="7">
        <dgm:presLayoutVars>
          <dgm:chMax val="0"/>
          <dgm:chPref val="0"/>
        </dgm:presLayoutVars>
      </dgm:prSet>
      <dgm:spPr/>
    </dgm:pt>
    <dgm:pt modelId="{025C0AE7-480F-4EAA-9340-7583710324B2}" type="pres">
      <dgm:prSet presAssocID="{96D2D741-DABD-46B4-8EE7-AF06BF2591DA}" presName="desTx" presStyleLbl="revTx" presStyleIdx="6" presStyleCnt="7">
        <dgm:presLayoutVars/>
      </dgm:prSet>
      <dgm:spPr/>
    </dgm:pt>
  </dgm:ptLst>
  <dgm:cxnLst>
    <dgm:cxn modelId="{83FB4E01-D510-408A-9109-1FB4EB8F457C}" type="presOf" srcId="{4DA10720-7229-4ACC-931A-D97ADCAE5F98}" destId="{43C2142D-5D3C-489C-A780-9E28FA972646}" srcOrd="0" destOrd="0" presId="urn:microsoft.com/office/officeart/2018/2/layout/IconVerticalSolidList"/>
    <dgm:cxn modelId="{D3E25018-ECFD-415C-AD92-7AFB71ED5867}" type="presOf" srcId="{96D2D741-DABD-46B4-8EE7-AF06BF2591DA}" destId="{216A31EE-5873-4621-98DA-D12BB2F0F350}" srcOrd="0" destOrd="0" presId="urn:microsoft.com/office/officeart/2018/2/layout/IconVerticalSolidList"/>
    <dgm:cxn modelId="{0DA8FE18-0AB1-479B-B93F-9CE7D2D45BB1}" srcId="{96288541-6BD7-40E7-8DDE-DE1E42FA56CA}" destId="{BE633089-0EE5-4C9E-9031-7B7751A825A8}" srcOrd="0" destOrd="0" parTransId="{176C0298-4B62-4CA3-BD37-8C82DB96EB07}" sibTransId="{90C52E80-DC17-4A4C-A156-70D9E7587A85}"/>
    <dgm:cxn modelId="{918DD222-661D-49C9-A328-5EFD07E5603B}" srcId="{4DA10720-7229-4ACC-931A-D97ADCAE5F98}" destId="{C0D24171-B176-4D25-8BFA-067691423C13}" srcOrd="0" destOrd="0" parTransId="{27481E55-047F-4888-A195-7B9DBBBFFA87}" sibTransId="{E9B9BD1F-BFD8-48E4-B80B-34580152C973}"/>
    <dgm:cxn modelId="{16A8E62A-6879-4FB1-8B60-D93432C4FA6C}" srcId="{96D2D741-DABD-46B4-8EE7-AF06BF2591DA}" destId="{500CF98A-17B2-496D-B3D3-F0CF3FC86433}" srcOrd="2" destOrd="0" parTransId="{C6DD2E9D-6465-4234-81AA-D38139AEEFE9}" sibTransId="{2BE389FE-2E4A-4FE5-898F-D8FDEB590CB8}"/>
    <dgm:cxn modelId="{E9FB7C39-76F3-43E5-971A-9324F2D47214}" type="presOf" srcId="{C0D24171-B176-4D25-8BFA-067691423C13}" destId="{9630616E-9696-45A8-B93D-B90AFC9B3F54}" srcOrd="0" destOrd="0" presId="urn:microsoft.com/office/officeart/2018/2/layout/IconVerticalSolidList"/>
    <dgm:cxn modelId="{AD57CE5D-7C2D-4DC8-A653-0BC9B75D1FDF}" srcId="{96D2D741-DABD-46B4-8EE7-AF06BF2591DA}" destId="{37C7464E-2EE2-4082-A59C-66625EACB1CB}" srcOrd="0" destOrd="0" parTransId="{31F5D25D-0DCB-4EEA-8B3A-6176135236DE}" sibTransId="{D9AEBB62-A8FF-4AA4-9B3B-C24C2C22D8A8}"/>
    <dgm:cxn modelId="{1B0C1C6B-F3C9-4929-AB17-68A1B3BF34D7}" type="presOf" srcId="{0CB97D33-7157-4EF7-9A9F-F521C8E2BC66}" destId="{B7409212-95BF-492D-8B0D-1B3748753709}" srcOrd="0" destOrd="1" presId="urn:microsoft.com/office/officeart/2018/2/layout/IconVerticalSolidList"/>
    <dgm:cxn modelId="{4F329D87-D238-4455-86FD-BA3D7333E593}" srcId="{4DA10720-7229-4ACC-931A-D97ADCAE5F98}" destId="{96288541-6BD7-40E7-8DDE-DE1E42FA56CA}" srcOrd="1" destOrd="0" parTransId="{422FA1E2-D7FF-43F3-B2DD-44DC40BB9A89}" sibTransId="{B7DE7270-F2B6-4A26-A917-BD4D24989B5A}"/>
    <dgm:cxn modelId="{73BDB99C-1E5B-4BDB-9FD5-227FEF56B825}" type="presOf" srcId="{96288541-6BD7-40E7-8DDE-DE1E42FA56CA}" destId="{24DED46A-C737-4BAF-8378-A6ABC8F6E4C4}" srcOrd="0" destOrd="0" presId="urn:microsoft.com/office/officeart/2018/2/layout/IconVerticalSolidList"/>
    <dgm:cxn modelId="{AD8622A8-D2DB-4419-AFC7-B7B5CD0EB80F}" type="presOf" srcId="{37C7464E-2EE2-4082-A59C-66625EACB1CB}" destId="{025C0AE7-480F-4EAA-9340-7583710324B2}" srcOrd="0" destOrd="0" presId="urn:microsoft.com/office/officeart/2018/2/layout/IconVerticalSolidList"/>
    <dgm:cxn modelId="{3D0027AA-F45E-47E7-8973-198E957DE7C1}" srcId="{96D2D741-DABD-46B4-8EE7-AF06BF2591DA}" destId="{FCA4327D-BE23-46E4-9889-40F5CCC4612B}" srcOrd="1" destOrd="0" parTransId="{4A72E7CA-9BA2-46A1-97C6-5FA5787A5A04}" sibTransId="{6A5A9866-8A7E-444E-91CC-110EDBC6E0B3}"/>
    <dgm:cxn modelId="{6E7411BF-F4C3-46B8-9F51-5244E0111F0E}" srcId="{4DA10720-7229-4ACC-931A-D97ADCAE5F98}" destId="{96D2D741-DABD-46B4-8EE7-AF06BF2591DA}" srcOrd="3" destOrd="0" parTransId="{2F002A89-008C-4306-B38C-6DDD3E40A70D}" sibTransId="{639DF1BD-9A7B-494E-8DBE-A5D8798D922C}"/>
    <dgm:cxn modelId="{8D723EBF-4500-4A94-BC8A-65C7DB944252}" type="presOf" srcId="{2B8BBF23-B34A-4563-8DA8-CC72858F0C4C}" destId="{34EEF4EC-6265-4550-8549-BE2187E184FC}" srcOrd="0" destOrd="0" presId="urn:microsoft.com/office/officeart/2018/2/layout/IconVerticalSolidList"/>
    <dgm:cxn modelId="{B6C06CC3-272A-4F1B-9AC3-DC45F821E47F}" type="presOf" srcId="{500CF98A-17B2-496D-B3D3-F0CF3FC86433}" destId="{025C0AE7-480F-4EAA-9340-7583710324B2}" srcOrd="0" destOrd="2" presId="urn:microsoft.com/office/officeart/2018/2/layout/IconVerticalSolidList"/>
    <dgm:cxn modelId="{48A902D3-446C-4C1E-A655-D5B352CB1960}" srcId="{2B8BBF23-B34A-4563-8DA8-CC72858F0C4C}" destId="{673BDC61-2D68-4206-9A1E-1125FC55A219}" srcOrd="0" destOrd="0" parTransId="{C1204B50-FF5D-4224-8282-417A2974F74B}" sibTransId="{77A13DCA-5B5D-4E57-BAE7-3C25F49F670F}"/>
    <dgm:cxn modelId="{AD63D8DD-E9E5-4243-8470-2F75644079FB}" type="presOf" srcId="{673BDC61-2D68-4206-9A1E-1125FC55A219}" destId="{2A8A1A62-76A8-4C47-B214-9B72122FAEE0}" srcOrd="0" destOrd="0" presId="urn:microsoft.com/office/officeart/2018/2/layout/IconVerticalSolidList"/>
    <dgm:cxn modelId="{DE58FCDD-1428-49FE-81F8-DF1FAE1BBAA2}" srcId="{96288541-6BD7-40E7-8DDE-DE1E42FA56CA}" destId="{0CB97D33-7157-4EF7-9A9F-F521C8E2BC66}" srcOrd="1" destOrd="0" parTransId="{EE8F57A7-2D42-4B0E-9E0A-13F18580547F}" sibTransId="{5887D4FA-D413-40DB-B877-AFF30BE11E82}"/>
    <dgm:cxn modelId="{763A2ADF-45F3-4036-A0AC-1BD5BE581984}" srcId="{4DA10720-7229-4ACC-931A-D97ADCAE5F98}" destId="{2B8BBF23-B34A-4563-8DA8-CC72858F0C4C}" srcOrd="2" destOrd="0" parTransId="{C012E1F8-0D3B-4C20-AD46-445F6D5B3893}" sibTransId="{5233FF55-9554-4E55-8D44-18DBE6714E53}"/>
    <dgm:cxn modelId="{40CE74F0-33DD-407B-A8E9-7FBC843A1055}" type="presOf" srcId="{BE633089-0EE5-4C9E-9031-7B7751A825A8}" destId="{B7409212-95BF-492D-8B0D-1B3748753709}" srcOrd="0" destOrd="0" presId="urn:microsoft.com/office/officeart/2018/2/layout/IconVerticalSolidList"/>
    <dgm:cxn modelId="{1F39B2F4-1818-4020-BE20-4305EFEA1D70}" type="presOf" srcId="{FCA4327D-BE23-46E4-9889-40F5CCC4612B}" destId="{025C0AE7-480F-4EAA-9340-7583710324B2}" srcOrd="0" destOrd="1" presId="urn:microsoft.com/office/officeart/2018/2/layout/IconVerticalSolidList"/>
    <dgm:cxn modelId="{944C4335-B94C-4321-9285-2FF27D96982B}" type="presParOf" srcId="{43C2142D-5D3C-489C-A780-9E28FA972646}" destId="{EB38BFB0-A95E-4434-9CE7-49651B28AD2F}" srcOrd="0" destOrd="0" presId="urn:microsoft.com/office/officeart/2018/2/layout/IconVerticalSolidList"/>
    <dgm:cxn modelId="{DD7B9DC9-248E-44B7-B305-66381D715F1D}" type="presParOf" srcId="{EB38BFB0-A95E-4434-9CE7-49651B28AD2F}" destId="{86572E8D-B689-4B52-A2EB-FCDBC68EEB8E}" srcOrd="0" destOrd="0" presId="urn:microsoft.com/office/officeart/2018/2/layout/IconVerticalSolidList"/>
    <dgm:cxn modelId="{3BB005F6-6351-4054-BCF6-D20A16408E51}" type="presParOf" srcId="{EB38BFB0-A95E-4434-9CE7-49651B28AD2F}" destId="{3ACB36A6-B378-4C9B-9E8F-90D164C85076}" srcOrd="1" destOrd="0" presId="urn:microsoft.com/office/officeart/2018/2/layout/IconVerticalSolidList"/>
    <dgm:cxn modelId="{E2DDC75D-BF87-4DC2-9569-0BD2EC2AA4D6}" type="presParOf" srcId="{EB38BFB0-A95E-4434-9CE7-49651B28AD2F}" destId="{C6E06653-37EF-42A9-AB4E-727830D1DEA0}" srcOrd="2" destOrd="0" presId="urn:microsoft.com/office/officeart/2018/2/layout/IconVerticalSolidList"/>
    <dgm:cxn modelId="{82464ACA-A7EC-44C5-8700-AAD070D1725E}" type="presParOf" srcId="{EB38BFB0-A95E-4434-9CE7-49651B28AD2F}" destId="{9630616E-9696-45A8-B93D-B90AFC9B3F54}" srcOrd="3" destOrd="0" presId="urn:microsoft.com/office/officeart/2018/2/layout/IconVerticalSolidList"/>
    <dgm:cxn modelId="{96CBE18C-59DE-4476-8941-BF92D8A186F9}" type="presParOf" srcId="{43C2142D-5D3C-489C-A780-9E28FA972646}" destId="{8ECDEA22-2AAB-42B9-9E0A-681C6D81A750}" srcOrd="1" destOrd="0" presId="urn:microsoft.com/office/officeart/2018/2/layout/IconVerticalSolidList"/>
    <dgm:cxn modelId="{A467ADE9-8476-4183-8AA0-A836248525B8}" type="presParOf" srcId="{43C2142D-5D3C-489C-A780-9E28FA972646}" destId="{67DE2E97-F61B-48B8-866B-84019BFBB37C}" srcOrd="2" destOrd="0" presId="urn:microsoft.com/office/officeart/2018/2/layout/IconVerticalSolidList"/>
    <dgm:cxn modelId="{53EEEAFE-2732-44A6-BA93-639046B9D97F}" type="presParOf" srcId="{67DE2E97-F61B-48B8-866B-84019BFBB37C}" destId="{BCAEC6C9-9B61-4A90-9ACC-245B50E30D84}" srcOrd="0" destOrd="0" presId="urn:microsoft.com/office/officeart/2018/2/layout/IconVerticalSolidList"/>
    <dgm:cxn modelId="{5BF99194-E9AF-4E2A-BD8B-CEC1B8087BFC}" type="presParOf" srcId="{67DE2E97-F61B-48B8-866B-84019BFBB37C}" destId="{C9879C8B-7031-48B1-A216-C3D1A4068C88}" srcOrd="1" destOrd="0" presId="urn:microsoft.com/office/officeart/2018/2/layout/IconVerticalSolidList"/>
    <dgm:cxn modelId="{C61F437C-B4EF-4A38-B68D-FF4BEEA68ECF}" type="presParOf" srcId="{67DE2E97-F61B-48B8-866B-84019BFBB37C}" destId="{FE2B93C0-DF6A-45EB-BDA1-0A0530313BC5}" srcOrd="2" destOrd="0" presId="urn:microsoft.com/office/officeart/2018/2/layout/IconVerticalSolidList"/>
    <dgm:cxn modelId="{4391AB93-A86F-497E-A7DF-8BF1BE0C65B3}" type="presParOf" srcId="{67DE2E97-F61B-48B8-866B-84019BFBB37C}" destId="{24DED46A-C737-4BAF-8378-A6ABC8F6E4C4}" srcOrd="3" destOrd="0" presId="urn:microsoft.com/office/officeart/2018/2/layout/IconVerticalSolidList"/>
    <dgm:cxn modelId="{B21F6491-AA3C-4ED7-A62A-D22F8250D2ED}" type="presParOf" srcId="{67DE2E97-F61B-48B8-866B-84019BFBB37C}" destId="{B7409212-95BF-492D-8B0D-1B3748753709}" srcOrd="4" destOrd="0" presId="urn:microsoft.com/office/officeart/2018/2/layout/IconVerticalSolidList"/>
    <dgm:cxn modelId="{3930794A-6D84-4608-A45D-18F129E7D084}" type="presParOf" srcId="{43C2142D-5D3C-489C-A780-9E28FA972646}" destId="{7A9709C6-E6C3-4E92-93E5-C83CC28D11BF}" srcOrd="3" destOrd="0" presId="urn:microsoft.com/office/officeart/2018/2/layout/IconVerticalSolidList"/>
    <dgm:cxn modelId="{7B659FA9-310F-486F-A9EF-767AB87D636D}" type="presParOf" srcId="{43C2142D-5D3C-489C-A780-9E28FA972646}" destId="{D45947D8-ACB2-41F5-B013-8F67DB9836CB}" srcOrd="4" destOrd="0" presId="urn:microsoft.com/office/officeart/2018/2/layout/IconVerticalSolidList"/>
    <dgm:cxn modelId="{A663AAA3-AADE-4A1F-9597-7CE258E983B9}" type="presParOf" srcId="{D45947D8-ACB2-41F5-B013-8F67DB9836CB}" destId="{22BD67CB-F822-4460-933F-41064CA7F181}" srcOrd="0" destOrd="0" presId="urn:microsoft.com/office/officeart/2018/2/layout/IconVerticalSolidList"/>
    <dgm:cxn modelId="{581AFA66-DBA8-4DD1-9A44-8424D98A0C1F}" type="presParOf" srcId="{D45947D8-ACB2-41F5-B013-8F67DB9836CB}" destId="{D2D95371-65E6-44FC-BEBA-B9F02C5580A8}" srcOrd="1" destOrd="0" presId="urn:microsoft.com/office/officeart/2018/2/layout/IconVerticalSolidList"/>
    <dgm:cxn modelId="{49C26CA9-5A73-4282-92AC-B54DA6201FFF}" type="presParOf" srcId="{D45947D8-ACB2-41F5-B013-8F67DB9836CB}" destId="{2DE5256C-EF35-4145-A562-79A3590FFC1E}" srcOrd="2" destOrd="0" presId="urn:microsoft.com/office/officeart/2018/2/layout/IconVerticalSolidList"/>
    <dgm:cxn modelId="{233F6258-BA94-474A-9798-CE3EB0DFD8CB}" type="presParOf" srcId="{D45947D8-ACB2-41F5-B013-8F67DB9836CB}" destId="{34EEF4EC-6265-4550-8549-BE2187E184FC}" srcOrd="3" destOrd="0" presId="urn:microsoft.com/office/officeart/2018/2/layout/IconVerticalSolidList"/>
    <dgm:cxn modelId="{B9C617E6-B3EE-4927-BD5C-55204D5307E4}" type="presParOf" srcId="{D45947D8-ACB2-41F5-B013-8F67DB9836CB}" destId="{2A8A1A62-76A8-4C47-B214-9B72122FAEE0}" srcOrd="4" destOrd="0" presId="urn:microsoft.com/office/officeart/2018/2/layout/IconVerticalSolidList"/>
    <dgm:cxn modelId="{0869C5E6-A747-46D2-A7A1-D230089D8670}" type="presParOf" srcId="{43C2142D-5D3C-489C-A780-9E28FA972646}" destId="{4247E13B-1F3A-4B50-9053-59C2E2694E67}" srcOrd="5" destOrd="0" presId="urn:microsoft.com/office/officeart/2018/2/layout/IconVerticalSolidList"/>
    <dgm:cxn modelId="{9A7DA75F-CA6D-4BD0-BD4D-BB7C74597BD6}" type="presParOf" srcId="{43C2142D-5D3C-489C-A780-9E28FA972646}" destId="{3B302D55-5FE0-4749-86BC-B40BC3286A63}" srcOrd="6" destOrd="0" presId="urn:microsoft.com/office/officeart/2018/2/layout/IconVerticalSolidList"/>
    <dgm:cxn modelId="{B83C5582-6E6E-47BB-9341-99C15935CEF4}" type="presParOf" srcId="{3B302D55-5FE0-4749-86BC-B40BC3286A63}" destId="{848B605D-DBC6-450D-9876-94FF0C3AD5FB}" srcOrd="0" destOrd="0" presId="urn:microsoft.com/office/officeart/2018/2/layout/IconVerticalSolidList"/>
    <dgm:cxn modelId="{939A13C6-EA4D-4E09-8BF5-8BC993987308}" type="presParOf" srcId="{3B302D55-5FE0-4749-86BC-B40BC3286A63}" destId="{D4DF9EAD-AC66-408F-A35A-5B12204CBE49}" srcOrd="1" destOrd="0" presId="urn:microsoft.com/office/officeart/2018/2/layout/IconVerticalSolidList"/>
    <dgm:cxn modelId="{1161C4CB-E68E-429C-9D5E-18E7D3B0EED5}" type="presParOf" srcId="{3B302D55-5FE0-4749-86BC-B40BC3286A63}" destId="{719AC4E1-AD90-4C39-BC62-DF526F2038BB}" srcOrd="2" destOrd="0" presId="urn:microsoft.com/office/officeart/2018/2/layout/IconVerticalSolidList"/>
    <dgm:cxn modelId="{ACFF84B2-62B0-4CF1-9E9F-656FCCB263FD}" type="presParOf" srcId="{3B302D55-5FE0-4749-86BC-B40BC3286A63}" destId="{216A31EE-5873-4621-98DA-D12BB2F0F350}" srcOrd="3" destOrd="0" presId="urn:microsoft.com/office/officeart/2018/2/layout/IconVerticalSolidList"/>
    <dgm:cxn modelId="{62467167-AE0A-4DA2-B83C-E2D8D6A40BB8}" type="presParOf" srcId="{3B302D55-5FE0-4749-86BC-B40BC3286A63}" destId="{025C0AE7-480F-4EAA-9340-7583710324B2}" srcOrd="4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FABA844-39BE-401B-9367-9D3152AA893B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E668190B-4A59-4258-937B-D4AE43C80A44}">
      <dgm:prSet/>
      <dgm:spPr/>
      <dgm:t>
        <a:bodyPr/>
        <a:lstStyle/>
        <a:p>
          <a:r>
            <a:rPr lang="en-US" b="1"/>
            <a:t>Rel-20 (5G-Advanced)</a:t>
          </a:r>
          <a:endParaRPr lang="en-US"/>
        </a:p>
      </dgm:t>
    </dgm:pt>
    <dgm:pt modelId="{AF04E155-BCD2-46B0-A0A1-465822A57FC1}" type="parTrans" cxnId="{39384BC4-B3DC-418B-B7FC-1FF9C48AD57D}">
      <dgm:prSet/>
      <dgm:spPr/>
      <dgm:t>
        <a:bodyPr/>
        <a:lstStyle/>
        <a:p>
          <a:endParaRPr lang="en-US"/>
        </a:p>
      </dgm:t>
    </dgm:pt>
    <dgm:pt modelId="{DB037035-E6BC-44DA-834D-5CBD28FA8F34}" type="sibTrans" cxnId="{39384BC4-B3DC-418B-B7FC-1FF9C48AD57D}">
      <dgm:prSet/>
      <dgm:spPr/>
      <dgm:t>
        <a:bodyPr/>
        <a:lstStyle/>
        <a:p>
          <a:endParaRPr lang="en-US"/>
        </a:p>
      </dgm:t>
    </dgm:pt>
    <dgm:pt modelId="{44D1C5B0-1E78-481A-A039-88174F89F84C}">
      <dgm:prSet custT="1"/>
      <dgm:spPr/>
      <dgm:t>
        <a:bodyPr/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1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For 5G-Advanced: 18-month. Assuming no delay of Rel-19</a:t>
          </a:r>
        </a:p>
      </dgm:t>
    </dgm:pt>
    <dgm:pt modelId="{32C8758B-8FB4-4256-8DA1-BFB83B192F17}" type="parTrans" cxnId="{9A9C4F54-1ED2-4418-903B-130CE559F072}">
      <dgm:prSet/>
      <dgm:spPr/>
      <dgm:t>
        <a:bodyPr/>
        <a:lstStyle/>
        <a:p>
          <a:endParaRPr lang="en-US"/>
        </a:p>
      </dgm:t>
    </dgm:pt>
    <dgm:pt modelId="{6F4AA7D7-0579-4A66-9034-FF589B562586}" type="sibTrans" cxnId="{9A9C4F54-1ED2-4418-903B-130CE559F072}">
      <dgm:prSet/>
      <dgm:spPr/>
      <dgm:t>
        <a:bodyPr/>
        <a:lstStyle/>
        <a:p>
          <a:endParaRPr lang="en-US"/>
        </a:p>
      </dgm:t>
    </dgm:pt>
    <dgm:pt modelId="{C858EF3B-726E-413D-B24C-82857E17D044}">
      <dgm:prSet custT="1"/>
      <dgm:spPr/>
      <dgm:t>
        <a:bodyPr/>
        <a:lstStyle/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en-US" sz="16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Stage-1 freeze : Jun 2025</a:t>
          </a:r>
        </a:p>
      </dgm:t>
    </dgm:pt>
    <dgm:pt modelId="{54468E16-1E61-4FC1-9DC1-9CD49BF9419C}" type="parTrans" cxnId="{1454A93C-CCD4-4E06-B0CD-A63115F2BC8F}">
      <dgm:prSet/>
      <dgm:spPr/>
      <dgm:t>
        <a:bodyPr/>
        <a:lstStyle/>
        <a:p>
          <a:endParaRPr lang="en-US"/>
        </a:p>
      </dgm:t>
    </dgm:pt>
    <dgm:pt modelId="{E5E403E6-FE1B-40AC-99C8-4A184A475919}" type="sibTrans" cxnId="{1454A93C-CCD4-4E06-B0CD-A63115F2BC8F}">
      <dgm:prSet/>
      <dgm:spPr/>
      <dgm:t>
        <a:bodyPr/>
        <a:lstStyle/>
        <a:p>
          <a:endParaRPr lang="en-US"/>
        </a:p>
      </dgm:t>
    </dgm:pt>
    <dgm:pt modelId="{F9955E65-D50F-44DF-A404-D04B797DA721}">
      <dgm:prSet custT="1"/>
      <dgm:spPr/>
      <dgm:t>
        <a:bodyPr/>
        <a:lstStyle/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en-US" sz="16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Stage-2 freeze : Jun 2026 (&gt;=80%); Sep 2026 (100%)</a:t>
          </a:r>
        </a:p>
      </dgm:t>
    </dgm:pt>
    <dgm:pt modelId="{35BB5636-54B5-41E9-A420-36CEB5DA8AF3}" type="parTrans" cxnId="{861B237E-0F88-4020-B2C0-326FB57AF762}">
      <dgm:prSet/>
      <dgm:spPr/>
      <dgm:t>
        <a:bodyPr/>
        <a:lstStyle/>
        <a:p>
          <a:endParaRPr lang="en-US"/>
        </a:p>
      </dgm:t>
    </dgm:pt>
    <dgm:pt modelId="{6A9FBB99-5F06-491C-BE53-AC72DE3BE1A2}" type="sibTrans" cxnId="{861B237E-0F88-4020-B2C0-326FB57AF762}">
      <dgm:prSet/>
      <dgm:spPr/>
      <dgm:t>
        <a:bodyPr/>
        <a:lstStyle/>
        <a:p>
          <a:endParaRPr lang="en-US"/>
        </a:p>
      </dgm:t>
    </dgm:pt>
    <dgm:pt modelId="{55C4E2CE-86DD-4CF2-B7D4-25AD958D716A}">
      <dgm:prSet custT="1"/>
      <dgm:spPr/>
      <dgm:t>
        <a:bodyPr/>
        <a:lstStyle/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en-US" sz="16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Stage-3 freeze : Mar 2027</a:t>
          </a:r>
        </a:p>
      </dgm:t>
    </dgm:pt>
    <dgm:pt modelId="{7B9CD82D-71EC-404B-BF1D-2EDB05166264}" type="parTrans" cxnId="{294D92DA-903E-44C3-B4B6-AD8B2442279A}">
      <dgm:prSet/>
      <dgm:spPr/>
      <dgm:t>
        <a:bodyPr/>
        <a:lstStyle/>
        <a:p>
          <a:endParaRPr lang="en-US"/>
        </a:p>
      </dgm:t>
    </dgm:pt>
    <dgm:pt modelId="{B5674129-33A6-42C3-A574-3D94C131EDE6}" type="sibTrans" cxnId="{294D92DA-903E-44C3-B4B6-AD8B2442279A}">
      <dgm:prSet/>
      <dgm:spPr/>
      <dgm:t>
        <a:bodyPr/>
        <a:lstStyle/>
        <a:p>
          <a:endParaRPr lang="en-US"/>
        </a:p>
      </dgm:t>
    </dgm:pt>
    <dgm:pt modelId="{0C786020-D297-4BF6-8447-4CE9729A323A}">
      <dgm:prSet custT="1"/>
      <dgm:spPr/>
      <dgm:t>
        <a:bodyPr/>
        <a:lstStyle/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en-US" sz="16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ASN.1/</a:t>
          </a:r>
          <a:r>
            <a:rPr lang="en-US" sz="1600" kern="1200" err="1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OpenAPI</a:t>
          </a:r>
          <a:r>
            <a:rPr lang="en-US" sz="16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 freeze: June 2027</a:t>
          </a:r>
        </a:p>
      </dgm:t>
    </dgm:pt>
    <dgm:pt modelId="{9388F072-F540-43D5-9884-D5BD86A0B74A}" type="parTrans" cxnId="{31EE0172-6C08-48D1-B8E8-48C41E099AAD}">
      <dgm:prSet/>
      <dgm:spPr/>
      <dgm:t>
        <a:bodyPr/>
        <a:lstStyle/>
        <a:p>
          <a:endParaRPr lang="en-US"/>
        </a:p>
      </dgm:t>
    </dgm:pt>
    <dgm:pt modelId="{637CEDFE-7ECA-40DB-92FB-24A76B979460}" type="sibTrans" cxnId="{31EE0172-6C08-48D1-B8E8-48C41E099AAD}">
      <dgm:prSet/>
      <dgm:spPr/>
      <dgm:t>
        <a:bodyPr/>
        <a:lstStyle/>
        <a:p>
          <a:endParaRPr lang="en-US"/>
        </a:p>
      </dgm:t>
    </dgm:pt>
    <dgm:pt modelId="{DE144263-0B9C-4C12-ACBD-D73465477CC9}">
      <dgm:prSet/>
      <dgm:spPr/>
      <dgm:t>
        <a:bodyPr/>
        <a:lstStyle/>
        <a:p>
          <a:r>
            <a:rPr lang="en-US" b="1"/>
            <a:t>Rel-20 (6G Study Item)</a:t>
          </a:r>
          <a:endParaRPr lang="en-US"/>
        </a:p>
      </dgm:t>
    </dgm:pt>
    <dgm:pt modelId="{0CF8C7C9-CB3C-4325-A045-2725C38A0079}" type="parTrans" cxnId="{80CF4734-F99D-492A-88DD-1BC5C7B91125}">
      <dgm:prSet/>
      <dgm:spPr/>
      <dgm:t>
        <a:bodyPr/>
        <a:lstStyle/>
        <a:p>
          <a:endParaRPr lang="en-US"/>
        </a:p>
      </dgm:t>
    </dgm:pt>
    <dgm:pt modelId="{7F6CD8DC-6730-460F-9CB2-91ABD7FEA0D1}" type="sibTrans" cxnId="{80CF4734-F99D-492A-88DD-1BC5C7B91125}">
      <dgm:prSet/>
      <dgm:spPr/>
      <dgm:t>
        <a:bodyPr/>
        <a:lstStyle/>
        <a:p>
          <a:endParaRPr lang="en-US"/>
        </a:p>
      </dgm:t>
    </dgm:pt>
    <dgm:pt modelId="{970BE262-ABC6-4EBC-9D5E-ED399A19490C}">
      <dgm:prSet custT="1"/>
      <dgm:spPr/>
      <dgm:t>
        <a:bodyPr/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1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6G SI Approval</a:t>
          </a:r>
        </a:p>
      </dgm:t>
    </dgm:pt>
    <dgm:pt modelId="{B5C2D2D6-88A7-4C75-90FC-1F3CDBA8A84C}" type="parTrans" cxnId="{71982A8B-A117-4967-82C1-BF1209F12D14}">
      <dgm:prSet/>
      <dgm:spPr/>
      <dgm:t>
        <a:bodyPr/>
        <a:lstStyle/>
        <a:p>
          <a:endParaRPr lang="en-US"/>
        </a:p>
      </dgm:t>
    </dgm:pt>
    <dgm:pt modelId="{B16124D7-CB5B-4538-9F9D-92A612CAB368}" type="sibTrans" cxnId="{71982A8B-A117-4967-82C1-BF1209F12D14}">
      <dgm:prSet/>
      <dgm:spPr/>
      <dgm:t>
        <a:bodyPr/>
        <a:lstStyle/>
        <a:p>
          <a:endParaRPr lang="en-US"/>
        </a:p>
      </dgm:t>
    </dgm:pt>
    <dgm:pt modelId="{B675ABFC-AB42-457C-A4BA-54A9C3BF92A7}">
      <dgm:prSet custT="1"/>
      <dgm:spPr/>
      <dgm:t>
        <a:bodyPr/>
        <a:lstStyle/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en-US" sz="16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Other SA WG (SA3, SA4, SA5, SA6) SI approval: TBD at future TSG meeting</a:t>
          </a:r>
        </a:p>
      </dgm:t>
    </dgm:pt>
    <dgm:pt modelId="{89C4328B-3F0D-4726-8087-28282C1B9AA9}" type="parTrans" cxnId="{BA50CD02-0F37-4CC2-AFE6-79BCB6959467}">
      <dgm:prSet/>
      <dgm:spPr/>
      <dgm:t>
        <a:bodyPr/>
        <a:lstStyle/>
        <a:p>
          <a:endParaRPr lang="en-US"/>
        </a:p>
      </dgm:t>
    </dgm:pt>
    <dgm:pt modelId="{D02F1DD5-2AA9-4860-B4A2-4E900527B447}" type="sibTrans" cxnId="{BA50CD02-0F37-4CC2-AFE6-79BCB6959467}">
      <dgm:prSet/>
      <dgm:spPr/>
      <dgm:t>
        <a:bodyPr/>
        <a:lstStyle/>
        <a:p>
          <a:endParaRPr lang="en-US"/>
        </a:p>
      </dgm:t>
    </dgm:pt>
    <dgm:pt modelId="{931B86C0-DB11-48A1-BDF3-EC1065BF6867}">
      <dgm:prSet custT="1"/>
      <dgm:spPr/>
      <dgm:t>
        <a:bodyPr/>
        <a:lstStyle/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en-US" sz="16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SA1/SA2 6G SI may continue beyond Stage-1/Stage-2 freeze dates for 5G-Advanced</a:t>
          </a:r>
        </a:p>
      </dgm:t>
    </dgm:pt>
    <dgm:pt modelId="{1F71A07C-4406-478D-A475-819934C0A872}" type="parTrans" cxnId="{7CC53C92-E192-424A-8A49-5C6158FFCDDC}">
      <dgm:prSet/>
      <dgm:spPr/>
      <dgm:t>
        <a:bodyPr/>
        <a:lstStyle/>
        <a:p>
          <a:endParaRPr lang="en-US"/>
        </a:p>
      </dgm:t>
    </dgm:pt>
    <dgm:pt modelId="{6E2F8513-38E2-4407-94E4-1E24580BC169}" type="sibTrans" cxnId="{7CC53C92-E192-424A-8A49-5C6158FFCDDC}">
      <dgm:prSet/>
      <dgm:spPr/>
      <dgm:t>
        <a:bodyPr/>
        <a:lstStyle/>
        <a:p>
          <a:endParaRPr lang="en-US"/>
        </a:p>
      </dgm:t>
    </dgm:pt>
    <dgm:pt modelId="{E6143BBE-F6F9-4C00-A11B-4E54C7BD2E4F}">
      <dgm:prSet custT="1"/>
      <dgm:spPr/>
      <dgm:t>
        <a:bodyPr/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1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6G SI Completion (this may use time from Rel-21)</a:t>
          </a:r>
        </a:p>
      </dgm:t>
    </dgm:pt>
    <dgm:pt modelId="{641372D1-8DF8-402F-B03D-4AB148D1E931}" type="parTrans" cxnId="{E1C92AA1-FDCC-4E96-B0BB-40AE7B6D23B9}">
      <dgm:prSet/>
      <dgm:spPr/>
      <dgm:t>
        <a:bodyPr/>
        <a:lstStyle/>
        <a:p>
          <a:endParaRPr lang="en-US"/>
        </a:p>
      </dgm:t>
    </dgm:pt>
    <dgm:pt modelId="{D8DEC91B-AAEF-4E9B-B828-70B96C44BBD2}" type="sibTrans" cxnId="{E1C92AA1-FDCC-4E96-B0BB-40AE7B6D23B9}">
      <dgm:prSet/>
      <dgm:spPr/>
      <dgm:t>
        <a:bodyPr/>
        <a:lstStyle/>
        <a:p>
          <a:endParaRPr lang="en-US"/>
        </a:p>
      </dgm:t>
    </dgm:pt>
    <dgm:pt modelId="{C119C3DF-31B8-49CA-8648-9AC8A3C92704}">
      <dgm:prSet custT="1"/>
      <dgm:spPr/>
      <dgm:t>
        <a:bodyPr/>
        <a:lstStyle/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en-US" sz="16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SA1 6G SI completion: Mar 2026</a:t>
          </a:r>
        </a:p>
      </dgm:t>
    </dgm:pt>
    <dgm:pt modelId="{E97F8848-7BCD-4946-B630-32AFB3789E71}" type="parTrans" cxnId="{F45FA12A-F9D3-4416-967F-D6F2A447729A}">
      <dgm:prSet/>
      <dgm:spPr/>
      <dgm:t>
        <a:bodyPr/>
        <a:lstStyle/>
        <a:p>
          <a:endParaRPr lang="en-US"/>
        </a:p>
      </dgm:t>
    </dgm:pt>
    <dgm:pt modelId="{E737F4CA-5FD9-40B6-8B2A-97B908B3F77C}" type="sibTrans" cxnId="{F45FA12A-F9D3-4416-967F-D6F2A447729A}">
      <dgm:prSet/>
      <dgm:spPr/>
      <dgm:t>
        <a:bodyPr/>
        <a:lstStyle/>
        <a:p>
          <a:endParaRPr lang="en-US"/>
        </a:p>
      </dgm:t>
    </dgm:pt>
    <dgm:pt modelId="{A14F4818-2B3E-4605-9DC6-25D7AE81BF91}">
      <dgm:prSet custT="1"/>
      <dgm:spPr/>
      <dgm:t>
        <a:bodyPr/>
        <a:lstStyle/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en-US" sz="16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SA2 6G SI completion: Dec 2026 or Mar 2027 (To be confirmed at future TSG meeting)</a:t>
          </a:r>
        </a:p>
      </dgm:t>
    </dgm:pt>
    <dgm:pt modelId="{F0F72B30-CB62-4278-805F-F1232CAD4D09}" type="parTrans" cxnId="{003AA4DB-A891-4C42-8E26-D98B74AE9258}">
      <dgm:prSet/>
      <dgm:spPr/>
      <dgm:t>
        <a:bodyPr/>
        <a:lstStyle/>
        <a:p>
          <a:endParaRPr lang="en-US"/>
        </a:p>
      </dgm:t>
    </dgm:pt>
    <dgm:pt modelId="{EA7FC836-4E24-46F1-ACCC-7E1319E22667}" type="sibTrans" cxnId="{003AA4DB-A891-4C42-8E26-D98B74AE9258}">
      <dgm:prSet/>
      <dgm:spPr/>
      <dgm:t>
        <a:bodyPr/>
        <a:lstStyle/>
        <a:p>
          <a:endParaRPr lang="en-US"/>
        </a:p>
      </dgm:t>
    </dgm:pt>
    <dgm:pt modelId="{C12CAFDF-434E-499C-AE6A-39636C4840C2}">
      <dgm:prSet custT="1"/>
      <dgm:spPr/>
      <dgm:t>
        <a:bodyPr/>
        <a:lstStyle/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nb-NO" sz="16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SA2 SI approval: TSG#108 (Jun 2025) </a:t>
          </a:r>
          <a:endParaRPr lang="en-US" sz="16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Intel Clear"/>
            <a:ea typeface="Helvetica Neue"/>
            <a:cs typeface="Helvetica Neue"/>
          </a:endParaRPr>
        </a:p>
      </dgm:t>
    </dgm:pt>
    <dgm:pt modelId="{F0925ED4-70B3-4BD2-BA3C-B7D965FCF0A3}" type="parTrans" cxnId="{DCF659AD-284C-4B9F-8607-72A8C6AEDFBF}">
      <dgm:prSet/>
      <dgm:spPr/>
      <dgm:t>
        <a:bodyPr/>
        <a:lstStyle/>
        <a:p>
          <a:endParaRPr lang="en-US"/>
        </a:p>
      </dgm:t>
    </dgm:pt>
    <dgm:pt modelId="{735D2BEC-AF27-4774-9F8A-59F4A34FE111}" type="sibTrans" cxnId="{DCF659AD-284C-4B9F-8607-72A8C6AEDFBF}">
      <dgm:prSet/>
      <dgm:spPr/>
      <dgm:t>
        <a:bodyPr/>
        <a:lstStyle/>
        <a:p>
          <a:endParaRPr lang="en-US"/>
        </a:p>
      </dgm:t>
    </dgm:pt>
    <dgm:pt modelId="{94FB273D-F1D1-44E9-B81F-F7378DE1594A}">
      <dgm:prSet custT="1"/>
      <dgm:spPr/>
      <dgm:t>
        <a:bodyPr/>
        <a:lstStyle/>
        <a:p>
          <a:pPr marL="342900" lvl="2" indent="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</a:pPr>
          <a:endParaRPr lang="en-US" sz="1800" kern="1200"/>
        </a:p>
      </dgm:t>
    </dgm:pt>
    <dgm:pt modelId="{BAA4EB50-FD76-470B-A919-3742DEEDD60C}" type="parTrans" cxnId="{27CD931E-323C-4376-8A02-546BE16094C7}">
      <dgm:prSet/>
      <dgm:spPr/>
      <dgm:t>
        <a:bodyPr/>
        <a:lstStyle/>
        <a:p>
          <a:endParaRPr lang="en-US"/>
        </a:p>
      </dgm:t>
    </dgm:pt>
    <dgm:pt modelId="{D822489C-8839-4529-9540-26D42A37D949}" type="sibTrans" cxnId="{27CD931E-323C-4376-8A02-546BE16094C7}">
      <dgm:prSet/>
      <dgm:spPr/>
      <dgm:t>
        <a:bodyPr/>
        <a:lstStyle/>
        <a:p>
          <a:endParaRPr lang="en-US"/>
        </a:p>
      </dgm:t>
    </dgm:pt>
    <dgm:pt modelId="{0286AECF-B648-4BE4-B46D-95A9F004BB63}">
      <dgm:prSet custT="1"/>
      <dgm:spPr/>
      <dgm:t>
        <a:bodyPr/>
        <a:lstStyle/>
        <a:p>
          <a:pPr marL="342900" lvl="2" indent="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</a:pPr>
          <a:endParaRPr lang="en-US" sz="1800" kern="1200"/>
        </a:p>
      </dgm:t>
    </dgm:pt>
    <dgm:pt modelId="{D237C7BF-0596-435E-9C5A-D2B36B15C825}" type="parTrans" cxnId="{F6D7FA44-D569-4681-A28D-CC30896C3654}">
      <dgm:prSet/>
      <dgm:spPr/>
      <dgm:t>
        <a:bodyPr/>
        <a:lstStyle/>
        <a:p>
          <a:endParaRPr lang="en-US"/>
        </a:p>
      </dgm:t>
    </dgm:pt>
    <dgm:pt modelId="{4FC1D24A-1883-411F-A6E8-00287BA7A6F1}" type="sibTrans" cxnId="{F6D7FA44-D569-4681-A28D-CC30896C3654}">
      <dgm:prSet/>
      <dgm:spPr/>
      <dgm:t>
        <a:bodyPr/>
        <a:lstStyle/>
        <a:p>
          <a:endParaRPr lang="en-US"/>
        </a:p>
      </dgm:t>
    </dgm:pt>
    <dgm:pt modelId="{D95FD627-34DD-4DAF-B585-AA085B305EFF}">
      <dgm:prSet custT="1"/>
      <dgm:spPr/>
      <dgm:t>
        <a:bodyPr/>
        <a:lstStyle/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nb-NO" sz="16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SA1 SI approval: TSG#105 (Sept 2024)</a:t>
          </a:r>
          <a:endParaRPr lang="en-US" sz="16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Intel Clear"/>
            <a:ea typeface="Helvetica Neue"/>
            <a:cs typeface="Helvetica Neue"/>
          </a:endParaRPr>
        </a:p>
      </dgm:t>
    </dgm:pt>
    <dgm:pt modelId="{418E77E6-CB1F-44A4-83E1-E128433E2C0F}" type="parTrans" cxnId="{EC3EB913-474A-440D-A07A-7DEDD8D66422}">
      <dgm:prSet/>
      <dgm:spPr/>
      <dgm:t>
        <a:bodyPr/>
        <a:lstStyle/>
        <a:p>
          <a:endParaRPr lang="en-US"/>
        </a:p>
      </dgm:t>
    </dgm:pt>
    <dgm:pt modelId="{C00FD5C3-0E44-4B97-83A1-B6A63464778E}" type="sibTrans" cxnId="{EC3EB913-474A-440D-A07A-7DEDD8D66422}">
      <dgm:prSet/>
      <dgm:spPr/>
      <dgm:t>
        <a:bodyPr/>
        <a:lstStyle/>
        <a:p>
          <a:endParaRPr lang="en-US"/>
        </a:p>
      </dgm:t>
    </dgm:pt>
    <dgm:pt modelId="{9AB2AF68-2814-4C33-A1EF-99A6D9A34EA5}" type="pres">
      <dgm:prSet presAssocID="{5FABA844-39BE-401B-9367-9D3152AA893B}" presName="Name0" presStyleCnt="0">
        <dgm:presLayoutVars>
          <dgm:dir/>
          <dgm:animLvl val="lvl"/>
          <dgm:resizeHandles val="exact"/>
        </dgm:presLayoutVars>
      </dgm:prSet>
      <dgm:spPr/>
    </dgm:pt>
    <dgm:pt modelId="{3B210396-7B30-49A7-A80E-724108507B49}" type="pres">
      <dgm:prSet presAssocID="{E668190B-4A59-4258-937B-D4AE43C80A44}" presName="composite" presStyleCnt="0"/>
      <dgm:spPr/>
    </dgm:pt>
    <dgm:pt modelId="{EA85BC92-3337-4AD0-98D1-A09A969D8E35}" type="pres">
      <dgm:prSet presAssocID="{E668190B-4A59-4258-937B-D4AE43C80A44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EB93D39D-2EC7-4844-880A-F92531A6E47F}" type="pres">
      <dgm:prSet presAssocID="{E668190B-4A59-4258-937B-D4AE43C80A44}" presName="desTx" presStyleLbl="alignAccFollowNode1" presStyleIdx="0" presStyleCnt="2" custLinFactNeighborX="555" custLinFactNeighborY="773">
        <dgm:presLayoutVars>
          <dgm:bulletEnabled val="1"/>
        </dgm:presLayoutVars>
      </dgm:prSet>
      <dgm:spPr/>
    </dgm:pt>
    <dgm:pt modelId="{6FBE92D2-AEC9-47D5-8508-6A71F0A35F4D}" type="pres">
      <dgm:prSet presAssocID="{DB037035-E6BC-44DA-834D-5CBD28FA8F34}" presName="space" presStyleCnt="0"/>
      <dgm:spPr/>
    </dgm:pt>
    <dgm:pt modelId="{55924937-48E4-45FB-B1D5-4935E04CC401}" type="pres">
      <dgm:prSet presAssocID="{DE144263-0B9C-4C12-ACBD-D73465477CC9}" presName="composite" presStyleCnt="0"/>
      <dgm:spPr/>
    </dgm:pt>
    <dgm:pt modelId="{03E6C539-E169-41F2-BC96-A5B08694C547}" type="pres">
      <dgm:prSet presAssocID="{DE144263-0B9C-4C12-ACBD-D73465477CC9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38F756A1-0DC7-458B-BD4A-07B9BC18DFAA}" type="pres">
      <dgm:prSet presAssocID="{DE144263-0B9C-4C12-ACBD-D73465477CC9}" presName="desTx" presStyleLbl="alignAccFollowNode1" presStyleIdx="1" presStyleCnt="2">
        <dgm:presLayoutVars>
          <dgm:bulletEnabled val="1"/>
        </dgm:presLayoutVars>
      </dgm:prSet>
      <dgm:spPr/>
    </dgm:pt>
  </dgm:ptLst>
  <dgm:cxnLst>
    <dgm:cxn modelId="{BA50CD02-0F37-4CC2-AFE6-79BCB6959467}" srcId="{970BE262-ABC6-4EBC-9D5E-ED399A19490C}" destId="{B675ABFC-AB42-457C-A4BA-54A9C3BF92A7}" srcOrd="2" destOrd="0" parTransId="{89C4328B-3F0D-4726-8087-28282C1B9AA9}" sibTransId="{D02F1DD5-2AA9-4860-B4A2-4E900527B447}"/>
    <dgm:cxn modelId="{3ABBF209-A62E-4678-A42C-AA37F108BB5B}" type="presOf" srcId="{F9955E65-D50F-44DF-A404-D04B797DA721}" destId="{EB93D39D-2EC7-4844-880A-F92531A6E47F}" srcOrd="0" destOrd="2" presId="urn:microsoft.com/office/officeart/2005/8/layout/hList1"/>
    <dgm:cxn modelId="{EC3EB913-474A-440D-A07A-7DEDD8D66422}" srcId="{970BE262-ABC6-4EBC-9D5E-ED399A19490C}" destId="{D95FD627-34DD-4DAF-B585-AA085B305EFF}" srcOrd="0" destOrd="0" parTransId="{418E77E6-CB1F-44A4-83E1-E128433E2C0F}" sibTransId="{C00FD5C3-0E44-4B97-83A1-B6A63464778E}"/>
    <dgm:cxn modelId="{27CD931E-323C-4376-8A02-546BE16094C7}" srcId="{E6143BBE-F6F9-4C00-A11B-4E54C7BD2E4F}" destId="{94FB273D-F1D1-44E9-B81F-F7378DE1594A}" srcOrd="3" destOrd="0" parTransId="{BAA4EB50-FD76-470B-A919-3742DEEDD60C}" sibTransId="{D822489C-8839-4529-9540-26D42A37D949}"/>
    <dgm:cxn modelId="{F45FA12A-F9D3-4416-967F-D6F2A447729A}" srcId="{E6143BBE-F6F9-4C00-A11B-4E54C7BD2E4F}" destId="{C119C3DF-31B8-49CA-8648-9AC8A3C92704}" srcOrd="0" destOrd="0" parTransId="{E97F8848-7BCD-4946-B630-32AFB3789E71}" sibTransId="{E737F4CA-5FD9-40B6-8B2A-97B908B3F77C}"/>
    <dgm:cxn modelId="{80CF4734-F99D-492A-88DD-1BC5C7B91125}" srcId="{5FABA844-39BE-401B-9367-9D3152AA893B}" destId="{DE144263-0B9C-4C12-ACBD-D73465477CC9}" srcOrd="1" destOrd="0" parTransId="{0CF8C7C9-CB3C-4325-A045-2725C38A0079}" sibTransId="{7F6CD8DC-6730-460F-9CB2-91ABD7FEA0D1}"/>
    <dgm:cxn modelId="{1454A93C-CCD4-4E06-B0CD-A63115F2BC8F}" srcId="{44D1C5B0-1E78-481A-A039-88174F89F84C}" destId="{C858EF3B-726E-413D-B24C-82857E17D044}" srcOrd="0" destOrd="0" parTransId="{54468E16-1E61-4FC1-9DC1-9CD49BF9419C}" sibTransId="{E5E403E6-FE1B-40AC-99C8-4A184A475919}"/>
    <dgm:cxn modelId="{857F445C-8BCD-472F-A2CA-4EEBEC2FFE6E}" type="presOf" srcId="{94FB273D-F1D1-44E9-B81F-F7378DE1594A}" destId="{38F756A1-0DC7-458B-BD4A-07B9BC18DFAA}" srcOrd="0" destOrd="9" presId="urn:microsoft.com/office/officeart/2005/8/layout/hList1"/>
    <dgm:cxn modelId="{F6D7FA44-D569-4681-A28D-CC30896C3654}" srcId="{E6143BBE-F6F9-4C00-A11B-4E54C7BD2E4F}" destId="{0286AECF-B648-4BE4-B46D-95A9F004BB63}" srcOrd="2" destOrd="0" parTransId="{D237C7BF-0596-435E-9C5A-D2B36B15C825}" sibTransId="{4FC1D24A-1883-411F-A6E8-00287BA7A6F1}"/>
    <dgm:cxn modelId="{E1431E49-1E83-4F86-BA1C-1447B8A7B3CA}" type="presOf" srcId="{D95FD627-34DD-4DAF-B585-AA085B305EFF}" destId="{38F756A1-0DC7-458B-BD4A-07B9BC18DFAA}" srcOrd="0" destOrd="1" presId="urn:microsoft.com/office/officeart/2005/8/layout/hList1"/>
    <dgm:cxn modelId="{DC440171-2A22-4743-971F-E9753272D027}" type="presOf" srcId="{C858EF3B-726E-413D-B24C-82857E17D044}" destId="{EB93D39D-2EC7-4844-880A-F92531A6E47F}" srcOrd="0" destOrd="1" presId="urn:microsoft.com/office/officeart/2005/8/layout/hList1"/>
    <dgm:cxn modelId="{31EE0172-6C08-48D1-B8E8-48C41E099AAD}" srcId="{44D1C5B0-1E78-481A-A039-88174F89F84C}" destId="{0C786020-D297-4BF6-8447-4CE9729A323A}" srcOrd="3" destOrd="0" parTransId="{9388F072-F540-43D5-9884-D5BD86A0B74A}" sibTransId="{637CEDFE-7ECA-40DB-92FB-24A76B979460}"/>
    <dgm:cxn modelId="{9A9C4F54-1ED2-4418-903B-130CE559F072}" srcId="{E668190B-4A59-4258-937B-D4AE43C80A44}" destId="{44D1C5B0-1E78-481A-A039-88174F89F84C}" srcOrd="0" destOrd="0" parTransId="{32C8758B-8FB4-4256-8DA1-BFB83B192F17}" sibTransId="{6F4AA7D7-0579-4A66-9034-FF589B562586}"/>
    <dgm:cxn modelId="{B8BF4776-A5E8-4189-9E15-D5E31314A48F}" type="presOf" srcId="{E668190B-4A59-4258-937B-D4AE43C80A44}" destId="{EA85BC92-3337-4AD0-98D1-A09A969D8E35}" srcOrd="0" destOrd="0" presId="urn:microsoft.com/office/officeart/2005/8/layout/hList1"/>
    <dgm:cxn modelId="{7E8F2378-43A5-406E-9319-4941FCFC74BB}" type="presOf" srcId="{970BE262-ABC6-4EBC-9D5E-ED399A19490C}" destId="{38F756A1-0DC7-458B-BD4A-07B9BC18DFAA}" srcOrd="0" destOrd="0" presId="urn:microsoft.com/office/officeart/2005/8/layout/hList1"/>
    <dgm:cxn modelId="{861B237E-0F88-4020-B2C0-326FB57AF762}" srcId="{44D1C5B0-1E78-481A-A039-88174F89F84C}" destId="{F9955E65-D50F-44DF-A404-D04B797DA721}" srcOrd="1" destOrd="0" parTransId="{35BB5636-54B5-41E9-A420-36CEB5DA8AF3}" sibTransId="{6A9FBB99-5F06-491C-BE53-AC72DE3BE1A2}"/>
    <dgm:cxn modelId="{71982A8B-A117-4967-82C1-BF1209F12D14}" srcId="{DE144263-0B9C-4C12-ACBD-D73465477CC9}" destId="{970BE262-ABC6-4EBC-9D5E-ED399A19490C}" srcOrd="0" destOrd="0" parTransId="{B5C2D2D6-88A7-4C75-90FC-1F3CDBA8A84C}" sibTransId="{B16124D7-CB5B-4538-9F9D-92A612CAB368}"/>
    <dgm:cxn modelId="{566AEE90-D64A-4C04-AD47-45E998DC9918}" type="presOf" srcId="{A14F4818-2B3E-4605-9DC6-25D7AE81BF91}" destId="{38F756A1-0DC7-458B-BD4A-07B9BC18DFAA}" srcOrd="0" destOrd="7" presId="urn:microsoft.com/office/officeart/2005/8/layout/hList1"/>
    <dgm:cxn modelId="{7CC53C92-E192-424A-8A49-5C6158FFCDDC}" srcId="{970BE262-ABC6-4EBC-9D5E-ED399A19490C}" destId="{931B86C0-DB11-48A1-BDF3-EC1065BF6867}" srcOrd="3" destOrd="0" parTransId="{1F71A07C-4406-478D-A475-819934C0A872}" sibTransId="{6E2F8513-38E2-4407-94E4-1E24580BC169}"/>
    <dgm:cxn modelId="{E1C92AA1-FDCC-4E96-B0BB-40AE7B6D23B9}" srcId="{DE144263-0B9C-4C12-ACBD-D73465477CC9}" destId="{E6143BBE-F6F9-4C00-A11B-4E54C7BD2E4F}" srcOrd="1" destOrd="0" parTransId="{641372D1-8DF8-402F-B03D-4AB148D1E931}" sibTransId="{D8DEC91B-AAEF-4E9B-B828-70B96C44BBD2}"/>
    <dgm:cxn modelId="{B8CE79AC-5F5F-430A-A5C5-D472672E78BA}" type="presOf" srcId="{DE144263-0B9C-4C12-ACBD-D73465477CC9}" destId="{03E6C539-E169-41F2-BC96-A5B08694C547}" srcOrd="0" destOrd="0" presId="urn:microsoft.com/office/officeart/2005/8/layout/hList1"/>
    <dgm:cxn modelId="{DCF659AD-284C-4B9F-8607-72A8C6AEDFBF}" srcId="{970BE262-ABC6-4EBC-9D5E-ED399A19490C}" destId="{C12CAFDF-434E-499C-AE6A-39636C4840C2}" srcOrd="1" destOrd="0" parTransId="{F0925ED4-70B3-4BD2-BA3C-B7D965FCF0A3}" sibTransId="{735D2BEC-AF27-4774-9F8A-59F4A34FE111}"/>
    <dgm:cxn modelId="{62D773B2-F312-4871-81C1-E17026822500}" type="presOf" srcId="{931B86C0-DB11-48A1-BDF3-EC1065BF6867}" destId="{38F756A1-0DC7-458B-BD4A-07B9BC18DFAA}" srcOrd="0" destOrd="4" presId="urn:microsoft.com/office/officeart/2005/8/layout/hList1"/>
    <dgm:cxn modelId="{C7832EB8-099D-41EE-849C-27495725E5A0}" type="presOf" srcId="{0286AECF-B648-4BE4-B46D-95A9F004BB63}" destId="{38F756A1-0DC7-458B-BD4A-07B9BC18DFAA}" srcOrd="0" destOrd="8" presId="urn:microsoft.com/office/officeart/2005/8/layout/hList1"/>
    <dgm:cxn modelId="{D332CEB9-8EDE-4E0D-993B-DF98EE7154C0}" type="presOf" srcId="{44D1C5B0-1E78-481A-A039-88174F89F84C}" destId="{EB93D39D-2EC7-4844-880A-F92531A6E47F}" srcOrd="0" destOrd="0" presId="urn:microsoft.com/office/officeart/2005/8/layout/hList1"/>
    <dgm:cxn modelId="{C8E791BB-F85F-425A-A516-E7ADEC0982C8}" type="presOf" srcId="{55C4E2CE-86DD-4CF2-B7D4-25AD958D716A}" destId="{EB93D39D-2EC7-4844-880A-F92531A6E47F}" srcOrd="0" destOrd="3" presId="urn:microsoft.com/office/officeart/2005/8/layout/hList1"/>
    <dgm:cxn modelId="{7BB9F2BF-465B-4D22-8D73-AC9C9A8E74BC}" type="presOf" srcId="{B675ABFC-AB42-457C-A4BA-54A9C3BF92A7}" destId="{38F756A1-0DC7-458B-BD4A-07B9BC18DFAA}" srcOrd="0" destOrd="3" presId="urn:microsoft.com/office/officeart/2005/8/layout/hList1"/>
    <dgm:cxn modelId="{39384BC4-B3DC-418B-B7FC-1FF9C48AD57D}" srcId="{5FABA844-39BE-401B-9367-9D3152AA893B}" destId="{E668190B-4A59-4258-937B-D4AE43C80A44}" srcOrd="0" destOrd="0" parTransId="{AF04E155-BCD2-46B0-A0A1-465822A57FC1}" sibTransId="{DB037035-E6BC-44DA-834D-5CBD28FA8F34}"/>
    <dgm:cxn modelId="{F7D13AD3-6EEE-4755-B4DA-9DCC799DA555}" type="presOf" srcId="{C12CAFDF-434E-499C-AE6A-39636C4840C2}" destId="{38F756A1-0DC7-458B-BD4A-07B9BC18DFAA}" srcOrd="0" destOrd="2" presId="urn:microsoft.com/office/officeart/2005/8/layout/hList1"/>
    <dgm:cxn modelId="{BD86E7D9-0C1D-4DE4-A89B-068C0FBED337}" type="presOf" srcId="{5FABA844-39BE-401B-9367-9D3152AA893B}" destId="{9AB2AF68-2814-4C33-A1EF-99A6D9A34EA5}" srcOrd="0" destOrd="0" presId="urn:microsoft.com/office/officeart/2005/8/layout/hList1"/>
    <dgm:cxn modelId="{294D92DA-903E-44C3-B4B6-AD8B2442279A}" srcId="{44D1C5B0-1E78-481A-A039-88174F89F84C}" destId="{55C4E2CE-86DD-4CF2-B7D4-25AD958D716A}" srcOrd="2" destOrd="0" parTransId="{7B9CD82D-71EC-404B-BF1D-2EDB05166264}" sibTransId="{B5674129-33A6-42C3-A574-3D94C131EDE6}"/>
    <dgm:cxn modelId="{003AA4DB-A891-4C42-8E26-D98B74AE9258}" srcId="{E6143BBE-F6F9-4C00-A11B-4E54C7BD2E4F}" destId="{A14F4818-2B3E-4605-9DC6-25D7AE81BF91}" srcOrd="1" destOrd="0" parTransId="{F0F72B30-CB62-4278-805F-F1232CAD4D09}" sibTransId="{EA7FC836-4E24-46F1-ACCC-7E1319E22667}"/>
    <dgm:cxn modelId="{8E4017ED-0D90-46C4-9D7C-169A557CB4C9}" type="presOf" srcId="{0C786020-D297-4BF6-8447-4CE9729A323A}" destId="{EB93D39D-2EC7-4844-880A-F92531A6E47F}" srcOrd="0" destOrd="4" presId="urn:microsoft.com/office/officeart/2005/8/layout/hList1"/>
    <dgm:cxn modelId="{7803C6F7-959C-4B34-9B62-74FB802B073B}" type="presOf" srcId="{E6143BBE-F6F9-4C00-A11B-4E54C7BD2E4F}" destId="{38F756A1-0DC7-458B-BD4A-07B9BC18DFAA}" srcOrd="0" destOrd="5" presId="urn:microsoft.com/office/officeart/2005/8/layout/hList1"/>
    <dgm:cxn modelId="{C7A572FD-CBC7-4EBB-BBAD-3382B8C1ED38}" type="presOf" srcId="{C119C3DF-31B8-49CA-8648-9AC8A3C92704}" destId="{38F756A1-0DC7-458B-BD4A-07B9BC18DFAA}" srcOrd="0" destOrd="6" presId="urn:microsoft.com/office/officeart/2005/8/layout/hList1"/>
    <dgm:cxn modelId="{66C0E780-6D11-4E2C-8436-40AB9D8FE5F1}" type="presParOf" srcId="{9AB2AF68-2814-4C33-A1EF-99A6D9A34EA5}" destId="{3B210396-7B30-49A7-A80E-724108507B49}" srcOrd="0" destOrd="0" presId="urn:microsoft.com/office/officeart/2005/8/layout/hList1"/>
    <dgm:cxn modelId="{30D5C15A-0BC7-4D10-B7AA-C5826876EE6B}" type="presParOf" srcId="{3B210396-7B30-49A7-A80E-724108507B49}" destId="{EA85BC92-3337-4AD0-98D1-A09A969D8E35}" srcOrd="0" destOrd="0" presId="urn:microsoft.com/office/officeart/2005/8/layout/hList1"/>
    <dgm:cxn modelId="{7EB4C935-762D-4385-8F72-7F62D2A96732}" type="presParOf" srcId="{3B210396-7B30-49A7-A80E-724108507B49}" destId="{EB93D39D-2EC7-4844-880A-F92531A6E47F}" srcOrd="1" destOrd="0" presId="urn:microsoft.com/office/officeart/2005/8/layout/hList1"/>
    <dgm:cxn modelId="{CA6E1182-F96C-4644-A6D1-E8231717F79D}" type="presParOf" srcId="{9AB2AF68-2814-4C33-A1EF-99A6D9A34EA5}" destId="{6FBE92D2-AEC9-47D5-8508-6A71F0A35F4D}" srcOrd="1" destOrd="0" presId="urn:microsoft.com/office/officeart/2005/8/layout/hList1"/>
    <dgm:cxn modelId="{8FD51223-D8E6-473D-AB35-6F8505B2FB73}" type="presParOf" srcId="{9AB2AF68-2814-4C33-A1EF-99A6D9A34EA5}" destId="{55924937-48E4-45FB-B1D5-4935E04CC401}" srcOrd="2" destOrd="0" presId="urn:microsoft.com/office/officeart/2005/8/layout/hList1"/>
    <dgm:cxn modelId="{BD558E38-0578-4228-B0D8-F570711497BD}" type="presParOf" srcId="{55924937-48E4-45FB-B1D5-4935E04CC401}" destId="{03E6C539-E169-41F2-BC96-A5B08694C547}" srcOrd="0" destOrd="0" presId="urn:microsoft.com/office/officeart/2005/8/layout/hList1"/>
    <dgm:cxn modelId="{FF79BE48-5DB3-48CD-A459-29112E376086}" type="presParOf" srcId="{55924937-48E4-45FB-B1D5-4935E04CC401}" destId="{38F756A1-0DC7-458B-BD4A-07B9BC18DFAA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4894D30-CB90-4EF2-A43A-7445011E5214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296C3D6B-0130-478E-B426-4E9F430E0DB3}">
      <dgm:prSet custT="1"/>
      <dgm:spPr/>
      <dgm:t>
        <a:bodyPr/>
        <a:lstStyle/>
        <a:p>
          <a:pPr algn="ctr">
            <a:lnSpc>
              <a:spcPct val="100000"/>
            </a:lnSpc>
          </a:pPr>
          <a:r>
            <a:rPr lang="en-US" sz="2000"/>
            <a:t>3GPP Stage 1 Workshop on IMT 2030 Use Cases </a:t>
          </a:r>
        </a:p>
        <a:p>
          <a:pPr algn="ctr">
            <a:lnSpc>
              <a:spcPct val="100000"/>
            </a:lnSpc>
          </a:pPr>
          <a:r>
            <a:rPr lang="en-US" sz="2000"/>
            <a:t>(</a:t>
          </a:r>
          <a:r>
            <a:rPr lang="en-GB" sz="2000"/>
            <a:t>May 8 - 10; Rotterdam, Netherlands</a:t>
          </a:r>
          <a:r>
            <a:rPr lang="en-US" sz="2000"/>
            <a:t>)</a:t>
          </a:r>
        </a:p>
        <a:p>
          <a:pPr algn="ctr">
            <a:lnSpc>
              <a:spcPct val="100000"/>
            </a:lnSpc>
          </a:pPr>
          <a:r>
            <a:rPr lang="en-US" sz="1800"/>
            <a:t>(For details see - </a:t>
          </a:r>
          <a:r>
            <a:rPr lang="en-US" sz="1800">
              <a:hlinkClick xmlns:r="http://schemas.openxmlformats.org/officeDocument/2006/relationships" r:id="rId1"/>
            </a:rPr>
            <a:t>SP-240456</a:t>
          </a:r>
          <a:r>
            <a:rPr lang="en-US" sz="1800"/>
            <a:t>)</a:t>
          </a:r>
        </a:p>
      </dgm:t>
    </dgm:pt>
    <dgm:pt modelId="{8580862F-FD50-452D-83FC-BB9BB2B95415}" type="parTrans" cxnId="{E68BF830-A76B-43B2-95AA-9BA3612CA68F}">
      <dgm:prSet/>
      <dgm:spPr/>
      <dgm:t>
        <a:bodyPr/>
        <a:lstStyle/>
        <a:p>
          <a:endParaRPr lang="en-US"/>
        </a:p>
      </dgm:t>
    </dgm:pt>
    <dgm:pt modelId="{F13B9D43-28E9-4BE4-8EE4-5029A558261A}" type="sibTrans" cxnId="{E68BF830-A76B-43B2-95AA-9BA3612CA68F}">
      <dgm:prSet/>
      <dgm:spPr/>
      <dgm:t>
        <a:bodyPr/>
        <a:lstStyle/>
        <a:p>
          <a:endParaRPr lang="en-US"/>
        </a:p>
      </dgm:t>
    </dgm:pt>
    <dgm:pt modelId="{5BD54465-0AA9-4A36-A4EE-37EE8A6F9FA0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The objective of the workshop is to bring 3GPP closer to the ongoing initiatives of various global/regional research organizations and MRPs regarding 6G use cases. </a:t>
          </a:r>
        </a:p>
        <a:p>
          <a:pPr>
            <a:lnSpc>
              <a:spcPct val="100000"/>
            </a:lnSpc>
          </a:pPr>
          <a:r>
            <a:rPr lang="en-US"/>
            <a:t>This collaborative effort is particularly crucial as SA1 embarks on defining the requirements and use cases for 6G in Rel-20.</a:t>
          </a:r>
        </a:p>
      </dgm:t>
    </dgm:pt>
    <dgm:pt modelId="{BD7F6394-A16E-46F2-AD8A-6BE36F6A33B8}" type="parTrans" cxnId="{4FC4714E-4314-4ADC-AD14-4F4BDC570617}">
      <dgm:prSet/>
      <dgm:spPr/>
      <dgm:t>
        <a:bodyPr/>
        <a:lstStyle/>
        <a:p>
          <a:endParaRPr lang="en-US"/>
        </a:p>
      </dgm:t>
    </dgm:pt>
    <dgm:pt modelId="{7753DC06-3EDB-41CE-8C24-75EEB8365E00}" type="sibTrans" cxnId="{4FC4714E-4314-4ADC-AD14-4F4BDC570617}">
      <dgm:prSet/>
      <dgm:spPr/>
      <dgm:t>
        <a:bodyPr/>
        <a:lstStyle/>
        <a:p>
          <a:endParaRPr lang="en-US"/>
        </a:p>
      </dgm:t>
    </dgm:pt>
    <dgm:pt modelId="{1A577ED0-479F-4EC2-AA42-56A819DA869A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200"/>
            <a:t>Presentations from 3GPP MRPs (e.g. GSMA, 5GAA, …), regional research alliances (Next G Alliance, China IMT 2030 Promotion Group, Japan B5GPC, Kora 6G Forum, Bharat 6G Alliance), and global organizations/institutions (e.g. NGMN, ITU-R). </a:t>
          </a:r>
          <a:endParaRPr lang="en-US" sz="1200"/>
        </a:p>
      </dgm:t>
    </dgm:pt>
    <dgm:pt modelId="{F073FC78-A52E-472F-B123-54389F05F007}" type="parTrans" cxnId="{70E5476B-F575-48CF-8ADD-FA5878B9DB11}">
      <dgm:prSet/>
      <dgm:spPr/>
      <dgm:t>
        <a:bodyPr/>
        <a:lstStyle/>
        <a:p>
          <a:endParaRPr lang="en-US"/>
        </a:p>
      </dgm:t>
    </dgm:pt>
    <dgm:pt modelId="{250B5F01-34B0-46A3-B4B7-FE5B559EEDD1}" type="sibTrans" cxnId="{70E5476B-F575-48CF-8ADD-FA5878B9DB11}">
      <dgm:prSet/>
      <dgm:spPr/>
      <dgm:t>
        <a:bodyPr/>
        <a:lstStyle/>
        <a:p>
          <a:endParaRPr lang="en-US"/>
        </a:p>
      </dgm:t>
    </dgm:pt>
    <dgm:pt modelId="{E61A2BFD-9EBC-4677-A1F0-6EB917DC7408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200"/>
            <a:t>Conference-style event with a restricted agenda</a:t>
          </a:r>
          <a:endParaRPr lang="en-US" sz="1200"/>
        </a:p>
      </dgm:t>
    </dgm:pt>
    <dgm:pt modelId="{10FC11AE-62CF-4037-A464-D2678CA0FEF5}" type="parTrans" cxnId="{73D2E056-7422-4826-9E27-6B2AAB266E9F}">
      <dgm:prSet/>
      <dgm:spPr/>
      <dgm:t>
        <a:bodyPr/>
        <a:lstStyle/>
        <a:p>
          <a:endParaRPr lang="en-US"/>
        </a:p>
      </dgm:t>
    </dgm:pt>
    <dgm:pt modelId="{7B6205A5-697B-461C-9BE4-3E0E79F609E8}" type="sibTrans" cxnId="{73D2E056-7422-4826-9E27-6B2AAB266E9F}">
      <dgm:prSet/>
      <dgm:spPr/>
      <dgm:t>
        <a:bodyPr/>
        <a:lstStyle/>
        <a:p>
          <a:endParaRPr lang="en-US"/>
        </a:p>
      </dgm:t>
    </dgm:pt>
    <dgm:pt modelId="{D8E50C8A-7A2C-4993-93F3-C872BEB73077}" type="pres">
      <dgm:prSet presAssocID="{74894D30-CB90-4EF2-A43A-7445011E5214}" presName="root" presStyleCnt="0">
        <dgm:presLayoutVars>
          <dgm:dir/>
          <dgm:resizeHandles val="exact"/>
        </dgm:presLayoutVars>
      </dgm:prSet>
      <dgm:spPr/>
    </dgm:pt>
    <dgm:pt modelId="{044096D4-7708-4185-84BF-90857D59762B}" type="pres">
      <dgm:prSet presAssocID="{296C3D6B-0130-478E-B426-4E9F430E0DB3}" presName="compNode" presStyleCnt="0"/>
      <dgm:spPr/>
    </dgm:pt>
    <dgm:pt modelId="{256C190B-C021-4669-8826-C0BCA2CCFCF2}" type="pres">
      <dgm:prSet presAssocID="{296C3D6B-0130-478E-B426-4E9F430E0DB3}" presName="bgRect" presStyleLbl="bgShp" presStyleIdx="0" presStyleCnt="2" custScaleY="109716"/>
      <dgm:spPr/>
    </dgm:pt>
    <dgm:pt modelId="{22B5AD47-A443-4E67-91B9-62B0D83409DF}" type="pres">
      <dgm:prSet presAssocID="{296C3D6B-0130-478E-B426-4E9F430E0DB3}" presName="iconRect" presStyleLbl="node1" presStyleIdx="0" presStyleCnt="2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260B5BA1-611D-45A9-9CFE-DF33558F9C5C}" type="pres">
      <dgm:prSet presAssocID="{296C3D6B-0130-478E-B426-4E9F430E0DB3}" presName="spaceRect" presStyleCnt="0"/>
      <dgm:spPr/>
    </dgm:pt>
    <dgm:pt modelId="{DF8E0546-81EC-4EF0-AF1F-1AABB069FAB3}" type="pres">
      <dgm:prSet presAssocID="{296C3D6B-0130-478E-B426-4E9F430E0DB3}" presName="parTx" presStyleLbl="revTx" presStyleIdx="0" presStyleCnt="3" custScaleX="100000" custScaleY="100000" custLinFactNeighborX="-82" custLinFactNeighborY="-11335">
        <dgm:presLayoutVars>
          <dgm:chMax val="0"/>
          <dgm:chPref val="0"/>
        </dgm:presLayoutVars>
      </dgm:prSet>
      <dgm:spPr/>
    </dgm:pt>
    <dgm:pt modelId="{633B14EA-1DCE-4B71-92EE-E0689A08B65F}" type="pres">
      <dgm:prSet presAssocID="{F13B9D43-28E9-4BE4-8EE4-5029A558261A}" presName="sibTrans" presStyleCnt="0"/>
      <dgm:spPr/>
    </dgm:pt>
    <dgm:pt modelId="{3F179423-DFA1-4E4A-AEA3-9BBF4C370733}" type="pres">
      <dgm:prSet presAssocID="{5BD54465-0AA9-4A36-A4EE-37EE8A6F9FA0}" presName="compNode" presStyleCnt="0"/>
      <dgm:spPr/>
    </dgm:pt>
    <dgm:pt modelId="{5C626B90-D690-4954-8B1B-1BFC629F335E}" type="pres">
      <dgm:prSet presAssocID="{5BD54465-0AA9-4A36-A4EE-37EE8A6F9FA0}" presName="bgRect" presStyleLbl="bgShp" presStyleIdx="1" presStyleCnt="2" custScaleY="236919" custLinFactNeighborY="8087"/>
      <dgm:spPr/>
    </dgm:pt>
    <dgm:pt modelId="{D4DC1143-E872-4B1A-92B9-5C0AC918A513}" type="pres">
      <dgm:prSet presAssocID="{5BD54465-0AA9-4A36-A4EE-37EE8A6F9FA0}" presName="iconRect" presStyleLbl="node1" presStyleIdx="1" presStyleCnt="2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ullseye"/>
        </a:ext>
      </dgm:extLst>
    </dgm:pt>
    <dgm:pt modelId="{52A506A9-654F-469C-A2A8-E46E28140726}" type="pres">
      <dgm:prSet presAssocID="{5BD54465-0AA9-4A36-A4EE-37EE8A6F9FA0}" presName="spaceRect" presStyleCnt="0"/>
      <dgm:spPr/>
    </dgm:pt>
    <dgm:pt modelId="{9DFE9F54-711C-46E1-9AA5-48BC4472580A}" type="pres">
      <dgm:prSet presAssocID="{5BD54465-0AA9-4A36-A4EE-37EE8A6F9FA0}" presName="parTx" presStyleLbl="revTx" presStyleIdx="1" presStyleCnt="3" custScaleY="126905" custLinFactNeighborX="-4654" custLinFactNeighborY="-545">
        <dgm:presLayoutVars>
          <dgm:chMax val="0"/>
          <dgm:chPref val="0"/>
        </dgm:presLayoutVars>
      </dgm:prSet>
      <dgm:spPr/>
    </dgm:pt>
    <dgm:pt modelId="{08918E98-37CE-46A0-98AF-A527FC7DBDAA}" type="pres">
      <dgm:prSet presAssocID="{5BD54465-0AA9-4A36-A4EE-37EE8A6F9FA0}" presName="desTx" presStyleLbl="revTx" presStyleIdx="2" presStyleCnt="3" custScaleY="88640" custLinFactNeighborX="860" custLinFactNeighborY="3962">
        <dgm:presLayoutVars/>
      </dgm:prSet>
      <dgm:spPr/>
    </dgm:pt>
  </dgm:ptLst>
  <dgm:cxnLst>
    <dgm:cxn modelId="{F75FD506-2E30-4AE9-A318-4D2B711D5389}" type="presOf" srcId="{1A577ED0-479F-4EC2-AA42-56A819DA869A}" destId="{08918E98-37CE-46A0-98AF-A527FC7DBDAA}" srcOrd="0" destOrd="0" presId="urn:microsoft.com/office/officeart/2018/2/layout/IconVerticalSolidList"/>
    <dgm:cxn modelId="{550B790C-C2CD-4683-BBFE-784FBFFDD420}" type="presOf" srcId="{296C3D6B-0130-478E-B426-4E9F430E0DB3}" destId="{DF8E0546-81EC-4EF0-AF1F-1AABB069FAB3}" srcOrd="0" destOrd="0" presId="urn:microsoft.com/office/officeart/2018/2/layout/IconVerticalSolidList"/>
    <dgm:cxn modelId="{E68BF830-A76B-43B2-95AA-9BA3612CA68F}" srcId="{74894D30-CB90-4EF2-A43A-7445011E5214}" destId="{296C3D6B-0130-478E-B426-4E9F430E0DB3}" srcOrd="0" destOrd="0" parTransId="{8580862F-FD50-452D-83FC-BB9BB2B95415}" sibTransId="{F13B9D43-28E9-4BE4-8EE4-5029A558261A}"/>
    <dgm:cxn modelId="{70E5476B-F575-48CF-8ADD-FA5878B9DB11}" srcId="{5BD54465-0AA9-4A36-A4EE-37EE8A6F9FA0}" destId="{1A577ED0-479F-4EC2-AA42-56A819DA869A}" srcOrd="0" destOrd="0" parTransId="{F073FC78-A52E-472F-B123-54389F05F007}" sibTransId="{250B5F01-34B0-46A3-B4B7-FE5B559EEDD1}"/>
    <dgm:cxn modelId="{4FC4714E-4314-4ADC-AD14-4F4BDC570617}" srcId="{74894D30-CB90-4EF2-A43A-7445011E5214}" destId="{5BD54465-0AA9-4A36-A4EE-37EE8A6F9FA0}" srcOrd="1" destOrd="0" parTransId="{BD7F6394-A16E-46F2-AD8A-6BE36F6A33B8}" sibTransId="{7753DC06-3EDB-41CE-8C24-75EEB8365E00}"/>
    <dgm:cxn modelId="{2C76DB6E-07B3-4310-898A-7015B2DEB3B1}" type="presOf" srcId="{5BD54465-0AA9-4A36-A4EE-37EE8A6F9FA0}" destId="{9DFE9F54-711C-46E1-9AA5-48BC4472580A}" srcOrd="0" destOrd="0" presId="urn:microsoft.com/office/officeart/2018/2/layout/IconVerticalSolidList"/>
    <dgm:cxn modelId="{BDFC0D54-BDCB-4BC7-B307-577C1A87607B}" type="presOf" srcId="{E61A2BFD-9EBC-4677-A1F0-6EB917DC7408}" destId="{08918E98-37CE-46A0-98AF-A527FC7DBDAA}" srcOrd="0" destOrd="1" presId="urn:microsoft.com/office/officeart/2018/2/layout/IconVerticalSolidList"/>
    <dgm:cxn modelId="{73D2E056-7422-4826-9E27-6B2AAB266E9F}" srcId="{5BD54465-0AA9-4A36-A4EE-37EE8A6F9FA0}" destId="{E61A2BFD-9EBC-4677-A1F0-6EB917DC7408}" srcOrd="1" destOrd="0" parTransId="{10FC11AE-62CF-4037-A464-D2678CA0FEF5}" sibTransId="{7B6205A5-697B-461C-9BE4-3E0E79F609E8}"/>
    <dgm:cxn modelId="{D68279DB-E6BE-4C21-89DC-68ABD2CBC467}" type="presOf" srcId="{74894D30-CB90-4EF2-A43A-7445011E5214}" destId="{D8E50C8A-7A2C-4993-93F3-C872BEB73077}" srcOrd="0" destOrd="0" presId="urn:microsoft.com/office/officeart/2018/2/layout/IconVerticalSolidList"/>
    <dgm:cxn modelId="{14DAE348-E8A5-4F9B-8734-8591C33FFA28}" type="presParOf" srcId="{D8E50C8A-7A2C-4993-93F3-C872BEB73077}" destId="{044096D4-7708-4185-84BF-90857D59762B}" srcOrd="0" destOrd="0" presId="urn:microsoft.com/office/officeart/2018/2/layout/IconVerticalSolidList"/>
    <dgm:cxn modelId="{59555BED-99BA-40ED-9FCA-0E19920D38AB}" type="presParOf" srcId="{044096D4-7708-4185-84BF-90857D59762B}" destId="{256C190B-C021-4669-8826-C0BCA2CCFCF2}" srcOrd="0" destOrd="0" presId="urn:microsoft.com/office/officeart/2018/2/layout/IconVerticalSolidList"/>
    <dgm:cxn modelId="{5E4475E4-C884-42C4-89C2-5AB981BC23CA}" type="presParOf" srcId="{044096D4-7708-4185-84BF-90857D59762B}" destId="{22B5AD47-A443-4E67-91B9-62B0D83409DF}" srcOrd="1" destOrd="0" presId="urn:microsoft.com/office/officeart/2018/2/layout/IconVerticalSolidList"/>
    <dgm:cxn modelId="{33C74092-F9D0-472A-9CAD-9197173A3E67}" type="presParOf" srcId="{044096D4-7708-4185-84BF-90857D59762B}" destId="{260B5BA1-611D-45A9-9CFE-DF33558F9C5C}" srcOrd="2" destOrd="0" presId="urn:microsoft.com/office/officeart/2018/2/layout/IconVerticalSolidList"/>
    <dgm:cxn modelId="{D91987E3-FF52-485F-A87F-5295B4A40EAA}" type="presParOf" srcId="{044096D4-7708-4185-84BF-90857D59762B}" destId="{DF8E0546-81EC-4EF0-AF1F-1AABB069FAB3}" srcOrd="3" destOrd="0" presId="urn:microsoft.com/office/officeart/2018/2/layout/IconVerticalSolidList"/>
    <dgm:cxn modelId="{56F6349F-A07E-4156-B169-EAC75788881F}" type="presParOf" srcId="{D8E50C8A-7A2C-4993-93F3-C872BEB73077}" destId="{633B14EA-1DCE-4B71-92EE-E0689A08B65F}" srcOrd="1" destOrd="0" presId="urn:microsoft.com/office/officeart/2018/2/layout/IconVerticalSolidList"/>
    <dgm:cxn modelId="{01B452EF-C565-42F2-AD63-B0B4EB2BF4EF}" type="presParOf" srcId="{D8E50C8A-7A2C-4993-93F3-C872BEB73077}" destId="{3F179423-DFA1-4E4A-AEA3-9BBF4C370733}" srcOrd="2" destOrd="0" presId="urn:microsoft.com/office/officeart/2018/2/layout/IconVerticalSolidList"/>
    <dgm:cxn modelId="{8F228394-9E69-449E-BBA0-DCB0F2CB8852}" type="presParOf" srcId="{3F179423-DFA1-4E4A-AEA3-9BBF4C370733}" destId="{5C626B90-D690-4954-8B1B-1BFC629F335E}" srcOrd="0" destOrd="0" presId="urn:microsoft.com/office/officeart/2018/2/layout/IconVerticalSolidList"/>
    <dgm:cxn modelId="{1C8C6B9F-EC0E-418B-863A-328396EAA5B8}" type="presParOf" srcId="{3F179423-DFA1-4E4A-AEA3-9BBF4C370733}" destId="{D4DC1143-E872-4B1A-92B9-5C0AC918A513}" srcOrd="1" destOrd="0" presId="urn:microsoft.com/office/officeart/2018/2/layout/IconVerticalSolidList"/>
    <dgm:cxn modelId="{1B194733-DE62-407A-AD0F-501BDE0B2AB0}" type="presParOf" srcId="{3F179423-DFA1-4E4A-AEA3-9BBF4C370733}" destId="{52A506A9-654F-469C-A2A8-E46E28140726}" srcOrd="2" destOrd="0" presId="urn:microsoft.com/office/officeart/2018/2/layout/IconVerticalSolidList"/>
    <dgm:cxn modelId="{FD0CCB3C-F12E-4A4E-8D8D-14C41F9FC5F1}" type="presParOf" srcId="{3F179423-DFA1-4E4A-AEA3-9BBF4C370733}" destId="{9DFE9F54-711C-46E1-9AA5-48BC4472580A}" srcOrd="3" destOrd="0" presId="urn:microsoft.com/office/officeart/2018/2/layout/IconVerticalSolidList"/>
    <dgm:cxn modelId="{F22585C5-5C45-4B1C-8040-3A14AF967A5B}" type="presParOf" srcId="{3F179423-DFA1-4E4A-AEA3-9BBF4C370733}" destId="{08918E98-37CE-46A0-98AF-A527FC7DBDAA}" srcOrd="4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803CA8-EA99-429A-97ED-B37472454252}">
      <dsp:nvSpPr>
        <dsp:cNvPr id="0" name=""/>
        <dsp:cNvSpPr/>
      </dsp:nvSpPr>
      <dsp:spPr>
        <a:xfrm>
          <a:off x="53" y="71980"/>
          <a:ext cx="5145230" cy="6048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85344" rIns="149352" bIns="8534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b="1" kern="1200"/>
            <a:t>Background</a:t>
          </a:r>
          <a:endParaRPr lang="en-US" sz="2100" kern="1200"/>
        </a:p>
      </dsp:txBody>
      <dsp:txXfrm>
        <a:off x="53" y="71980"/>
        <a:ext cx="5145230" cy="604800"/>
      </dsp:txXfrm>
    </dsp:sp>
    <dsp:sp modelId="{8D3236E7-28B7-4626-A3F5-DFB8F2DA6893}">
      <dsp:nvSpPr>
        <dsp:cNvPr id="0" name=""/>
        <dsp:cNvSpPr/>
      </dsp:nvSpPr>
      <dsp:spPr>
        <a:xfrm>
          <a:off x="53" y="676780"/>
          <a:ext cx="5145230" cy="3826186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Char char="•"/>
          </a:pPr>
          <a:r>
            <a:rPr lang="en-GB" sz="2100" kern="1200"/>
            <a:t>ITU-R has agreed on the timeline for IMT-2030</a:t>
          </a:r>
          <a:endParaRPr lang="en-US" sz="2100" kern="120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Char char="•"/>
          </a:pPr>
          <a:r>
            <a:rPr lang="en-GB" sz="2100" kern="1200"/>
            <a:t>In </a:t>
          </a:r>
          <a:r>
            <a:rPr lang="en-GB" sz="2100" b="1" kern="1200"/>
            <a:t>Dec ‘23</a:t>
          </a:r>
          <a:r>
            <a:rPr lang="en-GB" sz="2100" kern="1200"/>
            <a:t>, 3GPP agreed on some first key aspects of the 6G timeline (</a:t>
          </a:r>
          <a:r>
            <a:rPr lang="en-GB" sz="2100" b="1" kern="1200">
              <a:hlinkClick xmlns:r="http://schemas.openxmlformats.org/officeDocument/2006/relationships" r:id="rId1"/>
            </a:rPr>
            <a:t>SP-231693</a:t>
          </a:r>
          <a:r>
            <a:rPr lang="en-GB" sz="2100" kern="1200"/>
            <a:t>) </a:t>
          </a:r>
          <a:endParaRPr lang="en-US" sz="2100" kern="120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Char char="•"/>
          </a:pPr>
          <a:r>
            <a:rPr lang="en-GB" sz="2100" kern="1200"/>
            <a:t>In </a:t>
          </a:r>
          <a:r>
            <a:rPr lang="en-GB" sz="2100" b="1" kern="1200"/>
            <a:t>Mar ‘24</a:t>
          </a:r>
          <a:r>
            <a:rPr lang="en-GB" sz="2100" kern="1200"/>
            <a:t>, 3GPP agreed on some additional consideration for 6G timeline (</a:t>
          </a:r>
          <a:r>
            <a:rPr lang="en-GB" sz="2100" b="1" kern="1200">
              <a:hlinkClick xmlns:r="http://schemas.openxmlformats.org/officeDocument/2006/relationships" r:id="rId2"/>
            </a:rPr>
            <a:t>SP-240458</a:t>
          </a:r>
          <a:r>
            <a:rPr lang="en-GB" sz="2100" kern="1200"/>
            <a:t>)</a:t>
          </a:r>
          <a:endParaRPr lang="en-US" sz="2100" kern="120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Char char="•"/>
          </a:pPr>
          <a:r>
            <a:rPr lang="en-GB" sz="2100" kern="1200"/>
            <a:t>3GPP is expected to discuss further details of the 6G timeline in future meetings</a:t>
          </a:r>
          <a:endParaRPr lang="en-US" sz="2100" kern="1200"/>
        </a:p>
      </dsp:txBody>
      <dsp:txXfrm>
        <a:off x="53" y="676780"/>
        <a:ext cx="5145230" cy="3826186"/>
      </dsp:txXfrm>
    </dsp:sp>
    <dsp:sp modelId="{5E9833AD-A339-4556-82C7-509F446B7750}">
      <dsp:nvSpPr>
        <dsp:cNvPr id="0" name=""/>
        <dsp:cNvSpPr/>
      </dsp:nvSpPr>
      <dsp:spPr>
        <a:xfrm>
          <a:off x="5865616" y="71980"/>
          <a:ext cx="5145230" cy="6048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85344" rIns="149352" bIns="8534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b="1" kern="1200"/>
            <a:t>Key agreements from SA #102/#103</a:t>
          </a:r>
          <a:endParaRPr lang="en-US" sz="2100" kern="1200"/>
        </a:p>
      </dsp:txBody>
      <dsp:txXfrm>
        <a:off x="5865616" y="71980"/>
        <a:ext cx="5145230" cy="604800"/>
      </dsp:txXfrm>
    </dsp:sp>
    <dsp:sp modelId="{07DDB651-1CED-4CEA-AA48-F75D3DBB4055}">
      <dsp:nvSpPr>
        <dsp:cNvPr id="0" name=""/>
        <dsp:cNvSpPr/>
      </dsp:nvSpPr>
      <dsp:spPr>
        <a:xfrm>
          <a:off x="5865616" y="676780"/>
          <a:ext cx="5145230" cy="3826186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Char char="•"/>
          </a:pPr>
          <a:r>
            <a:rPr lang="en-GB" sz="2100" b="1" kern="1200"/>
            <a:t>May ‘24 </a:t>
          </a:r>
          <a:r>
            <a:rPr lang="en-GB" sz="2100" kern="1200"/>
            <a:t>– 3GPP Stage-1 workshop on IMT-2030 use cases</a:t>
          </a:r>
          <a:endParaRPr lang="en-US" sz="2100" kern="120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Char char="•"/>
          </a:pPr>
          <a:r>
            <a:rPr lang="en-GB" sz="2100" b="1" kern="1200"/>
            <a:t>March ‘25 </a:t>
          </a:r>
          <a:r>
            <a:rPr lang="en-GB" sz="2100" kern="1200"/>
            <a:t>– 3GPP wide workshop to kick off Rel-20 technical studies in SA and RAN</a:t>
          </a:r>
          <a:endParaRPr lang="en-US" sz="2100" kern="120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Char char="•"/>
          </a:pPr>
          <a:r>
            <a:rPr lang="en-GB" sz="2100" b="1" kern="1200"/>
            <a:t>June ‘25 </a:t>
          </a:r>
          <a:r>
            <a:rPr lang="en-GB" sz="2100" kern="1200"/>
            <a:t>- Approval of SA2 studies on 6G</a:t>
          </a:r>
          <a:endParaRPr lang="en-US" sz="2100" kern="120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Char char="•"/>
          </a:pPr>
          <a:r>
            <a:rPr lang="en-GB" sz="2100" kern="1200"/>
            <a:t>6G Studies in Release 20 and 6G normative work in Release 21</a:t>
          </a:r>
          <a:endParaRPr lang="en-US" sz="2100" kern="120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ts val="1200"/>
            </a:spcAft>
            <a:buFont typeface="Arial" panose="020B0604020202020204" pitchFamily="34" charset="0"/>
            <a:buChar char="•"/>
          </a:pPr>
          <a:r>
            <a:rPr lang="en-US" sz="2100" kern="1200"/>
            <a:t>Release 21 is expected to be delivered with a </a:t>
          </a:r>
          <a:r>
            <a:rPr lang="en-US" sz="2100" b="1" kern="1200"/>
            <a:t>single drop </a:t>
          </a:r>
          <a:r>
            <a:rPr lang="en-US" sz="2100" kern="1200"/>
            <a:t>(i.e., a single code freeze)</a:t>
          </a:r>
        </a:p>
      </dsp:txBody>
      <dsp:txXfrm>
        <a:off x="5865616" y="676780"/>
        <a:ext cx="5145230" cy="382618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572E8D-B689-4B52-A2EB-FCDBC68EEB8E}">
      <dsp:nvSpPr>
        <dsp:cNvPr id="0" name=""/>
        <dsp:cNvSpPr/>
      </dsp:nvSpPr>
      <dsp:spPr>
        <a:xfrm>
          <a:off x="0" y="4130"/>
          <a:ext cx="11010900" cy="96140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CB36A6-B378-4C9B-9E8F-90D164C85076}">
      <dsp:nvSpPr>
        <dsp:cNvPr id="0" name=""/>
        <dsp:cNvSpPr/>
      </dsp:nvSpPr>
      <dsp:spPr>
        <a:xfrm>
          <a:off x="290825" y="220447"/>
          <a:ext cx="528774" cy="52877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630616E-9696-45A8-B93D-B90AFC9B3F54}">
      <dsp:nvSpPr>
        <dsp:cNvPr id="0" name=""/>
        <dsp:cNvSpPr/>
      </dsp:nvSpPr>
      <dsp:spPr>
        <a:xfrm>
          <a:off x="1110425" y="4130"/>
          <a:ext cx="9899388" cy="9614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749" tIns="101749" rIns="101749" bIns="101749" numCol="1" spcCol="1270" anchor="ctr" anchorCtr="0">
          <a:noAutofit/>
        </a:bodyPr>
        <a:lstStyle/>
        <a:p>
          <a:pPr marL="0" lvl="0" indent="0" algn="l" defTabSz="933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/>
            <a:t>Stage-1 Workshop on IMT2030 Use Cases: May 8</a:t>
          </a:r>
          <a:r>
            <a:rPr lang="en-US" sz="2100" b="1" kern="1200" baseline="30000"/>
            <a:t>th</a:t>
          </a:r>
          <a:r>
            <a:rPr lang="en-US" sz="2100" b="1" kern="1200"/>
            <a:t> – 10</a:t>
          </a:r>
          <a:r>
            <a:rPr lang="en-US" sz="2100" b="1" kern="1200" baseline="30000"/>
            <a:t>th </a:t>
          </a:r>
          <a:r>
            <a:rPr lang="en-US" sz="2100" b="1" kern="1200"/>
            <a:t>(Wednesday – Friday), 2024</a:t>
          </a:r>
          <a:endParaRPr lang="en-US" sz="2100" kern="1200"/>
        </a:p>
      </dsp:txBody>
      <dsp:txXfrm>
        <a:off x="1110425" y="4130"/>
        <a:ext cx="9899388" cy="961407"/>
      </dsp:txXfrm>
    </dsp:sp>
    <dsp:sp modelId="{BCAEC6C9-9B61-4A90-9ACC-245B50E30D84}">
      <dsp:nvSpPr>
        <dsp:cNvPr id="0" name=""/>
        <dsp:cNvSpPr/>
      </dsp:nvSpPr>
      <dsp:spPr>
        <a:xfrm>
          <a:off x="0" y="1205890"/>
          <a:ext cx="11010900" cy="96140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9879C8B-7031-48B1-A216-C3D1A4068C88}">
      <dsp:nvSpPr>
        <dsp:cNvPr id="0" name=""/>
        <dsp:cNvSpPr/>
      </dsp:nvSpPr>
      <dsp:spPr>
        <a:xfrm>
          <a:off x="290825" y="1422206"/>
          <a:ext cx="528774" cy="52877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DED46A-C737-4BAF-8378-A6ABC8F6E4C4}">
      <dsp:nvSpPr>
        <dsp:cNvPr id="0" name=""/>
        <dsp:cNvSpPr/>
      </dsp:nvSpPr>
      <dsp:spPr>
        <a:xfrm>
          <a:off x="1110425" y="1205890"/>
          <a:ext cx="4954905" cy="9614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749" tIns="101749" rIns="101749" bIns="101749" numCol="1" spcCol="1270" anchor="ctr" anchorCtr="0">
          <a:noAutofit/>
        </a:bodyPr>
        <a:lstStyle/>
        <a:p>
          <a:pPr marL="0" lvl="0" indent="0" algn="l" defTabSz="933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/>
            <a:t>First 3GPP TSG-wide 6G Workshop: March 10</a:t>
          </a:r>
          <a:r>
            <a:rPr lang="en-US" sz="2100" b="1" kern="1200" baseline="30000"/>
            <a:t>th</a:t>
          </a:r>
          <a:r>
            <a:rPr lang="en-US" sz="2100" b="1" kern="1200"/>
            <a:t> – 11</a:t>
          </a:r>
          <a:r>
            <a:rPr lang="en-US" sz="2100" b="1" kern="1200" baseline="30000"/>
            <a:t>th </a:t>
          </a:r>
          <a:r>
            <a:rPr lang="en-US" sz="2100" b="1" kern="1200"/>
            <a:t>(Monday – Tuesday), 2025 </a:t>
          </a:r>
          <a:endParaRPr lang="en-US" sz="2100" kern="1200"/>
        </a:p>
      </dsp:txBody>
      <dsp:txXfrm>
        <a:off x="1110425" y="1205890"/>
        <a:ext cx="4954905" cy="961407"/>
      </dsp:txXfrm>
    </dsp:sp>
    <dsp:sp modelId="{B7409212-95BF-492D-8B0D-1B3748753709}">
      <dsp:nvSpPr>
        <dsp:cNvPr id="0" name=""/>
        <dsp:cNvSpPr/>
      </dsp:nvSpPr>
      <dsp:spPr>
        <a:xfrm>
          <a:off x="6065330" y="1205890"/>
          <a:ext cx="4944483" cy="9614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749" tIns="101749" rIns="101749" bIns="101749" numCol="1" spcCol="1270" anchor="ctr" anchorCtr="0">
          <a:noAutofit/>
        </a:bodyPr>
        <a:lstStyle/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Details TBD (e.g., whether to have a joint or separate workshop across TSGs, how to handle contributions, etc.)</a:t>
          </a:r>
        </a:p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TSG#107 plenary meetings are to be scheduled subsequently in the same week</a:t>
          </a:r>
        </a:p>
      </dsp:txBody>
      <dsp:txXfrm>
        <a:off x="6065330" y="1205890"/>
        <a:ext cx="4944483" cy="961407"/>
      </dsp:txXfrm>
    </dsp:sp>
    <dsp:sp modelId="{22BD67CB-F822-4460-933F-41064CA7F181}">
      <dsp:nvSpPr>
        <dsp:cNvPr id="0" name=""/>
        <dsp:cNvSpPr/>
      </dsp:nvSpPr>
      <dsp:spPr>
        <a:xfrm>
          <a:off x="0" y="2407649"/>
          <a:ext cx="11010900" cy="96140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2D95371-65E6-44FC-BEBA-B9F02C5580A8}">
      <dsp:nvSpPr>
        <dsp:cNvPr id="0" name=""/>
        <dsp:cNvSpPr/>
      </dsp:nvSpPr>
      <dsp:spPr>
        <a:xfrm>
          <a:off x="290825" y="2623966"/>
          <a:ext cx="528774" cy="528774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4EEF4EC-6265-4550-8549-BE2187E184FC}">
      <dsp:nvSpPr>
        <dsp:cNvPr id="0" name=""/>
        <dsp:cNvSpPr/>
      </dsp:nvSpPr>
      <dsp:spPr>
        <a:xfrm>
          <a:off x="1110425" y="2407649"/>
          <a:ext cx="4954905" cy="9614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749" tIns="101749" rIns="101749" bIns="101749" numCol="1" spcCol="1270" anchor="ctr" anchorCtr="0">
          <a:noAutofit/>
        </a:bodyPr>
        <a:lstStyle/>
        <a:p>
          <a:pPr marL="0" lvl="0" indent="0" algn="l" defTabSz="933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/>
            <a:t>Studies for 6G </a:t>
          </a:r>
          <a:r>
            <a:rPr lang="en-US" sz="2100" kern="1200"/>
            <a:t>in 3GPP: from </a:t>
          </a:r>
          <a:r>
            <a:rPr lang="en-US" sz="2100" b="1" kern="1200"/>
            <a:t>Release 20</a:t>
          </a:r>
          <a:endParaRPr lang="en-US" sz="2100" kern="1200"/>
        </a:p>
      </dsp:txBody>
      <dsp:txXfrm>
        <a:off x="1110425" y="2407649"/>
        <a:ext cx="4954905" cy="961407"/>
      </dsp:txXfrm>
    </dsp:sp>
    <dsp:sp modelId="{2A8A1A62-76A8-4C47-B214-9B72122FAEE0}">
      <dsp:nvSpPr>
        <dsp:cNvPr id="0" name=""/>
        <dsp:cNvSpPr/>
      </dsp:nvSpPr>
      <dsp:spPr>
        <a:xfrm>
          <a:off x="6065330" y="2407649"/>
          <a:ext cx="4944483" cy="9614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749" tIns="101749" rIns="101749" bIns="101749" numCol="1" spcCol="1270" anchor="ctr" anchorCtr="0">
          <a:noAutofit/>
        </a:bodyPr>
        <a:lstStyle/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/>
            <a:t>See Next Slide for more details</a:t>
          </a:r>
          <a:endParaRPr lang="en-US" sz="1100" kern="1200"/>
        </a:p>
      </dsp:txBody>
      <dsp:txXfrm>
        <a:off x="6065330" y="2407649"/>
        <a:ext cx="4944483" cy="961407"/>
      </dsp:txXfrm>
    </dsp:sp>
    <dsp:sp modelId="{848B605D-DBC6-450D-9876-94FF0C3AD5FB}">
      <dsp:nvSpPr>
        <dsp:cNvPr id="0" name=""/>
        <dsp:cNvSpPr/>
      </dsp:nvSpPr>
      <dsp:spPr>
        <a:xfrm>
          <a:off x="0" y="3609408"/>
          <a:ext cx="11010900" cy="96140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4DF9EAD-AC66-408F-A35A-5B12204CBE49}">
      <dsp:nvSpPr>
        <dsp:cNvPr id="0" name=""/>
        <dsp:cNvSpPr/>
      </dsp:nvSpPr>
      <dsp:spPr>
        <a:xfrm>
          <a:off x="290825" y="3825725"/>
          <a:ext cx="528774" cy="528774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16A31EE-5873-4621-98DA-D12BB2F0F350}">
      <dsp:nvSpPr>
        <dsp:cNvPr id="0" name=""/>
        <dsp:cNvSpPr/>
      </dsp:nvSpPr>
      <dsp:spPr>
        <a:xfrm>
          <a:off x="1110425" y="3609408"/>
          <a:ext cx="4954905" cy="9614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749" tIns="101749" rIns="101749" bIns="101749" numCol="1" spcCol="1270" anchor="ctr" anchorCtr="0">
          <a:noAutofit/>
        </a:bodyPr>
        <a:lstStyle/>
        <a:p>
          <a:pPr marL="0" lvl="0" indent="0" algn="l" defTabSz="9334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/>
            <a:t>Normative Work for 6G </a:t>
          </a:r>
          <a:r>
            <a:rPr lang="en-US" sz="2100" kern="1200"/>
            <a:t>in 3GPP: from </a:t>
          </a:r>
          <a:r>
            <a:rPr lang="en-US" sz="2100" b="1" kern="1200"/>
            <a:t>Release 21</a:t>
          </a:r>
          <a:endParaRPr lang="en-US" sz="2100" kern="1200"/>
        </a:p>
      </dsp:txBody>
      <dsp:txXfrm>
        <a:off x="1110425" y="3609408"/>
        <a:ext cx="4954905" cy="961407"/>
      </dsp:txXfrm>
    </dsp:sp>
    <dsp:sp modelId="{025C0AE7-480F-4EAA-9340-7583710324B2}">
      <dsp:nvSpPr>
        <dsp:cNvPr id="0" name=""/>
        <dsp:cNvSpPr/>
      </dsp:nvSpPr>
      <dsp:spPr>
        <a:xfrm>
          <a:off x="6065330" y="3609408"/>
          <a:ext cx="4944483" cy="9614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749" tIns="101749" rIns="101749" bIns="101749" numCol="1" spcCol="1270" anchor="ctr" anchorCtr="0">
          <a:noAutofit/>
        </a:bodyPr>
        <a:lstStyle/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/>
            <a:t>Release 21 </a:t>
          </a:r>
          <a:r>
            <a:rPr lang="en-US" sz="1100" kern="1200"/>
            <a:t>is expected to produce the 1</a:t>
          </a:r>
          <a:r>
            <a:rPr lang="en-US" sz="1100" kern="1200" baseline="30000"/>
            <a:t>st</a:t>
          </a:r>
          <a:r>
            <a:rPr lang="en-US" sz="1100" kern="1200"/>
            <a:t> set of 3GPP </a:t>
          </a:r>
          <a:r>
            <a:rPr lang="en-US" sz="1100" b="1" kern="1200"/>
            <a:t>6G technical specifications</a:t>
          </a:r>
          <a:r>
            <a:rPr lang="en-US" sz="1100" kern="1200"/>
            <a:t>, and will be the release for </a:t>
          </a:r>
          <a:r>
            <a:rPr lang="en-US" sz="1100" b="1" kern="1200"/>
            <a:t>IMT-2030 submission </a:t>
          </a:r>
          <a:r>
            <a:rPr lang="en-US" sz="1100" kern="1200"/>
            <a:t>before 2030</a:t>
          </a:r>
        </a:p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/>
            <a:t>Release 21 </a:t>
          </a:r>
          <a:r>
            <a:rPr lang="en-US" sz="1100" kern="1200"/>
            <a:t>is expected to be delivered with a </a:t>
          </a:r>
          <a:r>
            <a:rPr lang="en-US" sz="1100" b="1" kern="1200"/>
            <a:t>single drop </a:t>
          </a:r>
          <a:r>
            <a:rPr lang="en-US" sz="1100" kern="1200"/>
            <a:t>(i.e., a single code freeze)</a:t>
          </a:r>
        </a:p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/>
            <a:t>Rel-21 timeline is to be decided no later than June 2026</a:t>
          </a:r>
          <a:r>
            <a:rPr lang="en-US" sz="1100" kern="1200"/>
            <a:t>. However, ASN.1/</a:t>
          </a:r>
          <a:r>
            <a:rPr lang="en-US" sz="1100" kern="1200" err="1"/>
            <a:t>OpenAPI</a:t>
          </a:r>
          <a:r>
            <a:rPr lang="en-US" sz="1100" kern="1200"/>
            <a:t> freeze date is no earlier than March 2029</a:t>
          </a:r>
        </a:p>
      </dsp:txBody>
      <dsp:txXfrm>
        <a:off x="6065330" y="3609408"/>
        <a:ext cx="4944483" cy="96140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85BC92-3337-4AD0-98D1-A09A969D8E35}">
      <dsp:nvSpPr>
        <dsp:cNvPr id="0" name=""/>
        <dsp:cNvSpPr/>
      </dsp:nvSpPr>
      <dsp:spPr>
        <a:xfrm>
          <a:off x="53" y="32751"/>
          <a:ext cx="5145230" cy="6336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89408" rIns="156464" bIns="89408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/>
            <a:t>Rel-20 (5G-Advanced)</a:t>
          </a:r>
          <a:endParaRPr lang="en-US" sz="2200" kern="1200"/>
        </a:p>
      </dsp:txBody>
      <dsp:txXfrm>
        <a:off x="53" y="32751"/>
        <a:ext cx="5145230" cy="633600"/>
      </dsp:txXfrm>
    </dsp:sp>
    <dsp:sp modelId="{EB93D39D-2EC7-4844-880A-F92531A6E47F}">
      <dsp:nvSpPr>
        <dsp:cNvPr id="0" name=""/>
        <dsp:cNvSpPr/>
      </dsp:nvSpPr>
      <dsp:spPr>
        <a:xfrm>
          <a:off x="28609" y="699086"/>
          <a:ext cx="5145230" cy="4234848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1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For 5G-Advanced: 18-month. Assuming no delay of Rel-19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en-US" sz="16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Stage-1 freeze : Jun 2025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en-US" sz="16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Stage-2 freeze : Jun 2026 (&gt;=80%); Sep 2026 (100%)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en-US" sz="16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Stage-3 freeze : Mar 2027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en-US" sz="16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ASN.1/</a:t>
          </a:r>
          <a:r>
            <a:rPr lang="en-US" sz="1600" kern="1200" err="1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OpenAPI</a:t>
          </a:r>
          <a:r>
            <a:rPr lang="en-US" sz="16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 freeze: June 2027</a:t>
          </a:r>
        </a:p>
      </dsp:txBody>
      <dsp:txXfrm>
        <a:off x="28609" y="699086"/>
        <a:ext cx="5145230" cy="4234848"/>
      </dsp:txXfrm>
    </dsp:sp>
    <dsp:sp modelId="{03E6C539-E169-41F2-BC96-A5B08694C547}">
      <dsp:nvSpPr>
        <dsp:cNvPr id="0" name=""/>
        <dsp:cNvSpPr/>
      </dsp:nvSpPr>
      <dsp:spPr>
        <a:xfrm>
          <a:off x="5865616" y="32751"/>
          <a:ext cx="5145230" cy="6336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89408" rIns="156464" bIns="89408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/>
            <a:t>Rel-20 (6G Study Item)</a:t>
          </a:r>
          <a:endParaRPr lang="en-US" sz="2200" kern="1200"/>
        </a:p>
      </dsp:txBody>
      <dsp:txXfrm>
        <a:off x="5865616" y="32751"/>
        <a:ext cx="5145230" cy="633600"/>
      </dsp:txXfrm>
    </dsp:sp>
    <dsp:sp modelId="{38F756A1-0DC7-458B-BD4A-07B9BC18DFAA}">
      <dsp:nvSpPr>
        <dsp:cNvPr id="0" name=""/>
        <dsp:cNvSpPr/>
      </dsp:nvSpPr>
      <dsp:spPr>
        <a:xfrm>
          <a:off x="5865616" y="666351"/>
          <a:ext cx="5145230" cy="4234848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1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6G SI Approval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nb-NO" sz="16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SA1 SI approval: TSG#105 (Sept 2024)</a:t>
          </a:r>
          <a:endParaRPr lang="en-US" sz="16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Intel Clear"/>
            <a:ea typeface="Helvetica Neue"/>
            <a:cs typeface="Helvetica Neue"/>
          </a:endParaRP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nb-NO" sz="16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SA2 SI approval: TSG#108 (Jun 2025) </a:t>
          </a:r>
          <a:endParaRPr lang="en-US" sz="1600" kern="120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Intel Clear"/>
            <a:ea typeface="Helvetica Neue"/>
            <a:cs typeface="Helvetica Neue"/>
          </a:endParaRP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en-US" sz="16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Other SA WG (SA3, SA4, SA5, SA6) SI approval: TBD at future TSG meeting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en-US" sz="16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SA1/SA2 6G SI may continue beyond Stage-1/Stage-2 freeze dates for 5G-Advanced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1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6G SI Completion (this may use time from Rel-21)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en-US" sz="16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SA1 6G SI completion: Mar 2026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en-US" sz="16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Intel Clear"/>
              <a:ea typeface="Helvetica Neue"/>
              <a:cs typeface="Helvetica Neue"/>
            </a:rPr>
            <a:t>SA2 6G SI completion: Dec 2026 or Mar 2027 (To be confirmed at future TSG meeting)</a:t>
          </a:r>
        </a:p>
        <a:p>
          <a:pPr marL="342900" lvl="2" indent="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800" kern="1200"/>
        </a:p>
        <a:p>
          <a:pPr marL="342900" lvl="2" indent="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800" kern="1200"/>
        </a:p>
      </dsp:txBody>
      <dsp:txXfrm>
        <a:off x="5865616" y="666351"/>
        <a:ext cx="5145230" cy="423484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6C190B-C021-4669-8826-C0BCA2CCFCF2}">
      <dsp:nvSpPr>
        <dsp:cNvPr id="0" name=""/>
        <dsp:cNvSpPr/>
      </dsp:nvSpPr>
      <dsp:spPr>
        <a:xfrm>
          <a:off x="0" y="348481"/>
          <a:ext cx="11010900" cy="1107579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2B5AD47-A443-4E67-91B9-62B0D83409DF}">
      <dsp:nvSpPr>
        <dsp:cNvPr id="0" name=""/>
        <dsp:cNvSpPr/>
      </dsp:nvSpPr>
      <dsp:spPr>
        <a:xfrm>
          <a:off x="305372" y="624660"/>
          <a:ext cx="555766" cy="55522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F8E0546-81EC-4EF0-AF1F-1AABB069FAB3}">
      <dsp:nvSpPr>
        <dsp:cNvPr id="0" name=""/>
        <dsp:cNvSpPr/>
      </dsp:nvSpPr>
      <dsp:spPr>
        <a:xfrm>
          <a:off x="1158616" y="253640"/>
          <a:ext cx="9628763" cy="12693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4341" tIns="134341" rIns="134341" bIns="134341" numCol="1" spcCol="1270" anchor="ctr" anchorCtr="0">
          <a:noAutofit/>
        </a:bodyPr>
        <a:lstStyle/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3GPP Stage 1 Workshop on IMT 2030 Use Cases </a:t>
          </a:r>
        </a:p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(</a:t>
          </a:r>
          <a:r>
            <a:rPr lang="en-GB" sz="2000" kern="1200"/>
            <a:t>May 8 - 10; Rotterdam, Netherlands</a:t>
          </a:r>
          <a:r>
            <a:rPr lang="en-US" sz="2000" kern="1200"/>
            <a:t>)</a:t>
          </a:r>
        </a:p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(For details see - </a:t>
          </a:r>
          <a:r>
            <a:rPr lang="en-US" sz="1800" kern="1200">
              <a:hlinkClick xmlns:r="http://schemas.openxmlformats.org/officeDocument/2006/relationships" r:id="rId3"/>
            </a:rPr>
            <a:t>SP-240456</a:t>
          </a:r>
          <a:r>
            <a:rPr lang="en-US" sz="1800" kern="1200"/>
            <a:t>)</a:t>
          </a:r>
        </a:p>
      </dsp:txBody>
      <dsp:txXfrm>
        <a:off x="1158616" y="253640"/>
        <a:ext cx="9628763" cy="1269364"/>
      </dsp:txXfrm>
    </dsp:sp>
    <dsp:sp modelId="{5C626B90-D690-4954-8B1B-1BFC629F335E}">
      <dsp:nvSpPr>
        <dsp:cNvPr id="0" name=""/>
        <dsp:cNvSpPr/>
      </dsp:nvSpPr>
      <dsp:spPr>
        <a:xfrm>
          <a:off x="0" y="2065867"/>
          <a:ext cx="11010900" cy="2391690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4DC1143-E872-4B1A-92B9-5C0AC918A513}">
      <dsp:nvSpPr>
        <dsp:cNvPr id="0" name=""/>
        <dsp:cNvSpPr/>
      </dsp:nvSpPr>
      <dsp:spPr>
        <a:xfrm>
          <a:off x="305372" y="2902463"/>
          <a:ext cx="555766" cy="555223"/>
        </a:xfrm>
        <a:prstGeom prst="rect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DFE9F54-711C-46E1-9AA5-48BC4472580A}">
      <dsp:nvSpPr>
        <dsp:cNvPr id="0" name=""/>
        <dsp:cNvSpPr/>
      </dsp:nvSpPr>
      <dsp:spPr>
        <a:xfrm>
          <a:off x="935910" y="2497646"/>
          <a:ext cx="4954905" cy="16108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4341" tIns="134341" rIns="134341" bIns="134341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The objective of the workshop is to bring 3GPP closer to the ongoing initiatives of various global/regional research organizations and MRPs regarding 6G use cases. 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This collaborative effort is particularly crucial as SA1 embarks on defining the requirements and use cases for 6G in Rel-20.</a:t>
          </a:r>
        </a:p>
      </dsp:txBody>
      <dsp:txXfrm>
        <a:off x="935910" y="2497646"/>
        <a:ext cx="4954905" cy="1610887"/>
      </dsp:txXfrm>
    </dsp:sp>
    <dsp:sp modelId="{08918E98-37CE-46A0-98AF-A527FC7DBDAA}">
      <dsp:nvSpPr>
        <dsp:cNvPr id="0" name=""/>
        <dsp:cNvSpPr/>
      </dsp:nvSpPr>
      <dsp:spPr>
        <a:xfrm>
          <a:off x="6162230" y="2783920"/>
          <a:ext cx="4745819" cy="9983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9196" tIns="119196" rIns="119196" bIns="119196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/>
            <a:t>Presentations from 3GPP MRPs (e.g. GSMA, 5GAA, …), regional research alliances (Next G Alliance, China IMT 2030 Promotion Group, Japan B5GPC, Kora 6G Forum, Bharat 6G Alliance), and global organizations/institutions (e.g. NGMN, ITU-R). </a:t>
          </a:r>
          <a:endParaRPr lang="en-US" sz="1200" kern="1200"/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/>
            <a:t>Conference-style event with a restricted agenda</a:t>
          </a:r>
          <a:endParaRPr lang="en-US" sz="1200" kern="1200"/>
        </a:p>
      </dsp:txBody>
      <dsp:txXfrm>
        <a:off x="6162230" y="2783920"/>
        <a:ext cx="4745819" cy="99832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2C3E5CDE-7030-4B48-B179-26DF2A749EB3}" type="datetimeFigureOut">
              <a:rPr lang="en-US" smtClean="0"/>
              <a:t>4/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4335B1D4-7FE0-49F4-8FB9-9EE690A936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39770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FD39E0-52DC-4E29-9B33-7D479C89A1F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65412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FD39E0-52DC-4E29-9B33-7D479C89A1F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63546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FD39E0-52DC-4E29-9B33-7D479C89A1F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06855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FD39E0-52DC-4E29-9B33-7D479C89A1F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05785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sym typeface="Helvetica Neue"/>
              </a:rPr>
              <a:t>Presentation Tit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sym typeface="Helvetica Neue"/>
              </a:rPr>
              <a:t>Copyright © 2013 Intel. All rights reserved.</a:t>
            </a:r>
            <a:endParaRPr kumimoji="0" lang="de-DE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sym typeface="Helvetica Neue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sym typeface="Helvetica Neue"/>
              </a:rPr>
              <a:t>July 30, 2013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2733B8-6D99-44C0-9DE1-FD1060550980}" type="slidenum">
              <a:rPr kumimoji="0" lang="de-DE" sz="2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sym typeface="Helvetica Neue"/>
              </a:rPr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e-DE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12779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5539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FD39E0-52DC-4E29-9B33-7D479C89A1F8}" type="slidenum">
              <a:rPr kumimoji="0" 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sym typeface="Helvetica Neue"/>
              </a:rPr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2563546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FD39E0-52DC-4E29-9B33-7D479C89A1F8}" type="slidenum">
              <a:rPr kumimoji="0" 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sym typeface="Helvetica Neue"/>
              </a:rPr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84068552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35B1D4-7FE0-49F4-8FB9-9EE690A93677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922611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673ECD-152F-F143-8A22-94D0989C42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738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FD39E0-52DC-4E29-9B33-7D479C89A1F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52941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2B56F5-A174-D60C-CD35-7D82017475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B410C6D-D530-64AF-2B51-3C7BAF0C38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668A9C-017E-F0F0-8DA4-8B57CF3122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4CAA49-47BC-E1A6-263B-4A0424D085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FD39E0-52DC-4E29-9B33-7D479C89A1F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08416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46150" y="555625"/>
            <a:ext cx="4964113" cy="27924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5BB0B3-964C-4CDE-9D3D-0BF955B8C42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57867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46150" y="555625"/>
            <a:ext cx="4964113" cy="27924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5BB0B3-964C-4CDE-9D3D-0BF955B8C42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43469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04A471-45BD-C381-25BE-FA026716D2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415A162-7655-F3F7-9AB3-14A3D42233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946150" y="555625"/>
            <a:ext cx="4964113" cy="27924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FEF9839-AE4D-F573-51E8-E064475D41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C00C7F-D85D-02A2-F759-3E069FF791F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5BB0B3-964C-4CDE-9D3D-0BF955B8C42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86690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2F3516-84D1-EFF4-20E7-E612D5576F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B9C91BB-262A-67F2-CC2E-8843D82604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946150" y="555625"/>
            <a:ext cx="4964113" cy="2792413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F5107A7-2966-335B-8665-F2BFEA0AF9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8706DD-918A-2C80-F398-35AEE553B8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5BB0B3-964C-4CDE-9D3D-0BF955B8C42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24345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FD39E0-52DC-4E29-9B33-7D479C89A1F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99954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FD39E0-52DC-4E29-9B33-7D479C89A1F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82798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8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.bin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2D88F58-8A68-419F-9EF5-7560B099B6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32713" y="1252330"/>
            <a:ext cx="8229600" cy="1600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6600" b="0" i="0" cap="none"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Presenta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9F94688-649A-4F13-B6D5-29585F77DA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2713" y="3086100"/>
            <a:ext cx="8229600" cy="685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chemeClr val="bg1"/>
                </a:solidFill>
                <a:latin typeface="Segoe UI Semibol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presenter nam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BAD2B89-0FCC-4693-842A-0FB68D2388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02088" y="5068957"/>
            <a:ext cx="8229600" cy="685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2400" baseline="0">
                <a:solidFill>
                  <a:srgbClr val="0074D8"/>
                </a:solidFill>
                <a:latin typeface="Segoe UI Semibol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date</a:t>
            </a:r>
          </a:p>
        </p:txBody>
      </p:sp>
    </p:spTree>
    <p:extLst>
      <p:ext uri="{BB962C8B-B14F-4D97-AF65-F5344CB8AC3E}">
        <p14:creationId xmlns:p14="http://schemas.microsoft.com/office/powerpoint/2010/main" val="2621179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DAF8089-C2D7-9079-33DB-9B7870412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93" y="39648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600" baseline="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C210057-4AB0-61EB-6FB8-852F51C3F5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962" b="81478"/>
          <a:stretch/>
        </p:blipFill>
        <p:spPr>
          <a:xfrm>
            <a:off x="5471252" y="4277412"/>
            <a:ext cx="624748" cy="2031325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8A607328-23F8-BBFB-F345-11A96F7AB1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7542" y="1708559"/>
            <a:ext cx="9580563" cy="1311275"/>
          </a:xfrm>
        </p:spPr>
        <p:txBody>
          <a:bodyPr>
            <a:normAutofit/>
          </a:bodyPr>
          <a:lstStyle>
            <a:lvl1pPr marL="0" indent="0">
              <a:buNone/>
              <a:defRPr sz="4000">
                <a:solidFill>
                  <a:srgbClr val="00498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5AADA5E-3B33-75B0-1273-FE0B2E059F3E}"/>
              </a:ext>
            </a:extLst>
          </p:cNvPr>
          <p:cNvSpPr/>
          <p:nvPr userDrawn="1"/>
        </p:nvSpPr>
        <p:spPr>
          <a:xfrm>
            <a:off x="6096000" y="4277412"/>
            <a:ext cx="6096000" cy="2031325"/>
          </a:xfrm>
          <a:prstGeom prst="rect">
            <a:avLst/>
          </a:prstGeom>
          <a:solidFill>
            <a:srgbClr val="8FAA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1D70CD3-179A-58BC-F7D4-1609169C4A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3455" y="4522379"/>
            <a:ext cx="10133076" cy="1949116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1430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6002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0574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27996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76A2E3B-316B-0F7C-1126-24136ED72EE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29200" y="1754593"/>
            <a:ext cx="6143625" cy="361672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B349A765-9593-FABA-168C-F3F058E306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29200" y="5579959"/>
            <a:ext cx="10133076" cy="1949116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FF7E22"/>
              </a:buClr>
              <a:buFont typeface="System Font Regular"/>
              <a:buChar char="&gt;"/>
              <a:defRPr sz="2000"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>
              <a:buClr>
                <a:srgbClr val="FF7E22"/>
              </a:buClr>
              <a:buFont typeface="System Font Regular"/>
              <a:buChar char="&gt;"/>
              <a:defRPr sz="1800"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143000" indent="-228600">
              <a:buClr>
                <a:srgbClr val="FF7E22"/>
              </a:buClr>
              <a:buFont typeface="System Font Regular"/>
              <a:buChar char="&gt;"/>
              <a:defRPr sz="1600"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600200" indent="-228600">
              <a:buClr>
                <a:srgbClr val="FF7E22"/>
              </a:buClr>
              <a:buFont typeface="System Font Regular"/>
              <a:buChar char="&gt;"/>
              <a:defRPr sz="1400"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057400" indent="-228600">
              <a:buClr>
                <a:srgbClr val="FF7E22"/>
              </a:buClr>
              <a:buFont typeface="System Font Regular"/>
              <a:buChar char="&gt;"/>
              <a:defRPr sz="1400"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A90C665F-2EAD-1243-004C-B51F8BE158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8871" y="35127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600" baseline="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E06D22F-BC25-2686-C668-71C286BC8A1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4038" y="2360613"/>
            <a:ext cx="4210050" cy="2921000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2400" baseline="0">
                <a:latin typeface="Segoe UI Semilight" panose="020B0402040204020203" pitchFamily="34" charset="0"/>
              </a:defRPr>
            </a:lvl1pPr>
            <a:lvl2pPr marL="457200" indent="0" algn="r">
              <a:buFontTx/>
              <a:buNone/>
              <a:defRPr sz="2000" baseline="0">
                <a:latin typeface="Segoe UI Semilight" panose="020B0402040204020203" pitchFamily="34" charset="0"/>
              </a:defRPr>
            </a:lvl2pPr>
            <a:lvl3pPr marL="914400" indent="0" algn="r">
              <a:buFontTx/>
              <a:buNone/>
              <a:defRPr sz="1800" baseline="0">
                <a:latin typeface="Segoe UI Semilight" panose="020B0402040204020203" pitchFamily="34" charset="0"/>
              </a:defRPr>
            </a:lvl3pPr>
            <a:lvl4pPr marL="1371600" indent="0" algn="r">
              <a:buFontTx/>
              <a:buNone/>
              <a:defRPr sz="1600" baseline="0">
                <a:latin typeface="Segoe UI Semilight" panose="020B0402040204020203" pitchFamily="34" charset="0"/>
              </a:defRPr>
            </a:lvl4pPr>
            <a:lvl5pPr marL="1828800" indent="0" algn="r">
              <a:buFontTx/>
              <a:buNone/>
              <a:defRPr sz="1600" baseline="0">
                <a:latin typeface="Segoe UI Semilight" panose="020B04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FED0BDBF-7FB2-2B29-CEB1-68559F81D3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8417" y="1752600"/>
            <a:ext cx="4505671" cy="608013"/>
          </a:xfrm>
        </p:spPr>
        <p:txBody>
          <a:bodyPr>
            <a:normAutofit/>
          </a:bodyPr>
          <a:lstStyle>
            <a:lvl1pPr marL="0" indent="0" algn="r">
              <a:buFontTx/>
              <a:buNone/>
              <a:defRPr sz="2400" b="1" i="0" baseline="0"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 marL="457200" indent="0" algn="r">
              <a:buFontTx/>
              <a:buNone/>
              <a:defRPr sz="2000" baseline="0">
                <a:latin typeface="Segoe UI Semilight" panose="020B0402040204020203" pitchFamily="34" charset="0"/>
              </a:defRPr>
            </a:lvl2pPr>
            <a:lvl3pPr marL="914400" indent="0" algn="r">
              <a:buFontTx/>
              <a:buNone/>
              <a:defRPr sz="1800" baseline="0">
                <a:latin typeface="Segoe UI Semilight" panose="020B0402040204020203" pitchFamily="34" charset="0"/>
              </a:defRPr>
            </a:lvl3pPr>
            <a:lvl4pPr marL="1371600" indent="0" algn="r">
              <a:buFontTx/>
              <a:buNone/>
              <a:defRPr sz="1600" baseline="0">
                <a:latin typeface="Segoe UI Semilight" panose="020B0402040204020203" pitchFamily="34" charset="0"/>
              </a:defRPr>
            </a:lvl4pPr>
            <a:lvl5pPr marL="1828800" indent="0" algn="r">
              <a:buFontTx/>
              <a:buNone/>
              <a:defRPr sz="1600" baseline="0">
                <a:latin typeface="Segoe UI Semilight" panose="020B04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06344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8" userDrawn="1">
          <p15:clr>
            <a:srgbClr val="FBAE40"/>
          </p15:clr>
        </p15:guide>
        <p15:guide id="2" orient="horz" pos="110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DC9E16-0580-9193-EAC3-0B8960D74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0200" y="721895"/>
            <a:ext cx="10133076" cy="91440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>
              <a:defRPr sz="4000" b="0" i="0" cap="none"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8AC6CA6B-F834-2842-57C6-FBE76ABA7B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600200" y="1864895"/>
            <a:ext cx="10133076" cy="434340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1430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6002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0574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21666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DC9E16-0580-9193-EAC3-0B8960D74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0200" y="445168"/>
            <a:ext cx="10133076" cy="91440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>
              <a:defRPr sz="4000" b="0" i="0" cap="none"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8AC6CA6B-F834-2842-57C6-FBE76ABA7B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600200" y="1479884"/>
            <a:ext cx="10133076" cy="1949116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1430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6002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0574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E9DB463-ED11-EFE5-9F1E-FF8CD98EFD6D}"/>
              </a:ext>
            </a:extLst>
          </p:cNvPr>
          <p:cNvSpPr txBox="1">
            <a:spLocks/>
          </p:cNvSpPr>
          <p:nvPr userDrawn="1"/>
        </p:nvSpPr>
        <p:spPr>
          <a:xfrm>
            <a:off x="3088105" y="3729788"/>
            <a:ext cx="10133076" cy="91440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 cap="none"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B1EFFDE-2060-DECE-859B-359D85D367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88105" y="4800598"/>
            <a:ext cx="10133076" cy="1949116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1430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6002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0574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53081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2FB0F1-FE59-8FB6-C71A-153DEDB0E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6200" y="890336"/>
            <a:ext cx="10133076" cy="91440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>
              <a:defRPr sz="4000" b="0" i="0" cap="none"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5FC53864-2BB5-5653-1C1D-EBE209627B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86200" y="1925052"/>
            <a:ext cx="10133076" cy="1949116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1430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6002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0574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4859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2FB0F1-FE59-8FB6-C71A-153DEDB0E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6200" y="890336"/>
            <a:ext cx="10133076" cy="91440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>
              <a:defRPr sz="4000" b="0" i="0" cap="none"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700305A4-4341-B214-3B4C-DC56E199DA23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3886200" y="2225675"/>
            <a:ext cx="8305800" cy="3405188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37166439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C52B31A-F69F-4454-475D-42B5FC596D0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37810" y="693626"/>
            <a:ext cx="7772400" cy="4026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329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losing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04822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losing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35718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35759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ight top le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8CBBF9-B86F-A3C1-0952-2CBC5C4CD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0200" y="697831"/>
            <a:ext cx="10133076" cy="91440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>
              <a:defRPr sz="6000" b="0" i="0" cap="none"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98A4A0C6-7CED-AE45-75B1-4C2B3ECF92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600200" y="2298032"/>
            <a:ext cx="10133076" cy="1949116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1430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6002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0574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02331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031F857-47AA-DCC9-8A2A-C6FF394DB245}"/>
              </a:ext>
            </a:extLst>
          </p:cNvPr>
          <p:cNvSpPr/>
          <p:nvPr userDrawn="1"/>
        </p:nvSpPr>
        <p:spPr>
          <a:xfrm>
            <a:off x="10250905" y="5690937"/>
            <a:ext cx="1768642" cy="9986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02220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losing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76654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v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2D88F58-8A68-419F-9EF5-7560B099B6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32713" y="1252330"/>
            <a:ext cx="8229600" cy="1600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6600" b="0" i="0" cap="none" baseline="0">
                <a:solidFill>
                  <a:schemeClr val="bg1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Presenta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9F94688-649A-4F13-B6D5-29585F77DA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2713" y="3086100"/>
            <a:ext cx="8229600" cy="685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chemeClr val="bg1"/>
                </a:solidFill>
                <a:latin typeface="Segoe UI Semibol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presenter nam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BAD2B89-0FCC-4693-842A-0FB68D2388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02088" y="5068957"/>
            <a:ext cx="8229600" cy="685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2400" baseline="0">
                <a:solidFill>
                  <a:srgbClr val="0074D8"/>
                </a:solidFill>
                <a:latin typeface="Segoe UI Semibold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date</a:t>
            </a:r>
          </a:p>
        </p:txBody>
      </p:sp>
    </p:spTree>
    <p:extLst>
      <p:ext uri="{BB962C8B-B14F-4D97-AF65-F5344CB8AC3E}">
        <p14:creationId xmlns:p14="http://schemas.microsoft.com/office/powerpoint/2010/main" val="3844085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28948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7486" y="1604434"/>
            <a:ext cx="5342468" cy="456776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sz="1867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marR="0" lvl="0" fontAlgn="auto">
              <a:lnSpc>
                <a:spcPct val="100000"/>
              </a:lnSpc>
              <a:buClrTx/>
              <a:buSzTx/>
              <a:tabLst/>
            </a:pPr>
            <a:r>
              <a:rPr lang="en-US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</a:t>
            </a:r>
            <a:r>
              <a:rPr lang="en-US"/>
              <a:t> Intel Clear third level</a:t>
            </a:r>
          </a:p>
          <a:p>
            <a:pPr lvl="3"/>
            <a:r>
              <a:rPr lang="en-US" err="1"/>
              <a:t>12pt</a:t>
            </a:r>
            <a:r>
              <a:rPr lang="en-US"/>
              <a:t> Intel Clear fourth level</a:t>
            </a:r>
          </a:p>
          <a:p>
            <a:pPr lvl="4"/>
            <a:r>
              <a:rPr lang="en-US" err="1"/>
              <a:t>12pt</a:t>
            </a:r>
            <a:r>
              <a:rPr lang="en-US"/>
              <a:t> Intel Clear 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6237817" y="1604434"/>
            <a:ext cx="5340352" cy="456776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sz="1867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marR="0" lvl="0" fontAlgn="auto">
              <a:lnSpc>
                <a:spcPct val="100000"/>
              </a:lnSpc>
              <a:buClrTx/>
              <a:buSzTx/>
              <a:tabLst/>
            </a:pPr>
            <a:r>
              <a:rPr lang="en-US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</a:t>
            </a:r>
            <a:r>
              <a:rPr lang="en-US"/>
              <a:t> Intel Clear third level</a:t>
            </a:r>
          </a:p>
          <a:p>
            <a:pPr lvl="3"/>
            <a:r>
              <a:rPr lang="en-US" err="1"/>
              <a:t>12pt</a:t>
            </a:r>
            <a:r>
              <a:rPr lang="en-US"/>
              <a:t> Intel Clear fourth level</a:t>
            </a:r>
          </a:p>
          <a:p>
            <a:pPr lvl="4"/>
            <a:r>
              <a:rPr lang="en-US" err="1"/>
              <a:t>12pt</a:t>
            </a:r>
            <a:r>
              <a:rPr lang="en-US"/>
              <a:t> Intel Clear fifth level</a:t>
            </a:r>
          </a:p>
        </p:txBody>
      </p:sp>
      <p:sp>
        <p:nvSpPr>
          <p:cNvPr id="8" name="Title 6"/>
          <p:cNvSpPr>
            <a:spLocks noGrp="1"/>
          </p:cNvSpPr>
          <p:nvPr>
            <p:ph type="title" hasCustomPrompt="1"/>
          </p:nvPr>
        </p:nvSpPr>
        <p:spPr>
          <a:xfrm>
            <a:off x="607484" y="411797"/>
            <a:ext cx="10972800" cy="656526"/>
          </a:xfrm>
        </p:spPr>
        <p:txBody>
          <a:bodyPr/>
          <a:lstStyle>
            <a:lvl1pPr>
              <a:defRPr b="0" i="0" baseline="0">
                <a:solidFill>
                  <a:srgbClr val="003C71"/>
                </a:solidFill>
                <a:latin typeface="Intel Clear Pro" panose="020B0804020202060201" pitchFamily="34" charset="0"/>
                <a:ea typeface="Intel Clear Pro" panose="020B0804020202060201" pitchFamily="34" charset="0"/>
                <a:cs typeface="Intel Clear Pro" panose="020B0804020202060201" pitchFamily="34" charset="0"/>
              </a:defRPr>
            </a:lvl1pPr>
          </a:lstStyle>
          <a:p>
            <a:r>
              <a:rPr lang="en-US"/>
              <a:t>28pt Intel Clear Headline</a:t>
            </a:r>
          </a:p>
        </p:txBody>
      </p:sp>
    </p:spTree>
    <p:extLst>
      <p:ext uri="{BB962C8B-B14F-4D97-AF65-F5344CB8AC3E}">
        <p14:creationId xmlns:p14="http://schemas.microsoft.com/office/powerpoint/2010/main" val="35838078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59581716"/>
      </p:ext>
    </p:extLst>
  </p:cSld>
  <p:clrMapOvr>
    <a:masterClrMapping/>
  </p:clrMapOvr>
  <p:transition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 Conten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Text">
            <a:extLst>
              <a:ext uri="{FF2B5EF4-FFF2-40B4-BE49-F238E27FC236}">
                <a16:creationId xmlns:a16="http://schemas.microsoft.com/office/drawing/2014/main" id="{EBEEA47F-E66C-C546-A539-293E792A32C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71501"/>
            <a:ext cx="11010901" cy="952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>
                <a:solidFill>
                  <a:srgbClr val="525252"/>
                </a:solidFill>
              </a:defRPr>
            </a:lvl1pPr>
          </a:lstStyle>
          <a:p>
            <a:r>
              <a:rPr lang="en-US"/>
              <a:t>40pt Intel Clear Light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95712A-D685-7146-A64F-2AEC13EF76F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71500" y="1673402"/>
            <a:ext cx="5288525" cy="458483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8FE6631-4BAF-4E4B-B6F0-F9ED72A3155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89113" y="1673402"/>
            <a:ext cx="5288525" cy="458483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64531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14C27936-4608-A44C-9C6E-3708646E200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571500"/>
            <a:ext cx="11010816" cy="952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>
                <a:solidFill>
                  <a:srgbClr val="525252"/>
                </a:solidFill>
              </a:defRPr>
            </a:lvl1pPr>
          </a:lstStyle>
          <a:p>
            <a:r>
              <a:rPr lang="en-US"/>
              <a:t>40pt Intel Clear Ligh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1076595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14C27936-4608-A44C-9C6E-3708646E200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571500"/>
            <a:ext cx="11010816" cy="952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>
                <a:solidFill>
                  <a:srgbClr val="525252"/>
                </a:solidFill>
              </a:defRPr>
            </a:lvl1pPr>
          </a:lstStyle>
          <a:p>
            <a:r>
              <a:rPr lang="en-US"/>
              <a:t>40pt Intel Clear Light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A0C540-99BD-45E3-99D2-78C2032EBE5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370" y="1673454"/>
            <a:ext cx="11010900" cy="45749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25175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Ligh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86FB67-D19D-46AD-8CBC-EC7FA760F8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91440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>
              <a:defRPr sz="2800" b="1" cap="none" baseline="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59687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solidFill>
          <a:srgbClr val="8FAAD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8D3DF113-0113-316C-EEA4-FBC88F6F9B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999" y="3558207"/>
            <a:ext cx="9144000" cy="1655762"/>
          </a:xfrm>
        </p:spPr>
        <p:txBody>
          <a:bodyPr/>
          <a:lstStyle>
            <a:lvl1pPr marL="0" indent="0" algn="ctr">
              <a:buNone/>
              <a:defRPr sz="2400" baseline="0">
                <a:solidFill>
                  <a:srgbClr val="004987"/>
                </a:solidFill>
                <a:latin typeface="Segoe UI Semibold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DAF8089-C2D7-9079-33DB-9B7870412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2481198"/>
            <a:ext cx="10515600" cy="1325563"/>
          </a:xfrm>
          <a:prstGeom prst="rect">
            <a:avLst/>
          </a:prstGeom>
        </p:spPr>
        <p:txBody>
          <a:bodyPr/>
          <a:lstStyle>
            <a:lvl1pPr algn="ctr">
              <a:defRPr sz="6000" baseline="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68C730-93C2-8D6C-7F64-0338B4BF61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4468" y="5996469"/>
            <a:ext cx="1723062" cy="1723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3538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 - dark">
    <p:bg>
      <p:bgPr>
        <a:solidFill>
          <a:srgbClr val="0028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C115AA-229D-4A6C-90C6-57CFD374E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19017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top le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A6A7476-D5AF-41EF-90FC-97396868E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0" y="457200"/>
            <a:ext cx="9445752" cy="91440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>
              <a:defRPr sz="2800" b="1" cap="none" baseline="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EEB8552D-A522-4E62-852C-75B72A177F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000" y="1600200"/>
            <a:ext cx="9447276" cy="4343400"/>
          </a:xfrm>
          <a:prstGeom prst="rect">
            <a:avLst/>
          </a:prstGeom>
        </p:spPr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48227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(Dark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2D88F58-8A68-419F-9EF5-7560B099B6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6305" y="2286000"/>
            <a:ext cx="8229600" cy="1600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1" cap="all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Presenta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9F94688-649A-4F13-B6D5-29585F77DA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4952" y="3888118"/>
            <a:ext cx="8229600" cy="1371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presenter nam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BAD2B89-0FCC-4693-842A-0FB68D2388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6305" y="5257800"/>
            <a:ext cx="8229600" cy="685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2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date</a:t>
            </a:r>
          </a:p>
        </p:txBody>
      </p:sp>
    </p:spTree>
    <p:extLst>
      <p:ext uri="{BB962C8B-B14F-4D97-AF65-F5344CB8AC3E}">
        <p14:creationId xmlns:p14="http://schemas.microsoft.com/office/powerpoint/2010/main" val="27010470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(Dark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2D88F58-8A68-419F-9EF5-7560B099B6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6305" y="2286000"/>
            <a:ext cx="8229600" cy="1600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="1" cap="all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Presentation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9F94688-649A-4F13-B6D5-29585F77DA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4952" y="3888118"/>
            <a:ext cx="8229600" cy="1371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presenter nam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BAD2B89-0FCC-4693-842A-0FB68D2388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46305" y="5257800"/>
            <a:ext cx="8229600" cy="685800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2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None/>
              <a:defRPr sz="2400">
                <a:solidFill>
                  <a:srgbClr val="01447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date</a:t>
            </a:r>
          </a:p>
        </p:txBody>
      </p:sp>
    </p:spTree>
    <p:extLst>
      <p:ext uri="{BB962C8B-B14F-4D97-AF65-F5344CB8AC3E}">
        <p14:creationId xmlns:p14="http://schemas.microsoft.com/office/powerpoint/2010/main" val="26592394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(Dark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CEFE900-9DF1-45C4-8B75-B0EC05524C49}"/>
              </a:ext>
            </a:extLst>
          </p:cNvPr>
          <p:cNvSpPr/>
          <p:nvPr userDrawn="1"/>
        </p:nvSpPr>
        <p:spPr>
          <a:xfrm>
            <a:off x="10396497" y="5847550"/>
            <a:ext cx="1795503" cy="1010450"/>
          </a:xfrm>
          <a:prstGeom prst="rect">
            <a:avLst/>
          </a:prstGeom>
          <a:solidFill>
            <a:srgbClr val="2143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86FB67-D19D-46AD-8CBC-EC7FA760F8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91440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>
              <a:defRPr sz="2800" b="1" cap="none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EADBECC-4159-4667-BE9A-AF319E369F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600200"/>
            <a:ext cx="11274552" cy="4343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535098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(Dark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CEFE900-9DF1-45C4-8B75-B0EC05524C49}"/>
              </a:ext>
            </a:extLst>
          </p:cNvPr>
          <p:cNvSpPr/>
          <p:nvPr userDrawn="1"/>
        </p:nvSpPr>
        <p:spPr>
          <a:xfrm>
            <a:off x="10396497" y="5847550"/>
            <a:ext cx="1795503" cy="1010450"/>
          </a:xfrm>
          <a:prstGeom prst="rect">
            <a:avLst/>
          </a:prstGeom>
          <a:solidFill>
            <a:srgbClr val="2143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3724E93-29EC-48A3-8F62-945E12FC6C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91440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>
              <a:defRPr sz="2800" b="1" cap="none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A959A3E9-1FB5-4822-99DE-A893AE400D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600200"/>
            <a:ext cx="5486400" cy="4343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A7EA630-1CF0-45B6-9DD5-BA04C029BE7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45352" y="1600200"/>
            <a:ext cx="5486400" cy="4343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91652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Dark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CEFE900-9DF1-45C4-8B75-B0EC05524C49}"/>
              </a:ext>
            </a:extLst>
          </p:cNvPr>
          <p:cNvSpPr/>
          <p:nvPr userDrawn="1"/>
        </p:nvSpPr>
        <p:spPr>
          <a:xfrm>
            <a:off x="10396497" y="5847550"/>
            <a:ext cx="1795503" cy="1010450"/>
          </a:xfrm>
          <a:prstGeom prst="rect">
            <a:avLst/>
          </a:prstGeom>
          <a:solidFill>
            <a:srgbClr val="2143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86FB67-D19D-46AD-8CBC-EC7FA760F8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4552" cy="91440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>
              <a:defRPr sz="2800" b="1" cap="none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451870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top le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2A65594-D06C-46A1-9DD6-CC153F01A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0" y="457200"/>
            <a:ext cx="9445752" cy="91440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>
              <a:defRPr sz="2800" b="1" cap="none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EFB2887-C72C-4F85-A072-598554069C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000" y="1600200"/>
            <a:ext cx="9447276" cy="4343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78368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top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3869D142-1173-4689-955C-9AD61571AC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9445752" cy="91440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>
              <a:defRPr sz="2800" b="1" cap="none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6744731-870A-42CC-B8FD-D2C45943C2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600200"/>
            <a:ext cx="9445752" cy="4343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21047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ottom le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A9A16936-0823-4728-8ADF-956F82D6E0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0" y="457200"/>
            <a:ext cx="9445752" cy="91440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>
              <a:defRPr sz="2800" b="1" cap="none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8E938DD4-ED6B-4256-8725-9558EF4296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000" y="1600200"/>
            <a:ext cx="9447276" cy="4343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8219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DAF8089-C2D7-9079-33DB-9B7870412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7725" y="84822"/>
            <a:ext cx="10515600" cy="1325563"/>
          </a:xfrm>
          <a:prstGeom prst="rect">
            <a:avLst/>
          </a:prstGeom>
        </p:spPr>
        <p:txBody>
          <a:bodyPr/>
          <a:lstStyle>
            <a:lvl1pPr algn="l">
              <a:defRPr sz="6000" baseline="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52CE8A-DFD3-7E85-F62E-6F7D9309B0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7725" y="1708559"/>
            <a:ext cx="9580563" cy="1311275"/>
          </a:xfrm>
        </p:spPr>
        <p:txBody>
          <a:bodyPr>
            <a:normAutofit/>
          </a:bodyPr>
          <a:lstStyle>
            <a:lvl1pPr marL="0" indent="0">
              <a:buNone/>
              <a:defRPr sz="4000">
                <a:solidFill>
                  <a:srgbClr val="00498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8046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ottom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FDC8E05A-80BF-4540-89E7-A7B3F56CB1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9445752" cy="914400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>
              <a:defRPr sz="2800" b="1" cap="none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37538DF-7F73-49C2-B979-D0B04CD5B2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600200"/>
            <a:ext cx="9445752" cy="4343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507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1329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 - dark">
    <p:bg>
      <p:bgPr>
        <a:solidFill>
          <a:srgbClr val="0028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C115AA-229D-4A6C-90C6-57CFD374E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81658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668065"/>
      </p:ext>
    </p:extLst>
  </p:cSld>
  <p:clrMapOvr>
    <a:masterClrMapping/>
  </p:clrMapOvr>
  <p:transition>
    <p:wipe dir="r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7486" y="1604434"/>
            <a:ext cx="5342468" cy="456776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sz="1867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marR="0" lvl="0" fontAlgn="auto">
              <a:lnSpc>
                <a:spcPct val="100000"/>
              </a:lnSpc>
              <a:buClrTx/>
              <a:buSzTx/>
              <a:tabLst/>
            </a:pPr>
            <a:r>
              <a:rPr lang="en-US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</a:t>
            </a:r>
            <a:r>
              <a:rPr lang="en-US"/>
              <a:t> Intel Clear third level</a:t>
            </a:r>
          </a:p>
          <a:p>
            <a:pPr lvl="3"/>
            <a:r>
              <a:rPr lang="en-US" err="1"/>
              <a:t>12pt</a:t>
            </a:r>
            <a:r>
              <a:rPr lang="en-US"/>
              <a:t> Intel Clear fourth level</a:t>
            </a:r>
          </a:p>
          <a:p>
            <a:pPr lvl="4"/>
            <a:r>
              <a:rPr lang="en-US" err="1"/>
              <a:t>12pt</a:t>
            </a:r>
            <a:r>
              <a:rPr lang="en-US"/>
              <a:t> Intel Clear 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6237817" y="1604434"/>
            <a:ext cx="5340352" cy="4567767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sz="1867" dirty="0" smtClean="0"/>
            </a:lvl3pPr>
            <a:lvl4pPr>
              <a:defRPr lang="en-US" sz="1600" dirty="0" smtClean="0"/>
            </a:lvl4pPr>
            <a:lvl5pPr>
              <a:defRPr lang="en-US" sz="1600" dirty="0"/>
            </a:lvl5pPr>
          </a:lstStyle>
          <a:p>
            <a:pPr marR="0" lvl="0" fontAlgn="auto">
              <a:lnSpc>
                <a:spcPct val="100000"/>
              </a:lnSpc>
              <a:buClrTx/>
              <a:buSzTx/>
              <a:tabLst/>
            </a:pPr>
            <a:r>
              <a:rPr lang="en-US"/>
              <a:t>18pt Intel Clear body text</a:t>
            </a:r>
          </a:p>
          <a:p>
            <a:pPr marR="0" lvl="1" fontAlgn="auto">
              <a:lnSpc>
                <a:spcPct val="100000"/>
              </a:lnSpc>
              <a:spcAft>
                <a:spcPts val="0"/>
              </a:spcAft>
              <a:buClrTx/>
              <a:buSzTx/>
              <a:tabLst/>
            </a:pPr>
            <a:r>
              <a:rPr lang="en-US"/>
              <a:t>16pt Intel Clear bullet one</a:t>
            </a:r>
          </a:p>
          <a:p>
            <a:pPr lvl="2"/>
            <a:r>
              <a:rPr lang="en-US" err="1"/>
              <a:t>14pt</a:t>
            </a:r>
            <a:r>
              <a:rPr lang="en-US"/>
              <a:t> Intel Clear third level</a:t>
            </a:r>
          </a:p>
          <a:p>
            <a:pPr lvl="3"/>
            <a:r>
              <a:rPr lang="en-US" err="1"/>
              <a:t>12pt</a:t>
            </a:r>
            <a:r>
              <a:rPr lang="en-US"/>
              <a:t> Intel Clear fourth level</a:t>
            </a:r>
          </a:p>
          <a:p>
            <a:pPr lvl="4"/>
            <a:r>
              <a:rPr lang="en-US" err="1"/>
              <a:t>12pt</a:t>
            </a:r>
            <a:r>
              <a:rPr lang="en-US"/>
              <a:t> Intel Clear fifth level</a:t>
            </a:r>
          </a:p>
        </p:txBody>
      </p:sp>
      <p:sp>
        <p:nvSpPr>
          <p:cNvPr id="8" name="Title 6"/>
          <p:cNvSpPr>
            <a:spLocks noGrp="1"/>
          </p:cNvSpPr>
          <p:nvPr>
            <p:ph type="title" hasCustomPrompt="1"/>
          </p:nvPr>
        </p:nvSpPr>
        <p:spPr>
          <a:xfrm>
            <a:off x="607484" y="411797"/>
            <a:ext cx="10972800" cy="656526"/>
          </a:xfrm>
        </p:spPr>
        <p:txBody>
          <a:bodyPr/>
          <a:lstStyle>
            <a:lvl1pPr>
              <a:defRPr b="0" i="0" baseline="0">
                <a:solidFill>
                  <a:srgbClr val="003C71"/>
                </a:solidFill>
                <a:latin typeface="Intel Clear Pro" panose="020B0804020202060201" pitchFamily="34" charset="0"/>
                <a:ea typeface="Intel Clear Pro" panose="020B0804020202060201" pitchFamily="34" charset="0"/>
                <a:cs typeface="Intel Clear Pro" panose="020B0804020202060201" pitchFamily="34" charset="0"/>
              </a:defRPr>
            </a:lvl1pPr>
          </a:lstStyle>
          <a:p>
            <a:r>
              <a:rPr lang="en-US"/>
              <a:t>28pt Intel Clear Headline</a:t>
            </a:r>
          </a:p>
        </p:txBody>
      </p:sp>
    </p:spTree>
    <p:extLst>
      <p:ext uri="{BB962C8B-B14F-4D97-AF65-F5344CB8AC3E}">
        <p14:creationId xmlns:p14="http://schemas.microsoft.com/office/powerpoint/2010/main" val="31558652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 A">
    <p:bg>
      <p:bgPr>
        <a:solidFill>
          <a:srgbClr val="184A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"/>
          <p:cNvSpPr/>
          <p:nvPr/>
        </p:nvSpPr>
        <p:spPr>
          <a:xfrm>
            <a:off x="1469360" y="0"/>
            <a:ext cx="3430768" cy="539316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0" name="Square"/>
          <p:cNvSpPr/>
          <p:nvPr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1" name="Rectangle"/>
          <p:cNvSpPr/>
          <p:nvPr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rgbClr val="00C7FD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2" name="Square"/>
          <p:cNvSpPr/>
          <p:nvPr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31" name="Title Text">
            <a:extLst>
              <a:ext uri="{FF2B5EF4-FFF2-40B4-BE49-F238E27FC236}">
                <a16:creationId xmlns:a16="http://schemas.microsoft.com/office/drawing/2014/main" id="{89FD31ED-4225-F549-987B-028F84979F8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895475" y="3585279"/>
            <a:ext cx="10972801" cy="1091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7500">
                <a:solidFill>
                  <a:schemeClr val="bg1"/>
                </a:solidFill>
              </a:defRPr>
            </a:lvl1pPr>
          </a:lstStyle>
          <a:p>
            <a:endParaRPr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5379059-B28C-483A-9CD1-B3EB81874A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95475" y="3182315"/>
            <a:ext cx="10296524" cy="304800"/>
          </a:xfr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rgbClr val="00C7FD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Intel Clear Bold Intro: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BEFC1083-9176-4B55-B8AB-9F31A213ED2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8348" y="4778609"/>
            <a:ext cx="10283651" cy="326776"/>
          </a:xfr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Intel Clear Subhead, Date, Etc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98DF977-78B3-4C00-9E43-1223CD667932}"/>
              </a:ext>
            </a:extLst>
          </p:cNvPr>
          <p:cNvGrpSpPr/>
          <p:nvPr userDrawn="1"/>
        </p:nvGrpSpPr>
        <p:grpSpPr>
          <a:xfrm>
            <a:off x="1468406" y="5995719"/>
            <a:ext cx="1059754" cy="396801"/>
            <a:chOff x="1314450" y="6391094"/>
            <a:chExt cx="1123377" cy="42062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78F73C8D-05B1-4270-85FA-B1FD37A25A06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FC6580CA-6E37-4F04-8FAD-D6491FEE8CE6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C614C49-972F-498A-9654-844CECF9AF64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22EBBE0-933B-4A65-BAAC-DC5972E3F9A4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431582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Blue B">
    <p:bg>
      <p:bgPr>
        <a:solidFill>
          <a:srgbClr val="184A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"/>
          <p:cNvSpPr/>
          <p:nvPr/>
        </p:nvSpPr>
        <p:spPr>
          <a:xfrm>
            <a:off x="1469360" y="0"/>
            <a:ext cx="3430768" cy="539316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E706504-BEDA-1441-8BC1-243269FBBC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95475" y="3182315"/>
            <a:ext cx="10296524" cy="304800"/>
          </a:xfr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rgbClr val="00C7FD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Intel Clear Bold Intro:</a:t>
            </a:r>
          </a:p>
        </p:txBody>
      </p:sp>
      <p:sp>
        <p:nvSpPr>
          <p:cNvPr id="31" name="Title Text">
            <a:extLst>
              <a:ext uri="{FF2B5EF4-FFF2-40B4-BE49-F238E27FC236}">
                <a16:creationId xmlns:a16="http://schemas.microsoft.com/office/drawing/2014/main" id="{89FD31ED-4225-F549-987B-028F84979F8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895475" y="3585279"/>
            <a:ext cx="10972801" cy="1091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7500">
                <a:solidFill>
                  <a:schemeClr val="bg1"/>
                </a:solidFill>
              </a:defRPr>
            </a:lvl1pPr>
          </a:lstStyle>
          <a:p>
            <a:r>
              <a:rPr lang="en-US"/>
              <a:t>75 </a:t>
            </a:r>
            <a:r>
              <a:rPr lang="en-US" err="1"/>
              <a:t>pt</a:t>
            </a:r>
            <a:r>
              <a:rPr lang="en-US"/>
              <a:t> Intel Clear Light</a:t>
            </a:r>
            <a:endParaRPr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71E0DDC0-B435-4D0B-837E-0E27121099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8348" y="4778609"/>
            <a:ext cx="10283651" cy="326776"/>
          </a:xfr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Intel Clear Subhead, Date, Etc.</a:t>
            </a:r>
          </a:p>
        </p:txBody>
      </p:sp>
      <p:sp>
        <p:nvSpPr>
          <p:cNvPr id="10" name="Square">
            <a:extLst>
              <a:ext uri="{FF2B5EF4-FFF2-40B4-BE49-F238E27FC236}">
                <a16:creationId xmlns:a16="http://schemas.microsoft.com/office/drawing/2014/main" id="{5F1BD0FC-D3B7-4D2E-989A-64ED187DAF99}"/>
              </a:ext>
            </a:extLst>
          </p:cNvPr>
          <p:cNvSpPr/>
          <p:nvPr userDrawn="1"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3D2DE0DF-793A-4E90-BB4C-004CD646F4EF}"/>
              </a:ext>
            </a:extLst>
          </p:cNvPr>
          <p:cNvSpPr/>
          <p:nvPr userDrawn="1"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2" name="Square">
            <a:extLst>
              <a:ext uri="{FF2B5EF4-FFF2-40B4-BE49-F238E27FC236}">
                <a16:creationId xmlns:a16="http://schemas.microsoft.com/office/drawing/2014/main" id="{C39C59F8-1EBA-44B6-940C-E67247F76722}"/>
              </a:ext>
            </a:extLst>
          </p:cNvPr>
          <p:cNvSpPr/>
          <p:nvPr userDrawn="1"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5251DAF-788D-46D0-84B3-34DFEE6262F3}"/>
              </a:ext>
            </a:extLst>
          </p:cNvPr>
          <p:cNvGrpSpPr/>
          <p:nvPr userDrawn="1"/>
        </p:nvGrpSpPr>
        <p:grpSpPr>
          <a:xfrm>
            <a:off x="1468406" y="5995719"/>
            <a:ext cx="1059754" cy="396801"/>
            <a:chOff x="1314450" y="6391094"/>
            <a:chExt cx="1123377" cy="420623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050DF4B-855E-41F4-9B0B-9B0BA01FB4FE}"/>
                </a:ext>
              </a:extLst>
            </p:cNvPr>
            <p:cNvSpPr/>
            <p:nvPr/>
          </p:nvSpPr>
          <p:spPr>
            <a:xfrm>
              <a:off x="1314450" y="6396809"/>
              <a:ext cx="78581" cy="78581"/>
            </a:xfrm>
            <a:custGeom>
              <a:avLst/>
              <a:gdLst>
                <a:gd name="connsiteX0" fmla="*/ 0 w 78581"/>
                <a:gd name="connsiteY0" fmla="*/ 0 h 78581"/>
                <a:gd name="connsiteX1" fmla="*/ 78581 w 78581"/>
                <a:gd name="connsiteY1" fmla="*/ 0 h 78581"/>
                <a:gd name="connsiteX2" fmla="*/ 78581 w 78581"/>
                <a:gd name="connsiteY2" fmla="*/ 78581 h 78581"/>
                <a:gd name="connsiteX3" fmla="*/ 0 w 78581"/>
                <a:gd name="connsiteY3" fmla="*/ 78581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581" h="78581">
                  <a:moveTo>
                    <a:pt x="0" y="0"/>
                  </a:moveTo>
                  <a:lnTo>
                    <a:pt x="78581" y="0"/>
                  </a:lnTo>
                  <a:lnTo>
                    <a:pt x="78581" y="78581"/>
                  </a:lnTo>
                  <a:lnTo>
                    <a:pt x="0" y="78581"/>
                  </a:lnTo>
                  <a:close/>
                </a:path>
              </a:pathLst>
            </a:custGeom>
            <a:solidFill>
              <a:srgbClr val="00B2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5E76890-19E8-4E79-B88A-5E246700E0DB}"/>
                </a:ext>
              </a:extLst>
            </p:cNvPr>
            <p:cNvSpPr/>
            <p:nvPr/>
          </p:nvSpPr>
          <p:spPr>
            <a:xfrm>
              <a:off x="1316545" y="6391094"/>
              <a:ext cx="995171" cy="420623"/>
            </a:xfrm>
            <a:custGeom>
              <a:avLst/>
              <a:gdLst>
                <a:gd name="connsiteX0" fmla="*/ 74486 w 995171"/>
                <a:gd name="connsiteY0" fmla="*/ 131921 h 420623"/>
                <a:gd name="connsiteX1" fmla="*/ 0 w 995171"/>
                <a:gd name="connsiteY1" fmla="*/ 131921 h 420623"/>
                <a:gd name="connsiteX2" fmla="*/ 0 w 995171"/>
                <a:gd name="connsiteY2" fmla="*/ 414719 h 420623"/>
                <a:gd name="connsiteX3" fmla="*/ 74486 w 995171"/>
                <a:gd name="connsiteY3" fmla="*/ 414719 h 420623"/>
                <a:gd name="connsiteX4" fmla="*/ 74486 w 995171"/>
                <a:gd name="connsiteY4" fmla="*/ 131921 h 420623"/>
                <a:gd name="connsiteX5" fmla="*/ 568262 w 995171"/>
                <a:gd name="connsiteY5" fmla="*/ 417576 h 420623"/>
                <a:gd name="connsiteX6" fmla="*/ 568262 w 995171"/>
                <a:gd name="connsiteY6" fmla="*/ 348234 h 420623"/>
                <a:gd name="connsiteX7" fmla="*/ 541306 w 995171"/>
                <a:gd name="connsiteY7" fmla="*/ 346520 h 420623"/>
                <a:gd name="connsiteX8" fmla="*/ 523780 w 995171"/>
                <a:gd name="connsiteY8" fmla="*/ 338804 h 420623"/>
                <a:gd name="connsiteX9" fmla="*/ 516065 w 995171"/>
                <a:gd name="connsiteY9" fmla="*/ 321945 h 420623"/>
                <a:gd name="connsiteX10" fmla="*/ 514350 w 995171"/>
                <a:gd name="connsiteY10" fmla="*/ 294608 h 420623"/>
                <a:gd name="connsiteX11" fmla="*/ 514350 w 995171"/>
                <a:gd name="connsiteY11" fmla="*/ 195644 h 420623"/>
                <a:gd name="connsiteX12" fmla="*/ 568262 w 995171"/>
                <a:gd name="connsiteY12" fmla="*/ 195644 h 420623"/>
                <a:gd name="connsiteX13" fmla="*/ 568262 w 995171"/>
                <a:gd name="connsiteY13" fmla="*/ 131921 h 420623"/>
                <a:gd name="connsiteX14" fmla="*/ 514350 w 995171"/>
                <a:gd name="connsiteY14" fmla="*/ 131921 h 420623"/>
                <a:gd name="connsiteX15" fmla="*/ 514350 w 995171"/>
                <a:gd name="connsiteY15" fmla="*/ 21812 h 420623"/>
                <a:gd name="connsiteX16" fmla="*/ 439865 w 995171"/>
                <a:gd name="connsiteY16" fmla="*/ 21812 h 420623"/>
                <a:gd name="connsiteX17" fmla="*/ 439865 w 995171"/>
                <a:gd name="connsiteY17" fmla="*/ 295180 h 420623"/>
                <a:gd name="connsiteX18" fmla="*/ 445865 w 995171"/>
                <a:gd name="connsiteY18" fmla="*/ 353473 h 420623"/>
                <a:gd name="connsiteX19" fmla="*/ 465677 w 995171"/>
                <a:gd name="connsiteY19" fmla="*/ 391001 h 420623"/>
                <a:gd name="connsiteX20" fmla="*/ 502063 w 995171"/>
                <a:gd name="connsiteY20" fmla="*/ 411385 h 420623"/>
                <a:gd name="connsiteX21" fmla="*/ 558927 w 995171"/>
                <a:gd name="connsiteY21" fmla="*/ 417671 h 420623"/>
                <a:gd name="connsiteX22" fmla="*/ 568262 w 995171"/>
                <a:gd name="connsiteY22" fmla="*/ 417671 h 420623"/>
                <a:gd name="connsiteX23" fmla="*/ 995172 w 995171"/>
                <a:gd name="connsiteY23" fmla="*/ 0 h 420623"/>
                <a:gd name="connsiteX24" fmla="*/ 920687 w 995171"/>
                <a:gd name="connsiteY24" fmla="*/ 0 h 420623"/>
                <a:gd name="connsiteX25" fmla="*/ 920687 w 995171"/>
                <a:gd name="connsiteY25" fmla="*/ 414719 h 420623"/>
                <a:gd name="connsiteX26" fmla="*/ 995172 w 995171"/>
                <a:gd name="connsiteY26" fmla="*/ 414719 h 420623"/>
                <a:gd name="connsiteX27" fmla="*/ 995172 w 995171"/>
                <a:gd name="connsiteY27" fmla="*/ 0 h 420623"/>
                <a:gd name="connsiteX28" fmla="*/ 367951 w 995171"/>
                <a:gd name="connsiteY28" fmla="*/ 159830 h 420623"/>
                <a:gd name="connsiteX29" fmla="*/ 281273 w 995171"/>
                <a:gd name="connsiteY29" fmla="*/ 126206 h 420623"/>
                <a:gd name="connsiteX30" fmla="*/ 232410 w 995171"/>
                <a:gd name="connsiteY30" fmla="*/ 137065 h 420623"/>
                <a:gd name="connsiteX31" fmla="*/ 195358 w 995171"/>
                <a:gd name="connsiteY31" fmla="*/ 167259 h 420623"/>
                <a:gd name="connsiteX32" fmla="*/ 191262 w 995171"/>
                <a:gd name="connsiteY32" fmla="*/ 172498 h 420623"/>
                <a:gd name="connsiteX33" fmla="*/ 191262 w 995171"/>
                <a:gd name="connsiteY33" fmla="*/ 167831 h 420623"/>
                <a:gd name="connsiteX34" fmla="*/ 191262 w 995171"/>
                <a:gd name="connsiteY34" fmla="*/ 132017 h 420623"/>
                <a:gd name="connsiteX35" fmla="*/ 117920 w 995171"/>
                <a:gd name="connsiteY35" fmla="*/ 132017 h 420623"/>
                <a:gd name="connsiteX36" fmla="*/ 117920 w 995171"/>
                <a:gd name="connsiteY36" fmla="*/ 414814 h 420623"/>
                <a:gd name="connsiteX37" fmla="*/ 191929 w 995171"/>
                <a:gd name="connsiteY37" fmla="*/ 414814 h 420623"/>
                <a:gd name="connsiteX38" fmla="*/ 191929 w 995171"/>
                <a:gd name="connsiteY38" fmla="*/ 264128 h 420623"/>
                <a:gd name="connsiteX39" fmla="*/ 192024 w 995171"/>
                <a:gd name="connsiteY39" fmla="*/ 274606 h 420623"/>
                <a:gd name="connsiteX40" fmla="*/ 192119 w 995171"/>
                <a:gd name="connsiteY40" fmla="*/ 269558 h 420623"/>
                <a:gd name="connsiteX41" fmla="*/ 211741 w 995171"/>
                <a:gd name="connsiteY41" fmla="*/ 210884 h 420623"/>
                <a:gd name="connsiteX42" fmla="*/ 258985 w 995171"/>
                <a:gd name="connsiteY42" fmla="*/ 190786 h 420623"/>
                <a:gd name="connsiteX43" fmla="*/ 307753 w 995171"/>
                <a:gd name="connsiteY43" fmla="*/ 210407 h 420623"/>
                <a:gd name="connsiteX44" fmla="*/ 323945 w 995171"/>
                <a:gd name="connsiteY44" fmla="*/ 264605 h 420623"/>
                <a:gd name="connsiteX45" fmla="*/ 323945 w 995171"/>
                <a:gd name="connsiteY45" fmla="*/ 264605 h 420623"/>
                <a:gd name="connsiteX46" fmla="*/ 323945 w 995171"/>
                <a:gd name="connsiteY46" fmla="*/ 265176 h 420623"/>
                <a:gd name="connsiteX47" fmla="*/ 323945 w 995171"/>
                <a:gd name="connsiteY47" fmla="*/ 265271 h 420623"/>
                <a:gd name="connsiteX48" fmla="*/ 323945 w 995171"/>
                <a:gd name="connsiteY48" fmla="*/ 414814 h 420623"/>
                <a:gd name="connsiteX49" fmla="*/ 399098 w 995171"/>
                <a:gd name="connsiteY49" fmla="*/ 414814 h 420623"/>
                <a:gd name="connsiteX50" fmla="*/ 399098 w 995171"/>
                <a:gd name="connsiteY50" fmla="*/ 254222 h 420623"/>
                <a:gd name="connsiteX51" fmla="*/ 367951 w 995171"/>
                <a:gd name="connsiteY51" fmla="*/ 159830 h 420623"/>
                <a:gd name="connsiteX52" fmla="*/ 881825 w 995171"/>
                <a:gd name="connsiteY52" fmla="*/ 272796 h 420623"/>
                <a:gd name="connsiteX53" fmla="*/ 871061 w 995171"/>
                <a:gd name="connsiteY53" fmla="*/ 215646 h 420623"/>
                <a:gd name="connsiteX54" fmla="*/ 841057 w 995171"/>
                <a:gd name="connsiteY54" fmla="*/ 168974 h 420623"/>
                <a:gd name="connsiteX55" fmla="*/ 794957 w 995171"/>
                <a:gd name="connsiteY55" fmla="*/ 137636 h 420623"/>
                <a:gd name="connsiteX56" fmla="*/ 735806 w 995171"/>
                <a:gd name="connsiteY56" fmla="*/ 126302 h 420623"/>
                <a:gd name="connsiteX57" fmla="*/ 678371 w 995171"/>
                <a:gd name="connsiteY57" fmla="*/ 137922 h 420623"/>
                <a:gd name="connsiteX58" fmla="*/ 631698 w 995171"/>
                <a:gd name="connsiteY58" fmla="*/ 169355 h 420623"/>
                <a:gd name="connsiteX59" fmla="*/ 600266 w 995171"/>
                <a:gd name="connsiteY59" fmla="*/ 216027 h 420623"/>
                <a:gd name="connsiteX60" fmla="*/ 588645 w 995171"/>
                <a:gd name="connsiteY60" fmla="*/ 273463 h 420623"/>
                <a:gd name="connsiteX61" fmla="*/ 599694 w 995171"/>
                <a:gd name="connsiteY61" fmla="*/ 330899 h 420623"/>
                <a:gd name="connsiteX62" fmla="*/ 630269 w 995171"/>
                <a:gd name="connsiteY62" fmla="*/ 377571 h 420623"/>
                <a:gd name="connsiteX63" fmla="*/ 677513 w 995171"/>
                <a:gd name="connsiteY63" fmla="*/ 409004 h 420623"/>
                <a:gd name="connsiteX64" fmla="*/ 738092 w 995171"/>
                <a:gd name="connsiteY64" fmla="*/ 420624 h 420623"/>
                <a:gd name="connsiteX65" fmla="*/ 863918 w 995171"/>
                <a:gd name="connsiteY65" fmla="*/ 365093 h 420623"/>
                <a:gd name="connsiteX66" fmla="*/ 810292 w 995171"/>
                <a:gd name="connsiteY66" fmla="*/ 324231 h 420623"/>
                <a:gd name="connsiteX67" fmla="*/ 738664 w 995171"/>
                <a:gd name="connsiteY67" fmla="*/ 355854 h 420623"/>
                <a:gd name="connsiteX68" fmla="*/ 687229 w 995171"/>
                <a:gd name="connsiteY68" fmla="*/ 341376 h 420623"/>
                <a:gd name="connsiteX69" fmla="*/ 660368 w 995171"/>
                <a:gd name="connsiteY69" fmla="*/ 302133 h 420623"/>
                <a:gd name="connsiteX70" fmla="*/ 659606 w 995171"/>
                <a:gd name="connsiteY70" fmla="*/ 299466 h 420623"/>
                <a:gd name="connsiteX71" fmla="*/ 881825 w 995171"/>
                <a:gd name="connsiteY71" fmla="*/ 299466 h 420623"/>
                <a:gd name="connsiteX72" fmla="*/ 881825 w 995171"/>
                <a:gd name="connsiteY72" fmla="*/ 272796 h 420623"/>
                <a:gd name="connsiteX73" fmla="*/ 660368 w 995171"/>
                <a:gd name="connsiteY73" fmla="*/ 246793 h 420623"/>
                <a:gd name="connsiteX74" fmla="*/ 735330 w 995171"/>
                <a:gd name="connsiteY74" fmla="*/ 189929 h 420623"/>
                <a:gd name="connsiteX75" fmla="*/ 810387 w 995171"/>
                <a:gd name="connsiteY75" fmla="*/ 246698 h 420623"/>
                <a:gd name="connsiteX76" fmla="*/ 660368 w 995171"/>
                <a:gd name="connsiteY76" fmla="*/ 246793 h 420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95171" h="420623">
                  <a:moveTo>
                    <a:pt x="74486" y="131921"/>
                  </a:moveTo>
                  <a:lnTo>
                    <a:pt x="0" y="131921"/>
                  </a:lnTo>
                  <a:lnTo>
                    <a:pt x="0" y="414719"/>
                  </a:lnTo>
                  <a:lnTo>
                    <a:pt x="74486" y="414719"/>
                  </a:lnTo>
                  <a:lnTo>
                    <a:pt x="74486" y="131921"/>
                  </a:lnTo>
                  <a:close/>
                  <a:moveTo>
                    <a:pt x="568262" y="417576"/>
                  </a:moveTo>
                  <a:lnTo>
                    <a:pt x="568262" y="348234"/>
                  </a:lnTo>
                  <a:cubicBezTo>
                    <a:pt x="557308" y="348139"/>
                    <a:pt x="548259" y="347567"/>
                    <a:pt x="541306" y="346520"/>
                  </a:cubicBezTo>
                  <a:cubicBezTo>
                    <a:pt x="533591" y="345281"/>
                    <a:pt x="527685" y="342710"/>
                    <a:pt x="523780" y="338804"/>
                  </a:cubicBezTo>
                  <a:cubicBezTo>
                    <a:pt x="519875" y="334899"/>
                    <a:pt x="517303" y="329184"/>
                    <a:pt x="516065" y="321945"/>
                  </a:cubicBezTo>
                  <a:cubicBezTo>
                    <a:pt x="514922" y="314992"/>
                    <a:pt x="514350" y="305753"/>
                    <a:pt x="514350" y="294608"/>
                  </a:cubicBezTo>
                  <a:lnTo>
                    <a:pt x="514350" y="195644"/>
                  </a:lnTo>
                  <a:lnTo>
                    <a:pt x="568262" y="195644"/>
                  </a:lnTo>
                  <a:lnTo>
                    <a:pt x="568262" y="131921"/>
                  </a:lnTo>
                  <a:lnTo>
                    <a:pt x="514350" y="131921"/>
                  </a:lnTo>
                  <a:lnTo>
                    <a:pt x="514350" y="21812"/>
                  </a:lnTo>
                  <a:lnTo>
                    <a:pt x="439865" y="21812"/>
                  </a:lnTo>
                  <a:lnTo>
                    <a:pt x="439865" y="295180"/>
                  </a:lnTo>
                  <a:cubicBezTo>
                    <a:pt x="439865" y="318230"/>
                    <a:pt x="441865" y="337852"/>
                    <a:pt x="445865" y="353473"/>
                  </a:cubicBezTo>
                  <a:cubicBezTo>
                    <a:pt x="449771" y="368903"/>
                    <a:pt x="456438" y="381572"/>
                    <a:pt x="465677" y="391001"/>
                  </a:cubicBezTo>
                  <a:cubicBezTo>
                    <a:pt x="474917" y="400431"/>
                    <a:pt x="487204" y="407289"/>
                    <a:pt x="502063" y="411385"/>
                  </a:cubicBezTo>
                  <a:cubicBezTo>
                    <a:pt x="517112" y="415481"/>
                    <a:pt x="536258" y="417671"/>
                    <a:pt x="558927" y="417671"/>
                  </a:cubicBezTo>
                  <a:lnTo>
                    <a:pt x="568262" y="417671"/>
                  </a:lnTo>
                  <a:close/>
                  <a:moveTo>
                    <a:pt x="995172" y="0"/>
                  </a:moveTo>
                  <a:lnTo>
                    <a:pt x="920687" y="0"/>
                  </a:lnTo>
                  <a:lnTo>
                    <a:pt x="920687" y="414719"/>
                  </a:lnTo>
                  <a:lnTo>
                    <a:pt x="995172" y="414719"/>
                  </a:lnTo>
                  <a:lnTo>
                    <a:pt x="995172" y="0"/>
                  </a:lnTo>
                  <a:close/>
                  <a:moveTo>
                    <a:pt x="367951" y="159830"/>
                  </a:moveTo>
                  <a:cubicBezTo>
                    <a:pt x="347282" y="137541"/>
                    <a:pt x="318135" y="126206"/>
                    <a:pt x="281273" y="126206"/>
                  </a:cubicBezTo>
                  <a:cubicBezTo>
                    <a:pt x="263462" y="126206"/>
                    <a:pt x="247079" y="129921"/>
                    <a:pt x="232410" y="137065"/>
                  </a:cubicBezTo>
                  <a:cubicBezTo>
                    <a:pt x="217742" y="144304"/>
                    <a:pt x="205264" y="154496"/>
                    <a:pt x="195358" y="167259"/>
                  </a:cubicBezTo>
                  <a:lnTo>
                    <a:pt x="191262" y="172498"/>
                  </a:lnTo>
                  <a:lnTo>
                    <a:pt x="191262" y="167831"/>
                  </a:lnTo>
                  <a:lnTo>
                    <a:pt x="191262" y="132017"/>
                  </a:lnTo>
                  <a:lnTo>
                    <a:pt x="117920" y="132017"/>
                  </a:lnTo>
                  <a:lnTo>
                    <a:pt x="117920" y="414814"/>
                  </a:lnTo>
                  <a:lnTo>
                    <a:pt x="191929" y="414814"/>
                  </a:lnTo>
                  <a:lnTo>
                    <a:pt x="191929" y="264128"/>
                  </a:lnTo>
                  <a:lnTo>
                    <a:pt x="192024" y="274606"/>
                  </a:lnTo>
                  <a:cubicBezTo>
                    <a:pt x="192024" y="272891"/>
                    <a:pt x="192024" y="271177"/>
                    <a:pt x="192119" y="269558"/>
                  </a:cubicBezTo>
                  <a:cubicBezTo>
                    <a:pt x="192881" y="243173"/>
                    <a:pt x="199454" y="223456"/>
                    <a:pt x="211741" y="210884"/>
                  </a:cubicBezTo>
                  <a:cubicBezTo>
                    <a:pt x="224790" y="197549"/>
                    <a:pt x="240697" y="190786"/>
                    <a:pt x="258985" y="190786"/>
                  </a:cubicBezTo>
                  <a:cubicBezTo>
                    <a:pt x="280511" y="190786"/>
                    <a:pt x="296894" y="197358"/>
                    <a:pt x="307753" y="210407"/>
                  </a:cubicBezTo>
                  <a:cubicBezTo>
                    <a:pt x="318421" y="223171"/>
                    <a:pt x="323850" y="241364"/>
                    <a:pt x="323945" y="264605"/>
                  </a:cubicBezTo>
                  <a:lnTo>
                    <a:pt x="323945" y="264605"/>
                  </a:lnTo>
                  <a:lnTo>
                    <a:pt x="323945" y="265176"/>
                  </a:lnTo>
                  <a:lnTo>
                    <a:pt x="323945" y="265271"/>
                  </a:lnTo>
                  <a:lnTo>
                    <a:pt x="323945" y="414814"/>
                  </a:lnTo>
                  <a:lnTo>
                    <a:pt x="399098" y="414814"/>
                  </a:lnTo>
                  <a:lnTo>
                    <a:pt x="399098" y="254222"/>
                  </a:lnTo>
                  <a:cubicBezTo>
                    <a:pt x="399193" y="213931"/>
                    <a:pt x="388620" y="182118"/>
                    <a:pt x="367951" y="159830"/>
                  </a:cubicBezTo>
                  <a:moveTo>
                    <a:pt x="881825" y="272796"/>
                  </a:moveTo>
                  <a:cubicBezTo>
                    <a:pt x="881825" y="252508"/>
                    <a:pt x="878205" y="233267"/>
                    <a:pt x="871061" y="215646"/>
                  </a:cubicBezTo>
                  <a:cubicBezTo>
                    <a:pt x="863918" y="198025"/>
                    <a:pt x="853821" y="182309"/>
                    <a:pt x="841057" y="168974"/>
                  </a:cubicBezTo>
                  <a:cubicBezTo>
                    <a:pt x="828294" y="155639"/>
                    <a:pt x="812768" y="145066"/>
                    <a:pt x="794957" y="137636"/>
                  </a:cubicBezTo>
                  <a:cubicBezTo>
                    <a:pt x="777145" y="130112"/>
                    <a:pt x="757238" y="126302"/>
                    <a:pt x="735806" y="126302"/>
                  </a:cubicBezTo>
                  <a:cubicBezTo>
                    <a:pt x="715518" y="126302"/>
                    <a:pt x="696182" y="130207"/>
                    <a:pt x="678371" y="137922"/>
                  </a:cubicBezTo>
                  <a:cubicBezTo>
                    <a:pt x="660559" y="145637"/>
                    <a:pt x="644843" y="156210"/>
                    <a:pt x="631698" y="169355"/>
                  </a:cubicBezTo>
                  <a:cubicBezTo>
                    <a:pt x="618554" y="182499"/>
                    <a:pt x="607981" y="198215"/>
                    <a:pt x="600266" y="216027"/>
                  </a:cubicBezTo>
                  <a:cubicBezTo>
                    <a:pt x="592550" y="233839"/>
                    <a:pt x="588645" y="253175"/>
                    <a:pt x="588645" y="273463"/>
                  </a:cubicBezTo>
                  <a:cubicBezTo>
                    <a:pt x="588645" y="293751"/>
                    <a:pt x="592360" y="313087"/>
                    <a:pt x="599694" y="330899"/>
                  </a:cubicBezTo>
                  <a:cubicBezTo>
                    <a:pt x="607028" y="348710"/>
                    <a:pt x="617315" y="364426"/>
                    <a:pt x="630269" y="377571"/>
                  </a:cubicBezTo>
                  <a:cubicBezTo>
                    <a:pt x="643223" y="390716"/>
                    <a:pt x="659130" y="401288"/>
                    <a:pt x="677513" y="409004"/>
                  </a:cubicBezTo>
                  <a:cubicBezTo>
                    <a:pt x="695897" y="416719"/>
                    <a:pt x="716280" y="420624"/>
                    <a:pt x="738092" y="420624"/>
                  </a:cubicBezTo>
                  <a:cubicBezTo>
                    <a:pt x="801148" y="420624"/>
                    <a:pt x="840391" y="391954"/>
                    <a:pt x="863918" y="365093"/>
                  </a:cubicBezTo>
                  <a:lnTo>
                    <a:pt x="810292" y="324231"/>
                  </a:lnTo>
                  <a:cubicBezTo>
                    <a:pt x="798957" y="337661"/>
                    <a:pt x="772192" y="355854"/>
                    <a:pt x="738664" y="355854"/>
                  </a:cubicBezTo>
                  <a:cubicBezTo>
                    <a:pt x="717614" y="355854"/>
                    <a:pt x="700373" y="350996"/>
                    <a:pt x="687229" y="341376"/>
                  </a:cubicBezTo>
                  <a:cubicBezTo>
                    <a:pt x="674084" y="331756"/>
                    <a:pt x="665036" y="318611"/>
                    <a:pt x="660368" y="302133"/>
                  </a:cubicBezTo>
                  <a:lnTo>
                    <a:pt x="659606" y="299466"/>
                  </a:lnTo>
                  <a:lnTo>
                    <a:pt x="881825" y="299466"/>
                  </a:lnTo>
                  <a:lnTo>
                    <a:pt x="881825" y="272796"/>
                  </a:lnTo>
                  <a:close/>
                  <a:moveTo>
                    <a:pt x="660368" y="246793"/>
                  </a:moveTo>
                  <a:cubicBezTo>
                    <a:pt x="660368" y="226124"/>
                    <a:pt x="684086" y="189929"/>
                    <a:pt x="735330" y="189929"/>
                  </a:cubicBezTo>
                  <a:cubicBezTo>
                    <a:pt x="786575" y="189929"/>
                    <a:pt x="810387" y="226028"/>
                    <a:pt x="810387" y="246698"/>
                  </a:cubicBezTo>
                  <a:lnTo>
                    <a:pt x="660368" y="24679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094D935-4B06-467E-ACD3-E78CD1B86EE3}"/>
                </a:ext>
              </a:extLst>
            </p:cNvPr>
            <p:cNvSpPr/>
            <p:nvPr/>
          </p:nvSpPr>
          <p:spPr>
            <a:xfrm>
              <a:off x="2358770" y="6728469"/>
              <a:ext cx="79057" cy="79057"/>
            </a:xfrm>
            <a:custGeom>
              <a:avLst/>
              <a:gdLst>
                <a:gd name="connsiteX0" fmla="*/ 39529 w 79057"/>
                <a:gd name="connsiteY0" fmla="*/ 5620 h 79057"/>
                <a:gd name="connsiteX1" fmla="*/ 73438 w 79057"/>
                <a:gd name="connsiteY1" fmla="*/ 39529 h 79057"/>
                <a:gd name="connsiteX2" fmla="*/ 39529 w 79057"/>
                <a:gd name="connsiteY2" fmla="*/ 73438 h 79057"/>
                <a:gd name="connsiteX3" fmla="*/ 5620 w 79057"/>
                <a:gd name="connsiteY3" fmla="*/ 39529 h 79057"/>
                <a:gd name="connsiteX4" fmla="*/ 39529 w 79057"/>
                <a:gd name="connsiteY4" fmla="*/ 5620 h 79057"/>
                <a:gd name="connsiteX5" fmla="*/ 39529 w 79057"/>
                <a:gd name="connsiteY5" fmla="*/ 0 h 79057"/>
                <a:gd name="connsiteX6" fmla="*/ 0 w 79057"/>
                <a:gd name="connsiteY6" fmla="*/ 39529 h 79057"/>
                <a:gd name="connsiteX7" fmla="*/ 39529 w 79057"/>
                <a:gd name="connsiteY7" fmla="*/ 79058 h 79057"/>
                <a:gd name="connsiteX8" fmla="*/ 79058 w 79057"/>
                <a:gd name="connsiteY8" fmla="*/ 39529 h 79057"/>
                <a:gd name="connsiteX9" fmla="*/ 39529 w 79057"/>
                <a:gd name="connsiteY9" fmla="*/ 0 h 79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9057" h="79057">
                  <a:moveTo>
                    <a:pt x="39529" y="5620"/>
                  </a:moveTo>
                  <a:cubicBezTo>
                    <a:pt x="58198" y="5620"/>
                    <a:pt x="73438" y="20860"/>
                    <a:pt x="73438" y="39529"/>
                  </a:cubicBezTo>
                  <a:cubicBezTo>
                    <a:pt x="73438" y="58198"/>
                    <a:pt x="58198" y="73438"/>
                    <a:pt x="39529" y="73438"/>
                  </a:cubicBezTo>
                  <a:cubicBezTo>
                    <a:pt x="20860" y="73438"/>
                    <a:pt x="5620" y="58198"/>
                    <a:pt x="5620" y="39529"/>
                  </a:cubicBezTo>
                  <a:cubicBezTo>
                    <a:pt x="5620" y="20860"/>
                    <a:pt x="20860" y="5620"/>
                    <a:pt x="39529" y="5620"/>
                  </a:cubicBezTo>
                  <a:moveTo>
                    <a:pt x="39529" y="0"/>
                  </a:moveTo>
                  <a:cubicBezTo>
                    <a:pt x="17717" y="0"/>
                    <a:pt x="0" y="17717"/>
                    <a:pt x="0" y="39529"/>
                  </a:cubicBezTo>
                  <a:cubicBezTo>
                    <a:pt x="0" y="61341"/>
                    <a:pt x="17717" y="79058"/>
                    <a:pt x="39529" y="79058"/>
                  </a:cubicBezTo>
                  <a:cubicBezTo>
                    <a:pt x="61341" y="79058"/>
                    <a:pt x="79058" y="61341"/>
                    <a:pt x="79058" y="39529"/>
                  </a:cubicBezTo>
                  <a:cubicBezTo>
                    <a:pt x="79058" y="17717"/>
                    <a:pt x="61341" y="0"/>
                    <a:pt x="39529" y="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3E1BDA4-68F2-4FA3-BD91-CBC85BF15A79}"/>
                </a:ext>
              </a:extLst>
            </p:cNvPr>
            <p:cNvSpPr/>
            <p:nvPr/>
          </p:nvSpPr>
          <p:spPr>
            <a:xfrm>
              <a:off x="2384869" y="6748090"/>
              <a:ext cx="30765" cy="39528"/>
            </a:xfrm>
            <a:custGeom>
              <a:avLst/>
              <a:gdLst>
                <a:gd name="connsiteX0" fmla="*/ 16383 w 30765"/>
                <a:gd name="connsiteY0" fmla="*/ 95 h 39528"/>
                <a:gd name="connsiteX1" fmla="*/ 23051 w 30765"/>
                <a:gd name="connsiteY1" fmla="*/ 1715 h 39528"/>
                <a:gd name="connsiteX2" fmla="*/ 27718 w 30765"/>
                <a:gd name="connsiteY2" fmla="*/ 6191 h 39528"/>
                <a:gd name="connsiteX3" fmla="*/ 29337 w 30765"/>
                <a:gd name="connsiteY3" fmla="*/ 12478 h 39528"/>
                <a:gd name="connsiteX4" fmla="*/ 27146 w 30765"/>
                <a:gd name="connsiteY4" fmla="*/ 19622 h 39528"/>
                <a:gd name="connsiteX5" fmla="*/ 21812 w 30765"/>
                <a:gd name="connsiteY5" fmla="*/ 23717 h 39528"/>
                <a:gd name="connsiteX6" fmla="*/ 30766 w 30765"/>
                <a:gd name="connsiteY6" fmla="*/ 39529 h 39528"/>
                <a:gd name="connsiteX7" fmla="*/ 23717 w 30765"/>
                <a:gd name="connsiteY7" fmla="*/ 39529 h 39528"/>
                <a:gd name="connsiteX8" fmla="*/ 15526 w 30765"/>
                <a:gd name="connsiteY8" fmla="*/ 24860 h 39528"/>
                <a:gd name="connsiteX9" fmla="*/ 6191 w 30765"/>
                <a:gd name="connsiteY9" fmla="*/ 24860 h 39528"/>
                <a:gd name="connsiteX10" fmla="*/ 6191 w 30765"/>
                <a:gd name="connsiteY10" fmla="*/ 39529 h 39528"/>
                <a:gd name="connsiteX11" fmla="*/ 0 w 30765"/>
                <a:gd name="connsiteY11" fmla="*/ 39529 h 39528"/>
                <a:gd name="connsiteX12" fmla="*/ 0 w 30765"/>
                <a:gd name="connsiteY12" fmla="*/ 0 h 39528"/>
                <a:gd name="connsiteX13" fmla="*/ 16383 w 30765"/>
                <a:gd name="connsiteY13" fmla="*/ 0 h 39528"/>
                <a:gd name="connsiteX14" fmla="*/ 16383 w 30765"/>
                <a:gd name="connsiteY14" fmla="*/ 19336 h 39528"/>
                <a:gd name="connsiteX15" fmla="*/ 19907 w 30765"/>
                <a:gd name="connsiteY15" fmla="*/ 18478 h 39528"/>
                <a:gd name="connsiteX16" fmla="*/ 22289 w 30765"/>
                <a:gd name="connsiteY16" fmla="*/ 16097 h 39528"/>
                <a:gd name="connsiteX17" fmla="*/ 23146 w 30765"/>
                <a:gd name="connsiteY17" fmla="*/ 12573 h 39528"/>
                <a:gd name="connsiteX18" fmla="*/ 22289 w 30765"/>
                <a:gd name="connsiteY18" fmla="*/ 9049 h 39528"/>
                <a:gd name="connsiteX19" fmla="*/ 19907 w 30765"/>
                <a:gd name="connsiteY19" fmla="*/ 6668 h 39528"/>
                <a:gd name="connsiteX20" fmla="*/ 16383 w 30765"/>
                <a:gd name="connsiteY20" fmla="*/ 5810 h 39528"/>
                <a:gd name="connsiteX21" fmla="*/ 6191 w 30765"/>
                <a:gd name="connsiteY21" fmla="*/ 5810 h 39528"/>
                <a:gd name="connsiteX22" fmla="*/ 6191 w 30765"/>
                <a:gd name="connsiteY22" fmla="*/ 19336 h 39528"/>
                <a:gd name="connsiteX23" fmla="*/ 16383 w 30765"/>
                <a:gd name="connsiteY23" fmla="*/ 19336 h 3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0765" h="39528">
                  <a:moveTo>
                    <a:pt x="16383" y="95"/>
                  </a:moveTo>
                  <a:cubicBezTo>
                    <a:pt x="18860" y="95"/>
                    <a:pt x="21050" y="667"/>
                    <a:pt x="23051" y="1715"/>
                  </a:cubicBezTo>
                  <a:cubicBezTo>
                    <a:pt x="25051" y="2762"/>
                    <a:pt x="26575" y="4286"/>
                    <a:pt x="27718" y="6191"/>
                  </a:cubicBezTo>
                  <a:cubicBezTo>
                    <a:pt x="28861" y="8096"/>
                    <a:pt x="29337" y="10192"/>
                    <a:pt x="29337" y="12478"/>
                  </a:cubicBezTo>
                  <a:cubicBezTo>
                    <a:pt x="29337" y="15335"/>
                    <a:pt x="28575" y="17717"/>
                    <a:pt x="27146" y="19622"/>
                  </a:cubicBezTo>
                  <a:cubicBezTo>
                    <a:pt x="25718" y="21527"/>
                    <a:pt x="23908" y="22860"/>
                    <a:pt x="21812" y="23717"/>
                  </a:cubicBezTo>
                  <a:lnTo>
                    <a:pt x="30766" y="39529"/>
                  </a:lnTo>
                  <a:lnTo>
                    <a:pt x="23717" y="39529"/>
                  </a:lnTo>
                  <a:lnTo>
                    <a:pt x="15526" y="24860"/>
                  </a:lnTo>
                  <a:lnTo>
                    <a:pt x="6191" y="24860"/>
                  </a:lnTo>
                  <a:lnTo>
                    <a:pt x="6191" y="39529"/>
                  </a:lnTo>
                  <a:lnTo>
                    <a:pt x="0" y="39529"/>
                  </a:lnTo>
                  <a:lnTo>
                    <a:pt x="0" y="0"/>
                  </a:lnTo>
                  <a:lnTo>
                    <a:pt x="16383" y="0"/>
                  </a:lnTo>
                  <a:close/>
                  <a:moveTo>
                    <a:pt x="16383" y="19336"/>
                  </a:moveTo>
                  <a:cubicBezTo>
                    <a:pt x="17717" y="19336"/>
                    <a:pt x="18860" y="19050"/>
                    <a:pt x="19907" y="18478"/>
                  </a:cubicBezTo>
                  <a:cubicBezTo>
                    <a:pt x="20955" y="17907"/>
                    <a:pt x="21717" y="17050"/>
                    <a:pt x="22289" y="16097"/>
                  </a:cubicBezTo>
                  <a:cubicBezTo>
                    <a:pt x="22860" y="15050"/>
                    <a:pt x="23146" y="13906"/>
                    <a:pt x="23146" y="12573"/>
                  </a:cubicBezTo>
                  <a:cubicBezTo>
                    <a:pt x="23146" y="11240"/>
                    <a:pt x="22860" y="10097"/>
                    <a:pt x="22289" y="9049"/>
                  </a:cubicBezTo>
                  <a:cubicBezTo>
                    <a:pt x="21717" y="8001"/>
                    <a:pt x="20860" y="7239"/>
                    <a:pt x="19907" y="6668"/>
                  </a:cubicBezTo>
                  <a:cubicBezTo>
                    <a:pt x="18860" y="6096"/>
                    <a:pt x="17717" y="5810"/>
                    <a:pt x="16383" y="5810"/>
                  </a:cubicBezTo>
                  <a:lnTo>
                    <a:pt x="6191" y="5810"/>
                  </a:lnTo>
                  <a:lnTo>
                    <a:pt x="6191" y="19336"/>
                  </a:lnTo>
                  <a:lnTo>
                    <a:pt x="16383" y="1933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911551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Rectangle"/>
          <p:cNvSpPr/>
          <p:nvPr/>
        </p:nvSpPr>
        <p:spPr>
          <a:xfrm>
            <a:off x="1466513" y="-28456"/>
            <a:ext cx="3430768" cy="5421617"/>
          </a:xfrm>
          <a:prstGeom prst="rect">
            <a:avLst/>
          </a:prstGeom>
          <a:solidFill>
            <a:srgbClr val="E7E7E7">
              <a:alpha val="39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22" name="Title Text">
            <a:extLst>
              <a:ext uri="{FF2B5EF4-FFF2-40B4-BE49-F238E27FC236}">
                <a16:creationId xmlns:a16="http://schemas.microsoft.com/office/drawing/2014/main" id="{82EC668F-6093-6548-B182-47568630AF8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895475" y="3585279"/>
            <a:ext cx="10972801" cy="1091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7500">
                <a:solidFill>
                  <a:srgbClr val="525252"/>
                </a:solidFill>
              </a:defRPr>
            </a:lvl1pPr>
          </a:lstStyle>
          <a:p>
            <a:r>
              <a:rPr lang="en-US"/>
              <a:t>75 </a:t>
            </a:r>
            <a:r>
              <a:rPr lang="en-US" err="1"/>
              <a:t>pt</a:t>
            </a:r>
            <a:r>
              <a:rPr lang="en-US"/>
              <a:t> Intel Clear</a:t>
            </a:r>
            <a:endParaRPr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87CC838-4D6E-4C99-A3F1-81F2913C62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95475" y="3182315"/>
            <a:ext cx="10296524" cy="304800"/>
          </a:xfrm>
        </p:spPr>
        <p:txBody>
          <a:bodyPr>
            <a:normAutofit/>
          </a:bodyPr>
          <a:lstStyle>
            <a:lvl1pPr marL="0" indent="0">
              <a:buNone/>
              <a:defRPr sz="1600" b="1" i="0">
                <a:solidFill>
                  <a:schemeClr val="accent1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6pt Intel Clear Bold Intro: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0C3E650-A810-40D9-81A8-D3E73C9326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08348" y="4778609"/>
            <a:ext cx="10283651" cy="326776"/>
          </a:xfr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bg2"/>
                </a:solidFill>
                <a:latin typeface="Intel Clear" panose="020B0604020203020204" pitchFamily="34" charset="0"/>
                <a:ea typeface="Intel Clear" panose="020B0604020203020204" pitchFamily="34" charset="0"/>
                <a:cs typeface="Intel Clear" panose="020B0604020203020204" pitchFamily="34" charset="0"/>
              </a:defRPr>
            </a:lvl1pPr>
          </a:lstStyle>
          <a:p>
            <a:r>
              <a:rPr lang="en-US"/>
              <a:t>18pt Intel Clear Subhead, Date, Etc.</a:t>
            </a:r>
          </a:p>
        </p:txBody>
      </p:sp>
      <p:sp>
        <p:nvSpPr>
          <p:cNvPr id="10" name="Square">
            <a:extLst>
              <a:ext uri="{FF2B5EF4-FFF2-40B4-BE49-F238E27FC236}">
                <a16:creationId xmlns:a16="http://schemas.microsoft.com/office/drawing/2014/main" id="{99F366F8-DC49-4E0B-B131-1FB92CC518E3}"/>
              </a:ext>
            </a:extLst>
          </p:cNvPr>
          <p:cNvSpPr/>
          <p:nvPr userDrawn="1"/>
        </p:nvSpPr>
        <p:spPr>
          <a:xfrm>
            <a:off x="861107" y="5390896"/>
            <a:ext cx="607299" cy="607299"/>
          </a:xfrm>
          <a:prstGeom prst="rect">
            <a:avLst/>
          </a:prstGeom>
          <a:solidFill>
            <a:srgbClr val="2872C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10443275-64C7-4249-92B8-990C3BB41279}"/>
              </a:ext>
            </a:extLst>
          </p:cNvPr>
          <p:cNvSpPr/>
          <p:nvPr userDrawn="1"/>
        </p:nvSpPr>
        <p:spPr>
          <a:xfrm>
            <a:off x="576067" y="5108797"/>
            <a:ext cx="286654" cy="282073"/>
          </a:xfrm>
          <a:prstGeom prst="rect">
            <a:avLst/>
          </a:prstGeom>
          <a:solidFill>
            <a:srgbClr val="00C7FD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2" name="Square">
            <a:extLst>
              <a:ext uri="{FF2B5EF4-FFF2-40B4-BE49-F238E27FC236}">
                <a16:creationId xmlns:a16="http://schemas.microsoft.com/office/drawing/2014/main" id="{85908D9A-1608-44B4-A0A3-FC9E665728CA}"/>
              </a:ext>
            </a:extLst>
          </p:cNvPr>
          <p:cNvSpPr/>
          <p:nvPr userDrawn="1"/>
        </p:nvSpPr>
        <p:spPr>
          <a:xfrm>
            <a:off x="861107" y="4952474"/>
            <a:ext cx="157461" cy="157461"/>
          </a:xfrm>
          <a:prstGeom prst="rect">
            <a:avLst/>
          </a:prstGeom>
          <a:solidFill>
            <a:srgbClr val="2872C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952F383-4862-4271-B541-5612120030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66513" y="5992753"/>
            <a:ext cx="1031758" cy="384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4746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14C27936-4608-A44C-9C6E-3708646E200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571500"/>
            <a:ext cx="11010816" cy="952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>
                <a:solidFill>
                  <a:srgbClr val="525252"/>
                </a:solidFill>
              </a:defRPr>
            </a:lvl1pPr>
          </a:lstStyle>
          <a:p>
            <a:r>
              <a:rPr lang="en-US"/>
              <a:t>40pt Intel Clear Ligh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3188715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14C27936-4608-A44C-9C6E-3708646E200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571500"/>
            <a:ext cx="11010816" cy="952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>
                <a:solidFill>
                  <a:srgbClr val="525252"/>
                </a:solidFill>
              </a:defRPr>
            </a:lvl1pPr>
          </a:lstStyle>
          <a:p>
            <a:r>
              <a:rPr lang="en-US"/>
              <a:t>40pt Intel Clear Light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A0C540-99BD-45E3-99D2-78C2032EBE5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370" y="1673454"/>
            <a:ext cx="11010900" cy="45749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80316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DAF8089-C2D7-9079-33DB-9B7870412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7725" y="84822"/>
            <a:ext cx="10515600" cy="1325563"/>
          </a:xfrm>
          <a:prstGeom prst="rect">
            <a:avLst/>
          </a:prstGeom>
        </p:spPr>
        <p:txBody>
          <a:bodyPr/>
          <a:lstStyle>
            <a:lvl1pPr algn="l">
              <a:defRPr sz="6000" baseline="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C4C76AEB-E466-39CB-006D-3108A5014A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7725" y="2663762"/>
            <a:ext cx="10133076" cy="1949116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1430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6002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0574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9C70DBE5-7089-1059-5451-7DA6CCD8A8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7725" y="1708559"/>
            <a:ext cx="9580563" cy="1311275"/>
          </a:xfrm>
        </p:spPr>
        <p:txBody>
          <a:bodyPr>
            <a:normAutofit/>
          </a:bodyPr>
          <a:lstStyle>
            <a:lvl1pPr marL="0" indent="0">
              <a:buNone/>
              <a:defRPr sz="4000">
                <a:solidFill>
                  <a:srgbClr val="00498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390719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14C27936-4608-A44C-9C6E-3708646E200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571500"/>
            <a:ext cx="11010816" cy="952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>
                <a:solidFill>
                  <a:srgbClr val="525252"/>
                </a:solidFill>
              </a:defRPr>
            </a:lvl1pPr>
          </a:lstStyle>
          <a:p>
            <a:r>
              <a:rPr lang="en-US"/>
              <a:t>40pt Intel Clear Light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A0C540-99BD-45E3-99D2-78C2032EBE5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370" y="2139953"/>
            <a:ext cx="11010900" cy="410844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980C114-FE9A-4B63-B509-F59F1A2C55A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370" y="1612901"/>
            <a:ext cx="11022013" cy="438150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21141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&amp; 2 Conten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Text">
            <a:extLst>
              <a:ext uri="{FF2B5EF4-FFF2-40B4-BE49-F238E27FC236}">
                <a16:creationId xmlns:a16="http://schemas.microsoft.com/office/drawing/2014/main" id="{EBEEA47F-E66C-C546-A539-293E792A32C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71501"/>
            <a:ext cx="11010901" cy="952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>
                <a:solidFill>
                  <a:srgbClr val="525252"/>
                </a:solidFill>
              </a:defRPr>
            </a:lvl1pPr>
          </a:lstStyle>
          <a:p>
            <a:r>
              <a:rPr lang="en-US"/>
              <a:t>40pt Intel Clear Light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95712A-D685-7146-A64F-2AEC13EF76F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71500" y="2139951"/>
            <a:ext cx="5288525" cy="41182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8FE6631-4BAF-4E4B-B6F0-F9ED72A3155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89113" y="2139951"/>
            <a:ext cx="5288525" cy="41182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4EEAA39-7062-4DCE-91B8-83056F818FA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1612901"/>
            <a:ext cx="11022013" cy="438150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39546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nten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Text">
            <a:extLst>
              <a:ext uri="{FF2B5EF4-FFF2-40B4-BE49-F238E27FC236}">
                <a16:creationId xmlns:a16="http://schemas.microsoft.com/office/drawing/2014/main" id="{EBEEA47F-E66C-C546-A539-293E792A32C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71501"/>
            <a:ext cx="11010901" cy="952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>
                <a:solidFill>
                  <a:srgbClr val="525252"/>
                </a:solidFill>
              </a:defRPr>
            </a:lvl1pPr>
          </a:lstStyle>
          <a:p>
            <a:r>
              <a:rPr lang="en-US"/>
              <a:t>40pt Intel Clear Light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95712A-D685-7146-A64F-2AEC13EF76F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71500" y="1673402"/>
            <a:ext cx="5288525" cy="458483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8FE6631-4BAF-4E4B-B6F0-F9ED72A3155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289113" y="1673402"/>
            <a:ext cx="5288525" cy="458483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315295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ntent &amp;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Text">
            <a:extLst>
              <a:ext uri="{FF2B5EF4-FFF2-40B4-BE49-F238E27FC236}">
                <a16:creationId xmlns:a16="http://schemas.microsoft.com/office/drawing/2014/main" id="{FAEAC0A3-8438-1245-A28C-64BC26BFB23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67227"/>
            <a:ext cx="5755707" cy="945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>
                <a:solidFill>
                  <a:srgbClr val="525252"/>
                </a:solidFill>
              </a:defRPr>
            </a:lvl1pPr>
          </a:lstStyle>
          <a:p>
            <a:r>
              <a:rPr lang="en-US"/>
              <a:t>40pt Intel Clear Light Text Goes Here</a:t>
            </a:r>
          </a:p>
        </p:txBody>
      </p:sp>
      <p:sp>
        <p:nvSpPr>
          <p:cNvPr id="25" name="Body Level One…">
            <a:extLst>
              <a:ext uri="{FF2B5EF4-FFF2-40B4-BE49-F238E27FC236}">
                <a16:creationId xmlns:a16="http://schemas.microsoft.com/office/drawing/2014/main" id="{6903F994-74B2-4D40-AA5F-7F3D24A00171}"/>
              </a:ext>
            </a:extLst>
          </p:cNvPr>
          <p:cNvSpPr txBox="1">
            <a:spLocks noGrp="1"/>
          </p:cNvSpPr>
          <p:nvPr>
            <p:ph idx="27" hasCustomPrompt="1"/>
          </p:nvPr>
        </p:nvSpPr>
        <p:spPr>
          <a:xfrm>
            <a:off x="6609331" y="2978828"/>
            <a:ext cx="4668837" cy="3453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numCol="1">
            <a:normAutofit/>
          </a:bodyPr>
          <a:lstStyle>
            <a:lvl1pPr marL="0" marR="0" indent="0" algn="l" defTabSz="609600" eaLnBrk="1" fontAlgn="auto" latinLnBrk="0" hangingPunct="1">
              <a:lnSpc>
                <a:spcPts val="24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Image Caption 16pt gray text</a:t>
            </a:r>
          </a:p>
        </p:txBody>
      </p:sp>
      <p:sp>
        <p:nvSpPr>
          <p:cNvPr id="26" name="Body Level One…">
            <a:extLst>
              <a:ext uri="{FF2B5EF4-FFF2-40B4-BE49-F238E27FC236}">
                <a16:creationId xmlns:a16="http://schemas.microsoft.com/office/drawing/2014/main" id="{BF74888E-798E-B543-94EF-279F3EA6E46B}"/>
              </a:ext>
            </a:extLst>
          </p:cNvPr>
          <p:cNvSpPr txBox="1">
            <a:spLocks noGrp="1"/>
          </p:cNvSpPr>
          <p:nvPr>
            <p:ph idx="28" hasCustomPrompt="1"/>
          </p:nvPr>
        </p:nvSpPr>
        <p:spPr>
          <a:xfrm>
            <a:off x="6609331" y="5929172"/>
            <a:ext cx="4668837" cy="3453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numCol="1">
            <a:normAutofit/>
          </a:bodyPr>
          <a:lstStyle>
            <a:lvl1pPr marL="0" marR="0" indent="0" algn="l" defTabSz="609600" eaLnBrk="1" fontAlgn="auto" latinLnBrk="0" hangingPunct="1">
              <a:lnSpc>
                <a:spcPts val="24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2"/>
                </a:solidFill>
              </a:defRPr>
            </a:lvl1pPr>
          </a:lstStyle>
          <a:p>
            <a:r>
              <a:rPr lang="en-US"/>
              <a:t>Image Caption 16pt gray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B3C6455-4913-47BC-8232-AB0BABBA08C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609331" y="571500"/>
            <a:ext cx="4668837" cy="23812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5CA48836-DAA2-4E4F-A22A-2F5682E12CEF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609331" y="3537061"/>
            <a:ext cx="4668837" cy="23812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0D3278-E8A7-4B14-A5ED-BE235CEC6F80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571500" y="2139952"/>
            <a:ext cx="5768944" cy="41182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03FD6E6-528D-49D5-BBAB-B26572C15F2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1612901"/>
            <a:ext cx="5768944" cy="438150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376385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nten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B3C6455-4913-47BC-8232-AB0BABBA08C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615046" y="0"/>
            <a:ext cx="5129422" cy="641616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3" name="Title Text">
            <a:extLst>
              <a:ext uri="{FF2B5EF4-FFF2-40B4-BE49-F238E27FC236}">
                <a16:creationId xmlns:a16="http://schemas.microsoft.com/office/drawing/2014/main" id="{FAEAC0A3-8438-1245-A28C-64BC26BFB231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67227"/>
            <a:ext cx="5747107" cy="945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>
                <a:solidFill>
                  <a:srgbClr val="525252"/>
                </a:solidFill>
              </a:defRPr>
            </a:lvl1pPr>
          </a:lstStyle>
          <a:p>
            <a:r>
              <a:rPr lang="en-US"/>
              <a:t>40pt Intel Clear Light Text Goes Her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B7FB3F6-9C71-45A0-8236-12671533CA22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571500" y="2139952"/>
            <a:ext cx="5768944" cy="41182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1C73349-1E00-4922-970C-187F97CE062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1612901"/>
            <a:ext cx="5768944" cy="438150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accent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54415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Full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AAD9210-5064-4050-9368-9292054D59F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1286" y="0"/>
            <a:ext cx="11744325" cy="6401797"/>
          </a:xfrm>
          <a:noFill/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itle Text">
            <a:extLst>
              <a:ext uri="{FF2B5EF4-FFF2-40B4-BE49-F238E27FC236}">
                <a16:creationId xmlns:a16="http://schemas.microsoft.com/office/drawing/2014/main" id="{14AFAB66-6BED-5D47-B26F-D9C8808F3A1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571500"/>
            <a:ext cx="11010899" cy="8763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Full page Image, Delete Title if Necessary</a:t>
            </a:r>
          </a:p>
        </p:txBody>
      </p:sp>
    </p:spTree>
    <p:extLst>
      <p:ext uri="{BB962C8B-B14F-4D97-AF65-F5344CB8AC3E}">
        <p14:creationId xmlns:p14="http://schemas.microsoft.com/office/powerpoint/2010/main" val="16650249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Text">
            <a:extLst>
              <a:ext uri="{FF2B5EF4-FFF2-40B4-BE49-F238E27FC236}">
                <a16:creationId xmlns:a16="http://schemas.microsoft.com/office/drawing/2014/main" id="{145FA424-6F4D-7644-8964-49FF4943202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1" y="571501"/>
            <a:ext cx="11022060" cy="8737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>
            <a:lvl1pPr>
              <a:defRPr sz="4000">
                <a:solidFill>
                  <a:srgbClr val="525252"/>
                </a:solidFill>
              </a:defRPr>
            </a:lvl1pPr>
          </a:lstStyle>
          <a:p>
            <a:r>
              <a:rPr lang="en-US"/>
              <a:t>40pt Intel Clear Light Text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F36A7C-A787-47EC-ACD5-77F3FD6AFB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1500" y="1592529"/>
            <a:ext cx="11010900" cy="3727184"/>
          </a:xfrm>
        </p:spPr>
        <p:txBody>
          <a:bodyPr>
            <a:normAutofit/>
          </a:bodyPr>
          <a:lstStyle>
            <a:lvl1pPr marL="0" indent="0">
              <a:buNone/>
              <a:defRPr sz="6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E196E31-7238-4049-821C-D94FDEAEDC5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5461818"/>
            <a:ext cx="11022013" cy="43815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50897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rt Exam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7759918-59AA-4DFC-90DA-60CD5B2BD6B8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6" name="Square">
            <a:extLst>
              <a:ext uri="{FF2B5EF4-FFF2-40B4-BE49-F238E27FC236}">
                <a16:creationId xmlns:a16="http://schemas.microsoft.com/office/drawing/2014/main" id="{D4662ED0-432E-6C48-8B26-9A21EDA54E68}"/>
              </a:ext>
            </a:extLst>
          </p:cNvPr>
          <p:cNvSpPr/>
          <p:nvPr userDrawn="1"/>
        </p:nvSpPr>
        <p:spPr>
          <a:xfrm>
            <a:off x="11741697" y="6407185"/>
            <a:ext cx="450068" cy="450068"/>
          </a:xfrm>
          <a:prstGeom prst="rect">
            <a:avLst/>
          </a:prstGeom>
          <a:solidFill>
            <a:schemeClr val="accent1">
              <a:alpha val="5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412750"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145FA424-6F4D-7644-8964-49FF4943202D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1" y="571501"/>
            <a:ext cx="11022060" cy="8737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40pt Intel Clear Light Text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F36A7C-A787-47EC-ACD5-77F3FD6AFB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1500" y="1599816"/>
            <a:ext cx="11010900" cy="3719897"/>
          </a:xfrm>
        </p:spPr>
        <p:txBody>
          <a:bodyPr>
            <a:normAutofit/>
          </a:bodyPr>
          <a:lstStyle>
            <a:lvl1pPr marL="0" indent="0">
              <a:buNone/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Image" descr="Image">
            <a:extLst>
              <a:ext uri="{FF2B5EF4-FFF2-40B4-BE49-F238E27FC236}">
                <a16:creationId xmlns:a16="http://schemas.microsoft.com/office/drawing/2014/main" id="{B9FFF72B-62D2-4E22-9A98-EF3F6229F4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BD06FF7-C66A-4B8C-9693-1423A8337983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85269BB-7AC7-41A6-BC05-71FDAD0FDBA2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22ECF1F-2453-406E-AC0D-F6E6614ECF8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5476099"/>
            <a:ext cx="11022013" cy="4381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6C53A36-6661-45AA-8054-02BA7512E621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1324385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56CA39C9-EAE4-4511-9CE8-BB4D4B47FC0C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2140785"/>
            <a:ext cx="11010816" cy="16516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 anchorCtr="0">
            <a:noAutofit/>
          </a:bodyPr>
          <a:lstStyle>
            <a:lvl1pPr>
              <a:defRPr sz="4800">
                <a:solidFill>
                  <a:srgbClr val="525252"/>
                </a:solidFill>
              </a:defRPr>
            </a:lvl1pPr>
          </a:lstStyle>
          <a:p>
            <a:r>
              <a:rPr lang="en-US"/>
              <a:t>Section Break Text Goes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B923F7B-306D-4D7E-9DB3-5B163B8D53F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3939750"/>
            <a:ext cx="11022013" cy="438150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07245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C8B5B8CD-DD94-44E8-9F69-C9075C2E0A93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721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ED4D76E8-466A-4C06-9261-BDE1AA914749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588B335-02FC-4504-AF46-DF56B2EC52E4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16" name="Title Text">
            <a:extLst>
              <a:ext uri="{FF2B5EF4-FFF2-40B4-BE49-F238E27FC236}">
                <a16:creationId xmlns:a16="http://schemas.microsoft.com/office/drawing/2014/main" id="{38003A1C-51D1-4427-BFE8-8448E4C61D6B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2140785"/>
            <a:ext cx="11010816" cy="16516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 anchorCtr="0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Break Text Goes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30F9DFC-5AE2-4BB1-822C-8EAEAE2CA5F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3948942"/>
            <a:ext cx="11022013" cy="4381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2519BB-51CE-4A9C-AFEF-514971F5D779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5613955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DAF8089-C2D7-9079-33DB-9B7870412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983" y="83268"/>
            <a:ext cx="10515600" cy="1325563"/>
          </a:xfrm>
          <a:prstGeom prst="rect">
            <a:avLst/>
          </a:prstGeom>
        </p:spPr>
        <p:txBody>
          <a:bodyPr/>
          <a:lstStyle>
            <a:lvl1pPr algn="l">
              <a:defRPr sz="6000" baseline="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D075D8C-62A8-DB94-C64E-7EBC406B5E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2117558"/>
            <a:ext cx="5486400" cy="434340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FF7E22"/>
              </a:buClr>
              <a:buFont typeface="System Font Regular"/>
              <a:buChar char="&gt;"/>
              <a:defRPr baseline="0"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>
              <a:buClr>
                <a:srgbClr val="FF7E22"/>
              </a:buClr>
              <a:buFont typeface="System Font Regular"/>
              <a:buChar char="&gt;"/>
              <a:defRPr baseline="0"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143000" indent="-228600">
              <a:buClr>
                <a:srgbClr val="FF7E22"/>
              </a:buClr>
              <a:buFont typeface="System Font Regular"/>
              <a:buChar char="&gt;"/>
              <a:defRPr baseline="0"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600200" indent="-228600">
              <a:buClr>
                <a:srgbClr val="FF7E22"/>
              </a:buClr>
              <a:buFont typeface="System Font Regular"/>
              <a:buChar char="&gt;"/>
              <a:defRPr baseline="0"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057400" indent="-228600">
              <a:buClr>
                <a:srgbClr val="FF7E22"/>
              </a:buClr>
              <a:buFont typeface="System Font Regular"/>
              <a:buChar char="&gt;"/>
              <a:defRPr baseline="0"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045E4978-917F-C6E0-72D3-BF9135DD19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45352" y="2117558"/>
            <a:ext cx="5486400" cy="434340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FF7E22"/>
              </a:buClr>
              <a:buFont typeface="System Font Regular"/>
              <a:buChar char="&gt;"/>
              <a:defRPr baseline="0"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>
              <a:buClr>
                <a:srgbClr val="FF7E22"/>
              </a:buClr>
              <a:buFont typeface="System Font Regular"/>
              <a:buChar char="&gt;"/>
              <a:defRPr baseline="0"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143000" indent="-228600">
              <a:buClr>
                <a:srgbClr val="FF7E22"/>
              </a:buClr>
              <a:buFont typeface="System Font Regular"/>
              <a:buChar char="&gt;"/>
              <a:defRPr baseline="0"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600200" indent="-228600">
              <a:buClr>
                <a:srgbClr val="FF7E22"/>
              </a:buClr>
              <a:buFont typeface="System Font Regular"/>
              <a:buChar char="&gt;"/>
              <a:defRPr baseline="0"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057400" indent="-228600">
              <a:buClr>
                <a:srgbClr val="FF7E22"/>
              </a:buClr>
              <a:buFont typeface="System Font Regular"/>
              <a:buChar char="&gt;"/>
              <a:defRPr baseline="0"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FBD6829-DF01-8CEC-A2AF-3997CEAD257C}"/>
              </a:ext>
            </a:extLst>
          </p:cNvPr>
          <p:cNvSpPr/>
          <p:nvPr userDrawn="1"/>
        </p:nvSpPr>
        <p:spPr>
          <a:xfrm>
            <a:off x="6073140" y="1762813"/>
            <a:ext cx="45719" cy="49423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40826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Light Blue"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07A2BC2-9250-4B6C-8674-1CD30F0A349F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E22C60C-8CBC-40B8-ABEA-44BF775A3581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86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866" name="Text"/>
          <p:cNvSpPr txBox="1"/>
          <p:nvPr/>
        </p:nvSpPr>
        <p:spPr>
          <a:xfrm>
            <a:off x="11942955" y="6538004"/>
            <a:ext cx="51361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b">
            <a:spAutoFit/>
          </a:bodyPr>
          <a:lstStyle/>
          <a:p>
            <a:pPr algn="ctr" defTabSz="292100"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Intel Clear"/>
                <a:ea typeface="Intel Clear"/>
                <a:cs typeface="Intel Clear"/>
                <a:sym typeface="Intel Clear"/>
              </a:defRPr>
            </a:pPr>
            <a:endParaRPr sz="9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8A864FA-3818-4931-B452-798F1E7F5A67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8FC8DFF-85CB-4435-B144-6A1DC4093482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17" name="Title Text">
            <a:extLst>
              <a:ext uri="{FF2B5EF4-FFF2-40B4-BE49-F238E27FC236}">
                <a16:creationId xmlns:a16="http://schemas.microsoft.com/office/drawing/2014/main" id="{5844F860-03F8-4657-A6E6-4E8919DD4FF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2140785"/>
            <a:ext cx="11010816" cy="16516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 anchorCtr="0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Break Text Goes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DACC9CB-1B2F-42BF-8D9F-62EC595FEA6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1500" y="3964420"/>
            <a:ext cx="11022013" cy="43815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33262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quare">
            <a:extLst>
              <a:ext uri="{FF2B5EF4-FFF2-40B4-BE49-F238E27FC236}">
                <a16:creationId xmlns:a16="http://schemas.microsoft.com/office/drawing/2014/main" id="{4C58A6BF-BF0D-4749-B07B-7C0A27747D42}"/>
              </a:ext>
            </a:extLst>
          </p:cNvPr>
          <p:cNvSpPr/>
          <p:nvPr userDrawn="1"/>
        </p:nvSpPr>
        <p:spPr>
          <a:xfrm>
            <a:off x="11741697" y="6405280"/>
            <a:ext cx="450068" cy="450068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97" name="Square"/>
          <p:cNvSpPr/>
          <p:nvPr/>
        </p:nvSpPr>
        <p:spPr>
          <a:xfrm>
            <a:off x="709974" y="2295859"/>
            <a:ext cx="318638" cy="318638"/>
          </a:xfrm>
          <a:prstGeom prst="rect">
            <a:avLst/>
          </a:prstGeom>
          <a:solidFill>
            <a:srgbClr val="00C7FD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068B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98" name="Square"/>
          <p:cNvSpPr/>
          <p:nvPr/>
        </p:nvSpPr>
        <p:spPr>
          <a:xfrm>
            <a:off x="536812" y="2122317"/>
            <a:ext cx="174318" cy="174318"/>
          </a:xfrm>
          <a:prstGeom prst="rect">
            <a:avLst/>
          </a:prstGeom>
          <a:solidFill>
            <a:srgbClr val="7BDE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99" name="Square"/>
          <p:cNvSpPr/>
          <p:nvPr/>
        </p:nvSpPr>
        <p:spPr>
          <a:xfrm>
            <a:off x="709974" y="2023075"/>
            <a:ext cx="98724" cy="98723"/>
          </a:xfrm>
          <a:prstGeom prst="rect">
            <a:avLst/>
          </a:prstGeom>
          <a:solidFill>
            <a:srgbClr val="B4F0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700" name="Rectangle"/>
          <p:cNvSpPr/>
          <p:nvPr/>
        </p:nvSpPr>
        <p:spPr>
          <a:xfrm>
            <a:off x="5814183" y="402558"/>
            <a:ext cx="5927511" cy="600347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705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E89D76-523B-456C-9EE9-BC9CB964E5C3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5D8740F-FED9-4D14-9DF3-3BA84ADF820C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DEF55E0-947C-4281-8A2A-E59398C246AB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23" name="Title Text">
            <a:extLst>
              <a:ext uri="{FF2B5EF4-FFF2-40B4-BE49-F238E27FC236}">
                <a16:creationId xmlns:a16="http://schemas.microsoft.com/office/drawing/2014/main" id="{5F192548-45E5-4F50-A32B-E61F6CFA996F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014757" y="2545222"/>
            <a:ext cx="4785571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8703551-AC59-4BD9-8B3C-616B6DFB3DB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68002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Blu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">
            <a:extLst>
              <a:ext uri="{FF2B5EF4-FFF2-40B4-BE49-F238E27FC236}">
                <a16:creationId xmlns:a16="http://schemas.microsoft.com/office/drawing/2014/main" id="{8A1BD37C-2C85-4873-ABDD-4B358A87ED4B}"/>
              </a:ext>
            </a:extLst>
          </p:cNvPr>
          <p:cNvSpPr/>
          <p:nvPr userDrawn="1"/>
        </p:nvSpPr>
        <p:spPr>
          <a:xfrm>
            <a:off x="5814183" y="402558"/>
            <a:ext cx="5927511" cy="6003471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70" name="Square"/>
          <p:cNvSpPr/>
          <p:nvPr/>
        </p:nvSpPr>
        <p:spPr>
          <a:xfrm>
            <a:off x="707513" y="2295859"/>
            <a:ext cx="318638" cy="318638"/>
          </a:xfrm>
          <a:prstGeom prst="rect">
            <a:avLst/>
          </a:prstGeom>
          <a:solidFill>
            <a:srgbClr val="D9692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068B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71" name="Square"/>
          <p:cNvSpPr/>
          <p:nvPr/>
        </p:nvSpPr>
        <p:spPr>
          <a:xfrm>
            <a:off x="533946" y="2122317"/>
            <a:ext cx="174318" cy="174318"/>
          </a:xfrm>
          <a:prstGeom prst="rect">
            <a:avLst/>
          </a:prstGeom>
          <a:solidFill>
            <a:srgbClr val="F6CB4B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672" name="Square"/>
          <p:cNvSpPr/>
          <p:nvPr/>
        </p:nvSpPr>
        <p:spPr>
          <a:xfrm>
            <a:off x="707513" y="2023075"/>
            <a:ext cx="98724" cy="98723"/>
          </a:xfrm>
          <a:prstGeom prst="rect">
            <a:avLst/>
          </a:prstGeom>
          <a:solidFill>
            <a:srgbClr val="D9692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673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5002A24-73D0-4602-A8A1-5D9281BAF934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31659E3-0873-4033-A7E2-31DB4A07B08A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660C086-3964-411C-85AF-F720D5E83519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25" name="Title Text">
            <a:extLst>
              <a:ext uri="{FF2B5EF4-FFF2-40B4-BE49-F238E27FC236}">
                <a16:creationId xmlns:a16="http://schemas.microsoft.com/office/drawing/2014/main" id="{1F252960-CAAB-483D-8A6A-5882E4B6282A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014757" y="2545222"/>
            <a:ext cx="4785571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AFA146E-21CD-4BD6-A89D-E6C5A685081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16871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">
            <a:extLst>
              <a:ext uri="{FF2B5EF4-FFF2-40B4-BE49-F238E27FC236}">
                <a16:creationId xmlns:a16="http://schemas.microsoft.com/office/drawing/2014/main" id="{1E9FE6C1-27FB-467A-8BF9-B80A0C35FEDB}"/>
              </a:ext>
            </a:extLst>
          </p:cNvPr>
          <p:cNvSpPr/>
          <p:nvPr userDrawn="1"/>
        </p:nvSpPr>
        <p:spPr>
          <a:xfrm>
            <a:off x="5814183" y="402558"/>
            <a:ext cx="5927511" cy="600347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86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866" name="Text"/>
          <p:cNvSpPr txBox="1"/>
          <p:nvPr/>
        </p:nvSpPr>
        <p:spPr>
          <a:xfrm>
            <a:off x="11942955" y="6538004"/>
            <a:ext cx="51361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b">
            <a:spAutoFit/>
          </a:bodyPr>
          <a:lstStyle/>
          <a:p>
            <a:pPr algn="ctr" defTabSz="292100"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Intel Clear"/>
                <a:ea typeface="Intel Clear"/>
                <a:cs typeface="Intel Clear"/>
                <a:sym typeface="Intel Clear"/>
              </a:defRPr>
            </a:pPr>
            <a:endParaRPr sz="900"/>
          </a:p>
        </p:txBody>
      </p:sp>
      <p:sp>
        <p:nvSpPr>
          <p:cNvPr id="11" name="Square">
            <a:extLst>
              <a:ext uri="{FF2B5EF4-FFF2-40B4-BE49-F238E27FC236}">
                <a16:creationId xmlns:a16="http://schemas.microsoft.com/office/drawing/2014/main" id="{C93C8C2E-66DD-E64F-BD60-42EBDC0E958E}"/>
              </a:ext>
            </a:extLst>
          </p:cNvPr>
          <p:cNvSpPr/>
          <p:nvPr userDrawn="1"/>
        </p:nvSpPr>
        <p:spPr>
          <a:xfrm>
            <a:off x="707513" y="2295859"/>
            <a:ext cx="318638" cy="318638"/>
          </a:xfrm>
          <a:prstGeom prst="rect">
            <a:avLst/>
          </a:prstGeom>
          <a:solidFill>
            <a:srgbClr val="004A86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068B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2" name="Square">
            <a:extLst>
              <a:ext uri="{FF2B5EF4-FFF2-40B4-BE49-F238E27FC236}">
                <a16:creationId xmlns:a16="http://schemas.microsoft.com/office/drawing/2014/main" id="{85A14FBD-B953-BA4F-8F83-DE73E3C37290}"/>
              </a:ext>
            </a:extLst>
          </p:cNvPr>
          <p:cNvSpPr/>
          <p:nvPr userDrawn="1"/>
        </p:nvSpPr>
        <p:spPr>
          <a:xfrm>
            <a:off x="533946" y="2122317"/>
            <a:ext cx="174318" cy="174318"/>
          </a:xfrm>
          <a:prstGeom prst="rect">
            <a:avLst/>
          </a:prstGeom>
          <a:solidFill>
            <a:srgbClr val="7BDE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7" name="Square">
            <a:extLst>
              <a:ext uri="{FF2B5EF4-FFF2-40B4-BE49-F238E27FC236}">
                <a16:creationId xmlns:a16="http://schemas.microsoft.com/office/drawing/2014/main" id="{59044771-2E3B-C941-8593-8E508F542287}"/>
              </a:ext>
            </a:extLst>
          </p:cNvPr>
          <p:cNvSpPr/>
          <p:nvPr userDrawn="1"/>
        </p:nvSpPr>
        <p:spPr>
          <a:xfrm>
            <a:off x="707513" y="2023075"/>
            <a:ext cx="98724" cy="98723"/>
          </a:xfrm>
          <a:prstGeom prst="rect">
            <a:avLst/>
          </a:prstGeom>
          <a:solidFill>
            <a:srgbClr val="B4F0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093C42A-FAA6-40D8-A663-DDDE456C16C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C1E74A4-2107-4448-BA31-9630404A452B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DABA887-D95E-434F-B1E9-73FC7AE8C2A8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23" name="Title Text">
            <a:extLst>
              <a:ext uri="{FF2B5EF4-FFF2-40B4-BE49-F238E27FC236}">
                <a16:creationId xmlns:a16="http://schemas.microsoft.com/office/drawing/2014/main" id="{5E5861BF-901F-47D4-91BC-0B353503F23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014757" y="2545222"/>
            <a:ext cx="4785571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3BA33390-07D4-4E2C-BDA6-AE147B9075A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60391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Content Gra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">
            <a:extLst>
              <a:ext uri="{FF2B5EF4-FFF2-40B4-BE49-F238E27FC236}">
                <a16:creationId xmlns:a16="http://schemas.microsoft.com/office/drawing/2014/main" id="{1EFAB719-B3C2-4520-AFF9-4A06F169DB2B}"/>
              </a:ext>
            </a:extLst>
          </p:cNvPr>
          <p:cNvSpPr/>
          <p:nvPr userDrawn="1"/>
        </p:nvSpPr>
        <p:spPr>
          <a:xfrm>
            <a:off x="5814183" y="402558"/>
            <a:ext cx="5927511" cy="6003471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511" name="Rectangle"/>
          <p:cNvSpPr/>
          <p:nvPr/>
        </p:nvSpPr>
        <p:spPr>
          <a:xfrm>
            <a:off x="5815052" y="401865"/>
            <a:ext cx="5927511" cy="600347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97FC80-1304-44AF-BD9E-CFB8D3B37C99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Text">
            <a:extLst>
              <a:ext uri="{FF2B5EF4-FFF2-40B4-BE49-F238E27FC236}">
                <a16:creationId xmlns:a16="http://schemas.microsoft.com/office/drawing/2014/main" id="{1B60A262-0CE7-4C6B-B734-0B0EA0F1A4A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54183" y="2545222"/>
            <a:ext cx="4765744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B80F0DD-816B-4E0B-8C85-8413DB8C70E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2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75872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Blu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FE89D76-523B-456C-9EE9-BC9CB964E5C3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itle Text">
            <a:extLst>
              <a:ext uri="{FF2B5EF4-FFF2-40B4-BE49-F238E27FC236}">
                <a16:creationId xmlns:a16="http://schemas.microsoft.com/office/drawing/2014/main" id="{72D74CEB-BA0A-43F1-82CE-384185B612C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54183" y="2545222"/>
            <a:ext cx="4765744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0F55EEA-3D90-42F4-B8D0-30E0374D2A5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4CCC3F4-FFF1-4AD9-8605-41A61B8926CF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quare">
            <a:extLst>
              <a:ext uri="{FF2B5EF4-FFF2-40B4-BE49-F238E27FC236}">
                <a16:creationId xmlns:a16="http://schemas.microsoft.com/office/drawing/2014/main" id="{C4A06178-9ACC-4082-8329-4A9A59924508}"/>
              </a:ext>
            </a:extLst>
          </p:cNvPr>
          <p:cNvSpPr/>
          <p:nvPr userDrawn="1"/>
        </p:nvSpPr>
        <p:spPr>
          <a:xfrm>
            <a:off x="11741697" y="6407185"/>
            <a:ext cx="450068" cy="450068"/>
          </a:xfrm>
          <a:prstGeom prst="rect">
            <a:avLst/>
          </a:prstGeom>
          <a:solidFill>
            <a:schemeClr val="accent1">
              <a:alpha val="5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412750"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22" name="Image" descr="Image">
            <a:extLst>
              <a:ext uri="{FF2B5EF4-FFF2-40B4-BE49-F238E27FC236}">
                <a16:creationId xmlns:a16="http://schemas.microsoft.com/office/drawing/2014/main" id="{E5997704-33EA-4D7D-8B55-E46DD22168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C3544D4-6B59-4B11-BC0E-2FD48F693641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62FEA03-1122-4C36-ACD1-DA42FB8A03DC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73D4EB9-5CAF-4B81-91EA-AD490D0B13E4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0420742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 &amp; Content Light Blue 2"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093C42A-FAA6-40D8-A663-DDDE456C16CF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394450" y="1974850"/>
            <a:ext cx="4852988" cy="37036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itle Text">
            <a:extLst>
              <a:ext uri="{FF2B5EF4-FFF2-40B4-BE49-F238E27FC236}">
                <a16:creationId xmlns:a16="http://schemas.microsoft.com/office/drawing/2014/main" id="{6A03358B-3D25-4A6D-85E6-54F235A943A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54183" y="2545222"/>
            <a:ext cx="4765744" cy="24978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 anchorCtr="0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itle Text Goes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8EBE803-6659-42A1-A094-94B9EF7ABC2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394450" y="740229"/>
            <a:ext cx="4865211" cy="107814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C0D4B91-0BAF-46EC-9A7C-9D57C3224A9C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18" name="Image" descr="Image">
            <a:extLst>
              <a:ext uri="{FF2B5EF4-FFF2-40B4-BE49-F238E27FC236}">
                <a16:creationId xmlns:a16="http://schemas.microsoft.com/office/drawing/2014/main" id="{2F70C4FC-7A21-4AFA-8998-5EAB2E19CB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8D716FF7-59F9-414F-85CD-8E23360D2B4C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D4273EB-E90B-42F7-8CE9-6A1713A08CA3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98FFA5B-1C6A-486A-A0FE-02206FCDC54A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354839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hart 5">
            <a:extLst>
              <a:ext uri="{FF2B5EF4-FFF2-40B4-BE49-F238E27FC236}">
                <a16:creationId xmlns:a16="http://schemas.microsoft.com/office/drawing/2014/main" id="{F0529FEA-BEC4-644C-94EE-601D5BED26F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680995965"/>
              </p:ext>
            </p:extLst>
          </p:nvPr>
        </p:nvGraphicFramePr>
        <p:xfrm>
          <a:off x="7201593" y="1799047"/>
          <a:ext cx="3472287" cy="4025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itle Text">
            <a:extLst>
              <a:ext uri="{FF2B5EF4-FFF2-40B4-BE49-F238E27FC236}">
                <a16:creationId xmlns:a16="http://schemas.microsoft.com/office/drawing/2014/main" id="{0EA1A176-5931-41CA-86D5-15FC4398AA40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444480" y="1917036"/>
            <a:ext cx="9303040" cy="30239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 anchorCtr="0">
            <a:noAutofit/>
          </a:bodyPr>
          <a:lstStyle>
            <a:lvl1pPr algn="ctr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48pt Intel Clear Light Body. For content that is not a section, but has a big idea in text only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97652EB-8B2D-46CC-B147-89A4C26A2D8F}"/>
              </a:ext>
            </a:extLst>
          </p:cNvPr>
          <p:cNvSpPr/>
          <p:nvPr userDrawn="1"/>
        </p:nvSpPr>
        <p:spPr>
          <a:xfrm>
            <a:off x="0" y="0"/>
            <a:ext cx="11736987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71A480A-B7B4-498C-9868-A91E2651D429}"/>
              </a:ext>
            </a:extLst>
          </p:cNvPr>
          <p:cNvSpPr/>
          <p:nvPr userDrawn="1"/>
        </p:nvSpPr>
        <p:spPr>
          <a:xfrm rot="5400000">
            <a:off x="-2978450" y="2978453"/>
            <a:ext cx="6407450" cy="4505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7413253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" name="Rectangle"/>
          <p:cNvSpPr/>
          <p:nvPr userDrawn="1"/>
        </p:nvSpPr>
        <p:spPr>
          <a:xfrm>
            <a:off x="471054" y="464127"/>
            <a:ext cx="11272494" cy="5944838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sp>
        <p:nvSpPr>
          <p:cNvPr id="861" name="Square"/>
          <p:cNvSpPr/>
          <p:nvPr/>
        </p:nvSpPr>
        <p:spPr>
          <a:xfrm>
            <a:off x="11743603" y="6405281"/>
            <a:ext cx="448398" cy="452720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026FC5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86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866" name="Text"/>
          <p:cNvSpPr txBox="1"/>
          <p:nvPr/>
        </p:nvSpPr>
        <p:spPr>
          <a:xfrm>
            <a:off x="11942955" y="6538004"/>
            <a:ext cx="51361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b">
            <a:spAutoFit/>
          </a:bodyPr>
          <a:lstStyle/>
          <a:p>
            <a:pPr algn="ctr" defTabSz="292100"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Intel Clear"/>
                <a:ea typeface="Intel Clear"/>
                <a:cs typeface="Intel Clear"/>
                <a:sym typeface="Intel Clear"/>
              </a:defRPr>
            </a:pPr>
            <a:endParaRPr sz="9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A778AB-F6EC-4101-87E6-DECF7944E661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6E1F1A6-2FDF-4676-B713-F9746DD3A821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E400EEBB-F912-40CA-A759-DEFE1516497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444480" y="1917036"/>
            <a:ext cx="9303040" cy="30239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48pt Intel Clear Light Body. For content that is not a section, but has a big idea in text only.</a:t>
            </a:r>
          </a:p>
        </p:txBody>
      </p:sp>
    </p:spTree>
    <p:extLst>
      <p:ext uri="{BB962C8B-B14F-4D97-AF65-F5344CB8AC3E}">
        <p14:creationId xmlns:p14="http://schemas.microsoft.com/office/powerpoint/2010/main" val="25755230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 Light Blue">
    <p:bg>
      <p:bgPr>
        <a:solidFill>
          <a:srgbClr val="00C7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" name="Rectangle"/>
          <p:cNvSpPr/>
          <p:nvPr userDrawn="1"/>
        </p:nvSpPr>
        <p:spPr>
          <a:xfrm>
            <a:off x="471054" y="464127"/>
            <a:ext cx="11272494" cy="594483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  <p:pic>
        <p:nvPicPr>
          <p:cNvPr id="86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1433" y="6543018"/>
            <a:ext cx="491250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866" name="Text"/>
          <p:cNvSpPr txBox="1"/>
          <p:nvPr/>
        </p:nvSpPr>
        <p:spPr>
          <a:xfrm>
            <a:off x="11942955" y="6538004"/>
            <a:ext cx="51361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b">
            <a:spAutoFit/>
          </a:bodyPr>
          <a:lstStyle/>
          <a:p>
            <a:pPr algn="ctr" defTabSz="292100">
              <a:lnSpc>
                <a:spcPct val="100000"/>
              </a:lnSpc>
              <a:spcBef>
                <a:spcPts val="0"/>
              </a:spcBef>
              <a:defRPr sz="1800">
                <a:solidFill>
                  <a:srgbClr val="FFFFFF"/>
                </a:solidFill>
                <a:latin typeface="Intel Clear"/>
                <a:ea typeface="Intel Clear"/>
                <a:cs typeface="Intel Clear"/>
                <a:sym typeface="Intel Clear"/>
              </a:defRPr>
            </a:pPr>
            <a:endParaRPr sz="9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2E60B70-5DF3-4398-B558-301661292DFC}"/>
              </a:ext>
            </a:extLst>
          </p:cNvPr>
          <p:cNvSpPr/>
          <p:nvPr userDrawn="1"/>
        </p:nvSpPr>
        <p:spPr>
          <a:xfrm>
            <a:off x="5503530" y="6562504"/>
            <a:ext cx="118494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Intel Confidentia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2CF38D-B95A-4CD5-8F7D-86EA9C709AD4}"/>
              </a:ext>
            </a:extLst>
          </p:cNvPr>
          <p:cNvSpPr/>
          <p:nvPr userDrawn="1"/>
        </p:nvSpPr>
        <p:spPr>
          <a:xfrm>
            <a:off x="483010" y="6562504"/>
            <a:ext cx="1766830" cy="231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000">
                <a:solidFill>
                  <a:schemeClr val="bg1"/>
                </a:solidFill>
              </a:rPr>
              <a:t>Department or Event Name</a:t>
            </a:r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93B25211-1805-4C17-8545-7E02A678639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444480" y="1917036"/>
            <a:ext cx="9303040" cy="30239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 anchorCtr="0">
            <a:no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48pt Intel Clear Light Body. For content that is not a section, but has a big idea in text only.</a:t>
            </a:r>
          </a:p>
        </p:txBody>
      </p:sp>
    </p:spTree>
    <p:extLst>
      <p:ext uri="{BB962C8B-B14F-4D97-AF65-F5344CB8AC3E}">
        <p14:creationId xmlns:p14="http://schemas.microsoft.com/office/powerpoint/2010/main" val="29391374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DAF8089-C2D7-9079-33DB-9B7870412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93" y="45066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600" baseline="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E2F431A6-D9EF-043F-CCA3-37BBC0AC8A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7542" y="1708559"/>
            <a:ext cx="9580563" cy="1311275"/>
          </a:xfrm>
        </p:spPr>
        <p:txBody>
          <a:bodyPr>
            <a:normAutofit/>
          </a:bodyPr>
          <a:lstStyle>
            <a:lvl1pPr marL="0" indent="0">
              <a:buNone/>
              <a:defRPr sz="4000">
                <a:solidFill>
                  <a:srgbClr val="00498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6451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4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BDA94F2D-B7BD-4CE9-A606-F00802F313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99949" y="2409775"/>
            <a:ext cx="4080108" cy="152139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9112354-342E-49CE-8E3C-E078BBE1ADF7}"/>
              </a:ext>
            </a:extLst>
          </p:cNvPr>
          <p:cNvSpPr/>
          <p:nvPr userDrawn="1"/>
        </p:nvSpPr>
        <p:spPr>
          <a:xfrm>
            <a:off x="0" y="6407451"/>
            <a:ext cx="11736987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D21D8AD-9194-4DBA-8221-7F294421810B}"/>
              </a:ext>
            </a:extLst>
          </p:cNvPr>
          <p:cNvSpPr/>
          <p:nvPr userDrawn="1"/>
        </p:nvSpPr>
        <p:spPr>
          <a:xfrm rot="5400000">
            <a:off x="8758537" y="2978453"/>
            <a:ext cx="6407450" cy="450549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9347039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12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607484" y="1415051"/>
            <a:ext cx="10972800" cy="453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Image" descr="Image">
            <a:extLst>
              <a:ext uri="{FF2B5EF4-FFF2-40B4-BE49-F238E27FC236}">
                <a16:creationId xmlns:a16="http://schemas.microsoft.com/office/drawing/2014/main" id="{36E2AE06-BFB5-4107-9161-20BA5DC08FA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154576" y="6540402"/>
            <a:ext cx="597694" cy="231779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82237833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4840795"/>
      </p:ext>
    </p:extLst>
  </p:cSld>
  <p:clrMapOvr>
    <a:masterClrMapping/>
  </p:clrMapOvr>
  <p:transition>
    <p:wipe dir="r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9112251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09600" y="1600201"/>
            <a:ext cx="10972800" cy="4525963"/>
          </a:xfrm>
        </p:spPr>
        <p:txBody>
          <a:bodyPr/>
          <a:lstStyle/>
          <a:p>
            <a:pPr lvl="0"/>
            <a:endParaRPr lang="en-IE" noProof="0"/>
          </a:p>
        </p:txBody>
      </p:sp>
    </p:spTree>
    <p:extLst>
      <p:ext uri="{BB962C8B-B14F-4D97-AF65-F5344CB8AC3E}">
        <p14:creationId xmlns:p14="http://schemas.microsoft.com/office/powerpoint/2010/main" val="81534400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75489" y="1709928"/>
            <a:ext cx="11210544" cy="463600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A19E94CA-F00B-4A8B-A6EB-3E6BCE6D18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794" y="1132234"/>
            <a:ext cx="11202619" cy="431657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1463"/>
              </a:spcBef>
              <a:buNone/>
              <a:defRPr sz="1951">
                <a:solidFill>
                  <a:schemeClr val="tx1"/>
                </a:solidFill>
              </a:defRPr>
            </a:lvl1pPr>
            <a:lvl2pPr marL="371704" indent="0" algn="ctr">
              <a:buNone/>
              <a:defRPr sz="1626"/>
            </a:lvl2pPr>
            <a:lvl3pPr marL="743407" indent="0" algn="ctr">
              <a:buNone/>
              <a:defRPr sz="1463"/>
            </a:lvl3pPr>
            <a:lvl4pPr marL="1115111" indent="0" algn="ctr">
              <a:buNone/>
              <a:defRPr sz="1301"/>
            </a:lvl4pPr>
            <a:lvl5pPr marL="1486814" indent="0" algn="ctr">
              <a:buNone/>
              <a:defRPr sz="1301"/>
            </a:lvl5pPr>
            <a:lvl6pPr marL="1858518" indent="0" algn="ctr">
              <a:buNone/>
              <a:defRPr sz="1301"/>
            </a:lvl6pPr>
            <a:lvl7pPr marL="2230222" indent="0" algn="ctr">
              <a:buNone/>
              <a:defRPr sz="1301"/>
            </a:lvl7pPr>
            <a:lvl8pPr marL="2601925" indent="0" algn="ctr">
              <a:buNone/>
              <a:defRPr sz="1301"/>
            </a:lvl8pPr>
            <a:lvl9pPr marL="2973629" indent="0" algn="ctr">
              <a:buNone/>
              <a:defRPr sz="1301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CE17B5C3-EC24-45A0-9C9A-FB9EEA1245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4189" y="6484547"/>
            <a:ext cx="10223342" cy="18980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>
              <a:lnSpc>
                <a:spcPct val="107000"/>
              </a:lnSpc>
              <a:defRPr sz="6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8061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bubbles_ppt_cover.png">
            <a:extLst>
              <a:ext uri="{FF2B5EF4-FFF2-40B4-BE49-F238E27FC236}">
                <a16:creationId xmlns:a16="http://schemas.microsoft.com/office/drawing/2014/main" id="{4EB823F2-CD38-4A2C-B19B-02C8CF0FAD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492" y="19"/>
            <a:ext cx="5145615" cy="6330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3" y="2130448"/>
            <a:ext cx="10363201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10045" y="3839308"/>
            <a:ext cx="8534401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95577" indent="0" algn="ctr">
              <a:buNone/>
              <a:defRPr/>
            </a:lvl2pPr>
            <a:lvl3pPr marL="991155" indent="0" algn="ctr">
              <a:buNone/>
              <a:defRPr/>
            </a:lvl3pPr>
            <a:lvl4pPr marL="1486731" indent="0" algn="ctr">
              <a:buNone/>
              <a:defRPr/>
            </a:lvl4pPr>
            <a:lvl5pPr marL="1982308" indent="0" algn="ctr">
              <a:buNone/>
              <a:defRPr/>
            </a:lvl5pPr>
            <a:lvl6pPr marL="2477886" indent="0" algn="ctr">
              <a:buNone/>
              <a:defRPr/>
            </a:lvl6pPr>
            <a:lvl7pPr marL="2973463" indent="0" algn="ctr">
              <a:buNone/>
              <a:defRPr/>
            </a:lvl7pPr>
            <a:lvl8pPr marL="3469041" indent="0" algn="ctr">
              <a:buNone/>
              <a:defRPr/>
            </a:lvl8pPr>
            <a:lvl9pPr marL="3964618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1026" name="Picture 1">
            <a:extLst>
              <a:ext uri="{FF2B5EF4-FFF2-40B4-BE49-F238E27FC236}">
                <a16:creationId xmlns:a16="http://schemas.microsoft.com/office/drawing/2014/main" id="{4338F59A-BA49-4F59-9A25-4591FB314DB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406" y="0"/>
            <a:ext cx="1948374" cy="1492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62270877"/>
      </p:ext>
    </p:extLst>
  </p:cSld>
  <p:clrMapOvr>
    <a:masterClrMapping/>
  </p:clrMapOvr>
  <p:transition spd="slow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71684" indent="-371684"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8269063"/>
      </p:ext>
    </p:extLst>
  </p:cSld>
  <p:clrMapOvr>
    <a:masterClrMapping/>
  </p:clrMapOvr>
  <p:transition spd="slow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51959"/>
      </p:ext>
    </p:extLst>
  </p:cSld>
  <p:clrMapOvr>
    <a:masterClrMapping/>
  </p:clrMapOvr>
  <p:transition spd="slow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DAF8089-C2D7-9079-33DB-9B7870412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7725" y="84824"/>
            <a:ext cx="10515600" cy="1325563"/>
          </a:xfrm>
          <a:prstGeom prst="rect">
            <a:avLst/>
          </a:prstGeom>
        </p:spPr>
        <p:txBody>
          <a:bodyPr/>
          <a:lstStyle>
            <a:lvl1pPr algn="l">
              <a:defRPr sz="4878" baseline="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52CE8A-DFD3-7E85-F62E-6F7D9309B0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7726" y="1708561"/>
            <a:ext cx="9580563" cy="1311275"/>
          </a:xfrm>
        </p:spPr>
        <p:txBody>
          <a:bodyPr>
            <a:normAutofit/>
          </a:bodyPr>
          <a:lstStyle>
            <a:lvl1pPr marL="0" indent="0">
              <a:buNone/>
              <a:defRPr sz="3252">
                <a:solidFill>
                  <a:srgbClr val="00498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5467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un Metal_Blan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BBD75C9-39AE-48FF-827B-E1B635F8E6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5299" y="6555017"/>
            <a:ext cx="10489691" cy="9605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algn="l" defTabSz="557555" rtl="0" eaLnBrk="1" latinLnBrk="0" hangingPunct="1">
              <a:lnSpc>
                <a:spcPct val="96000"/>
              </a:lnSpc>
              <a:spcBef>
                <a:spcPts val="0"/>
              </a:spcBef>
              <a:buClr>
                <a:srgbClr val="3253DC"/>
              </a:buClr>
              <a:buFont typeface="Arial" panose="020B0604020202020204" pitchFamily="34" charset="0"/>
              <a:buNone/>
              <a:defRPr lang="en-US" sz="650" kern="1200" baseline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88431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DAF8089-C2D7-9079-33DB-9B7870412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993" y="45066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600" baseline="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FAD83B3-BF70-F500-9FB2-4CF64FBD678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84700" y="1881709"/>
            <a:ext cx="6942138" cy="4976291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9E98AEF-E9FD-A7B8-C614-079C62A8C16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0100" y="1881640"/>
            <a:ext cx="3543300" cy="1789112"/>
          </a:xfrm>
        </p:spPr>
        <p:txBody>
          <a:bodyPr/>
          <a:lstStyle>
            <a:lvl1pPr marL="0" indent="0" algn="r">
              <a:buNone/>
              <a:defRPr>
                <a:solidFill>
                  <a:srgbClr val="004987"/>
                </a:solidFill>
              </a:defRPr>
            </a:lvl1pPr>
            <a:lvl2pPr marL="457200" indent="0" algn="r">
              <a:buNone/>
              <a:defRPr>
                <a:solidFill>
                  <a:srgbClr val="004987"/>
                </a:solidFill>
              </a:defRPr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653453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4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75489" y="1709928"/>
            <a:ext cx="11210544" cy="463600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A19E94CA-F00B-4A8B-A6EB-3E6BCE6D18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794" y="1132234"/>
            <a:ext cx="11202619" cy="431657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1463"/>
              </a:spcBef>
              <a:buNone/>
              <a:defRPr sz="1951">
                <a:solidFill>
                  <a:schemeClr val="tx1"/>
                </a:solidFill>
              </a:defRPr>
            </a:lvl1pPr>
            <a:lvl2pPr marL="371704" indent="0" algn="ctr">
              <a:buNone/>
              <a:defRPr sz="1626"/>
            </a:lvl2pPr>
            <a:lvl3pPr marL="743407" indent="0" algn="ctr">
              <a:buNone/>
              <a:defRPr sz="1463"/>
            </a:lvl3pPr>
            <a:lvl4pPr marL="1115111" indent="0" algn="ctr">
              <a:buNone/>
              <a:defRPr sz="1301"/>
            </a:lvl4pPr>
            <a:lvl5pPr marL="1486814" indent="0" algn="ctr">
              <a:buNone/>
              <a:defRPr sz="1301"/>
            </a:lvl5pPr>
            <a:lvl6pPr marL="1858518" indent="0" algn="ctr">
              <a:buNone/>
              <a:defRPr sz="1301"/>
            </a:lvl6pPr>
            <a:lvl7pPr marL="2230222" indent="0" algn="ctr">
              <a:buNone/>
              <a:defRPr sz="1301"/>
            </a:lvl7pPr>
            <a:lvl8pPr marL="2601925" indent="0" algn="ctr">
              <a:buNone/>
              <a:defRPr sz="1301"/>
            </a:lvl8pPr>
            <a:lvl9pPr marL="2973629" indent="0" algn="ctr">
              <a:buNone/>
              <a:defRPr sz="1301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CE17B5C3-EC24-45A0-9C9A-FB9EEA1245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4189" y="6484547"/>
            <a:ext cx="10223342" cy="18980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>
              <a:lnSpc>
                <a:spcPct val="107000"/>
              </a:lnSpc>
              <a:defRPr sz="6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53377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dnight bottom/Off-white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211BAF0-34A1-4D57-A786-BAA1BC440A10}"/>
              </a:ext>
            </a:extLst>
          </p:cNvPr>
          <p:cNvSpPr/>
          <p:nvPr userDrawn="1"/>
        </p:nvSpPr>
        <p:spPr>
          <a:xfrm>
            <a:off x="0" y="5264728"/>
            <a:ext cx="12192000" cy="1593273"/>
          </a:xfrm>
          <a:prstGeom prst="rect">
            <a:avLst/>
          </a:prstGeom>
          <a:solidFill>
            <a:schemeClr val="tx2"/>
          </a:solidFill>
          <a:ln w="10795" cap="flat" cmpd="sng" algn="ctr">
            <a:noFill/>
            <a:prstDash val="solid"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463" b="0" i="0" u="none" strike="noStrike" kern="0" cap="none" spc="0" normalizeH="0" baseline="0" err="1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41CB0C33-9F43-475D-A03E-9162B95F0D8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95299" y="6532895"/>
            <a:ext cx="10489691" cy="118174"/>
          </a:xfrm>
        </p:spPr>
        <p:txBody>
          <a:bodyPr/>
          <a:lstStyle>
            <a:lvl1pPr marL="0" algn="l" defTabSz="557555" rtl="0" eaLnBrk="1" latinLnBrk="0" hangingPunct="1">
              <a:lnSpc>
                <a:spcPct val="96000"/>
              </a:lnSpc>
              <a:spcBef>
                <a:spcPts val="0"/>
              </a:spcBef>
              <a:buClr>
                <a:srgbClr val="3253DC"/>
              </a:buClr>
              <a:buFont typeface="Arial" panose="020B0604020202020204" pitchFamily="34" charset="0"/>
              <a:buNone/>
              <a:defRPr lang="en-US" sz="650" kern="1200" baseline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2C54E7-2A38-4D78-92E6-F5EE91DE79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 anchorCtr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61618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dnight_Blan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41CB0C33-9F43-475D-A03E-9162B95F0D8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95299" y="6532895"/>
            <a:ext cx="10489691" cy="118174"/>
          </a:xfrm>
        </p:spPr>
        <p:txBody>
          <a:bodyPr/>
          <a:lstStyle>
            <a:lvl1pPr marL="0" algn="l" defTabSz="557555" rtl="0" eaLnBrk="1" latinLnBrk="0" hangingPunct="1">
              <a:lnSpc>
                <a:spcPct val="96000"/>
              </a:lnSpc>
              <a:spcBef>
                <a:spcPts val="0"/>
              </a:spcBef>
              <a:buClr>
                <a:srgbClr val="3253DC"/>
              </a:buClr>
              <a:buFont typeface="Arial" panose="020B0604020202020204" pitchFamily="34" charset="0"/>
              <a:buNone/>
              <a:defRPr lang="en-US" sz="650" kern="1200" baseline="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6775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3A03272E-A5C6-CB49-BA8B-767EA157F8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5299" y="6555017"/>
            <a:ext cx="10489691" cy="9605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algn="l" defTabSz="557555" rtl="0" eaLnBrk="1" latinLnBrk="0" hangingPunct="1">
              <a:lnSpc>
                <a:spcPct val="96000"/>
              </a:lnSpc>
              <a:spcBef>
                <a:spcPts val="0"/>
              </a:spcBef>
              <a:spcAft>
                <a:spcPts val="183"/>
              </a:spcAft>
              <a:buClr>
                <a:srgbClr val="3253DC"/>
              </a:buClr>
              <a:buFont typeface="Arial" panose="020B0604020202020204" pitchFamily="34" charset="0"/>
              <a:buNone/>
              <a:defRPr lang="en-US" sz="650" kern="1200" baseline="0" smtClean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Source sample text</a:t>
            </a:r>
          </a:p>
        </p:txBody>
      </p:sp>
    </p:spTree>
    <p:extLst>
      <p:ext uri="{BB962C8B-B14F-4D97-AF65-F5344CB8AC3E}">
        <p14:creationId xmlns:p14="http://schemas.microsoft.com/office/powerpoint/2010/main" val="23945216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75489" y="1709928"/>
            <a:ext cx="11210544" cy="463600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A19E94CA-F00B-4A8B-A6EB-3E6BCE6D18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794" y="1132234"/>
            <a:ext cx="11202619" cy="431657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1463"/>
              </a:spcBef>
              <a:buNone/>
              <a:defRPr sz="1951">
                <a:solidFill>
                  <a:schemeClr val="tx1"/>
                </a:solidFill>
              </a:defRPr>
            </a:lvl1pPr>
            <a:lvl2pPr marL="371704" indent="0" algn="ctr">
              <a:buNone/>
              <a:defRPr sz="1626"/>
            </a:lvl2pPr>
            <a:lvl3pPr marL="743407" indent="0" algn="ctr">
              <a:buNone/>
              <a:defRPr sz="1463"/>
            </a:lvl3pPr>
            <a:lvl4pPr marL="1115111" indent="0" algn="ctr">
              <a:buNone/>
              <a:defRPr sz="1301"/>
            </a:lvl4pPr>
            <a:lvl5pPr marL="1486814" indent="0" algn="ctr">
              <a:buNone/>
              <a:defRPr sz="1301"/>
            </a:lvl5pPr>
            <a:lvl6pPr marL="1858518" indent="0" algn="ctr">
              <a:buNone/>
              <a:defRPr sz="1301"/>
            </a:lvl6pPr>
            <a:lvl7pPr marL="2230222" indent="0" algn="ctr">
              <a:buNone/>
              <a:defRPr sz="1301"/>
            </a:lvl7pPr>
            <a:lvl8pPr marL="2601925" indent="0" algn="ctr">
              <a:buNone/>
              <a:defRPr sz="1301"/>
            </a:lvl8pPr>
            <a:lvl9pPr marL="2973629" indent="0" algn="ctr">
              <a:buNone/>
              <a:defRPr sz="1301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CE17B5C3-EC24-45A0-9C9A-FB9EEA1245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4189" y="6484547"/>
            <a:ext cx="10223342" cy="18980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>
              <a:lnSpc>
                <a:spcPct val="107000"/>
              </a:lnSpc>
              <a:defRPr sz="6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2628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75489" y="1709928"/>
            <a:ext cx="11210544" cy="463600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A19E94CA-F00B-4A8B-A6EB-3E6BCE6D18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794" y="1132234"/>
            <a:ext cx="11202619" cy="431657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1463"/>
              </a:spcBef>
              <a:buNone/>
              <a:defRPr sz="1951">
                <a:solidFill>
                  <a:schemeClr val="tx1"/>
                </a:solidFill>
              </a:defRPr>
            </a:lvl1pPr>
            <a:lvl2pPr marL="371704" indent="0" algn="ctr">
              <a:buNone/>
              <a:defRPr sz="1626"/>
            </a:lvl2pPr>
            <a:lvl3pPr marL="743407" indent="0" algn="ctr">
              <a:buNone/>
              <a:defRPr sz="1463"/>
            </a:lvl3pPr>
            <a:lvl4pPr marL="1115111" indent="0" algn="ctr">
              <a:buNone/>
              <a:defRPr sz="1301"/>
            </a:lvl4pPr>
            <a:lvl5pPr marL="1486814" indent="0" algn="ctr">
              <a:buNone/>
              <a:defRPr sz="1301"/>
            </a:lvl5pPr>
            <a:lvl6pPr marL="1858518" indent="0" algn="ctr">
              <a:buNone/>
              <a:defRPr sz="1301"/>
            </a:lvl6pPr>
            <a:lvl7pPr marL="2230222" indent="0" algn="ctr">
              <a:buNone/>
              <a:defRPr sz="1301"/>
            </a:lvl7pPr>
            <a:lvl8pPr marL="2601925" indent="0" algn="ctr">
              <a:buNone/>
              <a:defRPr sz="1301"/>
            </a:lvl8pPr>
            <a:lvl9pPr marL="2973629" indent="0" algn="ctr">
              <a:buNone/>
              <a:defRPr sz="1301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CE17B5C3-EC24-45A0-9C9A-FB9EEA1245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4189" y="6484547"/>
            <a:ext cx="10223342" cy="18980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algn="l">
              <a:lnSpc>
                <a:spcPct val="107000"/>
              </a:lnSpc>
              <a:defRPr sz="6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8892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DAF8089-C2D7-9079-33DB-9B7870412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8932" y="45066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600" baseline="0">
                <a:solidFill>
                  <a:schemeClr val="bg1"/>
                </a:solidFill>
                <a:latin typeface="Segoe UI Semilight" panose="020B04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C4C76AEB-E466-39CB-006D-3108A5014A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2663762"/>
            <a:ext cx="10133076" cy="1949116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1430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6002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057400" indent="-228600">
              <a:buClr>
                <a:srgbClr val="FF7E22"/>
              </a:buClr>
              <a:buFont typeface="System Font Regular"/>
              <a:buChar char="&gt;"/>
              <a:defRPr baseline="0">
                <a:solidFill>
                  <a:srgbClr val="014479"/>
                </a:solidFill>
                <a:latin typeface="Segoe UI Semilight" panose="020B0402040204020203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71023B8A-81EA-169A-76A3-7CA2186AB2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7237" y="1708559"/>
            <a:ext cx="9580563" cy="1311275"/>
          </a:xfrm>
        </p:spPr>
        <p:txBody>
          <a:bodyPr>
            <a:normAutofit/>
          </a:bodyPr>
          <a:lstStyle>
            <a:lvl1pPr marL="0" indent="0">
              <a:buNone/>
              <a:defRPr sz="4000">
                <a:solidFill>
                  <a:srgbClr val="00498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93585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slideLayout" Target="../slideLayouts/slideLayout70.xml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slideLayout" Target="../slideLayouts/slideLayout69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29" Type="http://schemas.openxmlformats.org/officeDocument/2006/relationships/slideLayout" Target="../slideLayouts/slideLayout73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slideLayout" Target="../slideLayouts/slideLayout68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slideLayout" Target="../slideLayouts/slideLayout67.xml"/><Relationship Id="rId28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31" Type="http://schemas.openxmlformats.org/officeDocument/2006/relationships/theme" Target="../theme/theme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Relationship Id="rId27" Type="http://schemas.openxmlformats.org/officeDocument/2006/relationships/slideLayout" Target="../slideLayouts/slideLayout71.xml"/><Relationship Id="rId30" Type="http://schemas.openxmlformats.org/officeDocument/2006/relationships/slideLayout" Target="../slideLayouts/slideLayout7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image" Target="../media/image22.jpeg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A48E99-92DD-042A-076F-7F584F8EBB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C93EE8-9924-05E8-0FD6-B6F512151B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5BD01-2929-02BE-3F17-A6A9677AAD9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2EBC42-E280-CF4A-8DAA-E3924D75A745}" type="datetimeFigureOut">
              <a:rPr lang="en-US" smtClean="0"/>
              <a:t>4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31CB60-A140-6207-9EC6-A562046458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548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25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6" r:id="rId15"/>
    <p:sldLayoutId id="2147483727" r:id="rId16"/>
    <p:sldLayoutId id="2147483728" r:id="rId17"/>
    <p:sldLayoutId id="2147483729" r:id="rId18"/>
    <p:sldLayoutId id="2147483731" r:id="rId19"/>
    <p:sldLayoutId id="2147483732" r:id="rId20"/>
    <p:sldLayoutId id="2147483730" r:id="rId21"/>
    <p:sldLayoutId id="2147483750" r:id="rId22"/>
    <p:sldLayoutId id="2147483751" r:id="rId23"/>
    <p:sldLayoutId id="2147483752" r:id="rId24"/>
    <p:sldLayoutId id="2147483753" r:id="rId25"/>
    <p:sldLayoutId id="2147483754" r:id="rId26"/>
    <p:sldLayoutId id="2147483755" r:id="rId27"/>
    <p:sldLayoutId id="2147483756" r:id="rId28"/>
    <p:sldLayoutId id="2147483757" r:id="rId29"/>
    <p:sldLayoutId id="2147483758" r:id="rId30"/>
    <p:sldLayoutId id="2147483759" r:id="rId31"/>
    <p:sldLayoutId id="2147483760" r:id="rId3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chemeClr val="tx1"/>
          </a:solidFill>
          <a:latin typeface="Segoe UI Semilight" panose="020B0402040204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0074D8"/>
        </a:buClr>
        <a:buFont typeface="System Font Regular"/>
        <a:buChar char="&gt;"/>
        <a:defRPr sz="2800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74D8"/>
        </a:buClr>
        <a:buFont typeface="System Font Regular"/>
        <a:buChar char="&gt;"/>
        <a:defRPr sz="2400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74D8"/>
        </a:buClr>
        <a:buFont typeface="System Font Regular"/>
        <a:buChar char="&gt;"/>
        <a:defRPr sz="2000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74D8"/>
        </a:buClr>
        <a:buFont typeface="System Font Regular"/>
        <a:buChar char="&gt;"/>
        <a:defRPr sz="1800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74D8"/>
        </a:buClr>
        <a:buFont typeface="System Font Regular"/>
        <a:buChar char="&gt;"/>
        <a:defRPr sz="1800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7">
            <a:extLst>
              <a:ext uri="{FF2B5EF4-FFF2-40B4-BE49-F238E27FC236}">
                <a16:creationId xmlns:a16="http://schemas.microsoft.com/office/drawing/2014/main" id="{E63C0A69-6439-4E43-98C4-D80BBBFA34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15600" y="6172200"/>
            <a:ext cx="1216152" cy="2286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/>
            </a:lvl1pPr>
          </a:lstStyle>
          <a:p>
            <a:fld id="{814454A7-3838-ED43-80AB-4051B03E978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9909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592915" y="1524000"/>
            <a:ext cx="10972801" cy="47244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r>
              <a:rPr lang="en-US"/>
              <a:t>Body copy Intel clear light 28 point</a:t>
            </a:r>
          </a:p>
          <a:p>
            <a:pPr lvl="1"/>
            <a:r>
              <a:rPr lang="en-US"/>
              <a:t>Sub Bullet one 24 point</a:t>
            </a:r>
          </a:p>
          <a:p>
            <a:pPr lvl="2"/>
            <a:r>
              <a:rPr lang="en-US"/>
              <a:t>Sub Bullet two 20 point</a:t>
            </a:r>
          </a:p>
          <a:p>
            <a:pPr lvl="3"/>
            <a:r>
              <a:rPr lang="en-US"/>
              <a:t>Sub Bullet three 18 point</a:t>
            </a:r>
          </a:p>
          <a:p>
            <a:pPr lvl="4"/>
            <a:r>
              <a:rPr lang="en-US"/>
              <a:t>Sub Bullet four 16 point</a:t>
            </a:r>
            <a:br>
              <a:rPr lang="en-US"/>
            </a:br>
            <a:endParaRPr lang="en-US"/>
          </a:p>
          <a:p>
            <a:pPr lvl="2"/>
            <a:endParaRPr/>
          </a:p>
        </p:txBody>
      </p:sp>
      <p:sp>
        <p:nvSpPr>
          <p:cNvPr id="4" name="Title Text"/>
          <p:cNvSpPr txBox="1">
            <a:spLocks noGrp="1"/>
          </p:cNvSpPr>
          <p:nvPr>
            <p:ph type="title"/>
          </p:nvPr>
        </p:nvSpPr>
        <p:spPr>
          <a:xfrm>
            <a:off x="592916" y="571500"/>
            <a:ext cx="10972801" cy="8836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/>
          <a:p>
            <a:r>
              <a:rPr lang="en-US"/>
              <a:t>40pt Intel Clear Light Text Goes He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207797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6" r:id="rId12"/>
    <p:sldLayoutId id="2147483787" r:id="rId13"/>
    <p:sldLayoutId id="2147483788" r:id="rId14"/>
    <p:sldLayoutId id="2147483789" r:id="rId15"/>
    <p:sldLayoutId id="2147483790" r:id="rId16"/>
    <p:sldLayoutId id="2147483791" r:id="rId17"/>
    <p:sldLayoutId id="2147483792" r:id="rId18"/>
    <p:sldLayoutId id="2147483793" r:id="rId19"/>
    <p:sldLayoutId id="2147483794" r:id="rId20"/>
    <p:sldLayoutId id="2147483795" r:id="rId21"/>
    <p:sldLayoutId id="2147483796" r:id="rId22"/>
    <p:sldLayoutId id="2147483797" r:id="rId23"/>
    <p:sldLayoutId id="2147483798" r:id="rId24"/>
    <p:sldLayoutId id="2147483799" r:id="rId25"/>
    <p:sldLayoutId id="2147483800" r:id="rId26"/>
    <p:sldLayoutId id="2147483801" r:id="rId27"/>
    <p:sldLayoutId id="2147483802" r:id="rId28"/>
    <p:sldLayoutId id="2147483803" r:id="rId29"/>
    <p:sldLayoutId id="2147483804" r:id="rId30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sldNum="0" hdr="0" ftr="0" dt="0"/>
  <p:txStyles>
    <p:titleStyle>
      <a:lvl1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000" b="0" i="0" u="none" strike="noStrike" cap="none" spc="0" baseline="0">
          <a:solidFill>
            <a:schemeClr val="bg2"/>
          </a:solidFill>
          <a:uFillTx/>
          <a:latin typeface="Intel Clear Light" panose="020B0404020203020204" pitchFamily="34" charset="0"/>
          <a:ea typeface="Intel Clear Light" panose="020B0404020203020204" pitchFamily="34" charset="0"/>
          <a:cs typeface="Intel Clear Light" panose="020B0404020203020204" pitchFamily="34" charset="0"/>
          <a:sym typeface="Helvetica"/>
        </a:defRPr>
      </a:lvl1pPr>
      <a:lvl2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2pPr>
      <a:lvl3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3pPr>
      <a:lvl4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4pPr>
      <a:lvl5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5pPr>
      <a:lvl6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6pPr>
      <a:lvl7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7pPr>
      <a:lvl8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8pPr>
      <a:lvl9pPr marL="0" marR="0" indent="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1" i="0" u="none" strike="noStrike" cap="none" spc="0" baseline="0">
          <a:solidFill>
            <a:srgbClr val="535353"/>
          </a:solidFill>
          <a:uFillTx/>
          <a:latin typeface="Helvetica"/>
          <a:ea typeface="Helvetica"/>
          <a:cs typeface="Helvetica"/>
          <a:sym typeface="Helvetica"/>
        </a:defRPr>
      </a:lvl9pPr>
    </p:titleStyle>
    <p:bodyStyle>
      <a:lvl1pPr marL="228600" marR="0" indent="-228600" algn="l" defTabSz="609600" eaLnBrk="1" latinLnBrk="0" hangingPunct="1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Wingdings" pitchFamily="2" charset="2"/>
        <a:buChar char="§"/>
        <a:tabLst/>
        <a:defRPr sz="2800" b="0" i="0" u="none" strike="noStrike" cap="none" spc="0" baseline="0">
          <a:solidFill>
            <a:schemeClr val="bg2"/>
          </a:solidFill>
          <a:uFillTx/>
          <a:latin typeface="Intel Clear Light" panose="020B0404020203020204" pitchFamily="34" charset="0"/>
          <a:ea typeface="Intel Clear Light" panose="020B0404020203020204" pitchFamily="34" charset="0"/>
          <a:cs typeface="Intel Clear Light" panose="020B0404020203020204" pitchFamily="34" charset="0"/>
          <a:sym typeface="Helvetica"/>
        </a:defRPr>
      </a:lvl1pPr>
      <a:lvl2pPr marL="431800" marR="0" indent="-203200" algn="l" defTabSz="609600" eaLnBrk="1" latinLnBrk="0" hangingPunct="1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0" i="0" u="none" strike="noStrike" cap="none" spc="0" baseline="0">
          <a:solidFill>
            <a:schemeClr val="bg2"/>
          </a:solidFill>
          <a:uFillTx/>
          <a:latin typeface="Intel Clear Light" panose="020B0404020203020204" pitchFamily="34" charset="0"/>
          <a:ea typeface="Intel Clear Light" panose="020B0404020203020204" pitchFamily="34" charset="0"/>
          <a:cs typeface="Intel Clear Light" panose="020B0404020203020204" pitchFamily="34" charset="0"/>
          <a:sym typeface="Helvetica"/>
        </a:defRPr>
      </a:lvl2pPr>
      <a:lvl3pPr marL="686594" marR="0" indent="-197644" algn="l" defTabSz="609600" eaLnBrk="1" latinLnBrk="0" hangingPunct="1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chemeClr val="bg2"/>
          </a:solidFill>
          <a:uFillTx/>
          <a:latin typeface="Intel Clear Light" panose="020B0404020203020204" pitchFamily="34" charset="0"/>
          <a:ea typeface="Intel Clear Light" panose="020B0404020203020204" pitchFamily="34" charset="0"/>
          <a:cs typeface="Intel Clear Light" panose="020B0404020203020204" pitchFamily="34" charset="0"/>
          <a:sym typeface="Helvetica"/>
        </a:defRPr>
      </a:lvl3pPr>
      <a:lvl4pPr marL="919957" marR="0" indent="-228600" algn="l" defTabSz="609600" eaLnBrk="1" latinLnBrk="0" hangingPunct="1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b="0" i="0" u="none" strike="noStrike" cap="none" spc="0" baseline="0">
          <a:solidFill>
            <a:schemeClr val="bg2"/>
          </a:solidFill>
          <a:uFillTx/>
          <a:latin typeface="Intel Clear Light" panose="020B0404020203020204" pitchFamily="34" charset="0"/>
          <a:ea typeface="Intel Clear Light" panose="020B0404020203020204" pitchFamily="34" charset="0"/>
          <a:cs typeface="Intel Clear Light" panose="020B0404020203020204" pitchFamily="34" charset="0"/>
          <a:sym typeface="Helvetica"/>
        </a:defRPr>
      </a:lvl4pPr>
      <a:lvl5pPr marL="1148557" marR="0" indent="-228600" algn="l" defTabSz="609600" eaLnBrk="1" latinLnBrk="0" hangingPunct="1">
        <a:lnSpc>
          <a:spcPct val="10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b="0" i="0" u="none" strike="noStrike" cap="none" spc="0" baseline="0">
          <a:solidFill>
            <a:schemeClr val="bg2"/>
          </a:solidFill>
          <a:uFillTx/>
          <a:latin typeface="Intel Clear Light" panose="020B0404020203020204" pitchFamily="34" charset="0"/>
          <a:ea typeface="Intel Clear Light" panose="020B0404020203020204" pitchFamily="34" charset="0"/>
          <a:cs typeface="Intel Clear Light" panose="020B0404020203020204" pitchFamily="34" charset="0"/>
          <a:sym typeface="Helvetica"/>
        </a:defRPr>
      </a:lvl5pPr>
      <a:lvl6pPr marL="0" marR="0" indent="57150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rgbClr val="5E5E5E"/>
          </a:solidFill>
          <a:uFillTx/>
          <a:latin typeface="Helvetica"/>
          <a:ea typeface="Helvetica"/>
          <a:cs typeface="Helvetica"/>
          <a:sym typeface="Helvetica"/>
        </a:defRPr>
      </a:lvl6pPr>
      <a:lvl7pPr marL="0" marR="0" indent="68580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rgbClr val="5E5E5E"/>
          </a:solidFill>
          <a:uFillTx/>
          <a:latin typeface="Helvetica"/>
          <a:ea typeface="Helvetica"/>
          <a:cs typeface="Helvetica"/>
          <a:sym typeface="Helvetica"/>
        </a:defRPr>
      </a:lvl7pPr>
      <a:lvl8pPr marL="0" marR="0" indent="80010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rgbClr val="5E5E5E"/>
          </a:solidFill>
          <a:uFillTx/>
          <a:latin typeface="Helvetica"/>
          <a:ea typeface="Helvetica"/>
          <a:cs typeface="Helvetica"/>
          <a:sym typeface="Helvetica"/>
        </a:defRPr>
      </a:lvl8pPr>
      <a:lvl9pPr marL="0" marR="0" indent="914400" algn="l" defTabSz="60960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solidFill>
            <a:srgbClr val="5E5E5E"/>
          </a:solidFill>
          <a:uFillTx/>
          <a:latin typeface="Helvetica"/>
          <a:ea typeface="Helvetica"/>
          <a:cs typeface="Helvetica"/>
          <a:sym typeface="Helvetica"/>
        </a:defRPr>
      </a:lvl9pPr>
    </p:bodyStyle>
    <p:otherStyle>
      <a:lvl1pPr marL="0" marR="0" indent="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1pPr>
      <a:lvl2pPr marL="0" marR="0" indent="22860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2pPr>
      <a:lvl3pPr marL="0" marR="0" indent="45720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3pPr>
      <a:lvl4pPr marL="0" marR="0" indent="68580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4pPr>
      <a:lvl5pPr marL="0" marR="0" indent="91440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5pPr>
      <a:lvl6pPr marL="0" marR="0" indent="114300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6pPr>
      <a:lvl7pPr marL="0" marR="0" indent="137160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7pPr>
      <a:lvl8pPr marL="0" marR="0" indent="160020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8pPr>
      <a:lvl9pPr marL="0" marR="0" indent="1828800" algn="r" defTabSz="60960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Intel Clear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6F88378C-9D96-42E8-92CD-8526DDBF4F3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750488" y="228600"/>
            <a:ext cx="8005233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49C4EDCB-B938-42B8-9865-939F84368B62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3" y="1454152"/>
            <a:ext cx="11184467" cy="4830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 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  <p:sp>
        <p:nvSpPr>
          <p:cNvPr id="1030" name="Rectangle 15">
            <a:extLst>
              <a:ext uri="{FF2B5EF4-FFF2-40B4-BE49-F238E27FC236}">
                <a16:creationId xmlns:a16="http://schemas.microsoft.com/office/drawing/2014/main" id="{7ECE1BFA-4997-4EE5-ADD7-5FC15788726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448305" y="3304123"/>
            <a:ext cx="1042273" cy="259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en-US" sz="1084">
                <a:solidFill>
                  <a:schemeClr val="bg1"/>
                </a:solidFill>
              </a:rPr>
              <a:t>© 3GPP 2012</a:t>
            </a:r>
            <a:endParaRPr lang="en-GB" altLang="en-US" sz="1084"/>
          </a:p>
        </p:txBody>
      </p:sp>
    </p:spTree>
    <p:extLst>
      <p:ext uri="{BB962C8B-B14F-4D97-AF65-F5344CB8AC3E}">
        <p14:creationId xmlns:p14="http://schemas.microsoft.com/office/powerpoint/2010/main" val="750616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</p:sldLayoutIdLst>
  <p:transition spd="slow"/>
  <p:hf sldNum="0"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469">
          <a:solidFill>
            <a:srgbClr val="FF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469">
          <a:solidFill>
            <a:srgbClr val="FF0000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469">
          <a:solidFill>
            <a:srgbClr val="FF0000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469">
          <a:solidFill>
            <a:srgbClr val="FF0000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469">
          <a:solidFill>
            <a:srgbClr val="FF0000"/>
          </a:solidFill>
          <a:latin typeface="Calibri" pitchFamily="34" charset="0"/>
        </a:defRPr>
      </a:lvl5pPr>
      <a:lvl6pPr marL="495577" algn="ctr" rtl="0" eaLnBrk="0" fontAlgn="base" hangingPunct="0">
        <a:spcBef>
          <a:spcPct val="0"/>
        </a:spcBef>
        <a:spcAft>
          <a:spcPct val="0"/>
        </a:spcAft>
        <a:defRPr sz="3469">
          <a:solidFill>
            <a:srgbClr val="FF0000"/>
          </a:solidFill>
          <a:latin typeface="Calibri" pitchFamily="34" charset="0"/>
        </a:defRPr>
      </a:lvl6pPr>
      <a:lvl7pPr marL="991155" algn="ctr" rtl="0" eaLnBrk="0" fontAlgn="base" hangingPunct="0">
        <a:spcBef>
          <a:spcPct val="0"/>
        </a:spcBef>
        <a:spcAft>
          <a:spcPct val="0"/>
        </a:spcAft>
        <a:defRPr sz="3469">
          <a:solidFill>
            <a:srgbClr val="FF0000"/>
          </a:solidFill>
          <a:latin typeface="Calibri" pitchFamily="34" charset="0"/>
        </a:defRPr>
      </a:lvl7pPr>
      <a:lvl8pPr marL="1486731" algn="ctr" rtl="0" eaLnBrk="0" fontAlgn="base" hangingPunct="0">
        <a:spcBef>
          <a:spcPct val="0"/>
        </a:spcBef>
        <a:spcAft>
          <a:spcPct val="0"/>
        </a:spcAft>
        <a:defRPr sz="3469">
          <a:solidFill>
            <a:srgbClr val="FF0000"/>
          </a:solidFill>
          <a:latin typeface="Calibri" pitchFamily="34" charset="0"/>
        </a:defRPr>
      </a:lvl8pPr>
      <a:lvl9pPr marL="1982308" algn="ctr" rtl="0" eaLnBrk="0" fontAlgn="base" hangingPunct="0">
        <a:spcBef>
          <a:spcPct val="0"/>
        </a:spcBef>
        <a:spcAft>
          <a:spcPct val="0"/>
        </a:spcAft>
        <a:defRPr sz="3469">
          <a:solidFill>
            <a:srgbClr val="FF0000"/>
          </a:solidFill>
          <a:latin typeface="Calibri" pitchFamily="34" charset="0"/>
        </a:defRPr>
      </a:lvl9pPr>
    </p:titleStyle>
    <p:bodyStyle>
      <a:lvl1pPr marL="371684" indent="-371684" algn="l" rtl="0" eaLnBrk="0" fontAlgn="base" hangingPunct="0">
        <a:spcBef>
          <a:spcPct val="20000"/>
        </a:spcBef>
        <a:spcAft>
          <a:spcPct val="0"/>
        </a:spcAft>
        <a:buBlip>
          <a:blip r:embed="rId13"/>
        </a:buBlip>
        <a:defRPr sz="3034">
          <a:solidFill>
            <a:schemeClr val="tx1"/>
          </a:solidFill>
          <a:latin typeface="+mn-lt"/>
          <a:ea typeface="+mn-ea"/>
          <a:cs typeface="+mn-cs"/>
        </a:defRPr>
      </a:lvl1pPr>
      <a:lvl2pPr marL="805312" indent="-309735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602">
          <a:solidFill>
            <a:schemeClr val="tx1"/>
          </a:solidFill>
          <a:latin typeface="+mn-lt"/>
        </a:defRPr>
      </a:lvl2pPr>
      <a:lvl3pPr marL="1238943" indent="-24778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167">
          <a:solidFill>
            <a:schemeClr val="tx1"/>
          </a:solidFill>
          <a:latin typeface="+mn-lt"/>
        </a:defRPr>
      </a:lvl3pPr>
      <a:lvl4pPr marL="1734520" indent="-24778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67">
          <a:solidFill>
            <a:schemeClr val="tx1"/>
          </a:solidFill>
          <a:latin typeface="+mn-lt"/>
        </a:defRPr>
      </a:lvl4pPr>
      <a:lvl5pPr marL="2230097" indent="-24778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733">
          <a:solidFill>
            <a:schemeClr val="tx1"/>
          </a:solidFill>
          <a:latin typeface="+mn-lt"/>
        </a:defRPr>
      </a:lvl5pPr>
      <a:lvl6pPr marL="2725674" indent="-24778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733">
          <a:solidFill>
            <a:schemeClr val="tx1"/>
          </a:solidFill>
          <a:latin typeface="+mn-lt"/>
        </a:defRPr>
      </a:lvl6pPr>
      <a:lvl7pPr marL="3221252" indent="-24778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733">
          <a:solidFill>
            <a:schemeClr val="tx1"/>
          </a:solidFill>
          <a:latin typeface="+mn-lt"/>
        </a:defRPr>
      </a:lvl7pPr>
      <a:lvl8pPr marL="3716829" indent="-24778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733">
          <a:solidFill>
            <a:schemeClr val="tx1"/>
          </a:solidFill>
          <a:latin typeface="+mn-lt"/>
        </a:defRPr>
      </a:lvl8pPr>
      <a:lvl9pPr marL="4212406" indent="-24778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73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91155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1pPr>
      <a:lvl2pPr marL="495577" algn="l" defTabSz="991155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2pPr>
      <a:lvl3pPr marL="991155" algn="l" defTabSz="991155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3pPr>
      <a:lvl4pPr marL="1486731" algn="l" defTabSz="991155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4pPr>
      <a:lvl5pPr marL="1982308" algn="l" defTabSz="991155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5pPr>
      <a:lvl6pPr marL="2477886" algn="l" defTabSz="991155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6pPr>
      <a:lvl7pPr marL="2973463" algn="l" defTabSz="991155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7pPr>
      <a:lvl8pPr marL="3469041" algn="l" defTabSz="991155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8pPr>
      <a:lvl9pPr marL="3964618" algn="l" defTabSz="991155" rtl="0" eaLnBrk="1" latinLnBrk="0" hangingPunct="1">
        <a:defRPr sz="19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8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3gpp.org/ftp/tsg_ran/TSG_RAN/TSGR_103/Docs/RP-240087.zip" TargetMode="External"/><Relationship Id="rId13" Type="http://schemas.openxmlformats.org/officeDocument/2006/relationships/hyperlink" Target="http://www.3gpp.org/ftp/tsg_ran/TSG_RAN/TSGR_101/Docs/RP-231540.zip" TargetMode="External"/><Relationship Id="rId3" Type="http://schemas.openxmlformats.org/officeDocument/2006/relationships/hyperlink" Target="http://www.3gpp.org/ftp/tsg_ran/TSG_RAN/TSGR_102/Docs/RP-234056.zip" TargetMode="External"/><Relationship Id="rId7" Type="http://schemas.openxmlformats.org/officeDocument/2006/relationships/hyperlink" Target="http://www.3gpp.org/ftp/tsg_ran/TSG_RAN/TSGR_103/Docs/RP-240826.zip" TargetMode="External"/><Relationship Id="rId12" Type="http://schemas.openxmlformats.org/officeDocument/2006/relationships/hyperlink" Target="http://www.3gpp.org/ftp/tsg_ran/TSG_RAN/TSGR_103/Docs/RP-240170.zip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4.xml"/><Relationship Id="rId6" Type="http://schemas.openxmlformats.org/officeDocument/2006/relationships/hyperlink" Target="http://www.3gpp.org/ftp/tsg_ran/TSG_RAN/TSGR_103/Docs/RP-240799.zip" TargetMode="External"/><Relationship Id="rId11" Type="http://schemas.openxmlformats.org/officeDocument/2006/relationships/hyperlink" Target="http://www.3gpp.org/ftp/tsg_ran/TSG_RAN/TSGR_103/Docs/RP-240801.zip" TargetMode="External"/><Relationship Id="rId5" Type="http://schemas.openxmlformats.org/officeDocument/2006/relationships/hyperlink" Target="http://www.3gpp.org/ftp/tsg_ran/TSG_RAN/TSGR_102/Docs/RP-234018.zip" TargetMode="External"/><Relationship Id="rId15" Type="http://schemas.openxmlformats.org/officeDocument/2006/relationships/hyperlink" Target="http://www.3gpp.org/ftp/tsg_ran/TSG_RAN/TSGR_102/Docs/RP-232745.zip" TargetMode="External"/><Relationship Id="rId10" Type="http://schemas.openxmlformats.org/officeDocument/2006/relationships/hyperlink" Target="http://www.3gpp.org/ftp/tsg_ran/TSG_RAN/TSGR_103/Docs/RP-240774.zip" TargetMode="External"/><Relationship Id="rId4" Type="http://schemas.openxmlformats.org/officeDocument/2006/relationships/hyperlink" Target="http://www.3gpp.org/ftp/tsg_ran/TSG_RAN/TSGR_102/Docs/RP-234016.zip" TargetMode="External"/><Relationship Id="rId9" Type="http://schemas.openxmlformats.org/officeDocument/2006/relationships/hyperlink" Target="http://www.3gpp.org/ftp/tsg_ran/TSG_RAN/TSGR_103/Docs/RP-240789.zip" TargetMode="External"/><Relationship Id="rId14" Type="http://schemas.openxmlformats.org/officeDocument/2006/relationships/hyperlink" Target="http://www.3gpp.org/ftp/tsg_ran/TSG_RAN/TSGR_101/Docs/RP-232745.zip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3gpp.org/ftp/tsg_ran/TSG_RAN/TSGR_103/Docs/RP-240776.zip" TargetMode="External"/><Relationship Id="rId3" Type="http://schemas.openxmlformats.org/officeDocument/2006/relationships/hyperlink" Target="http://www.3gpp.org/ftp/tsg_ran/TSG_RAN/TSGR_103/Docs/RP-240082.zip" TargetMode="External"/><Relationship Id="rId7" Type="http://schemas.openxmlformats.org/officeDocument/2006/relationships/hyperlink" Target="http://www.3gpp.org/ftp/tsg_ran/TSG_RAN/TSGR_103/Docs/RP-240846.zip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5.xml"/><Relationship Id="rId6" Type="http://schemas.openxmlformats.org/officeDocument/2006/relationships/hyperlink" Target="http://www.3gpp.org/ftp/tsg_ran/TSG_RAN/TSGR_103/Docs/RP-240775.zip" TargetMode="External"/><Relationship Id="rId11" Type="http://schemas.openxmlformats.org/officeDocument/2006/relationships/hyperlink" Target="http://www.3gpp.org/ftp/tsg_ran/TSG_RAN/TSGR_102/Docs/RP-232745.zip" TargetMode="External"/><Relationship Id="rId5" Type="http://schemas.openxmlformats.org/officeDocument/2006/relationships/hyperlink" Target="http://www.3gpp.org/ftp/tsg_ran/TSG_RAN/TSGR_103/Docs/RP-240791.zip" TargetMode="External"/><Relationship Id="rId10" Type="http://schemas.openxmlformats.org/officeDocument/2006/relationships/hyperlink" Target="http://www.3gpp.org/ftp/tsg_ran/TSG_RAN/TSGR_101/Docs/RP-232745.zip" TargetMode="External"/><Relationship Id="rId4" Type="http://schemas.openxmlformats.org/officeDocument/2006/relationships/hyperlink" Target="http://www.3gpp.org/ftp/tsg_ran/TSG_RAN/TSGR_103/Docs/RP-240299.zip" TargetMode="External"/><Relationship Id="rId9" Type="http://schemas.openxmlformats.org/officeDocument/2006/relationships/hyperlink" Target="http://www.3gpp.org/ftp/tsg_ran/TSG_RAN/TSGR_101/Docs/RP-231540.zip" TargetMode="Externa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://www.3gpp.org/ftp/tsg_ran/TSG_RAN/TSGR_102/Docs/RP-232745.zip" TargetMode="External"/><Relationship Id="rId3" Type="http://schemas.openxmlformats.org/officeDocument/2006/relationships/hyperlink" Target="http://www.3gpp.org/ftp/tsg_ran/TSG_RAN/TSGR_103/Docs/RP-240323.zip" TargetMode="External"/><Relationship Id="rId7" Type="http://schemas.openxmlformats.org/officeDocument/2006/relationships/hyperlink" Target="http://www.3gpp.org/ftp/tsg_ran/TSG_RAN/TSGR_101/Docs/RP-232745.zip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4.xml"/><Relationship Id="rId6" Type="http://schemas.openxmlformats.org/officeDocument/2006/relationships/hyperlink" Target="http://www.3gpp.org/ftp/tsg_ran/TSG_RAN/TSGR_101/Docs/RP-231540.zip" TargetMode="External"/><Relationship Id="rId5" Type="http://schemas.openxmlformats.org/officeDocument/2006/relationships/hyperlink" Target="http://www.3gpp.org/ftp/tsg_ran/TSG_RAN/TSGR_102/Docs/RP-234038.zip" TargetMode="External"/><Relationship Id="rId4" Type="http://schemas.openxmlformats.org/officeDocument/2006/relationships/hyperlink" Target="http://www.3gpp.org/ftp/tsg_ran/TSG_RAN/TSGR_103/Docs/RP-240319.zip" TargetMode="Externa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://www.3gpp.org/ftp/tsg_ran/TSG_RAN/TSGR_103/Docs/RP-240841.zip" TargetMode="External"/><Relationship Id="rId13" Type="http://schemas.openxmlformats.org/officeDocument/2006/relationships/hyperlink" Target="http://www.3gpp.org/ftp/tsg_ran/TSG_RAN/TSGR_103/Docs/RP-240839.zip" TargetMode="External"/><Relationship Id="rId18" Type="http://schemas.openxmlformats.org/officeDocument/2006/relationships/hyperlink" Target="http://www.3gpp.org/ftp/tsg_ran/TSG_RAN/TSGR_101/Docs/RP-232745.zip" TargetMode="External"/><Relationship Id="rId3" Type="http://schemas.openxmlformats.org/officeDocument/2006/relationships/hyperlink" Target="http://www.3gpp.org/ftp/tsg_ran/TSG_RAN/TSGR_103/Docs/RP-240828.zip" TargetMode="External"/><Relationship Id="rId7" Type="http://schemas.openxmlformats.org/officeDocument/2006/relationships/hyperlink" Target="http://www.3gpp.org/ftp/tsg_ran/TSG_RAN/TSGR_103/Docs/RP-240831.zip" TargetMode="External"/><Relationship Id="rId12" Type="http://schemas.openxmlformats.org/officeDocument/2006/relationships/hyperlink" Target="http://www.3gpp.org/ftp/tsg_ran/TSG_RAN/TSGR_103/Docs/RP-240832.zip" TargetMode="External"/><Relationship Id="rId17" Type="http://schemas.openxmlformats.org/officeDocument/2006/relationships/hyperlink" Target="http://www.3gpp.org/ftp/tsg_ran/TSG_RAN/TSGR_101/Docs/RP-231540.zip" TargetMode="External"/><Relationship Id="rId2" Type="http://schemas.openxmlformats.org/officeDocument/2006/relationships/notesSlide" Target="../notesSlides/notesSlide7.xml"/><Relationship Id="rId16" Type="http://schemas.openxmlformats.org/officeDocument/2006/relationships/hyperlink" Target="http://www.3gpp.org/ftp/tsg_ran/TSG_RAN/TSGR_103/Docs/RP-240768.zip" TargetMode="External"/><Relationship Id="rId1" Type="http://schemas.openxmlformats.org/officeDocument/2006/relationships/slideLayout" Target="../slideLayouts/slideLayout84.xml"/><Relationship Id="rId6" Type="http://schemas.openxmlformats.org/officeDocument/2006/relationships/hyperlink" Target="http://www.3gpp.org/ftp/tsg_ran/TSG_RAN/TSGR_103/Docs/RP-240830.zip" TargetMode="External"/><Relationship Id="rId11" Type="http://schemas.openxmlformats.org/officeDocument/2006/relationships/hyperlink" Target="http://www.3gpp.org/ftp/tsg_ran/TSG_RAN/TSGR_103/Docs/RP-240838.zip" TargetMode="External"/><Relationship Id="rId5" Type="http://schemas.openxmlformats.org/officeDocument/2006/relationships/hyperlink" Target="http://www.3gpp.org/ftp/tsg_ran/TSG_RAN/TSGR_103/Docs/RP-240857.zip" TargetMode="External"/><Relationship Id="rId15" Type="http://schemas.openxmlformats.org/officeDocument/2006/relationships/hyperlink" Target="http://www.3gpp.org/ftp/tsg_ran/TSG_RAN/TSGR_103/Docs/RP-240792.zip" TargetMode="External"/><Relationship Id="rId10" Type="http://schemas.openxmlformats.org/officeDocument/2006/relationships/hyperlink" Target="http://www.3gpp.org/ftp/tsg_ran/TSG_RAN/TSGR_103/Docs/RP-240849.zip" TargetMode="External"/><Relationship Id="rId19" Type="http://schemas.openxmlformats.org/officeDocument/2006/relationships/hyperlink" Target="http://www.3gpp.org/ftp/tsg_ran/TSG_RAN/TSGR_103/Docs/RP-240019.zip" TargetMode="External"/><Relationship Id="rId4" Type="http://schemas.openxmlformats.org/officeDocument/2006/relationships/hyperlink" Target="http://www.3gpp.org/ftp/tsg_ran/TSG_RAN/TSGR_103/Docs/RP-240829.zip" TargetMode="External"/><Relationship Id="rId9" Type="http://schemas.openxmlformats.org/officeDocument/2006/relationships/hyperlink" Target="http://www.3gpp.org/ftp/tsg_ran/TSG_RAN/TSGR_103/Docs/RP-240856.zip" TargetMode="External"/><Relationship Id="rId14" Type="http://schemas.openxmlformats.org/officeDocument/2006/relationships/hyperlink" Target="http://www.3gpp.org/ftp/tsg_ran/TSG_RAN/TSGR_103/Docs/RP-240787.zip" TargetMode="Externa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3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9.jpeg"/><Relationship Id="rId4" Type="http://schemas.openxmlformats.org/officeDocument/2006/relationships/image" Target="../media/image2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3gpp.org/ftp/tsg_ran/TSG_RAN/TSGR_101/Docs/RP-231540.zip" TargetMode="External"/><Relationship Id="rId2" Type="http://schemas.openxmlformats.org/officeDocument/2006/relationships/hyperlink" Target="http://www.3gpp.org/ftp/tsg_ran/TSG_RAN/TSGR_101/Docs/RP-231518.zip" TargetMode="External"/><Relationship Id="rId1" Type="http://schemas.openxmlformats.org/officeDocument/2006/relationships/slideLayout" Target="../slideLayouts/slideLayout80.xml"/><Relationship Id="rId6" Type="http://schemas.openxmlformats.org/officeDocument/2006/relationships/hyperlink" Target="http://www.3gpp.org/ftp/tsg_ran/TSG_RAN/TSGR_103/Docs/RP-240823.zip" TargetMode="External"/><Relationship Id="rId5" Type="http://schemas.openxmlformats.org/officeDocument/2006/relationships/hyperlink" Target="http://www.3gpp.org/ftp/tsg_ran/TSG_RAN/TSGR_102/Docs/RP-233985.zip" TargetMode="External"/><Relationship Id="rId4" Type="http://schemas.openxmlformats.org/officeDocument/2006/relationships/hyperlink" Target="http://www.3gpp.org/ftp/tsg_ran/TSG_RAN/TSGR_101/Docs/RP-232745.zip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3gpp.org/ftp/tsg_ran/TSG_RAN/TSGR_101/Docs/RP-231540.zip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0.xml"/><Relationship Id="rId6" Type="http://schemas.openxmlformats.org/officeDocument/2006/relationships/hyperlink" Target="http://www.3gpp.org/ftp/tsg_ran/TSG_RAN/TSGR_103/Docs/RP-240823.zip" TargetMode="External"/><Relationship Id="rId5" Type="http://schemas.openxmlformats.org/officeDocument/2006/relationships/hyperlink" Target="http://www.3gpp.org/ftp/tsg_ran/TSG_RAN/TSGR_102/Docs/RP-233985.zip" TargetMode="External"/><Relationship Id="rId4" Type="http://schemas.openxmlformats.org/officeDocument/2006/relationships/hyperlink" Target="http://www.3gpp.org/ftp/tsg_ran/TSG_RAN/TSGR_101/Docs/RP-232745.zip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3gpp.org/ftp/tsg_ran/TSG_RAN/TSGR_101/Docs/RP-231540.zip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0.xml"/><Relationship Id="rId6" Type="http://schemas.openxmlformats.org/officeDocument/2006/relationships/hyperlink" Target="http://www.3gpp.org/ftp/tsg_ran/TSG_RAN/TSGR_103/Docs/RP-240823.zip" TargetMode="External"/><Relationship Id="rId5" Type="http://schemas.openxmlformats.org/officeDocument/2006/relationships/hyperlink" Target="http://www.3gpp.org/ftp/tsg_ran/TSG_RAN/TSGR_102/Docs/RP-233985.zip" TargetMode="External"/><Relationship Id="rId4" Type="http://schemas.openxmlformats.org/officeDocument/2006/relationships/hyperlink" Target="http://www.3gpp.org/ftp/tsg_ran/TSG_RAN/TSGR_101/Docs/RP-232745.zip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4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4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49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3gpp.org/ftp/TSG_SA/TSG_SA/TSGS_102_Edinburgh_2023-12/Docs/SP-231796.zip" TargetMode="External"/><Relationship Id="rId13" Type="http://schemas.openxmlformats.org/officeDocument/2006/relationships/hyperlink" Target="https://www.3gpp.org/ftp/TSG_SA/TSG_SA/TSGS_102_Edinburgh_2023-12/Docs/SP-231801.zip" TargetMode="External"/><Relationship Id="rId18" Type="http://schemas.openxmlformats.org/officeDocument/2006/relationships/hyperlink" Target="https://www.3gpp.org/ftp/TSG_SA/TSG_SA/TSGS_102_Edinburgh_2023-12/Docs/SP-231052.zip" TargetMode="External"/><Relationship Id="rId3" Type="http://schemas.openxmlformats.org/officeDocument/2006/relationships/hyperlink" Target="https://www.3gpp.org/ftp/TSG_SA/TSG_SA/TSGS_102_Edinburgh_2023-12/Docs/SP-231391.zip" TargetMode="External"/><Relationship Id="rId21" Type="http://schemas.openxmlformats.org/officeDocument/2006/relationships/hyperlink" Target="https://www.3gpp.org/ftp/TSG_SA/TSG_SA/TSGS_102_Edinburgh_2023-12/Docs/SP-231757.zip" TargetMode="External"/><Relationship Id="rId7" Type="http://schemas.openxmlformats.org/officeDocument/2006/relationships/hyperlink" Target="https://www.3gpp.org/ftp/TSG_SA/TSG_SA/TSGS_102_Edinburgh_2023-12/Docs/SP-231795.zip" TargetMode="External"/><Relationship Id="rId12" Type="http://schemas.openxmlformats.org/officeDocument/2006/relationships/hyperlink" Target="https://www.3gpp.org/ftp/TSG_SA/TSG_SA/TSGS_102_Edinburgh_2023-12/Docs/SP-231800.zip" TargetMode="External"/><Relationship Id="rId17" Type="http://schemas.openxmlformats.org/officeDocument/2006/relationships/hyperlink" Target="https://www.3gpp.org/ftp/TSG_SA/TSG_SA/TSGS_102_Edinburgh_2023-12/Docs/SP-231754.zip" TargetMode="External"/><Relationship Id="rId2" Type="http://schemas.openxmlformats.org/officeDocument/2006/relationships/hyperlink" Target="https://www.3gpp.org/ftp/TSG_SA/TSG_SA/TSGS_102_Edinburgh_2023-12/Docs/SP-231805.zip" TargetMode="External"/><Relationship Id="rId16" Type="http://schemas.openxmlformats.org/officeDocument/2006/relationships/hyperlink" Target="https://www.3gpp.org/ftp/TSG_SA/TSG_SA/TSGS_102_Edinburgh_2023-12/Docs/SP-231804.zip" TargetMode="External"/><Relationship Id="rId20" Type="http://schemas.openxmlformats.org/officeDocument/2006/relationships/hyperlink" Target="https://www.3gpp.org/ftp/TSG_SA/TSG_SA/TSGS_102_Edinburgh_2023-12/Docs/SP-231674.zip" TargetMode="External"/><Relationship Id="rId1" Type="http://schemas.openxmlformats.org/officeDocument/2006/relationships/slideLayout" Target="../slideLayouts/slideLayout51.xml"/><Relationship Id="rId6" Type="http://schemas.openxmlformats.org/officeDocument/2006/relationships/hyperlink" Target="https://www.3gpp.org/ftp/TSG_SA/TSG_SA/TSGS_102_Edinburgh_2023-12/Docs/SP-231672.zip" TargetMode="External"/><Relationship Id="rId11" Type="http://schemas.openxmlformats.org/officeDocument/2006/relationships/hyperlink" Target="https://www.3gpp.org/ftp/TSG_SA/TSG_SA/TSGS_102_Edinburgh_2023-12/Docs/SP-231799.zip" TargetMode="External"/><Relationship Id="rId5" Type="http://schemas.openxmlformats.org/officeDocument/2006/relationships/hyperlink" Target="https://www.3gpp.org/ftp/TSG_SA/TSG_SA/TSGs_101_Bangalore_2023-09/Docs/SP-231199.zip" TargetMode="External"/><Relationship Id="rId15" Type="http://schemas.openxmlformats.org/officeDocument/2006/relationships/hyperlink" Target="https://www.3gpp.org/ftp/TSG_SA/TSG_SA/TSGS_102_Edinburgh_2023-12/Docs/SP-231803.zip" TargetMode="External"/><Relationship Id="rId23" Type="http://schemas.openxmlformats.org/officeDocument/2006/relationships/hyperlink" Target="https://www.3gpp.org/ftp/TSG_SA/TSG_SA/TSGS_102_Edinburgh_2023-12/Docs/SP-231682.zip" TargetMode="External"/><Relationship Id="rId10" Type="http://schemas.openxmlformats.org/officeDocument/2006/relationships/hyperlink" Target="https://www.3gpp.org/ftp/TSG_SA/TSG_SA/TSGS_102_Edinburgh_2023-12/Docs/SP-231798.zip" TargetMode="External"/><Relationship Id="rId19" Type="http://schemas.openxmlformats.org/officeDocument/2006/relationships/hyperlink" Target="https://www.3gpp.org/ftp/TSG_SA/TSG_SA/TSGS_102_Edinburgh_2023-12/Docs/SP-231503.zip" TargetMode="External"/><Relationship Id="rId4" Type="http://schemas.openxmlformats.org/officeDocument/2006/relationships/hyperlink" Target="https://www.3gpp.org/ftp/TSG_SA/TSG_SA/TSGs_101_Bangalore_2023-09/Docs/SP-231196.zip" TargetMode="External"/><Relationship Id="rId9" Type="http://schemas.openxmlformats.org/officeDocument/2006/relationships/hyperlink" Target="https://www.3gpp.org/ftp/TSG_SA/TSG_SA/TSGS_102_Edinburgh_2023-12/Docs/SP-231797.zip" TargetMode="External"/><Relationship Id="rId14" Type="http://schemas.openxmlformats.org/officeDocument/2006/relationships/hyperlink" Target="https://www.3gpp.org/ftp/TSG_SA/TSG_SA/TSGS_102_Edinburgh_2023-12/Docs/SP-231802.zip" TargetMode="External"/><Relationship Id="rId22" Type="http://schemas.openxmlformats.org/officeDocument/2006/relationships/hyperlink" Target="https://www.3gpp.org/ftp/TSG_SA/TSG_SA/TSGS_102_Edinburgh_2023-12/Docs/SP-231701.zip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30.xml.rels><?xml version="1.0" encoding="UTF-8" standalone="yes"?>
<Relationships xmlns="http://schemas.openxmlformats.org/package/2006/relationships"><Relationship Id="rId13" Type="http://schemas.openxmlformats.org/officeDocument/2006/relationships/hyperlink" Target="https://www.3gpp.org/ftp/Information/WI_Sheet/SP-220717.zip" TargetMode="External"/><Relationship Id="rId18" Type="http://schemas.openxmlformats.org/officeDocument/2006/relationships/hyperlink" Target="https://www.3gpp.org/ftp/Information/WI_Sheet/SP-230511.zip" TargetMode="External"/><Relationship Id="rId26" Type="http://schemas.openxmlformats.org/officeDocument/2006/relationships/hyperlink" Target="https://www.3gpp.org/ftp/Information/WI_Sheet/SP-220442.zip" TargetMode="External"/><Relationship Id="rId39" Type="http://schemas.openxmlformats.org/officeDocument/2006/relationships/hyperlink" Target="https://www.3gpp.org/ftp/Information/WI_Sheet/SP-230523.zip" TargetMode="External"/><Relationship Id="rId21" Type="http://schemas.openxmlformats.org/officeDocument/2006/relationships/hyperlink" Target="https://www.3gpp.org/ftp/Information/WI_Sheet/SP-231037.zip" TargetMode="External"/><Relationship Id="rId34" Type="http://schemas.openxmlformats.org/officeDocument/2006/relationships/hyperlink" Target="https://www.3gpp.org/ftp/Information/WI_Sheet/SP-220941.zip" TargetMode="External"/><Relationship Id="rId7" Type="http://schemas.openxmlformats.org/officeDocument/2006/relationships/hyperlink" Target="https://www.3gpp.org/ftp/Information/WI_Sheet/SP-231403.zip" TargetMode="External"/><Relationship Id="rId12" Type="http://schemas.openxmlformats.org/officeDocument/2006/relationships/hyperlink" Target="https://www.3gpp.org/ftp/Information/WI_Sheet/SP-230233.zip" TargetMode="External"/><Relationship Id="rId17" Type="http://schemas.openxmlformats.org/officeDocument/2006/relationships/hyperlink" Target="https://www.3gpp.org/ftp/Information/WI_Sheet/SP-220087.zip" TargetMode="External"/><Relationship Id="rId25" Type="http://schemas.openxmlformats.org/officeDocument/2006/relationships/hyperlink" Target="https://www.3gpp.org/ftp/Information/WI_Sheet/SP-220447.zip" TargetMode="External"/><Relationship Id="rId33" Type="http://schemas.openxmlformats.org/officeDocument/2006/relationships/hyperlink" Target="https://www.3gpp.org/ftp/Information/WI_Sheet/SP-230521.zip" TargetMode="External"/><Relationship Id="rId38" Type="http://schemas.openxmlformats.org/officeDocument/2006/relationships/hyperlink" Target="https://www.3gpp.org/ftp/Information/WI_Sheet/SP-231035.zip" TargetMode="External"/><Relationship Id="rId2" Type="http://schemas.openxmlformats.org/officeDocument/2006/relationships/hyperlink" Target="https://www.3gpp.org/ftp/Information/WI_Sheet/SP-230235.zip" TargetMode="External"/><Relationship Id="rId16" Type="http://schemas.openxmlformats.org/officeDocument/2006/relationships/hyperlink" Target="https://www.3gpp.org/ftp/Information/WI_Sheet/SP-230518.zip" TargetMode="External"/><Relationship Id="rId20" Type="http://schemas.openxmlformats.org/officeDocument/2006/relationships/hyperlink" Target="https://www.3gpp.org/ftp/Information/WI_Sheet/SP-231412.zip" TargetMode="External"/><Relationship Id="rId29" Type="http://schemas.openxmlformats.org/officeDocument/2006/relationships/hyperlink" Target="https://www.3gpp.org/ftp/Information/WI_Sheet/SP-240194.zip" TargetMode="External"/><Relationship Id="rId1" Type="http://schemas.openxmlformats.org/officeDocument/2006/relationships/slideLayout" Target="../slideLayouts/slideLayout72.xml"/><Relationship Id="rId6" Type="http://schemas.openxmlformats.org/officeDocument/2006/relationships/hyperlink" Target="https://www.3gpp.org/ftp/Information/WI_Sheet/SP-220085.zip" TargetMode="External"/><Relationship Id="rId11" Type="http://schemas.openxmlformats.org/officeDocument/2006/relationships/hyperlink" Target="https://www.3gpp.org/ftp/Information/WI_Sheet/SP-230509.zip" TargetMode="External"/><Relationship Id="rId24" Type="http://schemas.openxmlformats.org/officeDocument/2006/relationships/hyperlink" Target="https://www.3gpp.org/ftp/Information/WI_Sheet/SP-190838.zip" TargetMode="External"/><Relationship Id="rId32" Type="http://schemas.openxmlformats.org/officeDocument/2006/relationships/hyperlink" Target="https://www.3gpp.org/ftp/Information/WI_Sheet/SP-220943.zip" TargetMode="External"/><Relationship Id="rId37" Type="http://schemas.openxmlformats.org/officeDocument/2006/relationships/hyperlink" Target="https://www.3gpp.org/ftp/Information/WI_Sheet/SP-221263.zip" TargetMode="External"/><Relationship Id="rId5" Type="http://schemas.openxmlformats.org/officeDocument/2006/relationships/hyperlink" Target="https://www.3gpp.org/ftp/Information/WI_Sheet/SP-230514.zip" TargetMode="External"/><Relationship Id="rId15" Type="http://schemas.openxmlformats.org/officeDocument/2006/relationships/hyperlink" Target="https://www.3gpp.org/ftp/Information/WI_Sheet/SP-220954.zip" TargetMode="External"/><Relationship Id="rId23" Type="http://schemas.openxmlformats.org/officeDocument/2006/relationships/hyperlink" Target="https://www.3gpp.org/ftp/Information/WI_Sheet/SP-230512.zip" TargetMode="External"/><Relationship Id="rId28" Type="http://schemas.openxmlformats.org/officeDocument/2006/relationships/hyperlink" Target="https://www.3gpp.org/ftp/Information/WI_Sheet/SP-230236.zip" TargetMode="External"/><Relationship Id="rId36" Type="http://schemas.openxmlformats.org/officeDocument/2006/relationships/hyperlink" Target="https://www.3gpp.org/ftp/Information/WI_Sheet/SP-220992.zip" TargetMode="External"/><Relationship Id="rId10" Type="http://schemas.openxmlformats.org/officeDocument/2006/relationships/hyperlink" Target="https://www.3gpp.org/ftp/Information/WI_Sheet/SP-220353.zip" TargetMode="External"/><Relationship Id="rId19" Type="http://schemas.openxmlformats.org/officeDocument/2006/relationships/hyperlink" Target="https://www.3gpp.org/ftp/Information/WI_Sheet/SP-220445.zip" TargetMode="External"/><Relationship Id="rId31" Type="http://schemas.openxmlformats.org/officeDocument/2006/relationships/hyperlink" Target="https://www.3gpp.org/ftp/Information/WI_Sheet/SP-230227.zip" TargetMode="External"/><Relationship Id="rId4" Type="http://schemas.openxmlformats.org/officeDocument/2006/relationships/hyperlink" Target="https://www.3gpp.org/ftp/Information/WI_Sheet/SP-220439.zip" TargetMode="External"/><Relationship Id="rId9" Type="http://schemas.openxmlformats.org/officeDocument/2006/relationships/hyperlink" Target="https://www.3gpp.org/ftp/Information/WI_Sheet/SP-230516.zip" TargetMode="External"/><Relationship Id="rId14" Type="http://schemas.openxmlformats.org/officeDocument/2006/relationships/hyperlink" Target="https://www.3gpp.org/ftp/Information/WI_Sheet/SP-230750.zip" TargetMode="External"/><Relationship Id="rId22" Type="http://schemas.openxmlformats.org/officeDocument/2006/relationships/hyperlink" Target="https://www.3gpp.org/ftp/Information/WI_Sheet/SP-220437.zip" TargetMode="External"/><Relationship Id="rId27" Type="http://schemas.openxmlformats.org/officeDocument/2006/relationships/hyperlink" Target="https://www.3gpp.org/ftp/Information/WI_Sheet/SP-230231.zip" TargetMode="External"/><Relationship Id="rId30" Type="http://schemas.openxmlformats.org/officeDocument/2006/relationships/hyperlink" Target="https://www.3gpp.org/ftp/Information/WI_Sheet/SP-230229.zip" TargetMode="External"/><Relationship Id="rId35" Type="http://schemas.openxmlformats.org/officeDocument/2006/relationships/hyperlink" Target="https://www.3gpp.org/ftp/Information/WI_Sheet/SP-220939.zip" TargetMode="External"/><Relationship Id="rId8" Type="http://schemas.openxmlformats.org/officeDocument/2006/relationships/hyperlink" Target="https://www.3gpp.org/ftp/Information/WI_Sheet/SP-220679.zip" TargetMode="External"/><Relationship Id="rId3" Type="http://schemas.openxmlformats.org/officeDocument/2006/relationships/hyperlink" Target="https://www.3gpp.org/ftp/Information/WI_Sheet/SP-230520.zip" TargetMode="Externa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3gpp.org/ftp/Information/WI_Sheet/SP-231802.zip" TargetMode="External"/><Relationship Id="rId13" Type="http://schemas.openxmlformats.org/officeDocument/2006/relationships/hyperlink" Target="https://www.3gpp.org/ftp/Information/WI_Sheet/SP-231804.zip" TargetMode="External"/><Relationship Id="rId3" Type="http://schemas.openxmlformats.org/officeDocument/2006/relationships/hyperlink" Target="https://www.3gpp.org/ftp/Information/WI_Sheet/SP-231800.zip" TargetMode="External"/><Relationship Id="rId7" Type="http://schemas.openxmlformats.org/officeDocument/2006/relationships/hyperlink" Target="https://www.3gpp.org/ftp/Information/WI_Sheet/SP-231801.zip" TargetMode="External"/><Relationship Id="rId12" Type="http://schemas.openxmlformats.org/officeDocument/2006/relationships/hyperlink" Target="https://www.3gpp.org/ftp/Information/WI_Sheet/SP-231799.zip" TargetMode="External"/><Relationship Id="rId2" Type="http://schemas.openxmlformats.org/officeDocument/2006/relationships/hyperlink" Target="https://www.3gpp.org/ftp/Information/WI_Sheet/SP-231391.zip" TargetMode="External"/><Relationship Id="rId16" Type="http://schemas.openxmlformats.org/officeDocument/2006/relationships/hyperlink" Target="https://www.3gpp.org/ftp/Information/WI_Sheet/SP-231197.zip" TargetMode="External"/><Relationship Id="rId1" Type="http://schemas.openxmlformats.org/officeDocument/2006/relationships/slideLayout" Target="../slideLayouts/slideLayout73.xml"/><Relationship Id="rId6" Type="http://schemas.openxmlformats.org/officeDocument/2006/relationships/hyperlink" Target="https://www.3gpp.org/ftp/Information/WI_Sheet/SP-231671.zip" TargetMode="External"/><Relationship Id="rId11" Type="http://schemas.openxmlformats.org/officeDocument/2006/relationships/hyperlink" Target="https://www.3gpp.org/ftp/Information/WI_Sheet/SP-231798.zip" TargetMode="External"/><Relationship Id="rId5" Type="http://schemas.openxmlformats.org/officeDocument/2006/relationships/hyperlink" Target="https://www.3gpp.org/ftp/Information/WI_Sheet/SP-231199.zip" TargetMode="External"/><Relationship Id="rId15" Type="http://schemas.openxmlformats.org/officeDocument/2006/relationships/hyperlink" Target="https://www.3gpp.org/ftp/Information/WI_Sheet/SP-231196.zip" TargetMode="External"/><Relationship Id="rId10" Type="http://schemas.openxmlformats.org/officeDocument/2006/relationships/hyperlink" Target="https://www.3gpp.org/ftp/Information/WI_Sheet/SP-231797.zip" TargetMode="External"/><Relationship Id="rId4" Type="http://schemas.openxmlformats.org/officeDocument/2006/relationships/hyperlink" Target="https://www.3gpp.org/ftp/Information/WI_Sheet/SP-231803.zip" TargetMode="External"/><Relationship Id="rId9" Type="http://schemas.openxmlformats.org/officeDocument/2006/relationships/hyperlink" Target="https://www.3gpp.org/ftp/Information/WI_Sheet/SP-231796.zip" TargetMode="External"/><Relationship Id="rId14" Type="http://schemas.openxmlformats.org/officeDocument/2006/relationships/hyperlink" Target="https://www.3gpp.org/ftp/Information/WI_Sheet/SP-231795.zip" TargetMode="Externa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3gpp.org/ftp/Information/WI_Sheet/SP-240121.zip" TargetMode="External"/><Relationship Id="rId13" Type="http://schemas.openxmlformats.org/officeDocument/2006/relationships/hyperlink" Target="https://www.3gpp.org/ftp/Information/WI_Sheet/SP-240127.zip" TargetMode="External"/><Relationship Id="rId3" Type="http://schemas.openxmlformats.org/officeDocument/2006/relationships/hyperlink" Target="https://www.3gpp.org/ftp/Information/WI_Sheet/SP-240119.zip" TargetMode="External"/><Relationship Id="rId7" Type="http://schemas.openxmlformats.org/officeDocument/2006/relationships/hyperlink" Target="https://www.3gpp.org/ftp/Information/WI_Sheet/SP-240120.zip" TargetMode="External"/><Relationship Id="rId12" Type="http://schemas.openxmlformats.org/officeDocument/2006/relationships/hyperlink" Target="https://www.3gpp.org/ftp/Information/WI_Sheet/SP-240126.zip" TargetMode="External"/><Relationship Id="rId2" Type="http://schemas.openxmlformats.org/officeDocument/2006/relationships/hyperlink" Target="https://www.3gpp.org/ftp/Information/WI_Sheet/SP-240117.zip" TargetMode="External"/><Relationship Id="rId1" Type="http://schemas.openxmlformats.org/officeDocument/2006/relationships/slideLayout" Target="../slideLayouts/slideLayout73.xml"/><Relationship Id="rId6" Type="http://schemas.openxmlformats.org/officeDocument/2006/relationships/hyperlink" Target="https://www.3gpp.org/ftp/Information/WI_Sheet/SP-240118.zip" TargetMode="External"/><Relationship Id="rId11" Type="http://schemas.openxmlformats.org/officeDocument/2006/relationships/hyperlink" Target="https://www.3gpp.org/ftp/Information/WI_Sheet/SP-240125.zip" TargetMode="External"/><Relationship Id="rId5" Type="http://schemas.openxmlformats.org/officeDocument/2006/relationships/hyperlink" Target="https://www.3gpp.org/ftp/Information/WI_Sheet/SP-240116.zip" TargetMode="External"/><Relationship Id="rId15" Type="http://schemas.openxmlformats.org/officeDocument/2006/relationships/hyperlink" Target="https://www.3gpp.org/ftp/Information/WI_Sheet/SP-240129.zip" TargetMode="External"/><Relationship Id="rId10" Type="http://schemas.openxmlformats.org/officeDocument/2006/relationships/hyperlink" Target="https://www.3gpp.org/ftp/Information/WI_Sheet/SP-240124.zip" TargetMode="External"/><Relationship Id="rId4" Type="http://schemas.openxmlformats.org/officeDocument/2006/relationships/hyperlink" Target="https://www.3gpp.org/ftp/Information/WI_Sheet/SP-240122.zip" TargetMode="External"/><Relationship Id="rId9" Type="http://schemas.openxmlformats.org/officeDocument/2006/relationships/hyperlink" Target="https://www.3gpp.org/ftp/Information/WI_Sheet/SP-240123.zip" TargetMode="External"/><Relationship Id="rId14" Type="http://schemas.openxmlformats.org/officeDocument/2006/relationships/hyperlink" Target="https://www.3gpp.org/ftp/Information/WI_Sheet/SP-240128.zip" TargetMode="Externa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3gpp.org/ftp/Information/WI_Sheet/SP-231788.zip" TargetMode="External"/><Relationship Id="rId13" Type="http://schemas.openxmlformats.org/officeDocument/2006/relationships/hyperlink" Target="https://www.3gpp.org/ftp/Information/WI_Sheet/SP-231787.zip" TargetMode="External"/><Relationship Id="rId18" Type="http://schemas.openxmlformats.org/officeDocument/2006/relationships/hyperlink" Target="https://www.3gpp.org/ftp/Information/WI_Sheet/SP-240509.zip" TargetMode="External"/><Relationship Id="rId26" Type="http://schemas.openxmlformats.org/officeDocument/2006/relationships/hyperlink" Target="https://www.3gpp.org/ftp/Information/WI_Sheet/SP-240507.zip" TargetMode="External"/><Relationship Id="rId3" Type="http://schemas.openxmlformats.org/officeDocument/2006/relationships/hyperlink" Target="https://www.3gpp.org/ftp/Information/WI_Sheet/SP-231790.zip" TargetMode="External"/><Relationship Id="rId21" Type="http://schemas.openxmlformats.org/officeDocument/2006/relationships/hyperlink" Target="https://www.3gpp.org/ftp/Information/WI_Sheet/SP-240504.zip" TargetMode="External"/><Relationship Id="rId7" Type="http://schemas.openxmlformats.org/officeDocument/2006/relationships/hyperlink" Target="https://www.3gpp.org/ftp/Information/WI_Sheet/SP-231792.zip" TargetMode="External"/><Relationship Id="rId12" Type="http://schemas.openxmlformats.org/officeDocument/2006/relationships/hyperlink" Target="https://www.3gpp.org/ftp/Information/WI_Sheet/SP-231786.zip" TargetMode="External"/><Relationship Id="rId17" Type="http://schemas.openxmlformats.org/officeDocument/2006/relationships/hyperlink" Target="https://www.3gpp.org/ftp/Information/WI_Sheet/SP-240512.zip" TargetMode="External"/><Relationship Id="rId25" Type="http://schemas.openxmlformats.org/officeDocument/2006/relationships/hyperlink" Target="https://www.3gpp.org/ftp/Information/WI_Sheet/SP-240513.zip" TargetMode="External"/><Relationship Id="rId2" Type="http://schemas.openxmlformats.org/officeDocument/2006/relationships/notesSlide" Target="../notesSlides/notesSlide14.xml"/><Relationship Id="rId16" Type="http://schemas.openxmlformats.org/officeDocument/2006/relationships/hyperlink" Target="https://www.3gpp.org/ftp/Information/WI_Sheet/SP-231791.zip" TargetMode="External"/><Relationship Id="rId20" Type="http://schemas.openxmlformats.org/officeDocument/2006/relationships/hyperlink" Target="https://www.3gpp.org/ftp/Information/WI_Sheet/SP-240508.zip" TargetMode="External"/><Relationship Id="rId1" Type="http://schemas.openxmlformats.org/officeDocument/2006/relationships/slideLayout" Target="../slideLayouts/slideLayout73.xml"/><Relationship Id="rId6" Type="http://schemas.openxmlformats.org/officeDocument/2006/relationships/hyperlink" Target="https://www.3gpp.org/ftp/Information/WI_Sheet/SP-231159.zip" TargetMode="External"/><Relationship Id="rId11" Type="http://schemas.openxmlformats.org/officeDocument/2006/relationships/hyperlink" Target="https://www.3gpp.org/ftp/Information/WI_Sheet/SP-231785.zip" TargetMode="External"/><Relationship Id="rId24" Type="http://schemas.openxmlformats.org/officeDocument/2006/relationships/hyperlink" Target="https://www.3gpp.org/ftp/Information/WI_Sheet/SP-240505.zip" TargetMode="External"/><Relationship Id="rId5" Type="http://schemas.openxmlformats.org/officeDocument/2006/relationships/hyperlink" Target="https://www.3gpp.org/ftp/Information/WI_Sheet/SP-231158.zip" TargetMode="External"/><Relationship Id="rId15" Type="http://schemas.openxmlformats.org/officeDocument/2006/relationships/hyperlink" Target="https://www.3gpp.org/ftp/Information/WI_Sheet/SP-231789.zip" TargetMode="External"/><Relationship Id="rId23" Type="http://schemas.openxmlformats.org/officeDocument/2006/relationships/hyperlink" Target="https://www.3gpp.org/ftp/Information/WI_Sheet/SP-240510.zip" TargetMode="External"/><Relationship Id="rId28" Type="http://schemas.openxmlformats.org/officeDocument/2006/relationships/hyperlink" Target="https://www.3gpp.org/ftp/Information/WI_Sheet/SP-240515.zip" TargetMode="External"/><Relationship Id="rId10" Type="http://schemas.openxmlformats.org/officeDocument/2006/relationships/hyperlink" Target="https://www.3gpp.org/ftp/Information/WI_Sheet/SP-231783.zip" TargetMode="External"/><Relationship Id="rId19" Type="http://schemas.openxmlformats.org/officeDocument/2006/relationships/hyperlink" Target="https://www.3gpp.org/ftp/Information/WI_Sheet/SP-240506.zip" TargetMode="External"/><Relationship Id="rId4" Type="http://schemas.openxmlformats.org/officeDocument/2006/relationships/hyperlink" Target="https://www.3gpp.org/ftp/Information/WI_Sheet/SP-230864.zip" TargetMode="External"/><Relationship Id="rId9" Type="http://schemas.openxmlformats.org/officeDocument/2006/relationships/hyperlink" Target="https://www.3gpp.org/ftp/Information/WI_Sheet/SP-231784.zip" TargetMode="External"/><Relationship Id="rId14" Type="http://schemas.openxmlformats.org/officeDocument/2006/relationships/hyperlink" Target="https://www.3gpp.org/ftp/Information/WI_Sheet/SP-231793.zip" TargetMode="External"/><Relationship Id="rId22" Type="http://schemas.openxmlformats.org/officeDocument/2006/relationships/hyperlink" Target="https://www.3gpp.org/ftp/Information/WI_Sheet/SP-240511.zip" TargetMode="External"/><Relationship Id="rId27" Type="http://schemas.openxmlformats.org/officeDocument/2006/relationships/hyperlink" Target="https://www.3gpp.org/ftp/Information/WI_Sheet/SP-240516.zip" TargetMode="Externa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3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3gpp.org/ftp/Information/WI_Sheet/SP-231732.zip" TargetMode="External"/><Relationship Id="rId13" Type="http://schemas.openxmlformats.org/officeDocument/2006/relationships/hyperlink" Target="https://www.3gpp.org/ftp/Information/WI_Sheet/SP-231734.zip" TargetMode="External"/><Relationship Id="rId18" Type="http://schemas.openxmlformats.org/officeDocument/2006/relationships/hyperlink" Target="https://www.3gpp.org/ftp/Information/WI_Sheet/SP-231728.zip" TargetMode="External"/><Relationship Id="rId3" Type="http://schemas.openxmlformats.org/officeDocument/2006/relationships/hyperlink" Target="https://www.3gpp.org/ftp/Information/WI_Sheet/SP-231780.zip" TargetMode="External"/><Relationship Id="rId21" Type="http://schemas.openxmlformats.org/officeDocument/2006/relationships/hyperlink" Target="https://www.3gpp.org/ftp/Information/WI_Sheet/SP-231745.zip" TargetMode="External"/><Relationship Id="rId7" Type="http://schemas.openxmlformats.org/officeDocument/2006/relationships/hyperlink" Target="https://www.3gpp.org/ftp/Information/WI_Sheet/SP-231725.zip" TargetMode="External"/><Relationship Id="rId12" Type="http://schemas.openxmlformats.org/officeDocument/2006/relationships/hyperlink" Target="https://www.3gpp.org/ftp/Information/WI_Sheet/SP-231736.zip" TargetMode="External"/><Relationship Id="rId17" Type="http://schemas.openxmlformats.org/officeDocument/2006/relationships/hyperlink" Target="https://www.3gpp.org/ftp/Information/WI_Sheet/SP-231721.zip" TargetMode="External"/><Relationship Id="rId2" Type="http://schemas.openxmlformats.org/officeDocument/2006/relationships/hyperlink" Target="https://www.3gpp.org/ftp/Information/WI_Sheet/SP-231723.zip" TargetMode="External"/><Relationship Id="rId16" Type="http://schemas.openxmlformats.org/officeDocument/2006/relationships/hyperlink" Target="https://www.3gpp.org/ftp/Information/WI_Sheet/SP-231724.zip" TargetMode="External"/><Relationship Id="rId20" Type="http://schemas.openxmlformats.org/officeDocument/2006/relationships/hyperlink" Target="https://www.3gpp.org/ftp/Information/WI_Sheet/SP-231747.zip" TargetMode="External"/><Relationship Id="rId1" Type="http://schemas.openxmlformats.org/officeDocument/2006/relationships/slideLayout" Target="../slideLayouts/slideLayout49.xml"/><Relationship Id="rId6" Type="http://schemas.openxmlformats.org/officeDocument/2006/relationships/hyperlink" Target="https://www.3gpp.org/ftp/Information/WI_Sheet/SP-231781.zip" TargetMode="External"/><Relationship Id="rId11" Type="http://schemas.openxmlformats.org/officeDocument/2006/relationships/hyperlink" Target="https://www.3gpp.org/ftp/Information/WI_Sheet/SP-231731.zip" TargetMode="External"/><Relationship Id="rId5" Type="http://schemas.openxmlformats.org/officeDocument/2006/relationships/hyperlink" Target="https://www.3gpp.org/ftp/Information/WI_Sheet/SP-231735.zip" TargetMode="External"/><Relationship Id="rId15" Type="http://schemas.openxmlformats.org/officeDocument/2006/relationships/hyperlink" Target="https://www.3gpp.org/ftp/Information/WI_Sheet/SP-231726.zip" TargetMode="External"/><Relationship Id="rId10" Type="http://schemas.openxmlformats.org/officeDocument/2006/relationships/hyperlink" Target="https://www.3gpp.org/ftp/Information/WI_Sheet/SP-231729.zip" TargetMode="External"/><Relationship Id="rId19" Type="http://schemas.openxmlformats.org/officeDocument/2006/relationships/hyperlink" Target="https://www.3gpp.org/ftp/Information/WI_Sheet/SP-231746.zip" TargetMode="External"/><Relationship Id="rId4" Type="http://schemas.openxmlformats.org/officeDocument/2006/relationships/hyperlink" Target="https://www.3gpp.org/ftp/Information/WI_Sheet/SP-231737.zip" TargetMode="External"/><Relationship Id="rId9" Type="http://schemas.openxmlformats.org/officeDocument/2006/relationships/hyperlink" Target="https://www.3gpp.org/ftp/Information/WI_Sheet/SP-231733.zip" TargetMode="External"/><Relationship Id="rId14" Type="http://schemas.openxmlformats.org/officeDocument/2006/relationships/hyperlink" Target="https://www.3gpp.org/ftp/Information/WI_Sheet/SP-231428.zip" TargetMode="External"/><Relationship Id="rId22" Type="http://schemas.openxmlformats.org/officeDocument/2006/relationships/hyperlink" Target="https://www.3gpp.org/ftp/Information/WI_Sheet/SP-231748.zip" TargetMode="Externa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3gpp.org/ftp/Information/WI_Sheet/SP-230779.zip" TargetMode="External"/><Relationship Id="rId13" Type="http://schemas.openxmlformats.org/officeDocument/2006/relationships/hyperlink" Target="https://www.3gpp.org/ftp/Information/WI_Sheet/SP-230988.zip" TargetMode="External"/><Relationship Id="rId3" Type="http://schemas.openxmlformats.org/officeDocument/2006/relationships/hyperlink" Target="https://www.3gpp.org/ftp/Information/WI_Sheet/SP-240296.zip" TargetMode="External"/><Relationship Id="rId7" Type="http://schemas.openxmlformats.org/officeDocument/2006/relationships/hyperlink" Target="https://www.3gpp.org/ftp/Information/WI_Sheet/SP-230991.zip" TargetMode="External"/><Relationship Id="rId12" Type="http://schemas.openxmlformats.org/officeDocument/2006/relationships/hyperlink" Target="https://www.3gpp.org/ftp/Information/WI_Sheet/SP-230780.zip" TargetMode="External"/><Relationship Id="rId17" Type="http://schemas.openxmlformats.org/officeDocument/2006/relationships/hyperlink" Target="https://www.3gpp.org/ftp/Information/WI_Sheet/SP-231741.zip" TargetMode="External"/><Relationship Id="rId2" Type="http://schemas.openxmlformats.org/officeDocument/2006/relationships/hyperlink" Target="https://www.3gpp.org/ftp/Information/WI_Sheet/SP-231182.zip" TargetMode="External"/><Relationship Id="rId16" Type="http://schemas.openxmlformats.org/officeDocument/2006/relationships/hyperlink" Target="https://www.3gpp.org/ftp/Information/WI_Sheet/SP-231161.zip" TargetMode="External"/><Relationship Id="rId1" Type="http://schemas.openxmlformats.org/officeDocument/2006/relationships/slideLayout" Target="../slideLayouts/slideLayout72.xml"/><Relationship Id="rId6" Type="http://schemas.openxmlformats.org/officeDocument/2006/relationships/hyperlink" Target="https://www.3gpp.org/ftp/Information/WI_Sheet/SP-231579.zip" TargetMode="External"/><Relationship Id="rId11" Type="http://schemas.openxmlformats.org/officeDocument/2006/relationships/hyperlink" Target="https://www.3gpp.org/ftp/Information/WI_Sheet/SP-230781.zip" TargetMode="External"/><Relationship Id="rId5" Type="http://schemas.openxmlformats.org/officeDocument/2006/relationships/hyperlink" Target="https://www.3gpp.org/ftp/Information/WI_Sheet/SP-2315739.zip" TargetMode="External"/><Relationship Id="rId15" Type="http://schemas.openxmlformats.org/officeDocument/2006/relationships/hyperlink" Target="https://www.3gpp.org/ftp/Information/WI_Sheet/SP-231160.zip" TargetMode="External"/><Relationship Id="rId10" Type="http://schemas.openxmlformats.org/officeDocument/2006/relationships/hyperlink" Target="https://www.3gpp.org/ftp/Information/WI_Sheet/SP-230692.zip" TargetMode="External"/><Relationship Id="rId4" Type="http://schemas.openxmlformats.org/officeDocument/2006/relationships/hyperlink" Target="https://www.3gpp.org/ftp/Information/WI_Sheet/SP-231806.zip" TargetMode="External"/><Relationship Id="rId9" Type="http://schemas.openxmlformats.org/officeDocument/2006/relationships/hyperlink" Target="https://www.3gpp.org/ftp/Information/WI_Sheet/SP-240295.zip" TargetMode="External"/><Relationship Id="rId14" Type="http://schemas.openxmlformats.org/officeDocument/2006/relationships/hyperlink" Target="https://www.3gpp.org/ftp/Information/WI_Sheet/SP-230989.zip" TargetMode="Externa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9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9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49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3gpp.org/ftp/tsg_sa/TSG_SA/TSGS_103_Maastricht_2024-03/Docs/SP-240456.zip" TargetMode="External"/><Relationship Id="rId1" Type="http://schemas.openxmlformats.org/officeDocument/2006/relationships/slideLayout" Target="../slideLayouts/slideLayout7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9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517411-1574-3555-4E65-42C335ADF1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1113" y="1252330"/>
            <a:ext cx="8447616" cy="1600200"/>
          </a:xfrm>
        </p:spPr>
        <p:txBody>
          <a:bodyPr/>
          <a:lstStyle/>
          <a:p>
            <a:r>
              <a:rPr lang="en-US" sz="5400"/>
              <a:t>Introduction to 3GPP Release 19 and 6G Planning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B95792-ABC3-47D6-71D8-52CF52F621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Segoe UI Semibold"/>
                <a:ea typeface="Tahoma"/>
                <a:cs typeface="Tahoma"/>
              </a:rPr>
              <a:t>Wanshi Chen (Qualcomm, Chair of 3GPP RAN Plenary) </a:t>
            </a:r>
            <a:endParaRPr lang="en-US"/>
          </a:p>
          <a:p>
            <a:r>
              <a:rPr lang="en-US">
                <a:latin typeface="Segoe UI Semibold"/>
                <a:ea typeface="Tahoma"/>
                <a:cs typeface="Tahoma"/>
              </a:rPr>
              <a:t>Puneet Jain (Intel, Chair of 3GPP System Architecture) </a:t>
            </a:r>
            <a:endParaRPr lang="en-US"/>
          </a:p>
          <a:p>
            <a:r>
              <a:rPr lang="en-US"/>
              <a:t>Moderated by Iain Sharp (ATIS, Principal Technologist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5ED2B2-A75B-FB73-B5BE-D5A7CD094EA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19802" y="5068957"/>
            <a:ext cx="8229600" cy="685800"/>
          </a:xfrm>
        </p:spPr>
        <p:txBody>
          <a:bodyPr/>
          <a:lstStyle/>
          <a:p>
            <a:r>
              <a:rPr lang="en-US"/>
              <a:t>April 3, 2024</a:t>
            </a:r>
          </a:p>
        </p:txBody>
      </p:sp>
    </p:spTree>
    <p:extLst>
      <p:ext uri="{BB962C8B-B14F-4D97-AF65-F5344CB8AC3E}">
        <p14:creationId xmlns:p14="http://schemas.microsoft.com/office/powerpoint/2010/main" val="18691655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D005E26C-782C-44A5-8639-FAAE6B1D779F}"/>
              </a:ext>
            </a:extLst>
          </p:cNvPr>
          <p:cNvSpPr/>
          <p:nvPr/>
        </p:nvSpPr>
        <p:spPr>
          <a:xfrm>
            <a:off x="4381512" y="641461"/>
            <a:ext cx="6670797" cy="5575463"/>
          </a:xfrm>
          <a:prstGeom prst="rect">
            <a:avLst/>
          </a:prstGeom>
          <a:solidFill>
            <a:srgbClr val="ACBACF">
              <a:lumMod val="20000"/>
              <a:lumOff val="80000"/>
            </a:srgbClr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743407"/>
            <a:endParaRPr lang="en-US" sz="867" kern="0">
              <a:solidFill>
                <a:srgbClr val="FFFFFF"/>
              </a:solidFill>
              <a:latin typeface="Microsoft Sans Serif"/>
            </a:endParaRPr>
          </a:p>
        </p:txBody>
      </p:sp>
      <p:sp>
        <p:nvSpPr>
          <p:cNvPr id="20" name="Rectangle: Single Corner Rounded 6">
            <a:extLst>
              <a:ext uri="{FF2B5EF4-FFF2-40B4-BE49-F238E27FC236}">
                <a16:creationId xmlns:a16="http://schemas.microsoft.com/office/drawing/2014/main" id="{BC03E820-EAD0-4C1F-BC76-F47E72530301}"/>
              </a:ext>
            </a:extLst>
          </p:cNvPr>
          <p:cNvSpPr/>
          <p:nvPr/>
        </p:nvSpPr>
        <p:spPr bwMode="gray">
          <a:xfrm flipV="1">
            <a:off x="3980049" y="641078"/>
            <a:ext cx="401461" cy="5575848"/>
          </a:xfrm>
          <a:prstGeom prst="round1Rect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rgbClr val="061018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345" tIns="37172" rIns="74345" bIns="371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3407"/>
            <a:endParaRPr lang="en-US" sz="1463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" name="Rectangle: Single Corner Rounded 6">
            <a:extLst>
              <a:ext uri="{FF2B5EF4-FFF2-40B4-BE49-F238E27FC236}">
                <a16:creationId xmlns:a16="http://schemas.microsoft.com/office/drawing/2014/main" id="{42CC8E86-C4BF-4162-87D7-2B1912EAABE8}"/>
              </a:ext>
            </a:extLst>
          </p:cNvPr>
          <p:cNvSpPr/>
          <p:nvPr/>
        </p:nvSpPr>
        <p:spPr bwMode="gray">
          <a:xfrm rot="10800000" flipH="1" flipV="1">
            <a:off x="7315450" y="641077"/>
            <a:ext cx="401460" cy="5575464"/>
          </a:xfrm>
          <a:prstGeom prst="round1Rect">
            <a:avLst>
              <a:gd name="adj" fmla="val 0"/>
            </a:avLst>
          </a:prstGeom>
          <a:gradFill flip="none" rotWithShape="1">
            <a:gsLst>
              <a:gs pos="0">
                <a:srgbClr val="ACBACF">
                  <a:lumMod val="40000"/>
                  <a:lumOff val="60000"/>
                  <a:alpha val="0"/>
                </a:srgbClr>
              </a:gs>
              <a:gs pos="100000">
                <a:srgbClr val="445776">
                  <a:lumMod val="50000"/>
                  <a:alpha val="44000"/>
                </a:srgbClr>
              </a:gs>
            </a:gsLst>
            <a:lin ang="0" scaled="1"/>
            <a:tileRect/>
          </a:gradFill>
          <a:ln w="1079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4345" tIns="37172" rIns="74345" bIns="371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3407"/>
            <a:endParaRPr lang="en-US" sz="1463" b="1" kern="0">
              <a:solidFill>
                <a:prstClr val="white"/>
              </a:solidFill>
              <a:latin typeface="Microsoft Sans Serif"/>
            </a:endParaRPr>
          </a:p>
        </p:txBody>
      </p:sp>
      <p:sp>
        <p:nvSpPr>
          <p:cNvPr id="3" name="Title 37">
            <a:extLst>
              <a:ext uri="{FF2B5EF4-FFF2-40B4-BE49-F238E27FC236}">
                <a16:creationId xmlns:a16="http://schemas.microsoft.com/office/drawing/2014/main" id="{87FBBAD0-2DD7-4B18-9609-188AA3DD34AD}"/>
              </a:ext>
            </a:extLst>
          </p:cNvPr>
          <p:cNvSpPr txBox="1">
            <a:spLocks/>
          </p:cNvSpPr>
          <p:nvPr/>
        </p:nvSpPr>
        <p:spPr>
          <a:xfrm>
            <a:off x="1055477" y="4820549"/>
            <a:ext cx="2775206" cy="1388072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lnSpc>
                <a:spcPct val="84000"/>
              </a:lnSpc>
              <a:spcBef>
                <a:spcPct val="0"/>
              </a:spcBef>
              <a:buNone/>
              <a:defRPr sz="3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43407">
              <a:spcAft>
                <a:spcPts val="488"/>
              </a:spcAft>
            </a:pPr>
            <a:r>
              <a:rPr lang="en-US" sz="2000" b="1">
                <a:solidFill>
                  <a:srgbClr val="4BACC6"/>
                </a:solidFill>
                <a:latin typeface="Calibri"/>
              </a:rPr>
              <a:t>The package has a wide range of projects —</a:t>
            </a:r>
            <a:br>
              <a:rPr lang="en-US" sz="2000" b="1">
                <a:solidFill>
                  <a:srgbClr val="4BACC6"/>
                </a:solidFill>
                <a:latin typeface="Calibri"/>
              </a:rPr>
            </a:br>
            <a:r>
              <a:rPr lang="en-US" sz="2000" b="1">
                <a:solidFill>
                  <a:srgbClr val="4BACC6"/>
                </a:solidFill>
                <a:latin typeface="Calibri"/>
              </a:rPr>
              <a:t>nominal work started in</a:t>
            </a:r>
            <a:br>
              <a:rPr lang="en-US" sz="2000" b="1">
                <a:solidFill>
                  <a:srgbClr val="4BACC6"/>
                </a:solidFill>
                <a:latin typeface="Calibri"/>
              </a:rPr>
            </a:br>
            <a:r>
              <a:rPr lang="en-US" sz="2000" b="1">
                <a:solidFill>
                  <a:srgbClr val="4BACC6"/>
                </a:solidFill>
                <a:latin typeface="Calibri"/>
              </a:rPr>
              <a:t>Q2 2022 with functional freeze in Q4 2023</a:t>
            </a:r>
          </a:p>
        </p:txBody>
      </p:sp>
      <p:sp>
        <p:nvSpPr>
          <p:cNvPr id="4" name="Title 37">
            <a:extLst>
              <a:ext uri="{FF2B5EF4-FFF2-40B4-BE49-F238E27FC236}">
                <a16:creationId xmlns:a16="http://schemas.microsoft.com/office/drawing/2014/main" id="{02CD45F6-4B3E-421E-AF51-9CB4E9502329}"/>
              </a:ext>
            </a:extLst>
          </p:cNvPr>
          <p:cNvSpPr txBox="1">
            <a:spLocks/>
          </p:cNvSpPr>
          <p:nvPr/>
        </p:nvSpPr>
        <p:spPr>
          <a:xfrm>
            <a:off x="1011877" y="2530108"/>
            <a:ext cx="2943962" cy="2165529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lnSpc>
                <a:spcPct val="84000"/>
              </a:lnSpc>
              <a:spcBef>
                <a:spcPct val="0"/>
              </a:spcBef>
              <a:buNone/>
              <a:defRPr sz="3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43407"/>
            <a:r>
              <a:rPr lang="en-US" sz="3200" b="1">
                <a:solidFill>
                  <a:prstClr val="white"/>
                </a:solidFill>
                <a:effectLst>
                  <a:innerShdw blurRad="63500" dist="25400" dir="18900000">
                    <a:prstClr val="black">
                      <a:alpha val="50000"/>
                    </a:prstClr>
                  </a:innerShdw>
                </a:effectLst>
                <a:latin typeface="Calibri"/>
              </a:rPr>
              <a:t>3GPP</a:t>
            </a:r>
            <a:br>
              <a:rPr lang="en-US" sz="3200" b="1">
                <a:solidFill>
                  <a:prstClr val="white"/>
                </a:solidFill>
                <a:effectLst>
                  <a:innerShdw blurRad="63500" dist="25400" dir="18900000">
                    <a:prstClr val="black">
                      <a:alpha val="50000"/>
                    </a:prstClr>
                  </a:innerShdw>
                </a:effectLst>
                <a:latin typeface="Calibri"/>
              </a:rPr>
            </a:br>
            <a:r>
              <a:rPr lang="en-US" sz="3200" b="1">
                <a:solidFill>
                  <a:prstClr val="white"/>
                </a:solidFill>
                <a:effectLst>
                  <a:innerShdw blurRad="63500" dist="25400" dir="18900000">
                    <a:prstClr val="black">
                      <a:alpha val="50000"/>
                    </a:prstClr>
                  </a:innerShdw>
                </a:effectLst>
                <a:latin typeface="Calibri"/>
              </a:rPr>
              <a:t>Release 18</a:t>
            </a:r>
            <a:br>
              <a:rPr lang="en-US" sz="3200" b="1">
                <a:solidFill>
                  <a:prstClr val="white"/>
                </a:solidFill>
                <a:effectLst>
                  <a:innerShdw blurRad="63500" dist="25400" dir="18900000">
                    <a:prstClr val="black">
                      <a:alpha val="50000"/>
                    </a:prstClr>
                  </a:innerShdw>
                </a:effectLst>
                <a:latin typeface="Calibri"/>
              </a:rPr>
            </a:br>
            <a:r>
              <a:rPr lang="en-US" sz="3200" b="1">
                <a:solidFill>
                  <a:prstClr val="white"/>
                </a:solidFill>
                <a:effectLst>
                  <a:innerShdw blurRad="63500" dist="25400" dir="18900000">
                    <a:prstClr val="black">
                      <a:alpha val="50000"/>
                    </a:prstClr>
                  </a:innerShdw>
                </a:effectLst>
                <a:latin typeface="Calibri"/>
              </a:rPr>
              <a:t>sets off the</a:t>
            </a:r>
            <a:br>
              <a:rPr lang="en-US" sz="3200" b="1">
                <a:solidFill>
                  <a:prstClr val="white"/>
                </a:solidFill>
                <a:effectLst>
                  <a:innerShdw blurRad="63500" dist="25400" dir="18900000">
                    <a:prstClr val="black">
                      <a:alpha val="50000"/>
                    </a:prstClr>
                  </a:innerShdw>
                </a:effectLst>
                <a:latin typeface="Calibri"/>
              </a:rPr>
            </a:br>
            <a:r>
              <a:rPr lang="en-US" sz="3200" b="1">
                <a:solidFill>
                  <a:prstClr val="white"/>
                </a:solidFill>
                <a:effectLst>
                  <a:innerShdw blurRad="63500" dist="25400" dir="18900000">
                    <a:prstClr val="black">
                      <a:alpha val="50000"/>
                    </a:prstClr>
                  </a:innerShdw>
                </a:effectLst>
                <a:latin typeface="Calibri"/>
              </a:rPr>
              <a:t>5G Advanced Evolution</a:t>
            </a:r>
            <a:endParaRPr lang="en-US" sz="32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Subtitle 11">
            <a:extLst>
              <a:ext uri="{FF2B5EF4-FFF2-40B4-BE49-F238E27FC236}">
                <a16:creationId xmlns:a16="http://schemas.microsoft.com/office/drawing/2014/main" id="{6D3D0A35-0C06-47EE-B914-C067274ED75A}"/>
              </a:ext>
            </a:extLst>
          </p:cNvPr>
          <p:cNvSpPr txBox="1">
            <a:spLocks/>
          </p:cNvSpPr>
          <p:nvPr/>
        </p:nvSpPr>
        <p:spPr>
          <a:xfrm>
            <a:off x="1148941" y="2110159"/>
            <a:ext cx="2275290" cy="1717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90500" indent="-190500" algn="l" defTabSz="914400" rtl="0" eaLnBrk="1" latinLnBrk="0" hangingPunct="1">
              <a:lnSpc>
                <a:spcPct val="107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463" indent="-163513" algn="l" defTabSz="91440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9913" indent="-163513" algn="l" defTabSz="91440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tx1">
                  <a:lumMod val="85000"/>
                  <a:lumOff val="15000"/>
                </a:schemeClr>
              </a:buClr>
              <a:buFont typeface="Microsoft Sans Serif" panose="020B0604020202020204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2950" indent="-163513" algn="l" defTabSz="91440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6000"/>
              </a:lnSpc>
              <a:spcBef>
                <a:spcPts val="1800"/>
              </a:spcBef>
              <a:buClr>
                <a:srgbClr val="595959"/>
              </a:buClr>
              <a:buFont typeface="Microsoft Sans Serif" panose="020B0604020202020204" pitchFamily="34" charset="0"/>
              <a:buChar char="​"/>
              <a:tabLst/>
              <a:defRPr sz="2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6000"/>
              </a:lnSpc>
              <a:spcBef>
                <a:spcPts val="0"/>
              </a:spcBef>
              <a:buFont typeface="Microsoft Sans Serif" panose="020B0604020202020204" pitchFamily="34" charset="0"/>
              <a:buChar char="​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7000"/>
              </a:lnSpc>
              <a:spcBef>
                <a:spcPts val="1200"/>
              </a:spcBef>
              <a:buFont typeface="Microsoft Sans Serif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87000"/>
              </a:lnSpc>
              <a:spcBef>
                <a:spcPts val="1800"/>
              </a:spcBef>
              <a:buSzPct val="100000"/>
              <a:buFont typeface="Microsoft Sans Serif" panose="020B0604020202020204" pitchFamily="34" charset="0"/>
              <a:buChar char="​"/>
              <a:defRPr lang="en-US" sz="55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7000"/>
              </a:lnSpc>
              <a:spcBef>
                <a:spcPts val="1800"/>
              </a:spcBef>
              <a:buFont typeface="Microsoft Sans Serif" panose="020B0604020202020204" pitchFamily="34" charset="0"/>
              <a:buChar char="​"/>
              <a:defRPr sz="6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743407">
              <a:lnSpc>
                <a:spcPct val="85000"/>
              </a:lnSpc>
              <a:spcBef>
                <a:spcPts val="0"/>
              </a:spcBef>
              <a:buClr>
                <a:srgbClr val="4F81BD"/>
              </a:buClr>
              <a:buNone/>
            </a:pPr>
            <a:r>
              <a:rPr lang="en-GB" sz="1301">
                <a:solidFill>
                  <a:prstClr val="white"/>
                </a:solidFill>
                <a:latin typeface="Calibri"/>
              </a:rPr>
              <a:t>Release 18</a:t>
            </a:r>
            <a:endParaRPr lang="en-US" sz="1301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CAA7641-7CAE-41AD-BF9D-2622AF045BB9}"/>
              </a:ext>
            </a:extLst>
          </p:cNvPr>
          <p:cNvGrpSpPr/>
          <p:nvPr/>
        </p:nvGrpSpPr>
        <p:grpSpPr>
          <a:xfrm>
            <a:off x="1121670" y="1074459"/>
            <a:ext cx="1428367" cy="798110"/>
            <a:chOff x="4543873" y="1621652"/>
            <a:chExt cx="3098588" cy="1731358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A402D6BA-BF76-4A13-A789-38CD25C0AC1C}"/>
                </a:ext>
              </a:extLst>
            </p:cNvPr>
            <p:cNvSpPr/>
            <p:nvPr/>
          </p:nvSpPr>
          <p:spPr>
            <a:xfrm>
              <a:off x="5717796" y="2629338"/>
              <a:ext cx="2764" cy="1759"/>
            </a:xfrm>
            <a:custGeom>
              <a:avLst/>
              <a:gdLst>
                <a:gd name="connsiteX0" fmla="*/ 2547 w 2764"/>
                <a:gd name="connsiteY0" fmla="*/ 1519 h 1759"/>
                <a:gd name="connsiteX1" fmla="*/ -92 w 2764"/>
                <a:gd name="connsiteY1" fmla="*/ 1519 h 1759"/>
                <a:gd name="connsiteX2" fmla="*/ 1165 w 2764"/>
                <a:gd name="connsiteY2" fmla="*/ -114 h 1759"/>
                <a:gd name="connsiteX3" fmla="*/ 2673 w 2764"/>
                <a:gd name="connsiteY3" fmla="*/ 1645 h 1759"/>
                <a:gd name="connsiteX4" fmla="*/ 2673 w 2764"/>
                <a:gd name="connsiteY4" fmla="*/ 1645 h 1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64" h="1759">
                  <a:moveTo>
                    <a:pt x="2547" y="1519"/>
                  </a:moveTo>
                  <a:lnTo>
                    <a:pt x="-92" y="1519"/>
                  </a:lnTo>
                  <a:lnTo>
                    <a:pt x="1165" y="-114"/>
                  </a:lnTo>
                  <a:lnTo>
                    <a:pt x="2673" y="1645"/>
                  </a:lnTo>
                  <a:lnTo>
                    <a:pt x="2673" y="1645"/>
                  </a:lnTo>
                </a:path>
              </a:pathLst>
            </a:custGeom>
            <a:solidFill>
              <a:schemeClr val="bg1"/>
            </a:solidFill>
            <a:ln w="125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/>
              <a:endParaRPr lang="en-US" sz="146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638988D5-8023-4F8C-BD1A-4DE224C0B7CA}"/>
                </a:ext>
              </a:extLst>
            </p:cNvPr>
            <p:cNvSpPr/>
            <p:nvPr/>
          </p:nvSpPr>
          <p:spPr>
            <a:xfrm>
              <a:off x="5717796" y="2629338"/>
              <a:ext cx="2764" cy="1759"/>
            </a:xfrm>
            <a:custGeom>
              <a:avLst/>
              <a:gdLst>
                <a:gd name="connsiteX0" fmla="*/ 2547 w 2764"/>
                <a:gd name="connsiteY0" fmla="*/ 1519 h 1759"/>
                <a:gd name="connsiteX1" fmla="*/ -92 w 2764"/>
                <a:gd name="connsiteY1" fmla="*/ 1519 h 1759"/>
                <a:gd name="connsiteX2" fmla="*/ 1165 w 2764"/>
                <a:gd name="connsiteY2" fmla="*/ -114 h 1759"/>
                <a:gd name="connsiteX3" fmla="*/ 2673 w 2764"/>
                <a:gd name="connsiteY3" fmla="*/ 1645 h 1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4" h="1759">
                  <a:moveTo>
                    <a:pt x="2547" y="1519"/>
                  </a:moveTo>
                  <a:lnTo>
                    <a:pt x="-92" y="1519"/>
                  </a:lnTo>
                  <a:lnTo>
                    <a:pt x="1165" y="-114"/>
                  </a:lnTo>
                  <a:lnTo>
                    <a:pt x="2673" y="1645"/>
                  </a:lnTo>
                  <a:close/>
                </a:path>
              </a:pathLst>
            </a:custGeom>
            <a:solidFill>
              <a:schemeClr val="bg1"/>
            </a:solidFill>
            <a:ln w="251" cap="flat">
              <a:solidFill>
                <a:srgbClr val="40404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743407"/>
              <a:endParaRPr lang="en-US" sz="146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34BD0950-7206-4741-A1D3-0623F4173245}"/>
                </a:ext>
              </a:extLst>
            </p:cNvPr>
            <p:cNvSpPr/>
            <p:nvPr/>
          </p:nvSpPr>
          <p:spPr>
            <a:xfrm>
              <a:off x="4543873" y="2175525"/>
              <a:ext cx="1839611" cy="1177485"/>
            </a:xfrm>
            <a:custGeom>
              <a:avLst/>
              <a:gdLst>
                <a:gd name="connsiteX0" fmla="*/ 950680 w 1839611"/>
                <a:gd name="connsiteY0" fmla="*/ 791820 h 1177485"/>
                <a:gd name="connsiteX1" fmla="*/ 681163 w 1839611"/>
                <a:gd name="connsiteY1" fmla="*/ 1120140 h 1177485"/>
                <a:gd name="connsiteX2" fmla="*/ 344801 w 1839611"/>
                <a:gd name="connsiteY2" fmla="*/ 1175300 h 1177485"/>
                <a:gd name="connsiteX3" fmla="*/ 168892 w 1839611"/>
                <a:gd name="connsiteY3" fmla="*/ 1137605 h 1177485"/>
                <a:gd name="connsiteX4" fmla="*/ 523 w 1839611"/>
                <a:gd name="connsiteY4" fmla="*/ 891585 h 1177485"/>
                <a:gd name="connsiteX5" fmla="*/ 523 w 1839611"/>
                <a:gd name="connsiteY5" fmla="*/ 816196 h 1177485"/>
                <a:gd name="connsiteX6" fmla="*/ 15600 w 1839611"/>
                <a:gd name="connsiteY6" fmla="*/ 802123 h 1177485"/>
                <a:gd name="connsiteX7" fmla="*/ 272301 w 1839611"/>
                <a:gd name="connsiteY7" fmla="*/ 802123 h 1177485"/>
                <a:gd name="connsiteX8" fmla="*/ 284866 w 1839611"/>
                <a:gd name="connsiteY8" fmla="*/ 816573 h 1177485"/>
                <a:gd name="connsiteX9" fmla="*/ 332487 w 1839611"/>
                <a:gd name="connsiteY9" fmla="*/ 912191 h 1177485"/>
                <a:gd name="connsiteX10" fmla="*/ 560917 w 1839611"/>
                <a:gd name="connsiteY10" fmla="*/ 919228 h 1177485"/>
                <a:gd name="connsiteX11" fmla="*/ 674001 w 1839611"/>
                <a:gd name="connsiteY11" fmla="*/ 673584 h 1177485"/>
                <a:gd name="connsiteX12" fmla="*/ 583785 w 1839611"/>
                <a:gd name="connsiteY12" fmla="*/ 577714 h 1177485"/>
                <a:gd name="connsiteX13" fmla="*/ 402222 w 1839611"/>
                <a:gd name="connsiteY13" fmla="*/ 592918 h 1177485"/>
                <a:gd name="connsiteX14" fmla="*/ 330602 w 1839611"/>
                <a:gd name="connsiteY14" fmla="*/ 649711 h 1177485"/>
                <a:gd name="connsiteX15" fmla="*/ 315524 w 1839611"/>
                <a:gd name="connsiteY15" fmla="*/ 657878 h 1177485"/>
                <a:gd name="connsiteX16" fmla="*/ 66865 w 1839611"/>
                <a:gd name="connsiteY16" fmla="*/ 657878 h 1177485"/>
                <a:gd name="connsiteX17" fmla="*/ 98403 w 1839611"/>
                <a:gd name="connsiteY17" fmla="*/ 566154 h 1177485"/>
                <a:gd name="connsiteX18" fmla="*/ 289766 w 1839611"/>
                <a:gd name="connsiteY18" fmla="*/ 17823 h 1177485"/>
                <a:gd name="connsiteX19" fmla="*/ 313891 w 1839611"/>
                <a:gd name="connsiteY19" fmla="*/ 106 h 1177485"/>
                <a:gd name="connsiteX20" fmla="*/ 1013378 w 1839611"/>
                <a:gd name="connsiteY20" fmla="*/ 106 h 1177485"/>
                <a:gd name="connsiteX21" fmla="*/ 1027954 w 1839611"/>
                <a:gd name="connsiteY21" fmla="*/ 16818 h 1177485"/>
                <a:gd name="connsiteX22" fmla="*/ 990259 w 1839611"/>
                <a:gd name="connsiteY22" fmla="*/ 230421 h 1177485"/>
                <a:gd name="connsiteX23" fmla="*/ 971663 w 1839611"/>
                <a:gd name="connsiteY23" fmla="*/ 240598 h 1177485"/>
                <a:gd name="connsiteX24" fmla="*/ 491810 w 1839611"/>
                <a:gd name="connsiteY24" fmla="*/ 240598 h 1177485"/>
                <a:gd name="connsiteX25" fmla="*/ 464670 w 1839611"/>
                <a:gd name="connsiteY25" fmla="*/ 259320 h 1177485"/>
                <a:gd name="connsiteX26" fmla="*/ 395688 w 1839611"/>
                <a:gd name="connsiteY26" fmla="*/ 441888 h 1177485"/>
                <a:gd name="connsiteX27" fmla="*/ 394306 w 1839611"/>
                <a:gd name="connsiteY27" fmla="*/ 452316 h 1177485"/>
                <a:gd name="connsiteX28" fmla="*/ 523096 w 1839611"/>
                <a:gd name="connsiteY28" fmla="*/ 384466 h 1177485"/>
                <a:gd name="connsiteX29" fmla="*/ 817743 w 1839611"/>
                <a:gd name="connsiteY29" fmla="*/ 404696 h 1177485"/>
                <a:gd name="connsiteX30" fmla="*/ 966763 w 1839611"/>
                <a:gd name="connsiteY30" fmla="*/ 625963 h 1177485"/>
                <a:gd name="connsiteX31" fmla="*/ 969276 w 1839611"/>
                <a:gd name="connsiteY31" fmla="*/ 671699 h 1177485"/>
                <a:gd name="connsiteX32" fmla="*/ 979830 w 1839611"/>
                <a:gd name="connsiteY32" fmla="*/ 641669 h 1177485"/>
                <a:gd name="connsiteX33" fmla="*/ 1366954 w 1839611"/>
                <a:gd name="connsiteY33" fmla="*/ 256932 h 1177485"/>
                <a:gd name="connsiteX34" fmla="*/ 1630817 w 1839611"/>
                <a:gd name="connsiteY34" fmla="*/ 261330 h 1177485"/>
                <a:gd name="connsiteX35" fmla="*/ 1831855 w 1839611"/>
                <a:gd name="connsiteY35" fmla="*/ 491519 h 1177485"/>
                <a:gd name="connsiteX36" fmla="*/ 1839520 w 1839611"/>
                <a:gd name="connsiteY36" fmla="*/ 563013 h 1177485"/>
                <a:gd name="connsiteX37" fmla="*/ 1827709 w 1839611"/>
                <a:gd name="connsiteY37" fmla="*/ 575578 h 1177485"/>
                <a:gd name="connsiteX38" fmla="*/ 1587720 w 1839611"/>
                <a:gd name="connsiteY38" fmla="*/ 575578 h 1177485"/>
                <a:gd name="connsiteX39" fmla="*/ 1575155 w 1839611"/>
                <a:gd name="connsiteY39" fmla="*/ 564772 h 1177485"/>
                <a:gd name="connsiteX40" fmla="*/ 1441464 w 1839611"/>
                <a:gd name="connsiteY40" fmla="*/ 464881 h 1177485"/>
                <a:gd name="connsiteX41" fmla="*/ 1275733 w 1839611"/>
                <a:gd name="connsiteY41" fmla="*/ 586635 h 1177485"/>
                <a:gd name="connsiteX42" fmla="*/ 1231631 w 1839611"/>
                <a:gd name="connsiteY42" fmla="*/ 794081 h 1177485"/>
                <a:gd name="connsiteX43" fmla="*/ 1290183 w 1839611"/>
                <a:gd name="connsiteY43" fmla="*/ 923751 h 1177485"/>
                <a:gd name="connsiteX44" fmla="*/ 1554046 w 1839611"/>
                <a:gd name="connsiteY44" fmla="*/ 862057 h 1177485"/>
                <a:gd name="connsiteX45" fmla="*/ 1555931 w 1839611"/>
                <a:gd name="connsiteY45" fmla="*/ 855775 h 1177485"/>
                <a:gd name="connsiteX46" fmla="*/ 1448501 w 1839611"/>
                <a:gd name="connsiteY46" fmla="*/ 855775 h 1177485"/>
                <a:gd name="connsiteX47" fmla="*/ 1437569 w 1839611"/>
                <a:gd name="connsiteY47" fmla="*/ 841953 h 1177485"/>
                <a:gd name="connsiteX48" fmla="*/ 1466217 w 1839611"/>
                <a:gd name="connsiteY48" fmla="*/ 678610 h 1177485"/>
                <a:gd name="connsiteX49" fmla="*/ 1480416 w 1839611"/>
                <a:gd name="connsiteY49" fmla="*/ 663407 h 1177485"/>
                <a:gd name="connsiteX50" fmla="*/ 1825950 w 1839611"/>
                <a:gd name="connsiteY50" fmla="*/ 663407 h 1177485"/>
                <a:gd name="connsiteX51" fmla="*/ 1834745 w 1839611"/>
                <a:gd name="connsiteY51" fmla="*/ 664286 h 1177485"/>
                <a:gd name="connsiteX52" fmla="*/ 1792904 w 1839611"/>
                <a:gd name="connsiteY52" fmla="*/ 901888 h 1177485"/>
                <a:gd name="connsiteX53" fmla="*/ 1750938 w 1839611"/>
                <a:gd name="connsiteY53" fmla="*/ 1140621 h 1177485"/>
                <a:gd name="connsiteX54" fmla="*/ 1734352 w 1839611"/>
                <a:gd name="connsiteY54" fmla="*/ 1155573 h 1177485"/>
                <a:gd name="connsiteX55" fmla="*/ 1588348 w 1839611"/>
                <a:gd name="connsiteY55" fmla="*/ 1155573 h 1177485"/>
                <a:gd name="connsiteX56" fmla="*/ 1575155 w 1839611"/>
                <a:gd name="connsiteY56" fmla="*/ 1140244 h 1177485"/>
                <a:gd name="connsiteX57" fmla="*/ 1580558 w 1839611"/>
                <a:gd name="connsiteY57" fmla="*/ 1066237 h 1177485"/>
                <a:gd name="connsiteX58" fmla="*/ 1542235 w 1839611"/>
                <a:gd name="connsiteY58" fmla="*/ 1099157 h 1177485"/>
                <a:gd name="connsiteX59" fmla="*/ 1269954 w 1839611"/>
                <a:gd name="connsiteY59" fmla="*/ 1174546 h 1177485"/>
                <a:gd name="connsiteX60" fmla="*/ 1087386 w 1839611"/>
                <a:gd name="connsiteY60" fmla="*/ 1111722 h 1177485"/>
                <a:gd name="connsiteX61" fmla="*/ 958721 w 1839611"/>
                <a:gd name="connsiteY61" fmla="*/ 894223 h 1177485"/>
                <a:gd name="connsiteX62" fmla="*/ 952062 w 1839611"/>
                <a:gd name="connsiteY62" fmla="*/ 790689 h 1177485"/>
                <a:gd name="connsiteX63" fmla="*/ 952062 w 1839611"/>
                <a:gd name="connsiteY63" fmla="*/ 785537 h 1177485"/>
                <a:gd name="connsiteX64" fmla="*/ 949549 w 1839611"/>
                <a:gd name="connsiteY64" fmla="*/ 791066 h 117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839611" h="1177485">
                  <a:moveTo>
                    <a:pt x="950680" y="791820"/>
                  </a:moveTo>
                  <a:cubicBezTo>
                    <a:pt x="912105" y="943352"/>
                    <a:pt x="822392" y="1053295"/>
                    <a:pt x="681163" y="1120140"/>
                  </a:cubicBezTo>
                  <a:cubicBezTo>
                    <a:pt x="574487" y="1170400"/>
                    <a:pt x="461277" y="1182964"/>
                    <a:pt x="344801" y="1175300"/>
                  </a:cubicBezTo>
                  <a:cubicBezTo>
                    <a:pt x="284451" y="1172850"/>
                    <a:pt x="224957" y="1160096"/>
                    <a:pt x="168892" y="1137605"/>
                  </a:cubicBezTo>
                  <a:cubicBezTo>
                    <a:pt x="60834" y="1091241"/>
                    <a:pt x="7182" y="1007182"/>
                    <a:pt x="523" y="891585"/>
                  </a:cubicBezTo>
                  <a:cubicBezTo>
                    <a:pt x="-860" y="866455"/>
                    <a:pt x="523" y="841325"/>
                    <a:pt x="523" y="816196"/>
                  </a:cubicBezTo>
                  <a:cubicBezTo>
                    <a:pt x="523" y="806144"/>
                    <a:pt x="4166" y="801997"/>
                    <a:pt x="15600" y="802123"/>
                  </a:cubicBezTo>
                  <a:cubicBezTo>
                    <a:pt x="101209" y="802626"/>
                    <a:pt x="186772" y="802626"/>
                    <a:pt x="272301" y="802123"/>
                  </a:cubicBezTo>
                  <a:cubicBezTo>
                    <a:pt x="284238" y="802123"/>
                    <a:pt x="285746" y="806269"/>
                    <a:pt x="284866" y="816573"/>
                  </a:cubicBezTo>
                  <a:cubicBezTo>
                    <a:pt x="281084" y="854946"/>
                    <a:pt x="299592" y="892087"/>
                    <a:pt x="332487" y="912191"/>
                  </a:cubicBezTo>
                  <a:cubicBezTo>
                    <a:pt x="406620" y="961697"/>
                    <a:pt x="484397" y="958807"/>
                    <a:pt x="560917" y="919228"/>
                  </a:cubicBezTo>
                  <a:cubicBezTo>
                    <a:pt x="657541" y="868968"/>
                    <a:pt x="691340" y="760784"/>
                    <a:pt x="674001" y="673584"/>
                  </a:cubicBezTo>
                  <a:cubicBezTo>
                    <a:pt x="666336" y="626202"/>
                    <a:pt x="630614" y="588243"/>
                    <a:pt x="583785" y="577714"/>
                  </a:cubicBezTo>
                  <a:cubicBezTo>
                    <a:pt x="523335" y="561530"/>
                    <a:pt x="459141" y="566908"/>
                    <a:pt x="402222" y="592918"/>
                  </a:cubicBezTo>
                  <a:cubicBezTo>
                    <a:pt x="374391" y="606249"/>
                    <a:pt x="349915" y="625649"/>
                    <a:pt x="330602" y="649711"/>
                  </a:cubicBezTo>
                  <a:cubicBezTo>
                    <a:pt x="327310" y="654850"/>
                    <a:pt x="321618" y="657928"/>
                    <a:pt x="315524" y="657878"/>
                  </a:cubicBezTo>
                  <a:cubicBezTo>
                    <a:pt x="233476" y="657878"/>
                    <a:pt x="151176" y="657878"/>
                    <a:pt x="66865" y="657878"/>
                  </a:cubicBezTo>
                  <a:cubicBezTo>
                    <a:pt x="77671" y="626466"/>
                    <a:pt x="87849" y="596310"/>
                    <a:pt x="98403" y="566154"/>
                  </a:cubicBezTo>
                  <a:cubicBezTo>
                    <a:pt x="162233" y="383373"/>
                    <a:pt x="226025" y="200604"/>
                    <a:pt x="289766" y="17823"/>
                  </a:cubicBezTo>
                  <a:cubicBezTo>
                    <a:pt x="291639" y="6326"/>
                    <a:pt x="302369" y="-1552"/>
                    <a:pt x="313891" y="106"/>
                  </a:cubicBezTo>
                  <a:cubicBezTo>
                    <a:pt x="547095" y="697"/>
                    <a:pt x="780262" y="697"/>
                    <a:pt x="1013378" y="106"/>
                  </a:cubicBezTo>
                  <a:cubicBezTo>
                    <a:pt x="1027074" y="106"/>
                    <a:pt x="1030844" y="1488"/>
                    <a:pt x="1027954" y="16818"/>
                  </a:cubicBezTo>
                  <a:cubicBezTo>
                    <a:pt x="1014384" y="88060"/>
                    <a:pt x="1002824" y="159429"/>
                    <a:pt x="990259" y="230421"/>
                  </a:cubicBezTo>
                  <a:cubicBezTo>
                    <a:pt x="987997" y="243739"/>
                    <a:pt x="979453" y="240598"/>
                    <a:pt x="971663" y="240598"/>
                  </a:cubicBezTo>
                  <a:cubicBezTo>
                    <a:pt x="811712" y="240598"/>
                    <a:pt x="651761" y="240598"/>
                    <a:pt x="491810" y="240598"/>
                  </a:cubicBezTo>
                  <a:cubicBezTo>
                    <a:pt x="479220" y="238588"/>
                    <a:pt x="467258" y="246830"/>
                    <a:pt x="464670" y="259320"/>
                  </a:cubicBezTo>
                  <a:cubicBezTo>
                    <a:pt x="442430" y="320385"/>
                    <a:pt x="418808" y="381074"/>
                    <a:pt x="395688" y="441888"/>
                  </a:cubicBezTo>
                  <a:cubicBezTo>
                    <a:pt x="394558" y="444903"/>
                    <a:pt x="391919" y="447668"/>
                    <a:pt x="394306" y="452316"/>
                  </a:cubicBezTo>
                  <a:cubicBezTo>
                    <a:pt x="431725" y="420502"/>
                    <a:pt x="475702" y="397332"/>
                    <a:pt x="523096" y="384466"/>
                  </a:cubicBezTo>
                  <a:cubicBezTo>
                    <a:pt x="620663" y="356559"/>
                    <a:pt x="724914" y="363709"/>
                    <a:pt x="817743" y="404696"/>
                  </a:cubicBezTo>
                  <a:cubicBezTo>
                    <a:pt x="912105" y="447039"/>
                    <a:pt x="957967" y="524690"/>
                    <a:pt x="966763" y="625963"/>
                  </a:cubicBezTo>
                  <a:cubicBezTo>
                    <a:pt x="968019" y="640413"/>
                    <a:pt x="968396" y="654862"/>
                    <a:pt x="969276" y="671699"/>
                  </a:cubicBezTo>
                  <a:cubicBezTo>
                    <a:pt x="974390" y="662326"/>
                    <a:pt x="977958" y="652186"/>
                    <a:pt x="979830" y="641669"/>
                  </a:cubicBezTo>
                  <a:cubicBezTo>
                    <a:pt x="1040644" y="444777"/>
                    <a:pt x="1165791" y="311967"/>
                    <a:pt x="1366954" y="256932"/>
                  </a:cubicBezTo>
                  <a:cubicBezTo>
                    <a:pt x="1453489" y="232883"/>
                    <a:pt x="1545137" y="234404"/>
                    <a:pt x="1630817" y="261330"/>
                  </a:cubicBezTo>
                  <a:cubicBezTo>
                    <a:pt x="1744655" y="296638"/>
                    <a:pt x="1808987" y="376173"/>
                    <a:pt x="1831855" y="491519"/>
                  </a:cubicBezTo>
                  <a:cubicBezTo>
                    <a:pt x="1836354" y="515103"/>
                    <a:pt x="1838917" y="539014"/>
                    <a:pt x="1839520" y="563013"/>
                  </a:cubicBezTo>
                  <a:cubicBezTo>
                    <a:pt x="1839520" y="572563"/>
                    <a:pt x="1837384" y="575578"/>
                    <a:pt x="1827709" y="575578"/>
                  </a:cubicBezTo>
                  <a:cubicBezTo>
                    <a:pt x="1747633" y="575578"/>
                    <a:pt x="1667632" y="575578"/>
                    <a:pt x="1587720" y="575578"/>
                  </a:cubicBezTo>
                  <a:cubicBezTo>
                    <a:pt x="1579427" y="575578"/>
                    <a:pt x="1575909" y="573819"/>
                    <a:pt x="1575155" y="564772"/>
                  </a:cubicBezTo>
                  <a:cubicBezTo>
                    <a:pt x="1571511" y="497927"/>
                    <a:pt x="1514215" y="456588"/>
                    <a:pt x="1441464" y="464881"/>
                  </a:cubicBezTo>
                  <a:cubicBezTo>
                    <a:pt x="1362054" y="474054"/>
                    <a:pt x="1308653" y="516900"/>
                    <a:pt x="1275733" y="586635"/>
                  </a:cubicBezTo>
                  <a:cubicBezTo>
                    <a:pt x="1244799" y="651307"/>
                    <a:pt x="1229683" y="722411"/>
                    <a:pt x="1231631" y="794081"/>
                  </a:cubicBezTo>
                  <a:cubicBezTo>
                    <a:pt x="1233013" y="844341"/>
                    <a:pt x="1247462" y="891082"/>
                    <a:pt x="1290183" y="923751"/>
                  </a:cubicBezTo>
                  <a:cubicBezTo>
                    <a:pt x="1358787" y="976523"/>
                    <a:pt x="1508435" y="965466"/>
                    <a:pt x="1554046" y="862057"/>
                  </a:cubicBezTo>
                  <a:cubicBezTo>
                    <a:pt x="1554674" y="860550"/>
                    <a:pt x="1554925" y="859042"/>
                    <a:pt x="1555931" y="855775"/>
                  </a:cubicBezTo>
                  <a:cubicBezTo>
                    <a:pt x="1519492" y="855775"/>
                    <a:pt x="1484059" y="855775"/>
                    <a:pt x="1448501" y="855775"/>
                  </a:cubicBezTo>
                  <a:cubicBezTo>
                    <a:pt x="1437192" y="855775"/>
                    <a:pt x="1435307" y="853639"/>
                    <a:pt x="1437569" y="841953"/>
                  </a:cubicBezTo>
                  <a:cubicBezTo>
                    <a:pt x="1447872" y="787799"/>
                    <a:pt x="1456668" y="733267"/>
                    <a:pt x="1466217" y="678610"/>
                  </a:cubicBezTo>
                  <a:cubicBezTo>
                    <a:pt x="1467599" y="670945"/>
                    <a:pt x="1467474" y="663281"/>
                    <a:pt x="1480416" y="663407"/>
                  </a:cubicBezTo>
                  <a:cubicBezTo>
                    <a:pt x="1595510" y="664035"/>
                    <a:pt x="1710730" y="663407"/>
                    <a:pt x="1825950" y="663407"/>
                  </a:cubicBezTo>
                  <a:cubicBezTo>
                    <a:pt x="1828890" y="663545"/>
                    <a:pt x="1831830" y="663834"/>
                    <a:pt x="1834745" y="664286"/>
                  </a:cubicBezTo>
                  <a:cubicBezTo>
                    <a:pt x="1820673" y="743822"/>
                    <a:pt x="1806851" y="822855"/>
                    <a:pt x="1792904" y="901888"/>
                  </a:cubicBezTo>
                  <a:cubicBezTo>
                    <a:pt x="1778957" y="980921"/>
                    <a:pt x="1764633" y="1061085"/>
                    <a:pt x="1750938" y="1140621"/>
                  </a:cubicBezTo>
                  <a:cubicBezTo>
                    <a:pt x="1749179" y="1151427"/>
                    <a:pt x="1746037" y="1155699"/>
                    <a:pt x="1734352" y="1155573"/>
                  </a:cubicBezTo>
                  <a:cubicBezTo>
                    <a:pt x="1685600" y="1154819"/>
                    <a:pt x="1636936" y="1154819"/>
                    <a:pt x="1588348" y="1155573"/>
                  </a:cubicBezTo>
                  <a:cubicBezTo>
                    <a:pt x="1575783" y="1155573"/>
                    <a:pt x="1573773" y="1152055"/>
                    <a:pt x="1575155" y="1140244"/>
                  </a:cubicBezTo>
                  <a:cubicBezTo>
                    <a:pt x="1577919" y="1116622"/>
                    <a:pt x="1578799" y="1092749"/>
                    <a:pt x="1580558" y="1066237"/>
                  </a:cubicBezTo>
                  <a:cubicBezTo>
                    <a:pt x="1566485" y="1078802"/>
                    <a:pt x="1554800" y="1089482"/>
                    <a:pt x="1542235" y="1099157"/>
                  </a:cubicBezTo>
                  <a:cubicBezTo>
                    <a:pt x="1461819" y="1161227"/>
                    <a:pt x="1369845" y="1182336"/>
                    <a:pt x="1269954" y="1174546"/>
                  </a:cubicBezTo>
                  <a:cubicBezTo>
                    <a:pt x="1204377" y="1171317"/>
                    <a:pt x="1141063" y="1149529"/>
                    <a:pt x="1087386" y="1111722"/>
                  </a:cubicBezTo>
                  <a:cubicBezTo>
                    <a:pt x="1013630" y="1057818"/>
                    <a:pt x="974302" y="982806"/>
                    <a:pt x="958721" y="894223"/>
                  </a:cubicBezTo>
                  <a:cubicBezTo>
                    <a:pt x="953180" y="860009"/>
                    <a:pt x="950944" y="825330"/>
                    <a:pt x="952062" y="790689"/>
                  </a:cubicBezTo>
                  <a:cubicBezTo>
                    <a:pt x="950303" y="789181"/>
                    <a:pt x="952062" y="787171"/>
                    <a:pt x="952062" y="785537"/>
                  </a:cubicBezTo>
                  <a:cubicBezTo>
                    <a:pt x="951534" y="787510"/>
                    <a:pt x="950692" y="789369"/>
                    <a:pt x="949549" y="791066"/>
                  </a:cubicBezTo>
                </a:path>
              </a:pathLst>
            </a:custGeom>
            <a:solidFill>
              <a:schemeClr val="bg1"/>
            </a:solidFill>
            <a:ln w="125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/>
              <a:endParaRPr lang="en-US" sz="146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76C20FF-5408-438D-9496-17D018D761B5}"/>
                </a:ext>
              </a:extLst>
            </p:cNvPr>
            <p:cNvSpPr/>
            <p:nvPr/>
          </p:nvSpPr>
          <p:spPr>
            <a:xfrm>
              <a:off x="5458066" y="2962433"/>
              <a:ext cx="6337" cy="11057"/>
            </a:xfrm>
            <a:custGeom>
              <a:avLst/>
              <a:gdLst>
                <a:gd name="connsiteX0" fmla="*/ 174 w 6337"/>
                <a:gd name="connsiteY0" fmla="*/ 10943 h 11057"/>
                <a:gd name="connsiteX1" fmla="*/ 5074 w 6337"/>
                <a:gd name="connsiteY1" fmla="*/ -114 h 11057"/>
                <a:gd name="connsiteX2" fmla="*/ 3315 w 6337"/>
                <a:gd name="connsiteY2" fmla="*/ 10566 h 11057"/>
                <a:gd name="connsiteX3" fmla="*/ 1682 w 6337"/>
                <a:gd name="connsiteY3" fmla="*/ 10566 h 1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37" h="11057">
                  <a:moveTo>
                    <a:pt x="174" y="10943"/>
                  </a:moveTo>
                  <a:cubicBezTo>
                    <a:pt x="-957" y="6043"/>
                    <a:pt x="1682" y="3027"/>
                    <a:pt x="5074" y="-114"/>
                  </a:cubicBezTo>
                  <a:cubicBezTo>
                    <a:pt x="7839" y="4284"/>
                    <a:pt x="5074" y="7299"/>
                    <a:pt x="3315" y="10566"/>
                  </a:cubicBezTo>
                  <a:lnTo>
                    <a:pt x="1682" y="10566"/>
                  </a:lnTo>
                  <a:close/>
                </a:path>
              </a:pathLst>
            </a:custGeom>
            <a:solidFill>
              <a:schemeClr val="bg1"/>
            </a:solidFill>
            <a:ln w="125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/>
              <a:endParaRPr lang="en-US" sz="146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412C67F-EF35-4F43-A17F-9BA3F5E98E57}"/>
                </a:ext>
              </a:extLst>
            </p:cNvPr>
            <p:cNvSpPr/>
            <p:nvPr/>
          </p:nvSpPr>
          <p:spPr>
            <a:xfrm>
              <a:off x="6656645" y="2629225"/>
              <a:ext cx="985816" cy="118408"/>
            </a:xfrm>
            <a:custGeom>
              <a:avLst/>
              <a:gdLst>
                <a:gd name="connsiteX0" fmla="*/ 89370 w 985816"/>
                <a:gd name="connsiteY0" fmla="*/ 2763 h 118408"/>
                <a:gd name="connsiteX1" fmla="*/ 26546 w 985816"/>
                <a:gd name="connsiteY1" fmla="*/ 2763 h 118408"/>
                <a:gd name="connsiteX2" fmla="*/ -92 w 985816"/>
                <a:gd name="connsiteY2" fmla="*/ 115847 h 118408"/>
                <a:gd name="connsiteX3" fmla="*/ 64492 w 985816"/>
                <a:gd name="connsiteY3" fmla="*/ 115847 h 118408"/>
                <a:gd name="connsiteX4" fmla="*/ 131840 w 985816"/>
                <a:gd name="connsiteY4" fmla="*/ 57923 h 118408"/>
                <a:gd name="connsiteX5" fmla="*/ 89999 w 985816"/>
                <a:gd name="connsiteY5" fmla="*/ 3140 h 118408"/>
                <a:gd name="connsiteX6" fmla="*/ 113244 w 985816"/>
                <a:gd name="connsiteY6" fmla="*/ 58174 h 118408"/>
                <a:gd name="connsiteX7" fmla="*/ 67005 w 985816"/>
                <a:gd name="connsiteY7" fmla="*/ 101272 h 118408"/>
                <a:gd name="connsiteX8" fmla="*/ 21897 w 985816"/>
                <a:gd name="connsiteY8" fmla="*/ 101272 h 118408"/>
                <a:gd name="connsiteX9" fmla="*/ 41749 w 985816"/>
                <a:gd name="connsiteY9" fmla="*/ 17715 h 118408"/>
                <a:gd name="connsiteX10" fmla="*/ 83339 w 985816"/>
                <a:gd name="connsiteY10" fmla="*/ 17715 h 118408"/>
                <a:gd name="connsiteX11" fmla="*/ 113244 w 985816"/>
                <a:gd name="connsiteY11" fmla="*/ 58174 h 118408"/>
                <a:gd name="connsiteX12" fmla="*/ 266535 w 985816"/>
                <a:gd name="connsiteY12" fmla="*/ 2763 h 118408"/>
                <a:gd name="connsiteX13" fmla="*/ 199565 w 985816"/>
                <a:gd name="connsiteY13" fmla="*/ 98131 h 118408"/>
                <a:gd name="connsiteX14" fmla="*/ 177073 w 985816"/>
                <a:gd name="connsiteY14" fmla="*/ 2763 h 118408"/>
                <a:gd name="connsiteX15" fmla="*/ 155964 w 985816"/>
                <a:gd name="connsiteY15" fmla="*/ 2763 h 118408"/>
                <a:gd name="connsiteX16" fmla="*/ 185115 w 985816"/>
                <a:gd name="connsiteY16" fmla="*/ 115847 h 118408"/>
                <a:gd name="connsiteX17" fmla="*/ 204967 w 985816"/>
                <a:gd name="connsiteY17" fmla="*/ 115847 h 118408"/>
                <a:gd name="connsiteX18" fmla="*/ 286513 w 985816"/>
                <a:gd name="connsiteY18" fmla="*/ 2763 h 118408"/>
                <a:gd name="connsiteX19" fmla="*/ 344940 w 985816"/>
                <a:gd name="connsiteY19" fmla="*/ 2763 h 118408"/>
                <a:gd name="connsiteX20" fmla="*/ 261635 w 985816"/>
                <a:gd name="connsiteY20" fmla="*/ 115847 h 118408"/>
                <a:gd name="connsiteX21" fmla="*/ 281613 w 985816"/>
                <a:gd name="connsiteY21" fmla="*/ 115847 h 118408"/>
                <a:gd name="connsiteX22" fmla="*/ 305361 w 985816"/>
                <a:gd name="connsiteY22" fmla="*/ 83053 h 118408"/>
                <a:gd name="connsiteX23" fmla="*/ 367054 w 985816"/>
                <a:gd name="connsiteY23" fmla="*/ 83053 h 118408"/>
                <a:gd name="connsiteX24" fmla="*/ 375222 w 985816"/>
                <a:gd name="connsiteY24" fmla="*/ 115847 h 118408"/>
                <a:gd name="connsiteX25" fmla="*/ 396456 w 985816"/>
                <a:gd name="connsiteY25" fmla="*/ 115847 h 118408"/>
                <a:gd name="connsiteX26" fmla="*/ 366426 w 985816"/>
                <a:gd name="connsiteY26" fmla="*/ 2763 h 118408"/>
                <a:gd name="connsiteX27" fmla="*/ 315790 w 985816"/>
                <a:gd name="connsiteY27" fmla="*/ 68101 h 118408"/>
                <a:gd name="connsiteX28" fmla="*/ 351097 w 985816"/>
                <a:gd name="connsiteY28" fmla="*/ 17841 h 118408"/>
                <a:gd name="connsiteX29" fmla="*/ 363662 w 985816"/>
                <a:gd name="connsiteY29" fmla="*/ 68101 h 118408"/>
                <a:gd name="connsiteX30" fmla="*/ 522734 w 985816"/>
                <a:gd name="connsiteY30" fmla="*/ 92351 h 118408"/>
                <a:gd name="connsiteX31" fmla="*/ 522734 w 985816"/>
                <a:gd name="connsiteY31" fmla="*/ 92351 h 118408"/>
                <a:gd name="connsiteX32" fmla="*/ 463427 w 985816"/>
                <a:gd name="connsiteY32" fmla="*/ 2763 h 118408"/>
                <a:gd name="connsiteX33" fmla="*/ 441816 w 985816"/>
                <a:gd name="connsiteY33" fmla="*/ 2763 h 118408"/>
                <a:gd name="connsiteX34" fmla="*/ 415178 w 985816"/>
                <a:gd name="connsiteY34" fmla="*/ 115847 h 118408"/>
                <a:gd name="connsiteX35" fmla="*/ 433774 w 985816"/>
                <a:gd name="connsiteY35" fmla="*/ 115847 h 118408"/>
                <a:gd name="connsiteX36" fmla="*/ 454883 w 985816"/>
                <a:gd name="connsiteY36" fmla="*/ 26259 h 118408"/>
                <a:gd name="connsiteX37" fmla="*/ 454883 w 985816"/>
                <a:gd name="connsiteY37" fmla="*/ 26259 h 118408"/>
                <a:gd name="connsiteX38" fmla="*/ 514315 w 985816"/>
                <a:gd name="connsiteY38" fmla="*/ 115847 h 118408"/>
                <a:gd name="connsiteX39" fmla="*/ 535801 w 985816"/>
                <a:gd name="connsiteY39" fmla="*/ 115847 h 118408"/>
                <a:gd name="connsiteX40" fmla="*/ 562438 w 985816"/>
                <a:gd name="connsiteY40" fmla="*/ 2763 h 118408"/>
                <a:gd name="connsiteX41" fmla="*/ 543843 w 985816"/>
                <a:gd name="connsiteY41" fmla="*/ 2763 h 118408"/>
                <a:gd name="connsiteX42" fmla="*/ 653157 w 985816"/>
                <a:gd name="connsiteY42" fmla="*/ -1 h 118408"/>
                <a:gd name="connsiteX43" fmla="*/ 573621 w 985816"/>
                <a:gd name="connsiteY43" fmla="*/ 58802 h 118408"/>
                <a:gd name="connsiteX44" fmla="*/ 625389 w 985816"/>
                <a:gd name="connsiteY44" fmla="*/ 118235 h 118408"/>
                <a:gd name="connsiteX45" fmla="*/ 698893 w 985816"/>
                <a:gd name="connsiteY45" fmla="*/ 72373 h 118408"/>
                <a:gd name="connsiteX46" fmla="*/ 680297 w 985816"/>
                <a:gd name="connsiteY46" fmla="*/ 72373 h 118408"/>
                <a:gd name="connsiteX47" fmla="*/ 629033 w 985816"/>
                <a:gd name="connsiteY47" fmla="*/ 103785 h 118408"/>
                <a:gd name="connsiteX48" fmla="*/ 591338 w 985816"/>
                <a:gd name="connsiteY48" fmla="*/ 60562 h 118408"/>
                <a:gd name="connsiteX49" fmla="*/ 650644 w 985816"/>
                <a:gd name="connsiteY49" fmla="*/ 14448 h 118408"/>
                <a:gd name="connsiteX50" fmla="*/ 686580 w 985816"/>
                <a:gd name="connsiteY50" fmla="*/ 43348 h 118408"/>
                <a:gd name="connsiteX51" fmla="*/ 706307 w 985816"/>
                <a:gd name="connsiteY51" fmla="*/ 43348 h 118408"/>
                <a:gd name="connsiteX52" fmla="*/ 653785 w 985816"/>
                <a:gd name="connsiteY52" fmla="*/ -1 h 118408"/>
                <a:gd name="connsiteX53" fmla="*/ 720631 w 985816"/>
                <a:gd name="connsiteY53" fmla="*/ 115470 h 118408"/>
                <a:gd name="connsiteX54" fmla="*/ 823160 w 985816"/>
                <a:gd name="connsiteY54" fmla="*/ 115470 h 118408"/>
                <a:gd name="connsiteX55" fmla="*/ 826553 w 985816"/>
                <a:gd name="connsiteY55" fmla="*/ 100895 h 118408"/>
                <a:gd name="connsiteX56" fmla="*/ 742745 w 985816"/>
                <a:gd name="connsiteY56" fmla="*/ 100895 h 118408"/>
                <a:gd name="connsiteX57" fmla="*/ 751289 w 985816"/>
                <a:gd name="connsiteY57" fmla="*/ 64457 h 118408"/>
                <a:gd name="connsiteX58" fmla="*/ 830950 w 985816"/>
                <a:gd name="connsiteY58" fmla="*/ 64457 h 118408"/>
                <a:gd name="connsiteX59" fmla="*/ 834343 w 985816"/>
                <a:gd name="connsiteY59" fmla="*/ 50007 h 118408"/>
                <a:gd name="connsiteX60" fmla="*/ 754681 w 985816"/>
                <a:gd name="connsiteY60" fmla="*/ 50007 h 118408"/>
                <a:gd name="connsiteX61" fmla="*/ 762472 w 985816"/>
                <a:gd name="connsiteY61" fmla="*/ 17339 h 118408"/>
                <a:gd name="connsiteX62" fmla="*/ 844520 w 985816"/>
                <a:gd name="connsiteY62" fmla="*/ 17339 h 118408"/>
                <a:gd name="connsiteX63" fmla="*/ 848038 w 985816"/>
                <a:gd name="connsiteY63" fmla="*/ 2763 h 118408"/>
                <a:gd name="connsiteX64" fmla="*/ 747519 w 985816"/>
                <a:gd name="connsiteY64" fmla="*/ 2763 h 118408"/>
                <a:gd name="connsiteX65" fmla="*/ 941772 w 985816"/>
                <a:gd name="connsiteY65" fmla="*/ 2386 h 118408"/>
                <a:gd name="connsiteX66" fmla="*/ 878320 w 985816"/>
                <a:gd name="connsiteY66" fmla="*/ 2386 h 118408"/>
                <a:gd name="connsiteX67" fmla="*/ 851682 w 985816"/>
                <a:gd name="connsiteY67" fmla="*/ 115470 h 118408"/>
                <a:gd name="connsiteX68" fmla="*/ 916266 w 985816"/>
                <a:gd name="connsiteY68" fmla="*/ 115470 h 118408"/>
                <a:gd name="connsiteX69" fmla="*/ 983614 w 985816"/>
                <a:gd name="connsiteY69" fmla="*/ 57546 h 118408"/>
                <a:gd name="connsiteX70" fmla="*/ 941772 w 985816"/>
                <a:gd name="connsiteY70" fmla="*/ 2763 h 118408"/>
                <a:gd name="connsiteX71" fmla="*/ 965018 w 985816"/>
                <a:gd name="connsiteY71" fmla="*/ 57797 h 118408"/>
                <a:gd name="connsiteX72" fmla="*/ 918779 w 985816"/>
                <a:gd name="connsiteY72" fmla="*/ 100895 h 118408"/>
                <a:gd name="connsiteX73" fmla="*/ 873671 w 985816"/>
                <a:gd name="connsiteY73" fmla="*/ 100895 h 118408"/>
                <a:gd name="connsiteX74" fmla="*/ 893523 w 985816"/>
                <a:gd name="connsiteY74" fmla="*/ 17339 h 118408"/>
                <a:gd name="connsiteX75" fmla="*/ 935113 w 985816"/>
                <a:gd name="connsiteY75" fmla="*/ 17339 h 118408"/>
                <a:gd name="connsiteX76" fmla="*/ 965018 w 985816"/>
                <a:gd name="connsiteY76" fmla="*/ 57797 h 118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85816" h="118408">
                  <a:moveTo>
                    <a:pt x="89370" y="2763"/>
                  </a:moveTo>
                  <a:lnTo>
                    <a:pt x="26546" y="2763"/>
                  </a:lnTo>
                  <a:lnTo>
                    <a:pt x="-92" y="115847"/>
                  </a:lnTo>
                  <a:lnTo>
                    <a:pt x="64492" y="115847"/>
                  </a:lnTo>
                  <a:cubicBezTo>
                    <a:pt x="102941" y="115847"/>
                    <a:pt x="124426" y="89335"/>
                    <a:pt x="131840" y="57923"/>
                  </a:cubicBezTo>
                  <a:cubicBezTo>
                    <a:pt x="139253" y="26511"/>
                    <a:pt x="127568" y="3140"/>
                    <a:pt x="89999" y="3140"/>
                  </a:cubicBezTo>
                  <a:moveTo>
                    <a:pt x="113244" y="58174"/>
                  </a:moveTo>
                  <a:cubicBezTo>
                    <a:pt x="108469" y="78278"/>
                    <a:pt x="97537" y="101272"/>
                    <a:pt x="67005" y="101272"/>
                  </a:cubicBezTo>
                  <a:lnTo>
                    <a:pt x="21897" y="101272"/>
                  </a:lnTo>
                  <a:lnTo>
                    <a:pt x="41749" y="17715"/>
                  </a:lnTo>
                  <a:lnTo>
                    <a:pt x="83339" y="17715"/>
                  </a:lnTo>
                  <a:cubicBezTo>
                    <a:pt x="115505" y="17715"/>
                    <a:pt x="117893" y="38447"/>
                    <a:pt x="113244" y="58174"/>
                  </a:cubicBezTo>
                  <a:moveTo>
                    <a:pt x="266535" y="2763"/>
                  </a:moveTo>
                  <a:lnTo>
                    <a:pt x="199565" y="98131"/>
                  </a:lnTo>
                  <a:lnTo>
                    <a:pt x="177073" y="2763"/>
                  </a:lnTo>
                  <a:lnTo>
                    <a:pt x="155964" y="2763"/>
                  </a:lnTo>
                  <a:lnTo>
                    <a:pt x="185115" y="115847"/>
                  </a:lnTo>
                  <a:lnTo>
                    <a:pt x="204967" y="115847"/>
                  </a:lnTo>
                  <a:lnTo>
                    <a:pt x="286513" y="2763"/>
                  </a:lnTo>
                  <a:close/>
                  <a:moveTo>
                    <a:pt x="344940" y="2763"/>
                  </a:moveTo>
                  <a:lnTo>
                    <a:pt x="261635" y="115847"/>
                  </a:lnTo>
                  <a:lnTo>
                    <a:pt x="281613" y="115847"/>
                  </a:lnTo>
                  <a:lnTo>
                    <a:pt x="305361" y="83053"/>
                  </a:lnTo>
                  <a:lnTo>
                    <a:pt x="367054" y="83053"/>
                  </a:lnTo>
                  <a:lnTo>
                    <a:pt x="375222" y="115847"/>
                  </a:lnTo>
                  <a:lnTo>
                    <a:pt x="396456" y="115847"/>
                  </a:lnTo>
                  <a:lnTo>
                    <a:pt x="366426" y="2763"/>
                  </a:lnTo>
                  <a:close/>
                  <a:moveTo>
                    <a:pt x="315790" y="68101"/>
                  </a:moveTo>
                  <a:lnTo>
                    <a:pt x="351097" y="17841"/>
                  </a:lnTo>
                  <a:lnTo>
                    <a:pt x="363662" y="68101"/>
                  </a:lnTo>
                  <a:close/>
                  <a:moveTo>
                    <a:pt x="522734" y="92351"/>
                  </a:moveTo>
                  <a:lnTo>
                    <a:pt x="522734" y="92351"/>
                  </a:lnTo>
                  <a:lnTo>
                    <a:pt x="463427" y="2763"/>
                  </a:lnTo>
                  <a:lnTo>
                    <a:pt x="441816" y="2763"/>
                  </a:lnTo>
                  <a:lnTo>
                    <a:pt x="415178" y="115847"/>
                  </a:lnTo>
                  <a:lnTo>
                    <a:pt x="433774" y="115847"/>
                  </a:lnTo>
                  <a:lnTo>
                    <a:pt x="454883" y="26259"/>
                  </a:lnTo>
                  <a:lnTo>
                    <a:pt x="454883" y="26259"/>
                  </a:lnTo>
                  <a:lnTo>
                    <a:pt x="514315" y="115847"/>
                  </a:lnTo>
                  <a:lnTo>
                    <a:pt x="535801" y="115847"/>
                  </a:lnTo>
                  <a:lnTo>
                    <a:pt x="562438" y="2763"/>
                  </a:lnTo>
                  <a:lnTo>
                    <a:pt x="543843" y="2763"/>
                  </a:lnTo>
                  <a:close/>
                  <a:moveTo>
                    <a:pt x="653157" y="-1"/>
                  </a:moveTo>
                  <a:cubicBezTo>
                    <a:pt x="615978" y="-1999"/>
                    <a:pt x="582605" y="22666"/>
                    <a:pt x="573621" y="58802"/>
                  </a:cubicBezTo>
                  <a:cubicBezTo>
                    <a:pt x="563318" y="102654"/>
                    <a:pt x="593851" y="118235"/>
                    <a:pt x="625389" y="118235"/>
                  </a:cubicBezTo>
                  <a:cubicBezTo>
                    <a:pt x="656977" y="119478"/>
                    <a:pt x="686127" y="101297"/>
                    <a:pt x="698893" y="72373"/>
                  </a:cubicBezTo>
                  <a:lnTo>
                    <a:pt x="680297" y="72373"/>
                  </a:lnTo>
                  <a:cubicBezTo>
                    <a:pt x="671288" y="92376"/>
                    <a:pt x="650946" y="104840"/>
                    <a:pt x="629033" y="103785"/>
                  </a:cubicBezTo>
                  <a:cubicBezTo>
                    <a:pt x="594479" y="103785"/>
                    <a:pt x="586814" y="81796"/>
                    <a:pt x="591338" y="60562"/>
                  </a:cubicBezTo>
                  <a:cubicBezTo>
                    <a:pt x="596565" y="32379"/>
                    <a:pt x="622046" y="12564"/>
                    <a:pt x="650644" y="14448"/>
                  </a:cubicBezTo>
                  <a:cubicBezTo>
                    <a:pt x="676905" y="14448"/>
                    <a:pt x="687585" y="27767"/>
                    <a:pt x="686580" y="43348"/>
                  </a:cubicBezTo>
                  <a:lnTo>
                    <a:pt x="706307" y="43348"/>
                  </a:lnTo>
                  <a:cubicBezTo>
                    <a:pt x="711207" y="9548"/>
                    <a:pt x="678915" y="-1"/>
                    <a:pt x="653785" y="-1"/>
                  </a:cubicBezTo>
                  <a:moveTo>
                    <a:pt x="720631" y="115470"/>
                  </a:moveTo>
                  <a:lnTo>
                    <a:pt x="823160" y="115470"/>
                  </a:lnTo>
                  <a:lnTo>
                    <a:pt x="826553" y="100895"/>
                  </a:lnTo>
                  <a:lnTo>
                    <a:pt x="742745" y="100895"/>
                  </a:lnTo>
                  <a:lnTo>
                    <a:pt x="751289" y="64457"/>
                  </a:lnTo>
                  <a:lnTo>
                    <a:pt x="830950" y="64457"/>
                  </a:lnTo>
                  <a:lnTo>
                    <a:pt x="834343" y="50007"/>
                  </a:lnTo>
                  <a:lnTo>
                    <a:pt x="754681" y="50007"/>
                  </a:lnTo>
                  <a:lnTo>
                    <a:pt x="762472" y="17339"/>
                  </a:lnTo>
                  <a:lnTo>
                    <a:pt x="844520" y="17339"/>
                  </a:lnTo>
                  <a:lnTo>
                    <a:pt x="848038" y="2763"/>
                  </a:lnTo>
                  <a:lnTo>
                    <a:pt x="747519" y="2763"/>
                  </a:lnTo>
                  <a:close/>
                  <a:moveTo>
                    <a:pt x="941772" y="2386"/>
                  </a:moveTo>
                  <a:lnTo>
                    <a:pt x="878320" y="2386"/>
                  </a:lnTo>
                  <a:lnTo>
                    <a:pt x="851682" y="115470"/>
                  </a:lnTo>
                  <a:lnTo>
                    <a:pt x="916266" y="115470"/>
                  </a:lnTo>
                  <a:cubicBezTo>
                    <a:pt x="954714" y="115470"/>
                    <a:pt x="976201" y="88958"/>
                    <a:pt x="983614" y="57546"/>
                  </a:cubicBezTo>
                  <a:cubicBezTo>
                    <a:pt x="991027" y="26134"/>
                    <a:pt x="979342" y="2763"/>
                    <a:pt x="941772" y="2763"/>
                  </a:cubicBezTo>
                  <a:moveTo>
                    <a:pt x="965018" y="57797"/>
                  </a:moveTo>
                  <a:cubicBezTo>
                    <a:pt x="960243" y="77901"/>
                    <a:pt x="949311" y="100895"/>
                    <a:pt x="918779" y="100895"/>
                  </a:cubicBezTo>
                  <a:lnTo>
                    <a:pt x="873671" y="100895"/>
                  </a:lnTo>
                  <a:lnTo>
                    <a:pt x="893523" y="17339"/>
                  </a:lnTo>
                  <a:lnTo>
                    <a:pt x="935113" y="17339"/>
                  </a:lnTo>
                  <a:cubicBezTo>
                    <a:pt x="967405" y="17339"/>
                    <a:pt x="969667" y="38071"/>
                    <a:pt x="965018" y="57797"/>
                  </a:cubicBezTo>
                </a:path>
              </a:pathLst>
            </a:custGeom>
            <a:solidFill>
              <a:schemeClr val="bg1"/>
            </a:solidFill>
            <a:ln w="125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/>
              <a:endParaRPr lang="en-US" sz="146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0879BA9-7E82-4B7B-9CA3-70B6A2ADCE39}"/>
                </a:ext>
              </a:extLst>
            </p:cNvPr>
            <p:cNvSpPr/>
            <p:nvPr/>
          </p:nvSpPr>
          <p:spPr>
            <a:xfrm>
              <a:off x="6496443" y="2632102"/>
              <a:ext cx="134569" cy="113083"/>
            </a:xfrm>
            <a:custGeom>
              <a:avLst/>
              <a:gdLst>
                <a:gd name="connsiteX0" fmla="*/ 104448 w 134569"/>
                <a:gd name="connsiteY0" fmla="*/ -114 h 113083"/>
                <a:gd name="connsiteX1" fmla="*/ 83214 w 134569"/>
                <a:gd name="connsiteY1" fmla="*/ -114 h 113083"/>
                <a:gd name="connsiteX2" fmla="*/ -92 w 134569"/>
                <a:gd name="connsiteY2" fmla="*/ 112970 h 113083"/>
                <a:gd name="connsiteX3" fmla="*/ 19886 w 134569"/>
                <a:gd name="connsiteY3" fmla="*/ 112970 h 113083"/>
                <a:gd name="connsiteX4" fmla="*/ 43634 w 134569"/>
                <a:gd name="connsiteY4" fmla="*/ 80175 h 113083"/>
                <a:gd name="connsiteX5" fmla="*/ 105076 w 134569"/>
                <a:gd name="connsiteY5" fmla="*/ 80175 h 113083"/>
                <a:gd name="connsiteX6" fmla="*/ 113244 w 134569"/>
                <a:gd name="connsiteY6" fmla="*/ 112970 h 113083"/>
                <a:gd name="connsiteX7" fmla="*/ 134478 w 134569"/>
                <a:gd name="connsiteY7" fmla="*/ 112970 h 113083"/>
                <a:gd name="connsiteX8" fmla="*/ 54189 w 134569"/>
                <a:gd name="connsiteY8" fmla="*/ 65223 h 113083"/>
                <a:gd name="connsiteX9" fmla="*/ 89496 w 134569"/>
                <a:gd name="connsiteY9" fmla="*/ 14964 h 113083"/>
                <a:gd name="connsiteX10" fmla="*/ 102061 w 134569"/>
                <a:gd name="connsiteY10" fmla="*/ 65223 h 1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4569" h="113083">
                  <a:moveTo>
                    <a:pt x="104448" y="-114"/>
                  </a:moveTo>
                  <a:lnTo>
                    <a:pt x="83214" y="-114"/>
                  </a:lnTo>
                  <a:lnTo>
                    <a:pt x="-92" y="112970"/>
                  </a:lnTo>
                  <a:lnTo>
                    <a:pt x="19886" y="112970"/>
                  </a:lnTo>
                  <a:lnTo>
                    <a:pt x="43634" y="80175"/>
                  </a:lnTo>
                  <a:lnTo>
                    <a:pt x="105076" y="80175"/>
                  </a:lnTo>
                  <a:lnTo>
                    <a:pt x="113244" y="112970"/>
                  </a:lnTo>
                  <a:lnTo>
                    <a:pt x="134478" y="112970"/>
                  </a:lnTo>
                  <a:close/>
                  <a:moveTo>
                    <a:pt x="54189" y="65223"/>
                  </a:moveTo>
                  <a:lnTo>
                    <a:pt x="89496" y="14964"/>
                  </a:lnTo>
                  <a:lnTo>
                    <a:pt x="102061" y="65223"/>
                  </a:lnTo>
                  <a:close/>
                </a:path>
              </a:pathLst>
            </a:custGeom>
            <a:solidFill>
              <a:schemeClr val="bg1"/>
            </a:solidFill>
            <a:ln w="125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/>
              <a:endParaRPr lang="en-US" sz="146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DF2683B-EE85-411B-9851-25391BC408A1}"/>
                </a:ext>
              </a:extLst>
            </p:cNvPr>
            <p:cNvSpPr/>
            <p:nvPr/>
          </p:nvSpPr>
          <p:spPr>
            <a:xfrm>
              <a:off x="5654218" y="2173638"/>
              <a:ext cx="999662" cy="280168"/>
            </a:xfrm>
            <a:custGeom>
              <a:avLst/>
              <a:gdLst>
                <a:gd name="connsiteX0" fmla="*/ -92 w 999662"/>
                <a:gd name="connsiteY0" fmla="*/ 280054 h 280168"/>
                <a:gd name="connsiteX1" fmla="*/ 832207 w 999662"/>
                <a:gd name="connsiteY1" fmla="*/ 278044 h 280168"/>
                <a:gd name="connsiteX2" fmla="*/ 999571 w 999662"/>
                <a:gd name="connsiteY2" fmla="*/ 167347 h 280168"/>
                <a:gd name="connsiteX3" fmla="*/ -92 w 999662"/>
                <a:gd name="connsiteY3" fmla="*/ 280054 h 280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9662" h="280168">
                  <a:moveTo>
                    <a:pt x="-92" y="280054"/>
                  </a:moveTo>
                  <a:cubicBezTo>
                    <a:pt x="422340" y="-91489"/>
                    <a:pt x="800795" y="249145"/>
                    <a:pt x="832207" y="278044"/>
                  </a:cubicBezTo>
                  <a:cubicBezTo>
                    <a:pt x="832207" y="278044"/>
                    <a:pt x="947175" y="194613"/>
                    <a:pt x="999571" y="167347"/>
                  </a:cubicBezTo>
                  <a:cubicBezTo>
                    <a:pt x="615588" y="-135215"/>
                    <a:pt x="288901" y="14935"/>
                    <a:pt x="-92" y="280054"/>
                  </a:cubicBezTo>
                </a:path>
              </a:pathLst>
            </a:custGeom>
            <a:solidFill>
              <a:schemeClr val="bg1"/>
            </a:solidFill>
            <a:ln w="125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/>
              <a:endParaRPr lang="en-US" sz="146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CE459D7-1AAD-4BAE-8C91-1CF9234FF539}"/>
                </a:ext>
              </a:extLst>
            </p:cNvPr>
            <p:cNvSpPr/>
            <p:nvPr/>
          </p:nvSpPr>
          <p:spPr>
            <a:xfrm>
              <a:off x="5691913" y="1933401"/>
              <a:ext cx="1299712" cy="382820"/>
            </a:xfrm>
            <a:custGeom>
              <a:avLst/>
              <a:gdLst>
                <a:gd name="connsiteX0" fmla="*/ -92 w 1299712"/>
                <a:gd name="connsiteY0" fmla="*/ 382706 h 382820"/>
                <a:gd name="connsiteX1" fmla="*/ 1049328 w 1299712"/>
                <a:gd name="connsiteY1" fmla="*/ 355943 h 382820"/>
                <a:gd name="connsiteX2" fmla="*/ 1299621 w 1299712"/>
                <a:gd name="connsiteY2" fmla="*/ 188578 h 382820"/>
                <a:gd name="connsiteX3" fmla="*/ -92 w 1299712"/>
                <a:gd name="connsiteY3" fmla="*/ 382706 h 38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9712" h="382820">
                  <a:moveTo>
                    <a:pt x="-92" y="382706"/>
                  </a:moveTo>
                  <a:cubicBezTo>
                    <a:pt x="510294" y="-121272"/>
                    <a:pt x="1044805" y="352424"/>
                    <a:pt x="1049328" y="355943"/>
                  </a:cubicBezTo>
                  <a:cubicBezTo>
                    <a:pt x="1049328" y="355943"/>
                    <a:pt x="1246848" y="217101"/>
                    <a:pt x="1299621" y="188578"/>
                  </a:cubicBezTo>
                  <a:cubicBezTo>
                    <a:pt x="902193" y="-97021"/>
                    <a:pt x="422717" y="-78425"/>
                    <a:pt x="-92" y="382706"/>
                  </a:cubicBezTo>
                </a:path>
              </a:pathLst>
            </a:custGeom>
            <a:solidFill>
              <a:schemeClr val="bg1"/>
            </a:solidFill>
            <a:ln w="125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/>
              <a:endParaRPr lang="en-US" sz="146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CD6EFD2-87BF-42C5-AEE9-AA1808AF8827}"/>
                </a:ext>
              </a:extLst>
            </p:cNvPr>
            <p:cNvSpPr/>
            <p:nvPr/>
          </p:nvSpPr>
          <p:spPr>
            <a:xfrm>
              <a:off x="5680981" y="1621652"/>
              <a:ext cx="1782580" cy="568920"/>
            </a:xfrm>
            <a:custGeom>
              <a:avLst/>
              <a:gdLst>
                <a:gd name="connsiteX0" fmla="*/ 411 w 1782580"/>
                <a:gd name="connsiteY0" fmla="*/ 568806 h 568920"/>
                <a:gd name="connsiteX1" fmla="*/ 1395114 w 1782580"/>
                <a:gd name="connsiteY1" fmla="*/ 449691 h 568920"/>
                <a:gd name="connsiteX2" fmla="*/ 1782489 w 1782580"/>
                <a:gd name="connsiteY2" fmla="*/ 208445 h 568920"/>
                <a:gd name="connsiteX3" fmla="*/ -92 w 1782580"/>
                <a:gd name="connsiteY3" fmla="*/ 568806 h 568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2580" h="568920">
                  <a:moveTo>
                    <a:pt x="411" y="568806"/>
                  </a:moveTo>
                  <a:cubicBezTo>
                    <a:pt x="680172" y="-128922"/>
                    <a:pt x="1395114" y="449691"/>
                    <a:pt x="1395114" y="449691"/>
                  </a:cubicBezTo>
                  <a:lnTo>
                    <a:pt x="1782489" y="208445"/>
                  </a:lnTo>
                  <a:cubicBezTo>
                    <a:pt x="1267329" y="-145508"/>
                    <a:pt x="477123" y="-63961"/>
                    <a:pt x="-92" y="568806"/>
                  </a:cubicBezTo>
                </a:path>
              </a:pathLst>
            </a:custGeom>
            <a:solidFill>
              <a:schemeClr val="bg1"/>
            </a:solidFill>
            <a:ln w="125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/>
              <a:endParaRPr lang="en-US" sz="1463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C098F0E8-1278-4FC6-815E-BE8F770F94A4}"/>
              </a:ext>
            </a:extLst>
          </p:cNvPr>
          <p:cNvSpPr/>
          <p:nvPr/>
        </p:nvSpPr>
        <p:spPr>
          <a:xfrm>
            <a:off x="7716908" y="641461"/>
            <a:ext cx="4475092" cy="557546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3407">
              <a:defRPr/>
            </a:pPr>
            <a:endParaRPr lang="en-US" sz="867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447D2CE-13E0-4930-8471-26F375EB229B}"/>
              </a:ext>
            </a:extLst>
          </p:cNvPr>
          <p:cNvSpPr txBox="1"/>
          <p:nvPr/>
        </p:nvSpPr>
        <p:spPr>
          <a:xfrm>
            <a:off x="4759804" y="1220514"/>
            <a:ext cx="3408858" cy="42723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85000"/>
              </a:lnSpc>
            </a:pPr>
            <a:r>
              <a:rPr lang="en-US" sz="1626" b="1">
                <a:solidFill>
                  <a:srgbClr val="4F81BD"/>
                </a:solidFill>
                <a:latin typeface="Calibri"/>
                <a:cs typeface="Microsoft Sans Serif" panose="020B0604020202020204" pitchFamily="34" charset="0"/>
              </a:rPr>
              <a:t>Strengthen the end-to-end</a:t>
            </a:r>
            <a:br>
              <a:rPr lang="en-US" sz="1626" b="1">
                <a:solidFill>
                  <a:srgbClr val="4F81BD"/>
                </a:solidFill>
                <a:latin typeface="Calibri"/>
                <a:cs typeface="Microsoft Sans Serif" panose="020B0604020202020204" pitchFamily="34" charset="0"/>
              </a:rPr>
            </a:br>
            <a:r>
              <a:rPr lang="en-US" sz="1626" b="1">
                <a:solidFill>
                  <a:srgbClr val="4F81BD"/>
                </a:solidFill>
                <a:latin typeface="Calibri"/>
                <a:cs typeface="Microsoft Sans Serif" panose="020B0604020202020204" pitchFamily="34" charset="0"/>
              </a:rPr>
              <a:t>5G system foundation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66A39BAF-AC11-4DE7-B063-130A0912C8AC}"/>
              </a:ext>
            </a:extLst>
          </p:cNvPr>
          <p:cNvSpPr txBox="1"/>
          <p:nvPr/>
        </p:nvSpPr>
        <p:spPr>
          <a:xfrm>
            <a:off x="8145496" y="1220514"/>
            <a:ext cx="2906811" cy="42723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85000"/>
              </a:lnSpc>
            </a:pPr>
            <a:r>
              <a:rPr lang="en-US" sz="1626" b="1">
                <a:solidFill>
                  <a:srgbClr val="4F81BD"/>
                </a:solidFill>
                <a:latin typeface="Calibri"/>
                <a:cs typeface="Microsoft Sans Serif" panose="020B0604020202020204" pitchFamily="34" charset="0"/>
              </a:rPr>
              <a:t>Proliferate 5G to virtually</a:t>
            </a:r>
            <a:br>
              <a:rPr lang="en-US" sz="1626" b="1">
                <a:solidFill>
                  <a:srgbClr val="4F81BD"/>
                </a:solidFill>
                <a:latin typeface="Calibri"/>
                <a:cs typeface="Microsoft Sans Serif" panose="020B0604020202020204" pitchFamily="34" charset="0"/>
              </a:rPr>
            </a:br>
            <a:r>
              <a:rPr lang="en-US" sz="1626" b="1">
                <a:solidFill>
                  <a:srgbClr val="4F81BD"/>
                </a:solidFill>
                <a:latin typeface="Calibri"/>
                <a:cs typeface="Microsoft Sans Serif" panose="020B0604020202020204" pitchFamily="34" charset="0"/>
              </a:rPr>
              <a:t>all devices and use cases</a:t>
            </a:r>
          </a:p>
        </p:txBody>
      </p:sp>
      <p:sp>
        <p:nvSpPr>
          <p:cNvPr id="453" name="TextBox 452">
            <a:extLst>
              <a:ext uri="{FF2B5EF4-FFF2-40B4-BE49-F238E27FC236}">
                <a16:creationId xmlns:a16="http://schemas.microsoft.com/office/drawing/2014/main" id="{3B391207-AB0F-89BA-EA30-63E4361C4902}"/>
              </a:ext>
            </a:extLst>
          </p:cNvPr>
          <p:cNvSpPr txBox="1"/>
          <p:nvPr/>
        </p:nvSpPr>
        <p:spPr>
          <a:xfrm>
            <a:off x="4780766" y="2606189"/>
            <a:ext cx="970321" cy="27033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90000"/>
              </a:lnSpc>
            </a:pPr>
            <a:r>
              <a:rPr lang="en-US" sz="976">
                <a:solidFill>
                  <a:srgbClr val="0E283C"/>
                </a:solidFill>
                <a:latin typeface="Calibri"/>
                <a:cs typeface="Microsoft Sans Serif" panose="020B0604020202020204" pitchFamily="34" charset="0"/>
              </a:rPr>
              <a:t>Advanced</a:t>
            </a:r>
            <a:br>
              <a:rPr lang="en-US" sz="976">
                <a:solidFill>
                  <a:srgbClr val="0E283C"/>
                </a:solidFill>
                <a:latin typeface="Calibri"/>
                <a:cs typeface="Microsoft Sans Serif" panose="020B0604020202020204" pitchFamily="34" charset="0"/>
              </a:rPr>
            </a:br>
            <a:r>
              <a:rPr lang="en-US" sz="976">
                <a:solidFill>
                  <a:srgbClr val="0E283C"/>
                </a:solidFill>
                <a:latin typeface="Calibri"/>
                <a:cs typeface="Microsoft Sans Serif" panose="020B0604020202020204" pitchFamily="34" charset="0"/>
              </a:rPr>
              <a:t>DL/UL MIMO</a:t>
            </a:r>
          </a:p>
        </p:txBody>
      </p:sp>
      <p:sp>
        <p:nvSpPr>
          <p:cNvPr id="454" name="TextBox 453">
            <a:extLst>
              <a:ext uri="{FF2B5EF4-FFF2-40B4-BE49-F238E27FC236}">
                <a16:creationId xmlns:a16="http://schemas.microsoft.com/office/drawing/2014/main" id="{3974931C-4C89-DB5E-4CDB-AF4FC296E14D}"/>
              </a:ext>
            </a:extLst>
          </p:cNvPr>
          <p:cNvSpPr txBox="1"/>
          <p:nvPr/>
        </p:nvSpPr>
        <p:spPr>
          <a:xfrm>
            <a:off x="6484038" y="2606190"/>
            <a:ext cx="787747" cy="27033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90000"/>
              </a:lnSpc>
            </a:pPr>
            <a:r>
              <a:rPr lang="en-US" sz="976">
                <a:solidFill>
                  <a:srgbClr val="0E283C"/>
                </a:solidFill>
                <a:latin typeface="Calibri"/>
                <a:cs typeface="Microsoft Sans Serif" panose="020B0604020202020204" pitchFamily="34" charset="0"/>
              </a:rPr>
              <a:t>Enhanced mobility</a:t>
            </a:r>
          </a:p>
        </p:txBody>
      </p:sp>
      <p:sp>
        <p:nvSpPr>
          <p:cNvPr id="455" name="TextBox 454">
            <a:extLst>
              <a:ext uri="{FF2B5EF4-FFF2-40B4-BE49-F238E27FC236}">
                <a16:creationId xmlns:a16="http://schemas.microsoft.com/office/drawing/2014/main" id="{1F1DD6B1-447E-F0FE-F547-A36B30FC3217}"/>
              </a:ext>
            </a:extLst>
          </p:cNvPr>
          <p:cNvSpPr txBox="1"/>
          <p:nvPr/>
        </p:nvSpPr>
        <p:spPr>
          <a:xfrm>
            <a:off x="4780766" y="3953064"/>
            <a:ext cx="1061651" cy="27033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90000"/>
              </a:lnSpc>
            </a:pPr>
            <a:r>
              <a:rPr lang="en-US" sz="976">
                <a:solidFill>
                  <a:srgbClr val="0E283C"/>
                </a:solidFill>
                <a:latin typeface="Calibri"/>
                <a:cs typeface="Microsoft Sans Serif" panose="020B0604020202020204" pitchFamily="34" charset="0"/>
              </a:rPr>
              <a:t>Mobile IAB,</a:t>
            </a:r>
            <a:br>
              <a:rPr lang="en-US" sz="976">
                <a:solidFill>
                  <a:srgbClr val="0E283C"/>
                </a:solidFill>
                <a:latin typeface="Calibri"/>
                <a:cs typeface="Microsoft Sans Serif" panose="020B0604020202020204" pitchFamily="34" charset="0"/>
              </a:rPr>
            </a:br>
            <a:r>
              <a:rPr lang="en-US" sz="976">
                <a:solidFill>
                  <a:srgbClr val="0E283C"/>
                </a:solidFill>
                <a:latin typeface="Calibri"/>
                <a:cs typeface="Microsoft Sans Serif" panose="020B0604020202020204" pitchFamily="34" charset="0"/>
              </a:rPr>
              <a:t>smart repeater</a:t>
            </a:r>
          </a:p>
        </p:txBody>
      </p:sp>
      <p:sp>
        <p:nvSpPr>
          <p:cNvPr id="456" name="TextBox 455">
            <a:extLst>
              <a:ext uri="{FF2B5EF4-FFF2-40B4-BE49-F238E27FC236}">
                <a16:creationId xmlns:a16="http://schemas.microsoft.com/office/drawing/2014/main" id="{3ABC7A28-E0D0-EF17-3EBF-9D8EA598B499}"/>
              </a:ext>
            </a:extLst>
          </p:cNvPr>
          <p:cNvSpPr txBox="1"/>
          <p:nvPr/>
        </p:nvSpPr>
        <p:spPr>
          <a:xfrm>
            <a:off x="4780767" y="5440416"/>
            <a:ext cx="1113755" cy="27033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90000"/>
              </a:lnSpc>
            </a:pPr>
            <a:r>
              <a:rPr lang="en-US" sz="976">
                <a:solidFill>
                  <a:srgbClr val="0E283C"/>
                </a:solidFill>
                <a:latin typeface="Calibri"/>
                <a:cs typeface="Microsoft Sans Serif" panose="020B0604020202020204" pitchFamily="34" charset="0"/>
              </a:rPr>
              <a:t>AI/ML data-driven designs</a:t>
            </a:r>
          </a:p>
        </p:txBody>
      </p:sp>
      <p:sp>
        <p:nvSpPr>
          <p:cNvPr id="457" name="TextBox 456">
            <a:extLst>
              <a:ext uri="{FF2B5EF4-FFF2-40B4-BE49-F238E27FC236}">
                <a16:creationId xmlns:a16="http://schemas.microsoft.com/office/drawing/2014/main" id="{BFDC6B8B-46EB-8164-A931-672D6CBA8061}"/>
              </a:ext>
            </a:extLst>
          </p:cNvPr>
          <p:cNvSpPr txBox="1"/>
          <p:nvPr/>
        </p:nvSpPr>
        <p:spPr>
          <a:xfrm>
            <a:off x="6484039" y="5440416"/>
            <a:ext cx="740034" cy="27033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90000"/>
              </a:lnSpc>
            </a:pPr>
            <a:r>
              <a:rPr lang="en-US" sz="976">
                <a:solidFill>
                  <a:srgbClr val="0E283C"/>
                </a:solidFill>
                <a:latin typeface="Calibri"/>
                <a:cs typeface="Microsoft Sans Serif" panose="020B0604020202020204" pitchFamily="34" charset="0"/>
              </a:rPr>
              <a:t>Green networks</a:t>
            </a:r>
          </a:p>
        </p:txBody>
      </p:sp>
      <p:sp>
        <p:nvSpPr>
          <p:cNvPr id="458" name="TextBox 457">
            <a:extLst>
              <a:ext uri="{FF2B5EF4-FFF2-40B4-BE49-F238E27FC236}">
                <a16:creationId xmlns:a16="http://schemas.microsoft.com/office/drawing/2014/main" id="{8369632F-BC55-05A4-AAA3-400C067FB1CA}"/>
              </a:ext>
            </a:extLst>
          </p:cNvPr>
          <p:cNvSpPr txBox="1"/>
          <p:nvPr/>
        </p:nvSpPr>
        <p:spPr>
          <a:xfrm>
            <a:off x="6484039" y="3953064"/>
            <a:ext cx="825849" cy="27033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90000"/>
              </a:lnSpc>
            </a:pPr>
            <a:r>
              <a:rPr lang="en-US" sz="976">
                <a:solidFill>
                  <a:srgbClr val="0E283C"/>
                </a:solidFill>
                <a:latin typeface="Calibri"/>
                <a:cs typeface="Microsoft Sans Serif" panose="020B0604020202020204" pitchFamily="34" charset="0"/>
              </a:rPr>
              <a:t>Evolved duplexing</a:t>
            </a:r>
          </a:p>
        </p:txBody>
      </p:sp>
      <p:grpSp>
        <p:nvGrpSpPr>
          <p:cNvPr id="459" name="Group 458">
            <a:extLst>
              <a:ext uri="{FF2B5EF4-FFF2-40B4-BE49-F238E27FC236}">
                <a16:creationId xmlns:a16="http://schemas.microsoft.com/office/drawing/2014/main" id="{A2D53D0B-0070-886B-8887-07D7EF3CD00B}"/>
              </a:ext>
            </a:extLst>
          </p:cNvPr>
          <p:cNvGrpSpPr/>
          <p:nvPr/>
        </p:nvGrpSpPr>
        <p:grpSpPr>
          <a:xfrm>
            <a:off x="6484038" y="3282740"/>
            <a:ext cx="363674" cy="616904"/>
            <a:chOff x="5666613" y="2260997"/>
            <a:chExt cx="588785" cy="998764"/>
          </a:xfrm>
        </p:grpSpPr>
        <p:grpSp>
          <p:nvGrpSpPr>
            <p:cNvPr id="460" name="Group 459">
              <a:extLst>
                <a:ext uri="{FF2B5EF4-FFF2-40B4-BE49-F238E27FC236}">
                  <a16:creationId xmlns:a16="http://schemas.microsoft.com/office/drawing/2014/main" id="{5C8EAB13-68D3-C5F3-A88D-DA9C61F36A88}"/>
                </a:ext>
              </a:extLst>
            </p:cNvPr>
            <p:cNvGrpSpPr/>
            <p:nvPr/>
          </p:nvGrpSpPr>
          <p:grpSpPr>
            <a:xfrm>
              <a:off x="5683439" y="2260997"/>
              <a:ext cx="564752" cy="561286"/>
              <a:chOff x="4197925" y="1116013"/>
              <a:chExt cx="4654550" cy="4625975"/>
            </a:xfrm>
          </p:grpSpPr>
          <p:sp>
            <p:nvSpPr>
              <p:cNvPr id="464" name="Oval 5">
                <a:extLst>
                  <a:ext uri="{FF2B5EF4-FFF2-40B4-BE49-F238E27FC236}">
                    <a16:creationId xmlns:a16="http://schemas.microsoft.com/office/drawing/2014/main" id="{E144711A-AF8D-6DAE-D03F-313E0C5816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2315" y="1925641"/>
                <a:ext cx="3013071" cy="2995618"/>
              </a:xfrm>
              <a:prstGeom prst="ellipse">
                <a:avLst/>
              </a:prstGeom>
              <a:solidFill>
                <a:srgbClr val="7BA0FF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465" name="Freeform 6">
                <a:extLst>
                  <a:ext uri="{FF2B5EF4-FFF2-40B4-BE49-F238E27FC236}">
                    <a16:creationId xmlns:a16="http://schemas.microsoft.com/office/drawing/2014/main" id="{52C36126-5A23-A392-FAF7-D1C2810E58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97925" y="1116013"/>
                <a:ext cx="4654550" cy="4625975"/>
              </a:xfrm>
              <a:custGeom>
                <a:avLst/>
                <a:gdLst>
                  <a:gd name="T0" fmla="*/ 4000 w 8000"/>
                  <a:gd name="T1" fmla="*/ 7974 h 7974"/>
                  <a:gd name="T2" fmla="*/ 2443 w 8000"/>
                  <a:gd name="T3" fmla="*/ 7661 h 7974"/>
                  <a:gd name="T4" fmla="*/ 1172 w 8000"/>
                  <a:gd name="T5" fmla="*/ 6807 h 7974"/>
                  <a:gd name="T6" fmla="*/ 315 w 8000"/>
                  <a:gd name="T7" fmla="*/ 5539 h 7974"/>
                  <a:gd name="T8" fmla="*/ 0 w 8000"/>
                  <a:gd name="T9" fmla="*/ 3987 h 7974"/>
                  <a:gd name="T10" fmla="*/ 315 w 8000"/>
                  <a:gd name="T11" fmla="*/ 2435 h 7974"/>
                  <a:gd name="T12" fmla="*/ 1172 w 8000"/>
                  <a:gd name="T13" fmla="*/ 1168 h 7974"/>
                  <a:gd name="T14" fmla="*/ 2443 w 8000"/>
                  <a:gd name="T15" fmla="*/ 313 h 7974"/>
                  <a:gd name="T16" fmla="*/ 4000 w 8000"/>
                  <a:gd name="T17" fmla="*/ 0 h 7974"/>
                  <a:gd name="T18" fmla="*/ 5557 w 8000"/>
                  <a:gd name="T19" fmla="*/ 313 h 7974"/>
                  <a:gd name="T20" fmla="*/ 6829 w 8000"/>
                  <a:gd name="T21" fmla="*/ 1168 h 7974"/>
                  <a:gd name="T22" fmla="*/ 7686 w 8000"/>
                  <a:gd name="T23" fmla="*/ 2435 h 7974"/>
                  <a:gd name="T24" fmla="*/ 8000 w 8000"/>
                  <a:gd name="T25" fmla="*/ 3987 h 7974"/>
                  <a:gd name="T26" fmla="*/ 7686 w 8000"/>
                  <a:gd name="T27" fmla="*/ 5539 h 7974"/>
                  <a:gd name="T28" fmla="*/ 6829 w 8000"/>
                  <a:gd name="T29" fmla="*/ 6807 h 7974"/>
                  <a:gd name="T30" fmla="*/ 5557 w 8000"/>
                  <a:gd name="T31" fmla="*/ 7661 h 7974"/>
                  <a:gd name="T32" fmla="*/ 4000 w 8000"/>
                  <a:gd name="T33" fmla="*/ 7974 h 7974"/>
                  <a:gd name="T34" fmla="*/ 4000 w 8000"/>
                  <a:gd name="T35" fmla="*/ 121 h 7974"/>
                  <a:gd name="T36" fmla="*/ 122 w 8000"/>
                  <a:gd name="T37" fmla="*/ 3987 h 7974"/>
                  <a:gd name="T38" fmla="*/ 4000 w 8000"/>
                  <a:gd name="T39" fmla="*/ 7853 h 7974"/>
                  <a:gd name="T40" fmla="*/ 7879 w 8000"/>
                  <a:gd name="T41" fmla="*/ 3987 h 7974"/>
                  <a:gd name="T42" fmla="*/ 4000 w 8000"/>
                  <a:gd name="T43" fmla="*/ 121 h 79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000" h="7974">
                    <a:moveTo>
                      <a:pt x="4000" y="7974"/>
                    </a:moveTo>
                    <a:cubicBezTo>
                      <a:pt x="3460" y="7974"/>
                      <a:pt x="2937" y="7869"/>
                      <a:pt x="2443" y="7661"/>
                    </a:cubicBezTo>
                    <a:cubicBezTo>
                      <a:pt x="1967" y="7460"/>
                      <a:pt x="1539" y="7173"/>
                      <a:pt x="1172" y="6807"/>
                    </a:cubicBezTo>
                    <a:cubicBezTo>
                      <a:pt x="805" y="6440"/>
                      <a:pt x="516" y="6014"/>
                      <a:pt x="315" y="5539"/>
                    </a:cubicBezTo>
                    <a:cubicBezTo>
                      <a:pt x="106" y="5048"/>
                      <a:pt x="0" y="4525"/>
                      <a:pt x="0" y="3987"/>
                    </a:cubicBezTo>
                    <a:cubicBezTo>
                      <a:pt x="0" y="3449"/>
                      <a:pt x="106" y="2927"/>
                      <a:pt x="315" y="2435"/>
                    </a:cubicBezTo>
                    <a:cubicBezTo>
                      <a:pt x="516" y="1960"/>
                      <a:pt x="805" y="1534"/>
                      <a:pt x="1172" y="1168"/>
                    </a:cubicBezTo>
                    <a:cubicBezTo>
                      <a:pt x="1539" y="802"/>
                      <a:pt x="1967" y="514"/>
                      <a:pt x="2443" y="313"/>
                    </a:cubicBezTo>
                    <a:cubicBezTo>
                      <a:pt x="2937" y="105"/>
                      <a:pt x="3460" y="0"/>
                      <a:pt x="4000" y="0"/>
                    </a:cubicBezTo>
                    <a:cubicBezTo>
                      <a:pt x="4540" y="0"/>
                      <a:pt x="5064" y="105"/>
                      <a:pt x="5557" y="313"/>
                    </a:cubicBezTo>
                    <a:cubicBezTo>
                      <a:pt x="6034" y="514"/>
                      <a:pt x="6461" y="802"/>
                      <a:pt x="6829" y="1168"/>
                    </a:cubicBezTo>
                    <a:cubicBezTo>
                      <a:pt x="7196" y="1534"/>
                      <a:pt x="7484" y="1960"/>
                      <a:pt x="7686" y="2435"/>
                    </a:cubicBezTo>
                    <a:cubicBezTo>
                      <a:pt x="7895" y="2927"/>
                      <a:pt x="8000" y="3449"/>
                      <a:pt x="8000" y="3987"/>
                    </a:cubicBezTo>
                    <a:cubicBezTo>
                      <a:pt x="8000" y="4525"/>
                      <a:pt x="7895" y="5048"/>
                      <a:pt x="7686" y="5539"/>
                    </a:cubicBezTo>
                    <a:cubicBezTo>
                      <a:pt x="7484" y="6014"/>
                      <a:pt x="7196" y="6440"/>
                      <a:pt x="6829" y="6807"/>
                    </a:cubicBezTo>
                    <a:cubicBezTo>
                      <a:pt x="6461" y="7173"/>
                      <a:pt x="6034" y="7460"/>
                      <a:pt x="5557" y="7661"/>
                    </a:cubicBezTo>
                    <a:cubicBezTo>
                      <a:pt x="5064" y="7869"/>
                      <a:pt x="4540" y="7974"/>
                      <a:pt x="4000" y="7974"/>
                    </a:cubicBezTo>
                    <a:close/>
                    <a:moveTo>
                      <a:pt x="4000" y="121"/>
                    </a:moveTo>
                    <a:cubicBezTo>
                      <a:pt x="1862" y="121"/>
                      <a:pt x="122" y="1856"/>
                      <a:pt x="122" y="3987"/>
                    </a:cubicBezTo>
                    <a:cubicBezTo>
                      <a:pt x="122" y="6119"/>
                      <a:pt x="1862" y="7853"/>
                      <a:pt x="4000" y="7853"/>
                    </a:cubicBezTo>
                    <a:cubicBezTo>
                      <a:pt x="6139" y="7853"/>
                      <a:pt x="7879" y="6119"/>
                      <a:pt x="7879" y="3987"/>
                    </a:cubicBezTo>
                    <a:cubicBezTo>
                      <a:pt x="7879" y="1856"/>
                      <a:pt x="6139" y="121"/>
                      <a:pt x="4000" y="121"/>
                    </a:cubicBezTo>
                    <a:close/>
                  </a:path>
                </a:pathLst>
              </a:custGeom>
              <a:solidFill>
                <a:srgbClr val="7BA0FF"/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466" name="Oval 7">
                <a:extLst>
                  <a:ext uri="{FF2B5EF4-FFF2-40B4-BE49-F238E27FC236}">
                    <a16:creationId xmlns:a16="http://schemas.microsoft.com/office/drawing/2014/main" id="{8A9960CC-AD15-D0CE-8BCF-454D483B3C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85428" y="2667002"/>
                <a:ext cx="1466852" cy="1511298"/>
              </a:xfrm>
              <a:prstGeom prst="ellipse">
                <a:avLst/>
              </a:prstGeom>
              <a:solidFill>
                <a:srgbClr val="7BA0FF">
                  <a:lumMod val="20000"/>
                  <a:lumOff val="80000"/>
                </a:srgbClr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FFFFFF"/>
                  </a:solidFill>
                  <a:latin typeface="Calibri"/>
                </a:endParaRPr>
              </a:p>
            </p:txBody>
          </p:sp>
        </p:grpSp>
        <p:grpSp>
          <p:nvGrpSpPr>
            <p:cNvPr id="461" name="Group 460">
              <a:extLst>
                <a:ext uri="{FF2B5EF4-FFF2-40B4-BE49-F238E27FC236}">
                  <a16:creationId xmlns:a16="http://schemas.microsoft.com/office/drawing/2014/main" id="{12AD530F-FB97-00F4-C8A8-AAA9F759A5B0}"/>
                </a:ext>
              </a:extLst>
            </p:cNvPr>
            <p:cNvGrpSpPr/>
            <p:nvPr/>
          </p:nvGrpSpPr>
          <p:grpSpPr>
            <a:xfrm>
              <a:off x="5666613" y="2554708"/>
              <a:ext cx="588785" cy="705053"/>
              <a:chOff x="1268187" y="3395208"/>
              <a:chExt cx="1097423" cy="1315771"/>
            </a:xfrm>
          </p:grpSpPr>
          <p:sp>
            <p:nvSpPr>
              <p:cNvPr id="462" name="Rectangle 461">
                <a:extLst>
                  <a:ext uri="{FF2B5EF4-FFF2-40B4-BE49-F238E27FC236}">
                    <a16:creationId xmlns:a16="http://schemas.microsoft.com/office/drawing/2014/main" id="{38E49AE9-4F33-A2CB-CF65-F3DE35F429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7459" y="3740760"/>
                <a:ext cx="958878" cy="143812"/>
              </a:xfrm>
              <a:prstGeom prst="rect">
                <a:avLst/>
              </a:prstGeom>
              <a:solidFill>
                <a:srgbClr val="7BA0FF">
                  <a:lumMod val="40000"/>
                  <a:lumOff val="60000"/>
                </a:srgbClr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463" name="Freeform 10">
                <a:extLst>
                  <a:ext uri="{FF2B5EF4-FFF2-40B4-BE49-F238E27FC236}">
                    <a16:creationId xmlns:a16="http://schemas.microsoft.com/office/drawing/2014/main" id="{8BA2BBFA-5E10-DE17-9516-ADFB7174E7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68187" y="3395208"/>
                <a:ext cx="1097423" cy="1315771"/>
              </a:xfrm>
              <a:custGeom>
                <a:avLst/>
                <a:gdLst>
                  <a:gd name="T0" fmla="*/ 590 w 1013"/>
                  <a:gd name="T1" fmla="*/ 1131 h 1215"/>
                  <a:gd name="T2" fmla="*/ 506 w 1013"/>
                  <a:gd name="T3" fmla="*/ 1215 h 1215"/>
                  <a:gd name="T4" fmla="*/ 506 w 1013"/>
                  <a:gd name="T5" fmla="*/ 1215 h 1215"/>
                  <a:gd name="T6" fmla="*/ 422 w 1013"/>
                  <a:gd name="T7" fmla="*/ 1131 h 1215"/>
                  <a:gd name="T8" fmla="*/ 422 w 1013"/>
                  <a:gd name="T9" fmla="*/ 85 h 1215"/>
                  <a:gd name="T10" fmla="*/ 506 w 1013"/>
                  <a:gd name="T11" fmla="*/ 0 h 1215"/>
                  <a:gd name="T12" fmla="*/ 506 w 1013"/>
                  <a:gd name="T13" fmla="*/ 0 h 1215"/>
                  <a:gd name="T14" fmla="*/ 590 w 1013"/>
                  <a:gd name="T15" fmla="*/ 85 h 1215"/>
                  <a:gd name="T16" fmla="*/ 590 w 1013"/>
                  <a:gd name="T17" fmla="*/ 1131 h 1215"/>
                  <a:gd name="T18" fmla="*/ 341 w 1013"/>
                  <a:gd name="T19" fmla="*/ 105 h 1215"/>
                  <a:gd name="T20" fmla="*/ 277 w 1013"/>
                  <a:gd name="T21" fmla="*/ 41 h 1215"/>
                  <a:gd name="T22" fmla="*/ 277 w 1013"/>
                  <a:gd name="T23" fmla="*/ 41 h 1215"/>
                  <a:gd name="T24" fmla="*/ 213 w 1013"/>
                  <a:gd name="T25" fmla="*/ 105 h 1215"/>
                  <a:gd name="T26" fmla="*/ 213 w 1013"/>
                  <a:gd name="T27" fmla="*/ 618 h 1215"/>
                  <a:gd name="T28" fmla="*/ 277 w 1013"/>
                  <a:gd name="T29" fmla="*/ 682 h 1215"/>
                  <a:gd name="T30" fmla="*/ 277 w 1013"/>
                  <a:gd name="T31" fmla="*/ 682 h 1215"/>
                  <a:gd name="T32" fmla="*/ 341 w 1013"/>
                  <a:gd name="T33" fmla="*/ 618 h 1215"/>
                  <a:gd name="T34" fmla="*/ 341 w 1013"/>
                  <a:gd name="T35" fmla="*/ 105 h 1215"/>
                  <a:gd name="T36" fmla="*/ 128 w 1013"/>
                  <a:gd name="T37" fmla="*/ 196 h 1215"/>
                  <a:gd name="T38" fmla="*/ 64 w 1013"/>
                  <a:gd name="T39" fmla="*/ 132 h 1215"/>
                  <a:gd name="T40" fmla="*/ 64 w 1013"/>
                  <a:gd name="T41" fmla="*/ 132 h 1215"/>
                  <a:gd name="T42" fmla="*/ 0 w 1013"/>
                  <a:gd name="T43" fmla="*/ 196 h 1215"/>
                  <a:gd name="T44" fmla="*/ 0 w 1013"/>
                  <a:gd name="T45" fmla="*/ 709 h 1215"/>
                  <a:gd name="T46" fmla="*/ 64 w 1013"/>
                  <a:gd name="T47" fmla="*/ 773 h 1215"/>
                  <a:gd name="T48" fmla="*/ 64 w 1013"/>
                  <a:gd name="T49" fmla="*/ 773 h 1215"/>
                  <a:gd name="T50" fmla="*/ 128 w 1013"/>
                  <a:gd name="T51" fmla="*/ 709 h 1215"/>
                  <a:gd name="T52" fmla="*/ 128 w 1013"/>
                  <a:gd name="T53" fmla="*/ 196 h 1215"/>
                  <a:gd name="T54" fmla="*/ 672 w 1013"/>
                  <a:gd name="T55" fmla="*/ 618 h 1215"/>
                  <a:gd name="T56" fmla="*/ 736 w 1013"/>
                  <a:gd name="T57" fmla="*/ 682 h 1215"/>
                  <a:gd name="T58" fmla="*/ 736 w 1013"/>
                  <a:gd name="T59" fmla="*/ 682 h 1215"/>
                  <a:gd name="T60" fmla="*/ 800 w 1013"/>
                  <a:gd name="T61" fmla="*/ 618 h 1215"/>
                  <a:gd name="T62" fmla="*/ 800 w 1013"/>
                  <a:gd name="T63" fmla="*/ 105 h 1215"/>
                  <a:gd name="T64" fmla="*/ 736 w 1013"/>
                  <a:gd name="T65" fmla="*/ 41 h 1215"/>
                  <a:gd name="T66" fmla="*/ 736 w 1013"/>
                  <a:gd name="T67" fmla="*/ 41 h 1215"/>
                  <a:gd name="T68" fmla="*/ 672 w 1013"/>
                  <a:gd name="T69" fmla="*/ 105 h 1215"/>
                  <a:gd name="T70" fmla="*/ 672 w 1013"/>
                  <a:gd name="T71" fmla="*/ 618 h 1215"/>
                  <a:gd name="T72" fmla="*/ 885 w 1013"/>
                  <a:gd name="T73" fmla="*/ 709 h 1215"/>
                  <a:gd name="T74" fmla="*/ 949 w 1013"/>
                  <a:gd name="T75" fmla="*/ 773 h 1215"/>
                  <a:gd name="T76" fmla="*/ 949 w 1013"/>
                  <a:gd name="T77" fmla="*/ 773 h 1215"/>
                  <a:gd name="T78" fmla="*/ 1013 w 1013"/>
                  <a:gd name="T79" fmla="*/ 709 h 1215"/>
                  <a:gd name="T80" fmla="*/ 1013 w 1013"/>
                  <a:gd name="T81" fmla="*/ 196 h 1215"/>
                  <a:gd name="T82" fmla="*/ 949 w 1013"/>
                  <a:gd name="T83" fmla="*/ 132 h 1215"/>
                  <a:gd name="T84" fmla="*/ 949 w 1013"/>
                  <a:gd name="T85" fmla="*/ 132 h 1215"/>
                  <a:gd name="T86" fmla="*/ 885 w 1013"/>
                  <a:gd name="T87" fmla="*/ 196 h 1215"/>
                  <a:gd name="T88" fmla="*/ 885 w 1013"/>
                  <a:gd name="T89" fmla="*/ 709 h 1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013" h="1215">
                    <a:moveTo>
                      <a:pt x="590" y="1131"/>
                    </a:moveTo>
                    <a:cubicBezTo>
                      <a:pt x="590" y="1177"/>
                      <a:pt x="553" y="1215"/>
                      <a:pt x="506" y="1215"/>
                    </a:cubicBezTo>
                    <a:cubicBezTo>
                      <a:pt x="506" y="1215"/>
                      <a:pt x="506" y="1215"/>
                      <a:pt x="506" y="1215"/>
                    </a:cubicBezTo>
                    <a:cubicBezTo>
                      <a:pt x="460" y="1215"/>
                      <a:pt x="422" y="1177"/>
                      <a:pt x="422" y="1131"/>
                    </a:cubicBezTo>
                    <a:cubicBezTo>
                      <a:pt x="422" y="85"/>
                      <a:pt x="422" y="85"/>
                      <a:pt x="422" y="85"/>
                    </a:cubicBezTo>
                    <a:cubicBezTo>
                      <a:pt x="422" y="38"/>
                      <a:pt x="460" y="0"/>
                      <a:pt x="506" y="0"/>
                    </a:cubicBezTo>
                    <a:cubicBezTo>
                      <a:pt x="506" y="0"/>
                      <a:pt x="506" y="0"/>
                      <a:pt x="506" y="0"/>
                    </a:cubicBezTo>
                    <a:cubicBezTo>
                      <a:pt x="553" y="0"/>
                      <a:pt x="590" y="38"/>
                      <a:pt x="590" y="85"/>
                    </a:cubicBezTo>
                    <a:lnTo>
                      <a:pt x="590" y="1131"/>
                    </a:lnTo>
                    <a:close/>
                    <a:moveTo>
                      <a:pt x="341" y="105"/>
                    </a:moveTo>
                    <a:cubicBezTo>
                      <a:pt x="341" y="70"/>
                      <a:pt x="312" y="41"/>
                      <a:pt x="277" y="41"/>
                    </a:cubicBezTo>
                    <a:cubicBezTo>
                      <a:pt x="277" y="41"/>
                      <a:pt x="277" y="41"/>
                      <a:pt x="277" y="41"/>
                    </a:cubicBezTo>
                    <a:cubicBezTo>
                      <a:pt x="241" y="41"/>
                      <a:pt x="213" y="70"/>
                      <a:pt x="213" y="105"/>
                    </a:cubicBezTo>
                    <a:cubicBezTo>
                      <a:pt x="213" y="618"/>
                      <a:pt x="213" y="618"/>
                      <a:pt x="213" y="618"/>
                    </a:cubicBezTo>
                    <a:cubicBezTo>
                      <a:pt x="213" y="653"/>
                      <a:pt x="241" y="682"/>
                      <a:pt x="277" y="682"/>
                    </a:cubicBezTo>
                    <a:cubicBezTo>
                      <a:pt x="277" y="682"/>
                      <a:pt x="277" y="682"/>
                      <a:pt x="277" y="682"/>
                    </a:cubicBezTo>
                    <a:cubicBezTo>
                      <a:pt x="312" y="682"/>
                      <a:pt x="341" y="653"/>
                      <a:pt x="341" y="618"/>
                    </a:cubicBezTo>
                    <a:lnTo>
                      <a:pt x="341" y="105"/>
                    </a:lnTo>
                    <a:close/>
                    <a:moveTo>
                      <a:pt x="128" y="196"/>
                    </a:moveTo>
                    <a:cubicBezTo>
                      <a:pt x="128" y="161"/>
                      <a:pt x="99" y="132"/>
                      <a:pt x="64" y="132"/>
                    </a:cubicBezTo>
                    <a:cubicBezTo>
                      <a:pt x="64" y="132"/>
                      <a:pt x="64" y="132"/>
                      <a:pt x="64" y="132"/>
                    </a:cubicBezTo>
                    <a:cubicBezTo>
                      <a:pt x="28" y="132"/>
                      <a:pt x="0" y="161"/>
                      <a:pt x="0" y="196"/>
                    </a:cubicBezTo>
                    <a:cubicBezTo>
                      <a:pt x="0" y="709"/>
                      <a:pt x="0" y="709"/>
                      <a:pt x="0" y="709"/>
                    </a:cubicBezTo>
                    <a:cubicBezTo>
                      <a:pt x="0" y="744"/>
                      <a:pt x="28" y="773"/>
                      <a:pt x="64" y="773"/>
                    </a:cubicBezTo>
                    <a:cubicBezTo>
                      <a:pt x="64" y="773"/>
                      <a:pt x="64" y="773"/>
                      <a:pt x="64" y="773"/>
                    </a:cubicBezTo>
                    <a:cubicBezTo>
                      <a:pt x="99" y="773"/>
                      <a:pt x="128" y="744"/>
                      <a:pt x="128" y="709"/>
                    </a:cubicBezTo>
                    <a:lnTo>
                      <a:pt x="128" y="196"/>
                    </a:lnTo>
                    <a:close/>
                    <a:moveTo>
                      <a:pt x="672" y="618"/>
                    </a:moveTo>
                    <a:cubicBezTo>
                      <a:pt x="672" y="653"/>
                      <a:pt x="700" y="682"/>
                      <a:pt x="736" y="682"/>
                    </a:cubicBezTo>
                    <a:cubicBezTo>
                      <a:pt x="736" y="682"/>
                      <a:pt x="736" y="682"/>
                      <a:pt x="736" y="682"/>
                    </a:cubicBezTo>
                    <a:cubicBezTo>
                      <a:pt x="771" y="682"/>
                      <a:pt x="800" y="653"/>
                      <a:pt x="800" y="618"/>
                    </a:cubicBezTo>
                    <a:cubicBezTo>
                      <a:pt x="800" y="105"/>
                      <a:pt x="800" y="105"/>
                      <a:pt x="800" y="105"/>
                    </a:cubicBezTo>
                    <a:cubicBezTo>
                      <a:pt x="800" y="70"/>
                      <a:pt x="771" y="41"/>
                      <a:pt x="736" y="41"/>
                    </a:cubicBezTo>
                    <a:cubicBezTo>
                      <a:pt x="736" y="41"/>
                      <a:pt x="736" y="41"/>
                      <a:pt x="736" y="41"/>
                    </a:cubicBezTo>
                    <a:cubicBezTo>
                      <a:pt x="700" y="41"/>
                      <a:pt x="672" y="70"/>
                      <a:pt x="672" y="105"/>
                    </a:cubicBezTo>
                    <a:lnTo>
                      <a:pt x="672" y="618"/>
                    </a:lnTo>
                    <a:close/>
                    <a:moveTo>
                      <a:pt x="885" y="709"/>
                    </a:moveTo>
                    <a:cubicBezTo>
                      <a:pt x="885" y="744"/>
                      <a:pt x="913" y="773"/>
                      <a:pt x="949" y="773"/>
                    </a:cubicBezTo>
                    <a:cubicBezTo>
                      <a:pt x="949" y="773"/>
                      <a:pt x="949" y="773"/>
                      <a:pt x="949" y="773"/>
                    </a:cubicBezTo>
                    <a:cubicBezTo>
                      <a:pt x="984" y="773"/>
                      <a:pt x="1013" y="744"/>
                      <a:pt x="1013" y="709"/>
                    </a:cubicBezTo>
                    <a:cubicBezTo>
                      <a:pt x="1013" y="196"/>
                      <a:pt x="1013" y="196"/>
                      <a:pt x="1013" y="196"/>
                    </a:cubicBezTo>
                    <a:cubicBezTo>
                      <a:pt x="1013" y="161"/>
                      <a:pt x="984" y="132"/>
                      <a:pt x="949" y="132"/>
                    </a:cubicBezTo>
                    <a:cubicBezTo>
                      <a:pt x="949" y="132"/>
                      <a:pt x="949" y="132"/>
                      <a:pt x="949" y="132"/>
                    </a:cubicBezTo>
                    <a:cubicBezTo>
                      <a:pt x="913" y="132"/>
                      <a:pt x="885" y="161"/>
                      <a:pt x="885" y="196"/>
                    </a:cubicBezTo>
                    <a:lnTo>
                      <a:pt x="885" y="709"/>
                    </a:lnTo>
                    <a:close/>
                  </a:path>
                </a:pathLst>
              </a:custGeom>
              <a:solidFill>
                <a:srgbClr val="7BA0FF">
                  <a:lumMod val="100000"/>
                </a:srgbClr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</p:grpSp>
      <p:grpSp>
        <p:nvGrpSpPr>
          <p:cNvPr id="467" name="Group 466">
            <a:extLst>
              <a:ext uri="{FF2B5EF4-FFF2-40B4-BE49-F238E27FC236}">
                <a16:creationId xmlns:a16="http://schemas.microsoft.com/office/drawing/2014/main" id="{06C69AA6-6487-2573-DF7B-66BF8869CDF6}"/>
              </a:ext>
            </a:extLst>
          </p:cNvPr>
          <p:cNvGrpSpPr/>
          <p:nvPr/>
        </p:nvGrpSpPr>
        <p:grpSpPr>
          <a:xfrm>
            <a:off x="4780766" y="4970312"/>
            <a:ext cx="700384" cy="369064"/>
            <a:chOff x="1945550" y="2307858"/>
            <a:chExt cx="1876053" cy="988580"/>
          </a:xfrm>
        </p:grpSpPr>
        <p:grpSp>
          <p:nvGrpSpPr>
            <p:cNvPr id="468" name="Group 467">
              <a:extLst>
                <a:ext uri="{FF2B5EF4-FFF2-40B4-BE49-F238E27FC236}">
                  <a16:creationId xmlns:a16="http://schemas.microsoft.com/office/drawing/2014/main" id="{FF7170DD-89AE-047C-35F6-7C74BE09C513}"/>
                </a:ext>
              </a:extLst>
            </p:cNvPr>
            <p:cNvGrpSpPr/>
            <p:nvPr/>
          </p:nvGrpSpPr>
          <p:grpSpPr>
            <a:xfrm>
              <a:off x="1945550" y="2307858"/>
              <a:ext cx="1876053" cy="988580"/>
              <a:chOff x="1100814" y="2513334"/>
              <a:chExt cx="914400" cy="481840"/>
            </a:xfrm>
          </p:grpSpPr>
          <p:grpSp>
            <p:nvGrpSpPr>
              <p:cNvPr id="470" name="Group 469">
                <a:extLst>
                  <a:ext uri="{FF2B5EF4-FFF2-40B4-BE49-F238E27FC236}">
                    <a16:creationId xmlns:a16="http://schemas.microsoft.com/office/drawing/2014/main" id="{D1C3A196-0728-A207-689F-B3AEE562568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315402" y="2513334"/>
                <a:ext cx="485224" cy="481840"/>
                <a:chOff x="1059180" y="3036700"/>
                <a:chExt cx="1495738" cy="1485312"/>
              </a:xfrm>
            </p:grpSpPr>
            <p:sp>
              <p:nvSpPr>
                <p:cNvPr id="472" name="Rectangle: Rounded Corners 32">
                  <a:extLst>
                    <a:ext uri="{FF2B5EF4-FFF2-40B4-BE49-F238E27FC236}">
                      <a16:creationId xmlns:a16="http://schemas.microsoft.com/office/drawing/2014/main" id="{11DA2175-37A6-C757-90FD-412A05256142}"/>
                    </a:ext>
                  </a:extLst>
                </p:cNvPr>
                <p:cNvSpPr/>
                <p:nvPr/>
              </p:nvSpPr>
              <p:spPr>
                <a:xfrm>
                  <a:off x="1059180" y="3036700"/>
                  <a:ext cx="1495738" cy="1485312"/>
                </a:xfrm>
                <a:prstGeom prst="roundRect">
                  <a:avLst>
                    <a:gd name="adj" fmla="val 3338"/>
                  </a:avLst>
                </a:prstGeom>
                <a:solidFill>
                  <a:srgbClr val="2853DC">
                    <a:lumMod val="100000"/>
                  </a:srgbClr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743407">
                    <a:lnSpc>
                      <a:spcPct val="90000"/>
                    </a:lnSpc>
                    <a:defRPr/>
                  </a:pPr>
                  <a:endParaRPr lang="en-US" sz="976" kern="0" err="1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473" name="Rectangle: Rounded Corners 33">
                  <a:extLst>
                    <a:ext uri="{FF2B5EF4-FFF2-40B4-BE49-F238E27FC236}">
                      <a16:creationId xmlns:a16="http://schemas.microsoft.com/office/drawing/2014/main" id="{20E406DF-67E6-EBF9-79C2-0467DA873796}"/>
                    </a:ext>
                  </a:extLst>
                </p:cNvPr>
                <p:cNvSpPr/>
                <p:nvPr/>
              </p:nvSpPr>
              <p:spPr>
                <a:xfrm>
                  <a:off x="1141399" y="3118349"/>
                  <a:ext cx="1331301" cy="1322015"/>
                </a:xfrm>
                <a:prstGeom prst="roundRect">
                  <a:avLst>
                    <a:gd name="adj" fmla="val 1058"/>
                  </a:avLst>
                </a:prstGeom>
                <a:solidFill>
                  <a:srgbClr val="7BA0FF">
                    <a:lumMod val="20000"/>
                    <a:lumOff val="80000"/>
                  </a:srgbClr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743407">
                    <a:lnSpc>
                      <a:spcPct val="90000"/>
                    </a:lnSpc>
                    <a:defRPr/>
                  </a:pPr>
                  <a:endParaRPr lang="en-US" sz="976" kern="0" err="1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471" name="Freeform: Shape 58">
                <a:extLst>
                  <a:ext uri="{FF2B5EF4-FFF2-40B4-BE49-F238E27FC236}">
                    <a16:creationId xmlns:a16="http://schemas.microsoft.com/office/drawing/2014/main" id="{7AB0A3FC-6C9C-69D8-F50E-A1F1BB906022}"/>
                  </a:ext>
                </a:extLst>
              </p:cNvPr>
              <p:cNvSpPr>
                <a:spLocks/>
              </p:cNvSpPr>
              <p:nvPr/>
            </p:nvSpPr>
            <p:spPr bwMode="auto">
              <a:xfrm rot="16200000">
                <a:off x="1409899" y="2297055"/>
                <a:ext cx="296229" cy="914400"/>
              </a:xfrm>
              <a:custGeom>
                <a:avLst/>
                <a:gdLst>
                  <a:gd name="connsiteX0" fmla="*/ 14842 w 296229"/>
                  <a:gd name="connsiteY0" fmla="*/ 849945 h 914400"/>
                  <a:gd name="connsiteX1" fmla="*/ 22318 w 296229"/>
                  <a:gd name="connsiteY1" fmla="*/ 851427 h 914400"/>
                  <a:gd name="connsiteX2" fmla="*/ 147919 w 296229"/>
                  <a:gd name="connsiteY2" fmla="*/ 884765 h 914400"/>
                  <a:gd name="connsiteX3" fmla="*/ 273520 w 296229"/>
                  <a:gd name="connsiteY3" fmla="*/ 851427 h 914400"/>
                  <a:gd name="connsiteX4" fmla="*/ 294453 w 296229"/>
                  <a:gd name="connsiteY4" fmla="*/ 857353 h 914400"/>
                  <a:gd name="connsiteX5" fmla="*/ 288473 w 296229"/>
                  <a:gd name="connsiteY5" fmla="*/ 877357 h 914400"/>
                  <a:gd name="connsiteX6" fmla="*/ 147919 w 296229"/>
                  <a:gd name="connsiteY6" fmla="*/ 914400 h 914400"/>
                  <a:gd name="connsiteX7" fmla="*/ 7366 w 296229"/>
                  <a:gd name="connsiteY7" fmla="*/ 877357 h 914400"/>
                  <a:gd name="connsiteX8" fmla="*/ 2132 w 296229"/>
                  <a:gd name="connsiteY8" fmla="*/ 857353 h 914400"/>
                  <a:gd name="connsiteX9" fmla="*/ 14842 w 296229"/>
                  <a:gd name="connsiteY9" fmla="*/ 849945 h 914400"/>
                  <a:gd name="connsiteX10" fmla="*/ 46427 w 296229"/>
                  <a:gd name="connsiteY10" fmla="*/ 794938 h 914400"/>
                  <a:gd name="connsiteX11" fmla="*/ 53900 w 296229"/>
                  <a:gd name="connsiteY11" fmla="*/ 797164 h 914400"/>
                  <a:gd name="connsiteX12" fmla="*/ 148059 w 296229"/>
                  <a:gd name="connsiteY12" fmla="*/ 821652 h 914400"/>
                  <a:gd name="connsiteX13" fmla="*/ 242219 w 296229"/>
                  <a:gd name="connsiteY13" fmla="*/ 797164 h 914400"/>
                  <a:gd name="connsiteX14" fmla="*/ 263143 w 296229"/>
                  <a:gd name="connsiteY14" fmla="*/ 802359 h 914400"/>
                  <a:gd name="connsiteX15" fmla="*/ 257165 w 296229"/>
                  <a:gd name="connsiteY15" fmla="*/ 822394 h 914400"/>
                  <a:gd name="connsiteX16" fmla="*/ 148059 w 296229"/>
                  <a:gd name="connsiteY16" fmla="*/ 851334 h 914400"/>
                  <a:gd name="connsiteX17" fmla="*/ 38954 w 296229"/>
                  <a:gd name="connsiteY17" fmla="*/ 822394 h 914400"/>
                  <a:gd name="connsiteX18" fmla="*/ 33723 w 296229"/>
                  <a:gd name="connsiteY18" fmla="*/ 802359 h 914400"/>
                  <a:gd name="connsiteX19" fmla="*/ 46427 w 296229"/>
                  <a:gd name="connsiteY19" fmla="*/ 794938 h 914400"/>
                  <a:gd name="connsiteX20" fmla="*/ 80794 w 296229"/>
                  <a:gd name="connsiteY20" fmla="*/ 735484 h 914400"/>
                  <a:gd name="connsiteX21" fmla="*/ 87511 w 296229"/>
                  <a:gd name="connsiteY21" fmla="*/ 737711 h 914400"/>
                  <a:gd name="connsiteX22" fmla="*/ 147966 w 296229"/>
                  <a:gd name="connsiteY22" fmla="*/ 753299 h 914400"/>
                  <a:gd name="connsiteX23" fmla="*/ 208421 w 296229"/>
                  <a:gd name="connsiteY23" fmla="*/ 737711 h 914400"/>
                  <a:gd name="connsiteX24" fmla="*/ 228573 w 296229"/>
                  <a:gd name="connsiteY24" fmla="*/ 742907 h 914400"/>
                  <a:gd name="connsiteX25" fmla="*/ 223348 w 296229"/>
                  <a:gd name="connsiteY25" fmla="*/ 763690 h 914400"/>
                  <a:gd name="connsiteX26" fmla="*/ 147966 w 296229"/>
                  <a:gd name="connsiteY26" fmla="*/ 782989 h 914400"/>
                  <a:gd name="connsiteX27" fmla="*/ 73330 w 296229"/>
                  <a:gd name="connsiteY27" fmla="*/ 763690 h 914400"/>
                  <a:gd name="connsiteX28" fmla="*/ 67359 w 296229"/>
                  <a:gd name="connsiteY28" fmla="*/ 742907 h 914400"/>
                  <a:gd name="connsiteX29" fmla="*/ 80794 w 296229"/>
                  <a:gd name="connsiteY29" fmla="*/ 735484 h 914400"/>
                  <a:gd name="connsiteX30" fmla="*/ 148264 w 296229"/>
                  <a:gd name="connsiteY30" fmla="*/ 131412 h 914400"/>
                  <a:gd name="connsiteX31" fmla="*/ 222899 w 296229"/>
                  <a:gd name="connsiteY31" fmla="*/ 150710 h 914400"/>
                  <a:gd name="connsiteX32" fmla="*/ 228870 w 296229"/>
                  <a:gd name="connsiteY32" fmla="*/ 171493 h 914400"/>
                  <a:gd name="connsiteX33" fmla="*/ 215436 w 296229"/>
                  <a:gd name="connsiteY33" fmla="*/ 178916 h 914400"/>
                  <a:gd name="connsiteX34" fmla="*/ 208719 w 296229"/>
                  <a:gd name="connsiteY34" fmla="*/ 176689 h 914400"/>
                  <a:gd name="connsiteX35" fmla="*/ 148264 w 296229"/>
                  <a:gd name="connsiteY35" fmla="*/ 161102 h 914400"/>
                  <a:gd name="connsiteX36" fmla="*/ 87809 w 296229"/>
                  <a:gd name="connsiteY36" fmla="*/ 176689 h 914400"/>
                  <a:gd name="connsiteX37" fmla="*/ 67657 w 296229"/>
                  <a:gd name="connsiteY37" fmla="*/ 171493 h 914400"/>
                  <a:gd name="connsiteX38" fmla="*/ 72882 w 296229"/>
                  <a:gd name="connsiteY38" fmla="*/ 150710 h 914400"/>
                  <a:gd name="connsiteX39" fmla="*/ 148264 w 296229"/>
                  <a:gd name="connsiteY39" fmla="*/ 131412 h 914400"/>
                  <a:gd name="connsiteX40" fmla="*/ 148169 w 296229"/>
                  <a:gd name="connsiteY40" fmla="*/ 63067 h 914400"/>
                  <a:gd name="connsiteX41" fmla="*/ 257274 w 296229"/>
                  <a:gd name="connsiteY41" fmla="*/ 92006 h 914400"/>
                  <a:gd name="connsiteX42" fmla="*/ 262505 w 296229"/>
                  <a:gd name="connsiteY42" fmla="*/ 112041 h 914400"/>
                  <a:gd name="connsiteX43" fmla="*/ 249801 w 296229"/>
                  <a:gd name="connsiteY43" fmla="*/ 119462 h 914400"/>
                  <a:gd name="connsiteX44" fmla="*/ 242329 w 296229"/>
                  <a:gd name="connsiteY44" fmla="*/ 117236 h 914400"/>
                  <a:gd name="connsiteX45" fmla="*/ 148169 w 296229"/>
                  <a:gd name="connsiteY45" fmla="*/ 92748 h 914400"/>
                  <a:gd name="connsiteX46" fmla="*/ 54010 w 296229"/>
                  <a:gd name="connsiteY46" fmla="*/ 117236 h 914400"/>
                  <a:gd name="connsiteX47" fmla="*/ 33086 w 296229"/>
                  <a:gd name="connsiteY47" fmla="*/ 112041 h 914400"/>
                  <a:gd name="connsiteX48" fmla="*/ 39064 w 296229"/>
                  <a:gd name="connsiteY48" fmla="*/ 92006 h 914400"/>
                  <a:gd name="connsiteX49" fmla="*/ 148169 w 296229"/>
                  <a:gd name="connsiteY49" fmla="*/ 63067 h 914400"/>
                  <a:gd name="connsiteX50" fmla="*/ 148310 w 296229"/>
                  <a:gd name="connsiteY50" fmla="*/ 0 h 914400"/>
                  <a:gd name="connsiteX51" fmla="*/ 288863 w 296229"/>
                  <a:gd name="connsiteY51" fmla="*/ 37044 h 914400"/>
                  <a:gd name="connsiteX52" fmla="*/ 294096 w 296229"/>
                  <a:gd name="connsiteY52" fmla="*/ 57047 h 914400"/>
                  <a:gd name="connsiteX53" fmla="*/ 281387 w 296229"/>
                  <a:gd name="connsiteY53" fmla="*/ 64456 h 914400"/>
                  <a:gd name="connsiteX54" fmla="*/ 273910 w 296229"/>
                  <a:gd name="connsiteY54" fmla="*/ 62974 h 914400"/>
                  <a:gd name="connsiteX55" fmla="*/ 148310 w 296229"/>
                  <a:gd name="connsiteY55" fmla="*/ 29635 h 914400"/>
                  <a:gd name="connsiteX56" fmla="*/ 22709 w 296229"/>
                  <a:gd name="connsiteY56" fmla="*/ 62974 h 914400"/>
                  <a:gd name="connsiteX57" fmla="*/ 1776 w 296229"/>
                  <a:gd name="connsiteY57" fmla="*/ 57047 h 914400"/>
                  <a:gd name="connsiteX58" fmla="*/ 7757 w 296229"/>
                  <a:gd name="connsiteY58" fmla="*/ 37044 h 914400"/>
                  <a:gd name="connsiteX59" fmla="*/ 148310 w 296229"/>
                  <a:gd name="connsiteY59" fmla="*/ 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296229" h="914400">
                    <a:moveTo>
                      <a:pt x="14842" y="849945"/>
                    </a:moveTo>
                    <a:cubicBezTo>
                      <a:pt x="17085" y="849945"/>
                      <a:pt x="20075" y="850685"/>
                      <a:pt x="22318" y="851427"/>
                    </a:cubicBezTo>
                    <a:cubicBezTo>
                      <a:pt x="60447" y="873653"/>
                      <a:pt x="103809" y="884765"/>
                      <a:pt x="147919" y="884765"/>
                    </a:cubicBezTo>
                    <a:cubicBezTo>
                      <a:pt x="192029" y="884765"/>
                      <a:pt x="235391" y="873653"/>
                      <a:pt x="273520" y="851427"/>
                    </a:cubicBezTo>
                    <a:cubicBezTo>
                      <a:pt x="280996" y="847722"/>
                      <a:pt x="289968" y="849945"/>
                      <a:pt x="294453" y="857353"/>
                    </a:cubicBezTo>
                    <a:cubicBezTo>
                      <a:pt x="298192" y="864762"/>
                      <a:pt x="295949" y="873653"/>
                      <a:pt x="288473" y="877357"/>
                    </a:cubicBezTo>
                    <a:cubicBezTo>
                      <a:pt x="245858" y="901805"/>
                      <a:pt x="197262" y="914400"/>
                      <a:pt x="147919" y="914400"/>
                    </a:cubicBezTo>
                    <a:cubicBezTo>
                      <a:pt x="98576" y="914400"/>
                      <a:pt x="49980" y="901805"/>
                      <a:pt x="7366" y="877357"/>
                    </a:cubicBezTo>
                    <a:cubicBezTo>
                      <a:pt x="637" y="873653"/>
                      <a:pt x="-2353" y="864762"/>
                      <a:pt x="2132" y="857353"/>
                    </a:cubicBezTo>
                    <a:cubicBezTo>
                      <a:pt x="4375" y="852167"/>
                      <a:pt x="9608" y="849945"/>
                      <a:pt x="14842" y="849945"/>
                    </a:cubicBezTo>
                    <a:close/>
                    <a:moveTo>
                      <a:pt x="46427" y="794938"/>
                    </a:moveTo>
                    <a:cubicBezTo>
                      <a:pt x="49417" y="794938"/>
                      <a:pt x="51658" y="795681"/>
                      <a:pt x="53900" y="797164"/>
                    </a:cubicBezTo>
                    <a:cubicBezTo>
                      <a:pt x="82297" y="812748"/>
                      <a:pt x="115179" y="821652"/>
                      <a:pt x="148059" y="821652"/>
                    </a:cubicBezTo>
                    <a:cubicBezTo>
                      <a:pt x="180941" y="821652"/>
                      <a:pt x="213821" y="812748"/>
                      <a:pt x="242219" y="797164"/>
                    </a:cubicBezTo>
                    <a:cubicBezTo>
                      <a:pt x="249692" y="792713"/>
                      <a:pt x="258659" y="794938"/>
                      <a:pt x="263143" y="802359"/>
                    </a:cubicBezTo>
                    <a:cubicBezTo>
                      <a:pt x="266879" y="809779"/>
                      <a:pt x="264638" y="818684"/>
                      <a:pt x="257165" y="822394"/>
                    </a:cubicBezTo>
                    <a:cubicBezTo>
                      <a:pt x="224284" y="841687"/>
                      <a:pt x="186172" y="851334"/>
                      <a:pt x="148059" y="851334"/>
                    </a:cubicBezTo>
                    <a:cubicBezTo>
                      <a:pt x="109947" y="851334"/>
                      <a:pt x="71835" y="841687"/>
                      <a:pt x="38954" y="822394"/>
                    </a:cubicBezTo>
                    <a:cubicBezTo>
                      <a:pt x="32229" y="818684"/>
                      <a:pt x="29240" y="809779"/>
                      <a:pt x="33723" y="802359"/>
                    </a:cubicBezTo>
                    <a:cubicBezTo>
                      <a:pt x="35966" y="797907"/>
                      <a:pt x="41196" y="794938"/>
                      <a:pt x="46427" y="794938"/>
                    </a:cubicBezTo>
                    <a:close/>
                    <a:moveTo>
                      <a:pt x="80794" y="735484"/>
                    </a:moveTo>
                    <a:cubicBezTo>
                      <a:pt x="83032" y="735484"/>
                      <a:pt x="85272" y="736227"/>
                      <a:pt x="87511" y="737711"/>
                    </a:cubicBezTo>
                    <a:cubicBezTo>
                      <a:pt x="106170" y="748103"/>
                      <a:pt x="127068" y="753299"/>
                      <a:pt x="147966" y="753299"/>
                    </a:cubicBezTo>
                    <a:cubicBezTo>
                      <a:pt x="169610" y="753299"/>
                      <a:pt x="189762" y="748103"/>
                      <a:pt x="208421" y="737711"/>
                    </a:cubicBezTo>
                    <a:cubicBezTo>
                      <a:pt x="215885" y="733257"/>
                      <a:pt x="224841" y="736227"/>
                      <a:pt x="228573" y="742907"/>
                    </a:cubicBezTo>
                    <a:cubicBezTo>
                      <a:pt x="233051" y="750329"/>
                      <a:pt x="230065" y="759236"/>
                      <a:pt x="223348" y="763690"/>
                    </a:cubicBezTo>
                    <a:cubicBezTo>
                      <a:pt x="200211" y="776309"/>
                      <a:pt x="174088" y="782989"/>
                      <a:pt x="147966" y="782989"/>
                    </a:cubicBezTo>
                    <a:cubicBezTo>
                      <a:pt x="121843" y="782989"/>
                      <a:pt x="95720" y="776309"/>
                      <a:pt x="73330" y="763690"/>
                    </a:cubicBezTo>
                    <a:cubicBezTo>
                      <a:pt x="65866" y="759236"/>
                      <a:pt x="63627" y="750329"/>
                      <a:pt x="67359" y="742907"/>
                    </a:cubicBezTo>
                    <a:cubicBezTo>
                      <a:pt x="70344" y="738453"/>
                      <a:pt x="75569" y="735484"/>
                      <a:pt x="80794" y="735484"/>
                    </a:cubicBezTo>
                    <a:close/>
                    <a:moveTo>
                      <a:pt x="148264" y="131412"/>
                    </a:moveTo>
                    <a:cubicBezTo>
                      <a:pt x="174386" y="131412"/>
                      <a:pt x="200509" y="138092"/>
                      <a:pt x="222899" y="150710"/>
                    </a:cubicBezTo>
                    <a:cubicBezTo>
                      <a:pt x="230363" y="155164"/>
                      <a:pt x="232602" y="164071"/>
                      <a:pt x="228870" y="171493"/>
                    </a:cubicBezTo>
                    <a:cubicBezTo>
                      <a:pt x="225885" y="175947"/>
                      <a:pt x="220660" y="178916"/>
                      <a:pt x="215436" y="178916"/>
                    </a:cubicBezTo>
                    <a:cubicBezTo>
                      <a:pt x="213197" y="178916"/>
                      <a:pt x="210958" y="178174"/>
                      <a:pt x="208719" y="176689"/>
                    </a:cubicBezTo>
                    <a:cubicBezTo>
                      <a:pt x="190060" y="166298"/>
                      <a:pt x="169162" y="161102"/>
                      <a:pt x="148264" y="161102"/>
                    </a:cubicBezTo>
                    <a:cubicBezTo>
                      <a:pt x="126619" y="161102"/>
                      <a:pt x="106468" y="166298"/>
                      <a:pt x="87809" y="176689"/>
                    </a:cubicBezTo>
                    <a:cubicBezTo>
                      <a:pt x="80345" y="181143"/>
                      <a:pt x="71389" y="178174"/>
                      <a:pt x="67657" y="171493"/>
                    </a:cubicBezTo>
                    <a:cubicBezTo>
                      <a:pt x="63179" y="164071"/>
                      <a:pt x="66164" y="155164"/>
                      <a:pt x="72882" y="150710"/>
                    </a:cubicBezTo>
                    <a:cubicBezTo>
                      <a:pt x="96019" y="138092"/>
                      <a:pt x="122141" y="131412"/>
                      <a:pt x="148264" y="131412"/>
                    </a:cubicBezTo>
                    <a:close/>
                    <a:moveTo>
                      <a:pt x="148169" y="63067"/>
                    </a:moveTo>
                    <a:cubicBezTo>
                      <a:pt x="186281" y="63067"/>
                      <a:pt x="224393" y="72713"/>
                      <a:pt x="257274" y="92006"/>
                    </a:cubicBezTo>
                    <a:cubicBezTo>
                      <a:pt x="264000" y="95717"/>
                      <a:pt x="266989" y="104621"/>
                      <a:pt x="262505" y="112041"/>
                    </a:cubicBezTo>
                    <a:cubicBezTo>
                      <a:pt x="260263" y="116494"/>
                      <a:pt x="255032" y="119462"/>
                      <a:pt x="249801" y="119462"/>
                    </a:cubicBezTo>
                    <a:cubicBezTo>
                      <a:pt x="246812" y="119462"/>
                      <a:pt x="244570" y="118720"/>
                      <a:pt x="242329" y="117236"/>
                    </a:cubicBezTo>
                    <a:cubicBezTo>
                      <a:pt x="213931" y="101653"/>
                      <a:pt x="181050" y="92748"/>
                      <a:pt x="148169" y="92748"/>
                    </a:cubicBezTo>
                    <a:cubicBezTo>
                      <a:pt x="115288" y="92748"/>
                      <a:pt x="82407" y="101653"/>
                      <a:pt x="54010" y="117236"/>
                    </a:cubicBezTo>
                    <a:cubicBezTo>
                      <a:pt x="46537" y="121688"/>
                      <a:pt x="37570" y="119462"/>
                      <a:pt x="33086" y="112041"/>
                    </a:cubicBezTo>
                    <a:cubicBezTo>
                      <a:pt x="29350" y="104621"/>
                      <a:pt x="31591" y="95717"/>
                      <a:pt x="39064" y="92006"/>
                    </a:cubicBezTo>
                    <a:cubicBezTo>
                      <a:pt x="71945" y="72713"/>
                      <a:pt x="110057" y="63067"/>
                      <a:pt x="148169" y="63067"/>
                    </a:cubicBezTo>
                    <a:close/>
                    <a:moveTo>
                      <a:pt x="148310" y="0"/>
                    </a:moveTo>
                    <a:cubicBezTo>
                      <a:pt x="197653" y="0"/>
                      <a:pt x="246248" y="12595"/>
                      <a:pt x="288863" y="37044"/>
                    </a:cubicBezTo>
                    <a:cubicBezTo>
                      <a:pt x="295591" y="40748"/>
                      <a:pt x="298582" y="49638"/>
                      <a:pt x="294096" y="57047"/>
                    </a:cubicBezTo>
                    <a:cubicBezTo>
                      <a:pt x="291853" y="62233"/>
                      <a:pt x="286620" y="64456"/>
                      <a:pt x="281387" y="64456"/>
                    </a:cubicBezTo>
                    <a:cubicBezTo>
                      <a:pt x="279144" y="64456"/>
                      <a:pt x="276153" y="63715"/>
                      <a:pt x="273910" y="62974"/>
                    </a:cubicBezTo>
                    <a:cubicBezTo>
                      <a:pt x="235782" y="40748"/>
                      <a:pt x="192420" y="29635"/>
                      <a:pt x="148310" y="29635"/>
                    </a:cubicBezTo>
                    <a:cubicBezTo>
                      <a:pt x="104200" y="29635"/>
                      <a:pt x="60838" y="40748"/>
                      <a:pt x="22709" y="62974"/>
                    </a:cubicBezTo>
                    <a:cubicBezTo>
                      <a:pt x="15233" y="66678"/>
                      <a:pt x="6261" y="64456"/>
                      <a:pt x="1776" y="57047"/>
                    </a:cubicBezTo>
                    <a:cubicBezTo>
                      <a:pt x="-1963" y="49638"/>
                      <a:pt x="280" y="40748"/>
                      <a:pt x="7757" y="37044"/>
                    </a:cubicBezTo>
                    <a:cubicBezTo>
                      <a:pt x="50371" y="12595"/>
                      <a:pt x="98967" y="0"/>
                      <a:pt x="148310" y="0"/>
                    </a:cubicBezTo>
                    <a:close/>
                  </a:path>
                </a:pathLst>
              </a:custGeom>
              <a:solidFill>
                <a:srgbClr val="2853DC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sp>
          <p:nvSpPr>
            <p:cNvPr id="469" name="Freeform: Shape 88">
              <a:extLst>
                <a:ext uri="{FF2B5EF4-FFF2-40B4-BE49-F238E27FC236}">
                  <a16:creationId xmlns:a16="http://schemas.microsoft.com/office/drawing/2014/main" id="{D4121DD9-1A93-E9D0-0D84-478DD168AA09}"/>
                </a:ext>
              </a:extLst>
            </p:cNvPr>
            <p:cNvSpPr>
              <a:spLocks noChangeAspect="1"/>
            </p:cNvSpPr>
            <p:nvPr/>
          </p:nvSpPr>
          <p:spPr bwMode="auto">
            <a:xfrm flipH="1">
              <a:off x="2621360" y="2558044"/>
              <a:ext cx="509190" cy="503498"/>
            </a:xfrm>
            <a:custGeom>
              <a:avLst/>
              <a:gdLst>
                <a:gd name="connsiteX0" fmla="*/ 942888 w 1886531"/>
                <a:gd name="connsiteY0" fmla="*/ 1397441 h 1865440"/>
                <a:gd name="connsiteX1" fmla="*/ 985508 w 1886531"/>
                <a:gd name="connsiteY1" fmla="*/ 1439651 h 1865440"/>
                <a:gd name="connsiteX2" fmla="*/ 942888 w 1886531"/>
                <a:gd name="connsiteY2" fmla="*/ 1481862 h 1865440"/>
                <a:gd name="connsiteX3" fmla="*/ 900268 w 1886531"/>
                <a:gd name="connsiteY3" fmla="*/ 1439651 h 1865440"/>
                <a:gd name="connsiteX4" fmla="*/ 942888 w 1886531"/>
                <a:gd name="connsiteY4" fmla="*/ 1397441 h 1865440"/>
                <a:gd name="connsiteX5" fmla="*/ 1187245 w 1886531"/>
                <a:gd name="connsiteY5" fmla="*/ 1320856 h 1865440"/>
                <a:gd name="connsiteX6" fmla="*/ 1160276 w 1886531"/>
                <a:gd name="connsiteY6" fmla="*/ 1332068 h 1865440"/>
                <a:gd name="connsiteX7" fmla="*/ 1160276 w 1886531"/>
                <a:gd name="connsiteY7" fmla="*/ 1386023 h 1865440"/>
                <a:gd name="connsiteX8" fmla="*/ 1247837 w 1886531"/>
                <a:gd name="connsiteY8" fmla="*/ 1473612 h 1865440"/>
                <a:gd name="connsiteX9" fmla="*/ 1247837 w 1886531"/>
                <a:gd name="connsiteY9" fmla="*/ 1618193 h 1865440"/>
                <a:gd name="connsiteX10" fmla="*/ 1225889 w 1886531"/>
                <a:gd name="connsiteY10" fmla="*/ 1664206 h 1865440"/>
                <a:gd name="connsiteX11" fmla="*/ 1285897 w 1886531"/>
                <a:gd name="connsiteY11" fmla="*/ 1724467 h 1865440"/>
                <a:gd name="connsiteX12" fmla="*/ 1346138 w 1886531"/>
                <a:gd name="connsiteY12" fmla="*/ 1664206 h 1865440"/>
                <a:gd name="connsiteX13" fmla="*/ 1324189 w 1886531"/>
                <a:gd name="connsiteY13" fmla="*/ 1618193 h 1865440"/>
                <a:gd name="connsiteX14" fmla="*/ 1324189 w 1886531"/>
                <a:gd name="connsiteY14" fmla="*/ 1457962 h 1865440"/>
                <a:gd name="connsiteX15" fmla="*/ 1312982 w 1886531"/>
                <a:gd name="connsiteY15" fmla="*/ 1430869 h 1865440"/>
                <a:gd name="connsiteX16" fmla="*/ 1214214 w 1886531"/>
                <a:gd name="connsiteY16" fmla="*/ 1332068 h 1865440"/>
                <a:gd name="connsiteX17" fmla="*/ 1187245 w 1886531"/>
                <a:gd name="connsiteY17" fmla="*/ 1320856 h 1865440"/>
                <a:gd name="connsiteX18" fmla="*/ 698531 w 1886531"/>
                <a:gd name="connsiteY18" fmla="*/ 1320856 h 1865440"/>
                <a:gd name="connsiteX19" fmla="*/ 671562 w 1886531"/>
                <a:gd name="connsiteY19" fmla="*/ 1332068 h 1865440"/>
                <a:gd name="connsiteX20" fmla="*/ 572794 w 1886531"/>
                <a:gd name="connsiteY20" fmla="*/ 1430869 h 1865440"/>
                <a:gd name="connsiteX21" fmla="*/ 561586 w 1886531"/>
                <a:gd name="connsiteY21" fmla="*/ 1457962 h 1865440"/>
                <a:gd name="connsiteX22" fmla="*/ 561586 w 1886531"/>
                <a:gd name="connsiteY22" fmla="*/ 1618193 h 1865440"/>
                <a:gd name="connsiteX23" fmla="*/ 539638 w 1886531"/>
                <a:gd name="connsiteY23" fmla="*/ 1664206 h 1865440"/>
                <a:gd name="connsiteX24" fmla="*/ 599879 w 1886531"/>
                <a:gd name="connsiteY24" fmla="*/ 1724467 h 1865440"/>
                <a:gd name="connsiteX25" fmla="*/ 659887 w 1886531"/>
                <a:gd name="connsiteY25" fmla="*/ 1664206 h 1865440"/>
                <a:gd name="connsiteX26" fmla="*/ 637939 w 1886531"/>
                <a:gd name="connsiteY26" fmla="*/ 1618193 h 1865440"/>
                <a:gd name="connsiteX27" fmla="*/ 637939 w 1886531"/>
                <a:gd name="connsiteY27" fmla="*/ 1473612 h 1865440"/>
                <a:gd name="connsiteX28" fmla="*/ 725500 w 1886531"/>
                <a:gd name="connsiteY28" fmla="*/ 1386023 h 1865440"/>
                <a:gd name="connsiteX29" fmla="*/ 725500 w 1886531"/>
                <a:gd name="connsiteY29" fmla="*/ 1332068 h 1865440"/>
                <a:gd name="connsiteX30" fmla="*/ 698531 w 1886531"/>
                <a:gd name="connsiteY30" fmla="*/ 1320856 h 1865440"/>
                <a:gd name="connsiteX31" fmla="*/ 904366 w 1886531"/>
                <a:gd name="connsiteY31" fmla="*/ 1092963 h 1865440"/>
                <a:gd name="connsiteX32" fmla="*/ 909198 w 1886531"/>
                <a:gd name="connsiteY32" fmla="*/ 1092963 h 1865440"/>
                <a:gd name="connsiteX33" fmla="*/ 958085 w 1886531"/>
                <a:gd name="connsiteY33" fmla="*/ 1092963 h 1865440"/>
                <a:gd name="connsiteX34" fmla="*/ 981176 w 1886531"/>
                <a:gd name="connsiteY34" fmla="*/ 1092963 h 1865440"/>
                <a:gd name="connsiteX35" fmla="*/ 981176 w 1886531"/>
                <a:gd name="connsiteY35" fmla="*/ 1092964 h 1865440"/>
                <a:gd name="connsiteX36" fmla="*/ 958085 w 1886531"/>
                <a:gd name="connsiteY36" fmla="*/ 1092964 h 1865440"/>
                <a:gd name="connsiteX37" fmla="*/ 909198 w 1886531"/>
                <a:gd name="connsiteY37" fmla="*/ 1092964 h 1865440"/>
                <a:gd name="connsiteX38" fmla="*/ 904366 w 1886531"/>
                <a:gd name="connsiteY38" fmla="*/ 1092964 h 1865440"/>
                <a:gd name="connsiteX39" fmla="*/ 956667 w 1886531"/>
                <a:gd name="connsiteY39" fmla="*/ 977061 h 1865440"/>
                <a:gd name="connsiteX40" fmla="*/ 991893 w 1886531"/>
                <a:gd name="connsiteY40" fmla="*/ 1012178 h 1865440"/>
                <a:gd name="connsiteX41" fmla="*/ 956667 w 1886531"/>
                <a:gd name="connsiteY41" fmla="*/ 1047848 h 1865440"/>
                <a:gd name="connsiteX42" fmla="*/ 921883 w 1886531"/>
                <a:gd name="connsiteY42" fmla="*/ 1012178 h 1865440"/>
                <a:gd name="connsiteX43" fmla="*/ 956667 w 1886531"/>
                <a:gd name="connsiteY43" fmla="*/ 977061 h 1865440"/>
                <a:gd name="connsiteX44" fmla="*/ 757584 w 1886531"/>
                <a:gd name="connsiteY44" fmla="*/ 977061 h 1865440"/>
                <a:gd name="connsiteX45" fmla="*/ 792755 w 1886531"/>
                <a:gd name="connsiteY45" fmla="*/ 1012178 h 1865440"/>
                <a:gd name="connsiteX46" fmla="*/ 757584 w 1886531"/>
                <a:gd name="connsiteY46" fmla="*/ 1047848 h 1865440"/>
                <a:gd name="connsiteX47" fmla="*/ 721967 w 1886531"/>
                <a:gd name="connsiteY47" fmla="*/ 1012178 h 1865440"/>
                <a:gd name="connsiteX48" fmla="*/ 757584 w 1886531"/>
                <a:gd name="connsiteY48" fmla="*/ 977061 h 1865440"/>
                <a:gd name="connsiteX49" fmla="*/ 503383 w 1886531"/>
                <a:gd name="connsiteY49" fmla="*/ 976160 h 1865440"/>
                <a:gd name="connsiteX50" fmla="*/ 465239 w 1886531"/>
                <a:gd name="connsiteY50" fmla="*/ 1014376 h 1865440"/>
                <a:gd name="connsiteX51" fmla="*/ 465239 w 1886531"/>
                <a:gd name="connsiteY51" fmla="*/ 1071699 h 1865440"/>
                <a:gd name="connsiteX52" fmla="*/ 356187 w 1886531"/>
                <a:gd name="connsiteY52" fmla="*/ 1071699 h 1865440"/>
                <a:gd name="connsiteX53" fmla="*/ 329276 w 1886531"/>
                <a:gd name="connsiteY53" fmla="*/ 1082884 h 1865440"/>
                <a:gd name="connsiteX54" fmla="*/ 256497 w 1886531"/>
                <a:gd name="connsiteY54" fmla="*/ 1155354 h 1865440"/>
                <a:gd name="connsiteX55" fmla="*/ 245264 w 1886531"/>
                <a:gd name="connsiteY55" fmla="*/ 1182152 h 1865440"/>
                <a:gd name="connsiteX56" fmla="*/ 245264 w 1886531"/>
                <a:gd name="connsiteY56" fmla="*/ 1248796 h 1865440"/>
                <a:gd name="connsiteX57" fmla="*/ 223267 w 1886531"/>
                <a:gd name="connsiteY57" fmla="*/ 1294702 h 1865440"/>
                <a:gd name="connsiteX58" fmla="*/ 283643 w 1886531"/>
                <a:gd name="connsiteY58" fmla="*/ 1354821 h 1865440"/>
                <a:gd name="connsiteX59" fmla="*/ 343785 w 1886531"/>
                <a:gd name="connsiteY59" fmla="*/ 1294702 h 1865440"/>
                <a:gd name="connsiteX60" fmla="*/ 321787 w 1886531"/>
                <a:gd name="connsiteY60" fmla="*/ 1248796 h 1865440"/>
                <a:gd name="connsiteX61" fmla="*/ 321787 w 1886531"/>
                <a:gd name="connsiteY61" fmla="*/ 1197997 h 1865440"/>
                <a:gd name="connsiteX62" fmla="*/ 372101 w 1886531"/>
                <a:gd name="connsiteY62" fmla="*/ 1147898 h 1865440"/>
                <a:gd name="connsiteX63" fmla="*/ 465239 w 1886531"/>
                <a:gd name="connsiteY63" fmla="*/ 1147898 h 1865440"/>
                <a:gd name="connsiteX64" fmla="*/ 465239 w 1886531"/>
                <a:gd name="connsiteY64" fmla="*/ 1210581 h 1865440"/>
                <a:gd name="connsiteX65" fmla="*/ 503383 w 1886531"/>
                <a:gd name="connsiteY65" fmla="*/ 1248796 h 1865440"/>
                <a:gd name="connsiteX66" fmla="*/ 698786 w 1886531"/>
                <a:gd name="connsiteY66" fmla="*/ 1248796 h 1865440"/>
                <a:gd name="connsiteX67" fmla="*/ 737165 w 1886531"/>
                <a:gd name="connsiteY67" fmla="*/ 1210581 h 1865440"/>
                <a:gd name="connsiteX68" fmla="*/ 698786 w 1886531"/>
                <a:gd name="connsiteY68" fmla="*/ 1172598 h 1865440"/>
                <a:gd name="connsiteX69" fmla="*/ 541762 w 1886531"/>
                <a:gd name="connsiteY69" fmla="*/ 1172598 h 1865440"/>
                <a:gd name="connsiteX70" fmla="*/ 541762 w 1886531"/>
                <a:gd name="connsiteY70" fmla="*/ 1014376 h 1865440"/>
                <a:gd name="connsiteX71" fmla="*/ 503383 w 1886531"/>
                <a:gd name="connsiteY71" fmla="*/ 976160 h 1865440"/>
                <a:gd name="connsiteX72" fmla="*/ 1382393 w 1886531"/>
                <a:gd name="connsiteY72" fmla="*/ 960587 h 1865440"/>
                <a:gd name="connsiteX73" fmla="*/ 1344014 w 1886531"/>
                <a:gd name="connsiteY73" fmla="*/ 998566 h 1865440"/>
                <a:gd name="connsiteX74" fmla="*/ 1344014 w 1886531"/>
                <a:gd name="connsiteY74" fmla="*/ 1172616 h 1865440"/>
                <a:gd name="connsiteX75" fmla="*/ 1186990 w 1886531"/>
                <a:gd name="connsiteY75" fmla="*/ 1172616 h 1865440"/>
                <a:gd name="connsiteX76" fmla="*/ 1148611 w 1886531"/>
                <a:gd name="connsiteY76" fmla="*/ 1210595 h 1865440"/>
                <a:gd name="connsiteX77" fmla="*/ 1186990 w 1886531"/>
                <a:gd name="connsiteY77" fmla="*/ 1248807 h 1865440"/>
                <a:gd name="connsiteX78" fmla="*/ 1382393 w 1886531"/>
                <a:gd name="connsiteY78" fmla="*/ 1248807 h 1865440"/>
                <a:gd name="connsiteX79" fmla="*/ 1420537 w 1886531"/>
                <a:gd name="connsiteY79" fmla="*/ 1210595 h 1865440"/>
                <a:gd name="connsiteX80" fmla="*/ 1420537 w 1886531"/>
                <a:gd name="connsiteY80" fmla="*/ 1147918 h 1865440"/>
                <a:gd name="connsiteX81" fmla="*/ 1513675 w 1886531"/>
                <a:gd name="connsiteY81" fmla="*/ 1147918 h 1865440"/>
                <a:gd name="connsiteX82" fmla="*/ 1563989 w 1886531"/>
                <a:gd name="connsiteY82" fmla="*/ 1198013 h 1865440"/>
                <a:gd name="connsiteX83" fmla="*/ 1563989 w 1886531"/>
                <a:gd name="connsiteY83" fmla="*/ 1248807 h 1865440"/>
                <a:gd name="connsiteX84" fmla="*/ 1541991 w 1886531"/>
                <a:gd name="connsiteY84" fmla="*/ 1294708 h 1865440"/>
                <a:gd name="connsiteX85" fmla="*/ 1602133 w 1886531"/>
                <a:gd name="connsiteY85" fmla="*/ 1354821 h 1865440"/>
                <a:gd name="connsiteX86" fmla="*/ 1662509 w 1886531"/>
                <a:gd name="connsiteY86" fmla="*/ 1294708 h 1865440"/>
                <a:gd name="connsiteX87" fmla="*/ 1640512 w 1886531"/>
                <a:gd name="connsiteY87" fmla="*/ 1248807 h 1865440"/>
                <a:gd name="connsiteX88" fmla="*/ 1640512 w 1886531"/>
                <a:gd name="connsiteY88" fmla="*/ 1182169 h 1865440"/>
                <a:gd name="connsiteX89" fmla="*/ 1629279 w 1886531"/>
                <a:gd name="connsiteY89" fmla="*/ 1155374 h 1865440"/>
                <a:gd name="connsiteX90" fmla="*/ 1556500 w 1886531"/>
                <a:gd name="connsiteY90" fmla="*/ 1082912 h 1865440"/>
                <a:gd name="connsiteX91" fmla="*/ 1529588 w 1886531"/>
                <a:gd name="connsiteY91" fmla="*/ 1071728 h 1865440"/>
                <a:gd name="connsiteX92" fmla="*/ 1420537 w 1886531"/>
                <a:gd name="connsiteY92" fmla="*/ 1071728 h 1865440"/>
                <a:gd name="connsiteX93" fmla="*/ 1420537 w 1886531"/>
                <a:gd name="connsiteY93" fmla="*/ 998566 h 1865440"/>
                <a:gd name="connsiteX94" fmla="*/ 1382393 w 1886531"/>
                <a:gd name="connsiteY94" fmla="*/ 960587 h 1865440"/>
                <a:gd name="connsiteX95" fmla="*/ 1436604 w 1886531"/>
                <a:gd name="connsiteY95" fmla="*/ 677001 h 1865440"/>
                <a:gd name="connsiteX96" fmla="*/ 1409497 w 1886531"/>
                <a:gd name="connsiteY96" fmla="*/ 688179 h 1865440"/>
                <a:gd name="connsiteX97" fmla="*/ 1266018 w 1886531"/>
                <a:gd name="connsiteY97" fmla="*/ 831165 h 1865440"/>
                <a:gd name="connsiteX98" fmla="*/ 1266018 w 1886531"/>
                <a:gd name="connsiteY98" fmla="*/ 884960 h 1865440"/>
                <a:gd name="connsiteX99" fmla="*/ 1320232 w 1886531"/>
                <a:gd name="connsiteY99" fmla="*/ 884960 h 1865440"/>
                <a:gd name="connsiteX100" fmla="*/ 1452494 w 1886531"/>
                <a:gd name="connsiteY100" fmla="*/ 753152 h 1865440"/>
                <a:gd name="connsiteX101" fmla="*/ 1539423 w 1886531"/>
                <a:gd name="connsiteY101" fmla="*/ 753152 h 1865440"/>
                <a:gd name="connsiteX102" fmla="*/ 1539423 w 1886531"/>
                <a:gd name="connsiteY102" fmla="*/ 843275 h 1865440"/>
                <a:gd name="connsiteX103" fmla="*/ 1516756 w 1886531"/>
                <a:gd name="connsiteY103" fmla="*/ 889850 h 1865440"/>
                <a:gd name="connsiteX104" fmla="*/ 1577045 w 1886531"/>
                <a:gd name="connsiteY104" fmla="*/ 949932 h 1865440"/>
                <a:gd name="connsiteX105" fmla="*/ 1637101 w 1886531"/>
                <a:gd name="connsiteY105" fmla="*/ 889850 h 1865440"/>
                <a:gd name="connsiteX106" fmla="*/ 1615836 w 1886531"/>
                <a:gd name="connsiteY106" fmla="*/ 844439 h 1865440"/>
                <a:gd name="connsiteX107" fmla="*/ 1615836 w 1886531"/>
                <a:gd name="connsiteY107" fmla="*/ 715192 h 1865440"/>
                <a:gd name="connsiteX108" fmla="*/ 1577512 w 1886531"/>
                <a:gd name="connsiteY108" fmla="*/ 677001 h 1865440"/>
                <a:gd name="connsiteX109" fmla="*/ 1436604 w 1886531"/>
                <a:gd name="connsiteY109" fmla="*/ 677001 h 1865440"/>
                <a:gd name="connsiteX110" fmla="*/ 308264 w 1886531"/>
                <a:gd name="connsiteY110" fmla="*/ 677001 h 1865440"/>
                <a:gd name="connsiteX111" fmla="*/ 269940 w 1886531"/>
                <a:gd name="connsiteY111" fmla="*/ 715192 h 1865440"/>
                <a:gd name="connsiteX112" fmla="*/ 269940 w 1886531"/>
                <a:gd name="connsiteY112" fmla="*/ 844439 h 1865440"/>
                <a:gd name="connsiteX113" fmla="*/ 248675 w 1886531"/>
                <a:gd name="connsiteY113" fmla="*/ 889850 h 1865440"/>
                <a:gd name="connsiteX114" fmla="*/ 308731 w 1886531"/>
                <a:gd name="connsiteY114" fmla="*/ 949932 h 1865440"/>
                <a:gd name="connsiteX115" fmla="*/ 369020 w 1886531"/>
                <a:gd name="connsiteY115" fmla="*/ 889850 h 1865440"/>
                <a:gd name="connsiteX116" fmla="*/ 346353 w 1886531"/>
                <a:gd name="connsiteY116" fmla="*/ 843275 h 1865440"/>
                <a:gd name="connsiteX117" fmla="*/ 346353 w 1886531"/>
                <a:gd name="connsiteY117" fmla="*/ 753152 h 1865440"/>
                <a:gd name="connsiteX118" fmla="*/ 433282 w 1886531"/>
                <a:gd name="connsiteY118" fmla="*/ 753152 h 1865440"/>
                <a:gd name="connsiteX119" fmla="*/ 565778 w 1886531"/>
                <a:gd name="connsiteY119" fmla="*/ 884960 h 1865440"/>
                <a:gd name="connsiteX120" fmla="*/ 619758 w 1886531"/>
                <a:gd name="connsiteY120" fmla="*/ 884960 h 1865440"/>
                <a:gd name="connsiteX121" fmla="*/ 619758 w 1886531"/>
                <a:gd name="connsiteY121" fmla="*/ 831165 h 1865440"/>
                <a:gd name="connsiteX122" fmla="*/ 476279 w 1886531"/>
                <a:gd name="connsiteY122" fmla="*/ 688179 h 1865440"/>
                <a:gd name="connsiteX123" fmla="*/ 449172 w 1886531"/>
                <a:gd name="connsiteY123" fmla="*/ 677001 h 1865440"/>
                <a:gd name="connsiteX124" fmla="*/ 308264 w 1886531"/>
                <a:gd name="connsiteY124" fmla="*/ 677001 h 1865440"/>
                <a:gd name="connsiteX125" fmla="*/ 991423 w 1886531"/>
                <a:gd name="connsiteY125" fmla="*/ 604455 h 1865440"/>
                <a:gd name="connsiteX126" fmla="*/ 1022279 w 1886531"/>
                <a:gd name="connsiteY126" fmla="*/ 623965 h 1865440"/>
                <a:gd name="connsiteX127" fmla="*/ 1129550 w 1886531"/>
                <a:gd name="connsiteY127" fmla="*/ 623965 h 1865440"/>
                <a:gd name="connsiteX128" fmla="*/ 1144198 w 1886531"/>
                <a:gd name="connsiteY128" fmla="*/ 638707 h 1865440"/>
                <a:gd name="connsiteX129" fmla="*/ 1144198 w 1886531"/>
                <a:gd name="connsiteY129" fmla="*/ 946754 h 1865440"/>
                <a:gd name="connsiteX130" fmla="*/ 1144198 w 1886531"/>
                <a:gd name="connsiteY130" fmla="*/ 980452 h 1865440"/>
                <a:gd name="connsiteX131" fmla="*/ 1154112 w 1886531"/>
                <a:gd name="connsiteY131" fmla="*/ 987325 h 1865440"/>
                <a:gd name="connsiteX132" fmla="*/ 1164583 w 1886531"/>
                <a:gd name="connsiteY132" fmla="*/ 1012044 h 1865440"/>
                <a:gd name="connsiteX133" fmla="*/ 1129049 w 1886531"/>
                <a:gd name="connsiteY133" fmla="*/ 1047848 h 1865440"/>
                <a:gd name="connsiteX134" fmla="*/ 1093960 w 1886531"/>
                <a:gd name="connsiteY134" fmla="*/ 1012044 h 1865440"/>
                <a:gd name="connsiteX135" fmla="*/ 1103930 w 1886531"/>
                <a:gd name="connsiteY135" fmla="*/ 987325 h 1865440"/>
                <a:gd name="connsiteX136" fmla="*/ 1114902 w 1886531"/>
                <a:gd name="connsiteY136" fmla="*/ 979953 h 1865440"/>
                <a:gd name="connsiteX137" fmla="*/ 1114902 w 1886531"/>
                <a:gd name="connsiteY137" fmla="*/ 967261 h 1865440"/>
                <a:gd name="connsiteX138" fmla="*/ 1114902 w 1886531"/>
                <a:gd name="connsiteY138" fmla="*/ 653450 h 1865440"/>
                <a:gd name="connsiteX139" fmla="*/ 1023337 w 1886531"/>
                <a:gd name="connsiteY139" fmla="*/ 653450 h 1865440"/>
                <a:gd name="connsiteX140" fmla="*/ 991423 w 1886531"/>
                <a:gd name="connsiteY140" fmla="*/ 675010 h 1865440"/>
                <a:gd name="connsiteX141" fmla="*/ 955332 w 1886531"/>
                <a:gd name="connsiteY141" fmla="*/ 639206 h 1865440"/>
                <a:gd name="connsiteX142" fmla="*/ 991423 w 1886531"/>
                <a:gd name="connsiteY142" fmla="*/ 604455 h 1865440"/>
                <a:gd name="connsiteX143" fmla="*/ 756947 w 1886531"/>
                <a:gd name="connsiteY143" fmla="*/ 604455 h 1865440"/>
                <a:gd name="connsiteX144" fmla="*/ 792483 w 1886531"/>
                <a:gd name="connsiteY144" fmla="*/ 639174 h 1865440"/>
                <a:gd name="connsiteX145" fmla="*/ 771573 w 1886531"/>
                <a:gd name="connsiteY145" fmla="*/ 671291 h 1865440"/>
                <a:gd name="connsiteX146" fmla="*/ 771573 w 1886531"/>
                <a:gd name="connsiteY146" fmla="*/ 832262 h 1865440"/>
                <a:gd name="connsiteX147" fmla="*/ 862998 w 1886531"/>
                <a:gd name="connsiteY147" fmla="*/ 832262 h 1865440"/>
                <a:gd name="connsiteX148" fmla="*/ 862998 w 1886531"/>
                <a:gd name="connsiteY148" fmla="*/ 760222 h 1865440"/>
                <a:gd name="connsiteX149" fmla="*/ 879737 w 1886531"/>
                <a:gd name="connsiteY149" fmla="*/ 743333 h 1865440"/>
                <a:gd name="connsiteX150" fmla="*/ 1024938 w 1886531"/>
                <a:gd name="connsiteY150" fmla="*/ 743333 h 1865440"/>
                <a:gd name="connsiteX151" fmla="*/ 1041677 w 1886531"/>
                <a:gd name="connsiteY151" fmla="*/ 760222 h 1865440"/>
                <a:gd name="connsiteX152" fmla="*/ 1041677 w 1886531"/>
                <a:gd name="connsiteY152" fmla="*/ 912776 h 1865440"/>
                <a:gd name="connsiteX153" fmla="*/ 1024938 w 1886531"/>
                <a:gd name="connsiteY153" fmla="*/ 929610 h 1865440"/>
                <a:gd name="connsiteX154" fmla="*/ 879737 w 1886531"/>
                <a:gd name="connsiteY154" fmla="*/ 929610 h 1865440"/>
                <a:gd name="connsiteX155" fmla="*/ 862998 w 1886531"/>
                <a:gd name="connsiteY155" fmla="*/ 912776 h 1865440"/>
                <a:gd name="connsiteX156" fmla="*/ 862998 w 1886531"/>
                <a:gd name="connsiteY156" fmla="*/ 861722 h 1865440"/>
                <a:gd name="connsiteX157" fmla="*/ 756947 w 1886531"/>
                <a:gd name="connsiteY157" fmla="*/ 861722 h 1865440"/>
                <a:gd name="connsiteX158" fmla="*/ 742321 w 1886531"/>
                <a:gd name="connsiteY158" fmla="*/ 846992 h 1865440"/>
                <a:gd name="connsiteX159" fmla="*/ 742321 w 1886531"/>
                <a:gd name="connsiteY159" fmla="*/ 671291 h 1865440"/>
                <a:gd name="connsiteX160" fmla="*/ 721967 w 1886531"/>
                <a:gd name="connsiteY160" fmla="*/ 639174 h 1865440"/>
                <a:gd name="connsiteX161" fmla="*/ 756947 w 1886531"/>
                <a:gd name="connsiteY161" fmla="*/ 604455 h 1865440"/>
                <a:gd name="connsiteX162" fmla="*/ 729080 w 1886531"/>
                <a:gd name="connsiteY162" fmla="*/ 558559 h 1865440"/>
                <a:gd name="connsiteX163" fmla="*/ 675295 w 1886531"/>
                <a:gd name="connsiteY163" fmla="*/ 612088 h 1865440"/>
                <a:gd name="connsiteX164" fmla="*/ 675295 w 1886531"/>
                <a:gd name="connsiteY164" fmla="*/ 1038772 h 1865440"/>
                <a:gd name="connsiteX165" fmla="*/ 729080 w 1886531"/>
                <a:gd name="connsiteY165" fmla="*/ 1092964 h 1865440"/>
                <a:gd name="connsiteX166" fmla="*/ 833315 w 1886531"/>
                <a:gd name="connsiteY166" fmla="*/ 1092964 h 1865440"/>
                <a:gd name="connsiteX167" fmla="*/ 904366 w 1886531"/>
                <a:gd name="connsiteY167" fmla="*/ 1092964 h 1865440"/>
                <a:gd name="connsiteX168" fmla="*/ 904366 w 1886531"/>
                <a:gd name="connsiteY168" fmla="*/ 1118748 h 1865440"/>
                <a:gd name="connsiteX169" fmla="*/ 904366 w 1886531"/>
                <a:gd name="connsiteY169" fmla="*/ 1338097 h 1865440"/>
                <a:gd name="connsiteX170" fmla="*/ 833879 w 1886531"/>
                <a:gd name="connsiteY170" fmla="*/ 1439792 h 1865440"/>
                <a:gd name="connsiteX171" fmla="*/ 942771 w 1886531"/>
                <a:gd name="connsiteY171" fmla="*/ 1548250 h 1865440"/>
                <a:gd name="connsiteX172" fmla="*/ 1051897 w 1886531"/>
                <a:gd name="connsiteY172" fmla="*/ 1439792 h 1865440"/>
                <a:gd name="connsiteX173" fmla="*/ 981176 w 1886531"/>
                <a:gd name="connsiteY173" fmla="*/ 1338097 h 1865440"/>
                <a:gd name="connsiteX174" fmla="*/ 981176 w 1886531"/>
                <a:gd name="connsiteY174" fmla="*/ 1179947 h 1865440"/>
                <a:gd name="connsiteX175" fmla="*/ 981176 w 1886531"/>
                <a:gd name="connsiteY175" fmla="*/ 1092964 h 1865440"/>
                <a:gd name="connsiteX176" fmla="*/ 1015101 w 1886531"/>
                <a:gd name="connsiteY176" fmla="*/ 1092964 h 1865440"/>
                <a:gd name="connsiteX177" fmla="*/ 1156027 w 1886531"/>
                <a:gd name="connsiteY177" fmla="*/ 1092964 h 1865440"/>
                <a:gd name="connsiteX178" fmla="*/ 1210479 w 1886531"/>
                <a:gd name="connsiteY178" fmla="*/ 1038772 h 1865440"/>
                <a:gd name="connsiteX179" fmla="*/ 1210479 w 1886531"/>
                <a:gd name="connsiteY179" fmla="*/ 612088 h 1865440"/>
                <a:gd name="connsiteX180" fmla="*/ 1156027 w 1886531"/>
                <a:gd name="connsiteY180" fmla="*/ 558559 h 1865440"/>
                <a:gd name="connsiteX181" fmla="*/ 729080 w 1886531"/>
                <a:gd name="connsiteY181" fmla="*/ 558559 h 1865440"/>
                <a:gd name="connsiteX182" fmla="*/ 942888 w 1886531"/>
                <a:gd name="connsiteY182" fmla="*/ 295880 h 1865440"/>
                <a:gd name="connsiteX183" fmla="*/ 985508 w 1886531"/>
                <a:gd name="connsiteY183" fmla="*/ 338091 h 1865440"/>
                <a:gd name="connsiteX184" fmla="*/ 942888 w 1886531"/>
                <a:gd name="connsiteY184" fmla="*/ 380301 h 1865440"/>
                <a:gd name="connsiteX185" fmla="*/ 900268 w 1886531"/>
                <a:gd name="connsiteY185" fmla="*/ 338091 h 1865440"/>
                <a:gd name="connsiteX186" fmla="*/ 942888 w 1886531"/>
                <a:gd name="connsiteY186" fmla="*/ 295880 h 1865440"/>
                <a:gd name="connsiteX187" fmla="*/ 942771 w 1886531"/>
                <a:gd name="connsiteY187" fmla="*/ 229491 h 1865440"/>
                <a:gd name="connsiteX188" fmla="*/ 833879 w 1886531"/>
                <a:gd name="connsiteY188" fmla="*/ 337950 h 1865440"/>
                <a:gd name="connsiteX189" fmla="*/ 904366 w 1886531"/>
                <a:gd name="connsiteY189" fmla="*/ 439644 h 1865440"/>
                <a:gd name="connsiteX190" fmla="*/ 904366 w 1886531"/>
                <a:gd name="connsiteY190" fmla="*/ 558558 h 1865440"/>
                <a:gd name="connsiteX191" fmla="*/ 927022 w 1886531"/>
                <a:gd name="connsiteY191" fmla="*/ 558558 h 1865440"/>
                <a:gd name="connsiteX192" fmla="*/ 975909 w 1886531"/>
                <a:gd name="connsiteY192" fmla="*/ 558558 h 1865440"/>
                <a:gd name="connsiteX193" fmla="*/ 981176 w 1886531"/>
                <a:gd name="connsiteY193" fmla="*/ 558558 h 1865440"/>
                <a:gd name="connsiteX194" fmla="*/ 981176 w 1886531"/>
                <a:gd name="connsiteY194" fmla="*/ 551951 h 1865440"/>
                <a:gd name="connsiteX195" fmla="*/ 981176 w 1886531"/>
                <a:gd name="connsiteY195" fmla="*/ 439644 h 1865440"/>
                <a:gd name="connsiteX196" fmla="*/ 1051897 w 1886531"/>
                <a:gd name="connsiteY196" fmla="*/ 337950 h 1865440"/>
                <a:gd name="connsiteX197" fmla="*/ 942771 w 1886531"/>
                <a:gd name="connsiteY197" fmla="*/ 229491 h 1865440"/>
                <a:gd name="connsiteX198" fmla="*/ 1247488 w 1886531"/>
                <a:gd name="connsiteY198" fmla="*/ 189331 h 1865440"/>
                <a:gd name="connsiteX199" fmla="*/ 1187133 w 1886531"/>
                <a:gd name="connsiteY199" fmla="*/ 249137 h 1865440"/>
                <a:gd name="connsiteX200" fmla="*/ 1209123 w 1886531"/>
                <a:gd name="connsiteY200" fmla="*/ 295214 h 1865440"/>
                <a:gd name="connsiteX201" fmla="*/ 1209123 w 1886531"/>
                <a:gd name="connsiteY201" fmla="*/ 463695 h 1865440"/>
                <a:gd name="connsiteX202" fmla="*/ 1247488 w 1886531"/>
                <a:gd name="connsiteY202" fmla="*/ 501626 h 1865440"/>
                <a:gd name="connsiteX203" fmla="*/ 1420833 w 1886531"/>
                <a:gd name="connsiteY203" fmla="*/ 501626 h 1865440"/>
                <a:gd name="connsiteX204" fmla="*/ 1467152 w 1886531"/>
                <a:gd name="connsiteY204" fmla="*/ 523733 h 1865440"/>
                <a:gd name="connsiteX205" fmla="*/ 1527273 w 1886531"/>
                <a:gd name="connsiteY205" fmla="*/ 463695 h 1865440"/>
                <a:gd name="connsiteX206" fmla="*/ 1467152 w 1886531"/>
                <a:gd name="connsiteY206" fmla="*/ 403656 h 1865440"/>
                <a:gd name="connsiteX207" fmla="*/ 1420833 w 1886531"/>
                <a:gd name="connsiteY207" fmla="*/ 425531 h 1865440"/>
                <a:gd name="connsiteX208" fmla="*/ 1285619 w 1886531"/>
                <a:gd name="connsiteY208" fmla="*/ 425531 h 1865440"/>
                <a:gd name="connsiteX209" fmla="*/ 1285619 w 1886531"/>
                <a:gd name="connsiteY209" fmla="*/ 295214 h 1865440"/>
                <a:gd name="connsiteX210" fmla="*/ 1307843 w 1886531"/>
                <a:gd name="connsiteY210" fmla="*/ 249137 h 1865440"/>
                <a:gd name="connsiteX211" fmla="*/ 1247488 w 1886531"/>
                <a:gd name="connsiteY211" fmla="*/ 189331 h 1865440"/>
                <a:gd name="connsiteX212" fmla="*/ 638288 w 1886531"/>
                <a:gd name="connsiteY212" fmla="*/ 189331 h 1865440"/>
                <a:gd name="connsiteX213" fmla="*/ 577933 w 1886531"/>
                <a:gd name="connsiteY213" fmla="*/ 249137 h 1865440"/>
                <a:gd name="connsiteX214" fmla="*/ 600157 w 1886531"/>
                <a:gd name="connsiteY214" fmla="*/ 295214 h 1865440"/>
                <a:gd name="connsiteX215" fmla="*/ 600157 w 1886531"/>
                <a:gd name="connsiteY215" fmla="*/ 425531 h 1865440"/>
                <a:gd name="connsiteX216" fmla="*/ 464943 w 1886531"/>
                <a:gd name="connsiteY216" fmla="*/ 425531 h 1865440"/>
                <a:gd name="connsiteX217" fmla="*/ 418624 w 1886531"/>
                <a:gd name="connsiteY217" fmla="*/ 403656 h 1865440"/>
                <a:gd name="connsiteX218" fmla="*/ 358503 w 1886531"/>
                <a:gd name="connsiteY218" fmla="*/ 463695 h 1865440"/>
                <a:gd name="connsiteX219" fmla="*/ 418624 w 1886531"/>
                <a:gd name="connsiteY219" fmla="*/ 523733 h 1865440"/>
                <a:gd name="connsiteX220" fmla="*/ 464943 w 1886531"/>
                <a:gd name="connsiteY220" fmla="*/ 501626 h 1865440"/>
                <a:gd name="connsiteX221" fmla="*/ 638288 w 1886531"/>
                <a:gd name="connsiteY221" fmla="*/ 501626 h 1865440"/>
                <a:gd name="connsiteX222" fmla="*/ 676653 w 1886531"/>
                <a:gd name="connsiteY222" fmla="*/ 463695 h 1865440"/>
                <a:gd name="connsiteX223" fmla="*/ 676653 w 1886531"/>
                <a:gd name="connsiteY223" fmla="*/ 295214 h 1865440"/>
                <a:gd name="connsiteX224" fmla="*/ 698643 w 1886531"/>
                <a:gd name="connsiteY224" fmla="*/ 249137 h 1865440"/>
                <a:gd name="connsiteX225" fmla="*/ 638288 w 1886531"/>
                <a:gd name="connsiteY225" fmla="*/ 189331 h 1865440"/>
                <a:gd name="connsiteX226" fmla="*/ 716922 w 1886531"/>
                <a:gd name="connsiteY226" fmla="*/ 0 h 1865440"/>
                <a:gd name="connsiteX227" fmla="*/ 896209 w 1886531"/>
                <a:gd name="connsiteY227" fmla="*/ 75317 h 1865440"/>
                <a:gd name="connsiteX228" fmla="*/ 942841 w 1886531"/>
                <a:gd name="connsiteY228" fmla="*/ 141074 h 1865440"/>
                <a:gd name="connsiteX229" fmla="*/ 989700 w 1886531"/>
                <a:gd name="connsiteY229" fmla="*/ 75317 h 1865440"/>
                <a:gd name="connsiteX230" fmla="*/ 1168761 w 1886531"/>
                <a:gd name="connsiteY230" fmla="*/ 0 h 1865440"/>
                <a:gd name="connsiteX231" fmla="*/ 1422977 w 1886531"/>
                <a:gd name="connsiteY231" fmla="*/ 240642 h 1865440"/>
                <a:gd name="connsiteX232" fmla="*/ 1588003 w 1886531"/>
                <a:gd name="connsiteY232" fmla="*/ 317591 h 1865440"/>
                <a:gd name="connsiteX233" fmla="*/ 1650482 w 1886531"/>
                <a:gd name="connsiteY233" fmla="*/ 585515 h 1865440"/>
                <a:gd name="connsiteX234" fmla="*/ 1825015 w 1886531"/>
                <a:gd name="connsiteY234" fmla="*/ 834085 h 1865440"/>
                <a:gd name="connsiteX235" fmla="*/ 1795360 w 1886531"/>
                <a:gd name="connsiteY235" fmla="*/ 956038 h 1865440"/>
                <a:gd name="connsiteX236" fmla="*/ 1795360 w 1886531"/>
                <a:gd name="connsiteY236" fmla="*/ 1405143 h 1865440"/>
                <a:gd name="connsiteX237" fmla="*/ 1662932 w 1886531"/>
                <a:gd name="connsiteY237" fmla="*/ 1485357 h 1865440"/>
                <a:gd name="connsiteX238" fmla="*/ 1285796 w 1886531"/>
                <a:gd name="connsiteY238" fmla="*/ 1865440 h 1865440"/>
                <a:gd name="connsiteX239" fmla="*/ 942841 w 1886531"/>
                <a:gd name="connsiteY239" fmla="*/ 1639256 h 1865440"/>
                <a:gd name="connsiteX240" fmla="*/ 600113 w 1886531"/>
                <a:gd name="connsiteY240" fmla="*/ 1865440 h 1865440"/>
                <a:gd name="connsiteX241" fmla="*/ 222977 w 1886531"/>
                <a:gd name="connsiteY241" fmla="*/ 1485357 h 1865440"/>
                <a:gd name="connsiteX242" fmla="*/ 90549 w 1886531"/>
                <a:gd name="connsiteY242" fmla="*/ 1405143 h 1865440"/>
                <a:gd name="connsiteX243" fmla="*/ 0 w 1886531"/>
                <a:gd name="connsiteY243" fmla="*/ 1180591 h 1865440"/>
                <a:gd name="connsiteX244" fmla="*/ 90549 w 1886531"/>
                <a:gd name="connsiteY244" fmla="*/ 956038 h 1865440"/>
                <a:gd name="connsiteX245" fmla="*/ 60894 w 1886531"/>
                <a:gd name="connsiteY245" fmla="*/ 834085 h 1865440"/>
                <a:gd name="connsiteX246" fmla="*/ 235427 w 1886531"/>
                <a:gd name="connsiteY246" fmla="*/ 585515 h 1865440"/>
                <a:gd name="connsiteX247" fmla="*/ 297680 w 1886531"/>
                <a:gd name="connsiteY247" fmla="*/ 317591 h 1865440"/>
                <a:gd name="connsiteX248" fmla="*/ 462932 w 1886531"/>
                <a:gd name="connsiteY248" fmla="*/ 240642 h 1865440"/>
                <a:gd name="connsiteX249" fmla="*/ 716922 w 1886531"/>
                <a:gd name="connsiteY249" fmla="*/ 0 h 1865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</a:cxnLst>
              <a:rect l="l" t="t" r="r" b="b"/>
              <a:pathLst>
                <a:path w="1886531" h="1865440">
                  <a:moveTo>
                    <a:pt x="942888" y="1397441"/>
                  </a:moveTo>
                  <a:cubicBezTo>
                    <a:pt x="966426" y="1397441"/>
                    <a:pt x="985508" y="1416339"/>
                    <a:pt x="985508" y="1439651"/>
                  </a:cubicBezTo>
                  <a:cubicBezTo>
                    <a:pt x="985508" y="1462963"/>
                    <a:pt x="966426" y="1481862"/>
                    <a:pt x="942888" y="1481862"/>
                  </a:cubicBezTo>
                  <a:cubicBezTo>
                    <a:pt x="919349" y="1481862"/>
                    <a:pt x="900268" y="1462963"/>
                    <a:pt x="900268" y="1439651"/>
                  </a:cubicBezTo>
                  <a:cubicBezTo>
                    <a:pt x="900268" y="1416339"/>
                    <a:pt x="919349" y="1397441"/>
                    <a:pt x="942888" y="1397441"/>
                  </a:cubicBezTo>
                  <a:close/>
                  <a:moveTo>
                    <a:pt x="1187245" y="1320856"/>
                  </a:moveTo>
                  <a:cubicBezTo>
                    <a:pt x="1177497" y="1320856"/>
                    <a:pt x="1167748" y="1324593"/>
                    <a:pt x="1160276" y="1332068"/>
                  </a:cubicBezTo>
                  <a:cubicBezTo>
                    <a:pt x="1145333" y="1347017"/>
                    <a:pt x="1145333" y="1371308"/>
                    <a:pt x="1160276" y="1386023"/>
                  </a:cubicBezTo>
                  <a:cubicBezTo>
                    <a:pt x="1247837" y="1473612"/>
                    <a:pt x="1247837" y="1473612"/>
                    <a:pt x="1247837" y="1473612"/>
                  </a:cubicBezTo>
                  <a:cubicBezTo>
                    <a:pt x="1247837" y="1618193"/>
                    <a:pt x="1247837" y="1618193"/>
                    <a:pt x="1247837" y="1618193"/>
                  </a:cubicBezTo>
                  <a:cubicBezTo>
                    <a:pt x="1234528" y="1629170"/>
                    <a:pt x="1225889" y="1645520"/>
                    <a:pt x="1225889" y="1664206"/>
                  </a:cubicBezTo>
                  <a:cubicBezTo>
                    <a:pt x="1225889" y="1697373"/>
                    <a:pt x="1252740" y="1724467"/>
                    <a:pt x="1285897" y="1724467"/>
                  </a:cubicBezTo>
                  <a:cubicBezTo>
                    <a:pt x="1319053" y="1724467"/>
                    <a:pt x="1346138" y="1697373"/>
                    <a:pt x="1346138" y="1664206"/>
                  </a:cubicBezTo>
                  <a:cubicBezTo>
                    <a:pt x="1346138" y="1645520"/>
                    <a:pt x="1337499" y="1629170"/>
                    <a:pt x="1324189" y="1618193"/>
                  </a:cubicBezTo>
                  <a:cubicBezTo>
                    <a:pt x="1324189" y="1457962"/>
                    <a:pt x="1324189" y="1457962"/>
                    <a:pt x="1324189" y="1457962"/>
                  </a:cubicBezTo>
                  <a:cubicBezTo>
                    <a:pt x="1324189" y="1447686"/>
                    <a:pt x="1320220" y="1438109"/>
                    <a:pt x="1312982" y="1430869"/>
                  </a:cubicBezTo>
                  <a:cubicBezTo>
                    <a:pt x="1214214" y="1332068"/>
                    <a:pt x="1214214" y="1332068"/>
                    <a:pt x="1214214" y="1332068"/>
                  </a:cubicBezTo>
                  <a:cubicBezTo>
                    <a:pt x="1206742" y="1324593"/>
                    <a:pt x="1196993" y="1320856"/>
                    <a:pt x="1187245" y="1320856"/>
                  </a:cubicBezTo>
                  <a:close/>
                  <a:moveTo>
                    <a:pt x="698531" y="1320856"/>
                  </a:moveTo>
                  <a:cubicBezTo>
                    <a:pt x="688783" y="1320856"/>
                    <a:pt x="679034" y="1324593"/>
                    <a:pt x="671562" y="1332068"/>
                  </a:cubicBezTo>
                  <a:cubicBezTo>
                    <a:pt x="572794" y="1430869"/>
                    <a:pt x="572794" y="1430869"/>
                    <a:pt x="572794" y="1430869"/>
                  </a:cubicBezTo>
                  <a:cubicBezTo>
                    <a:pt x="565556" y="1438109"/>
                    <a:pt x="561586" y="1447686"/>
                    <a:pt x="561586" y="1457962"/>
                  </a:cubicBezTo>
                  <a:cubicBezTo>
                    <a:pt x="561586" y="1618193"/>
                    <a:pt x="561586" y="1618193"/>
                    <a:pt x="561586" y="1618193"/>
                  </a:cubicBezTo>
                  <a:cubicBezTo>
                    <a:pt x="548277" y="1629170"/>
                    <a:pt x="539638" y="1645520"/>
                    <a:pt x="539638" y="1664206"/>
                  </a:cubicBezTo>
                  <a:cubicBezTo>
                    <a:pt x="539638" y="1697373"/>
                    <a:pt x="566723" y="1724467"/>
                    <a:pt x="599879" y="1724467"/>
                  </a:cubicBezTo>
                  <a:cubicBezTo>
                    <a:pt x="633036" y="1724467"/>
                    <a:pt x="659887" y="1697373"/>
                    <a:pt x="659887" y="1664206"/>
                  </a:cubicBezTo>
                  <a:cubicBezTo>
                    <a:pt x="659887" y="1645520"/>
                    <a:pt x="651248" y="1629170"/>
                    <a:pt x="637939" y="1618193"/>
                  </a:cubicBezTo>
                  <a:cubicBezTo>
                    <a:pt x="637939" y="1473612"/>
                    <a:pt x="637939" y="1473612"/>
                    <a:pt x="637939" y="1473612"/>
                  </a:cubicBezTo>
                  <a:cubicBezTo>
                    <a:pt x="725500" y="1386023"/>
                    <a:pt x="725500" y="1386023"/>
                    <a:pt x="725500" y="1386023"/>
                  </a:cubicBezTo>
                  <a:cubicBezTo>
                    <a:pt x="740443" y="1371308"/>
                    <a:pt x="740443" y="1347017"/>
                    <a:pt x="725500" y="1332068"/>
                  </a:cubicBezTo>
                  <a:cubicBezTo>
                    <a:pt x="718028" y="1324593"/>
                    <a:pt x="708279" y="1320856"/>
                    <a:pt x="698531" y="1320856"/>
                  </a:cubicBezTo>
                  <a:close/>
                  <a:moveTo>
                    <a:pt x="904366" y="1092963"/>
                  </a:moveTo>
                  <a:lnTo>
                    <a:pt x="909198" y="1092963"/>
                  </a:lnTo>
                  <a:cubicBezTo>
                    <a:pt x="924208" y="1092963"/>
                    <a:pt x="940469" y="1092963"/>
                    <a:pt x="958085" y="1092963"/>
                  </a:cubicBezTo>
                  <a:lnTo>
                    <a:pt x="981176" y="1092963"/>
                  </a:lnTo>
                  <a:lnTo>
                    <a:pt x="981176" y="1092964"/>
                  </a:lnTo>
                  <a:lnTo>
                    <a:pt x="958085" y="1092964"/>
                  </a:lnTo>
                  <a:cubicBezTo>
                    <a:pt x="940469" y="1092964"/>
                    <a:pt x="924208" y="1092964"/>
                    <a:pt x="909198" y="1092964"/>
                  </a:cubicBezTo>
                  <a:lnTo>
                    <a:pt x="904366" y="1092964"/>
                  </a:lnTo>
                  <a:close/>
                  <a:moveTo>
                    <a:pt x="956667" y="977061"/>
                  </a:moveTo>
                  <a:cubicBezTo>
                    <a:pt x="976378" y="977061"/>
                    <a:pt x="991893" y="992798"/>
                    <a:pt x="991893" y="1012178"/>
                  </a:cubicBezTo>
                  <a:cubicBezTo>
                    <a:pt x="991893" y="1031615"/>
                    <a:pt x="976378" y="1047848"/>
                    <a:pt x="956667" y="1047848"/>
                  </a:cubicBezTo>
                  <a:cubicBezTo>
                    <a:pt x="937453" y="1047848"/>
                    <a:pt x="921883" y="1031615"/>
                    <a:pt x="921883" y="1012178"/>
                  </a:cubicBezTo>
                  <a:cubicBezTo>
                    <a:pt x="921883" y="992798"/>
                    <a:pt x="937453" y="977061"/>
                    <a:pt x="956667" y="977061"/>
                  </a:cubicBezTo>
                  <a:close/>
                  <a:moveTo>
                    <a:pt x="757584" y="977061"/>
                  </a:moveTo>
                  <a:cubicBezTo>
                    <a:pt x="777012" y="977061"/>
                    <a:pt x="792755" y="992798"/>
                    <a:pt x="792755" y="1012178"/>
                  </a:cubicBezTo>
                  <a:cubicBezTo>
                    <a:pt x="792755" y="1031615"/>
                    <a:pt x="777012" y="1047848"/>
                    <a:pt x="757584" y="1047848"/>
                  </a:cubicBezTo>
                  <a:cubicBezTo>
                    <a:pt x="737710" y="1047848"/>
                    <a:pt x="721967" y="1031615"/>
                    <a:pt x="721967" y="1012178"/>
                  </a:cubicBezTo>
                  <a:cubicBezTo>
                    <a:pt x="721967" y="992798"/>
                    <a:pt x="737710" y="977061"/>
                    <a:pt x="757584" y="977061"/>
                  </a:cubicBezTo>
                  <a:close/>
                  <a:moveTo>
                    <a:pt x="503383" y="976160"/>
                  </a:moveTo>
                  <a:cubicBezTo>
                    <a:pt x="482322" y="976160"/>
                    <a:pt x="465239" y="993404"/>
                    <a:pt x="465239" y="1014376"/>
                  </a:cubicBezTo>
                  <a:cubicBezTo>
                    <a:pt x="465239" y="1071699"/>
                    <a:pt x="465239" y="1071699"/>
                    <a:pt x="465239" y="1071699"/>
                  </a:cubicBezTo>
                  <a:cubicBezTo>
                    <a:pt x="356187" y="1071699"/>
                    <a:pt x="356187" y="1071699"/>
                    <a:pt x="356187" y="1071699"/>
                  </a:cubicBezTo>
                  <a:cubicBezTo>
                    <a:pt x="346125" y="1071699"/>
                    <a:pt x="336296" y="1075661"/>
                    <a:pt x="329276" y="1082884"/>
                  </a:cubicBezTo>
                  <a:cubicBezTo>
                    <a:pt x="256497" y="1155354"/>
                    <a:pt x="256497" y="1155354"/>
                    <a:pt x="256497" y="1155354"/>
                  </a:cubicBezTo>
                  <a:cubicBezTo>
                    <a:pt x="249243" y="1162345"/>
                    <a:pt x="245264" y="1172132"/>
                    <a:pt x="245264" y="1182152"/>
                  </a:cubicBezTo>
                  <a:cubicBezTo>
                    <a:pt x="245264" y="1248796"/>
                    <a:pt x="245264" y="1248796"/>
                    <a:pt x="245264" y="1248796"/>
                  </a:cubicBezTo>
                  <a:cubicBezTo>
                    <a:pt x="231925" y="1259748"/>
                    <a:pt x="223267" y="1276060"/>
                    <a:pt x="223267" y="1294702"/>
                  </a:cubicBezTo>
                  <a:cubicBezTo>
                    <a:pt x="223267" y="1327791"/>
                    <a:pt x="250413" y="1354821"/>
                    <a:pt x="283643" y="1354821"/>
                  </a:cubicBezTo>
                  <a:cubicBezTo>
                    <a:pt x="316873" y="1354821"/>
                    <a:pt x="343785" y="1327791"/>
                    <a:pt x="343785" y="1294702"/>
                  </a:cubicBezTo>
                  <a:cubicBezTo>
                    <a:pt x="343785" y="1276060"/>
                    <a:pt x="335126" y="1259748"/>
                    <a:pt x="321787" y="1248796"/>
                  </a:cubicBezTo>
                  <a:cubicBezTo>
                    <a:pt x="321787" y="1197997"/>
                    <a:pt x="321787" y="1197997"/>
                    <a:pt x="321787" y="1197997"/>
                  </a:cubicBezTo>
                  <a:cubicBezTo>
                    <a:pt x="372101" y="1147898"/>
                    <a:pt x="372101" y="1147898"/>
                    <a:pt x="372101" y="1147898"/>
                  </a:cubicBezTo>
                  <a:cubicBezTo>
                    <a:pt x="465239" y="1147898"/>
                    <a:pt x="465239" y="1147898"/>
                    <a:pt x="465239" y="1147898"/>
                  </a:cubicBezTo>
                  <a:cubicBezTo>
                    <a:pt x="465239" y="1210581"/>
                    <a:pt x="465239" y="1210581"/>
                    <a:pt x="465239" y="1210581"/>
                  </a:cubicBezTo>
                  <a:cubicBezTo>
                    <a:pt x="465239" y="1231552"/>
                    <a:pt x="482322" y="1248796"/>
                    <a:pt x="503383" y="1248796"/>
                  </a:cubicBezTo>
                  <a:cubicBezTo>
                    <a:pt x="698786" y="1248796"/>
                    <a:pt x="698786" y="1248796"/>
                    <a:pt x="698786" y="1248796"/>
                  </a:cubicBezTo>
                  <a:cubicBezTo>
                    <a:pt x="719848" y="1248796"/>
                    <a:pt x="737165" y="1231552"/>
                    <a:pt x="737165" y="1210581"/>
                  </a:cubicBezTo>
                  <a:cubicBezTo>
                    <a:pt x="737165" y="1189608"/>
                    <a:pt x="719848" y="1172598"/>
                    <a:pt x="698786" y="1172598"/>
                  </a:cubicBezTo>
                  <a:cubicBezTo>
                    <a:pt x="541762" y="1172598"/>
                    <a:pt x="541762" y="1172598"/>
                    <a:pt x="541762" y="1172598"/>
                  </a:cubicBezTo>
                  <a:cubicBezTo>
                    <a:pt x="541762" y="1014376"/>
                    <a:pt x="541762" y="1014376"/>
                    <a:pt x="541762" y="1014376"/>
                  </a:cubicBezTo>
                  <a:cubicBezTo>
                    <a:pt x="541762" y="993404"/>
                    <a:pt x="524445" y="976160"/>
                    <a:pt x="503383" y="976160"/>
                  </a:cubicBezTo>
                  <a:close/>
                  <a:moveTo>
                    <a:pt x="1382393" y="960587"/>
                  </a:moveTo>
                  <a:cubicBezTo>
                    <a:pt x="1361097" y="960587"/>
                    <a:pt x="1344014" y="977596"/>
                    <a:pt x="1344014" y="998566"/>
                  </a:cubicBezTo>
                  <a:cubicBezTo>
                    <a:pt x="1344014" y="1172616"/>
                    <a:pt x="1344014" y="1172616"/>
                    <a:pt x="1344014" y="1172616"/>
                  </a:cubicBezTo>
                  <a:cubicBezTo>
                    <a:pt x="1186990" y="1172616"/>
                    <a:pt x="1186990" y="1172616"/>
                    <a:pt x="1186990" y="1172616"/>
                  </a:cubicBezTo>
                  <a:cubicBezTo>
                    <a:pt x="1165929" y="1172616"/>
                    <a:pt x="1148611" y="1189625"/>
                    <a:pt x="1148611" y="1210595"/>
                  </a:cubicBezTo>
                  <a:cubicBezTo>
                    <a:pt x="1148611" y="1231565"/>
                    <a:pt x="1165929" y="1248807"/>
                    <a:pt x="1186990" y="1248807"/>
                  </a:cubicBezTo>
                  <a:cubicBezTo>
                    <a:pt x="1382393" y="1248807"/>
                    <a:pt x="1382393" y="1248807"/>
                    <a:pt x="1382393" y="1248807"/>
                  </a:cubicBezTo>
                  <a:cubicBezTo>
                    <a:pt x="1403454" y="1248807"/>
                    <a:pt x="1420537" y="1231565"/>
                    <a:pt x="1420537" y="1210595"/>
                  </a:cubicBezTo>
                  <a:cubicBezTo>
                    <a:pt x="1420537" y="1147918"/>
                    <a:pt x="1420537" y="1147918"/>
                    <a:pt x="1420537" y="1147918"/>
                  </a:cubicBezTo>
                  <a:cubicBezTo>
                    <a:pt x="1513675" y="1147918"/>
                    <a:pt x="1513675" y="1147918"/>
                    <a:pt x="1513675" y="1147918"/>
                  </a:cubicBezTo>
                  <a:cubicBezTo>
                    <a:pt x="1563989" y="1198013"/>
                    <a:pt x="1563989" y="1198013"/>
                    <a:pt x="1563989" y="1198013"/>
                  </a:cubicBezTo>
                  <a:cubicBezTo>
                    <a:pt x="1563989" y="1248807"/>
                    <a:pt x="1563989" y="1248807"/>
                    <a:pt x="1563989" y="1248807"/>
                  </a:cubicBezTo>
                  <a:cubicBezTo>
                    <a:pt x="1550650" y="1259758"/>
                    <a:pt x="1541991" y="1276068"/>
                    <a:pt x="1541991" y="1294708"/>
                  </a:cubicBezTo>
                  <a:cubicBezTo>
                    <a:pt x="1541991" y="1327793"/>
                    <a:pt x="1568903" y="1354821"/>
                    <a:pt x="1602133" y="1354821"/>
                  </a:cubicBezTo>
                  <a:cubicBezTo>
                    <a:pt x="1635363" y="1354821"/>
                    <a:pt x="1662509" y="1327793"/>
                    <a:pt x="1662509" y="1294708"/>
                  </a:cubicBezTo>
                  <a:cubicBezTo>
                    <a:pt x="1662509" y="1276068"/>
                    <a:pt x="1653851" y="1259758"/>
                    <a:pt x="1640512" y="1248807"/>
                  </a:cubicBezTo>
                  <a:cubicBezTo>
                    <a:pt x="1640512" y="1182169"/>
                    <a:pt x="1640512" y="1182169"/>
                    <a:pt x="1640512" y="1182169"/>
                  </a:cubicBezTo>
                  <a:cubicBezTo>
                    <a:pt x="1640512" y="1172150"/>
                    <a:pt x="1636533" y="1162364"/>
                    <a:pt x="1629279" y="1155374"/>
                  </a:cubicBezTo>
                  <a:cubicBezTo>
                    <a:pt x="1556500" y="1082912"/>
                    <a:pt x="1556500" y="1082912"/>
                    <a:pt x="1556500" y="1082912"/>
                  </a:cubicBezTo>
                  <a:cubicBezTo>
                    <a:pt x="1549480" y="1075689"/>
                    <a:pt x="1539651" y="1071728"/>
                    <a:pt x="1529588" y="1071728"/>
                  </a:cubicBezTo>
                  <a:cubicBezTo>
                    <a:pt x="1420537" y="1071728"/>
                    <a:pt x="1420537" y="1071728"/>
                    <a:pt x="1420537" y="1071728"/>
                  </a:cubicBezTo>
                  <a:cubicBezTo>
                    <a:pt x="1420537" y="998566"/>
                    <a:pt x="1420537" y="998566"/>
                    <a:pt x="1420537" y="998566"/>
                  </a:cubicBezTo>
                  <a:cubicBezTo>
                    <a:pt x="1420537" y="977596"/>
                    <a:pt x="1403454" y="960587"/>
                    <a:pt x="1382393" y="960587"/>
                  </a:cubicBezTo>
                  <a:close/>
                  <a:moveTo>
                    <a:pt x="1436604" y="677001"/>
                  </a:moveTo>
                  <a:cubicBezTo>
                    <a:pt x="1426556" y="677001"/>
                    <a:pt x="1416741" y="680960"/>
                    <a:pt x="1409497" y="688179"/>
                  </a:cubicBezTo>
                  <a:cubicBezTo>
                    <a:pt x="1266018" y="831165"/>
                    <a:pt x="1266018" y="831165"/>
                    <a:pt x="1266018" y="831165"/>
                  </a:cubicBezTo>
                  <a:cubicBezTo>
                    <a:pt x="1251062" y="846069"/>
                    <a:pt x="1251062" y="870289"/>
                    <a:pt x="1266018" y="884960"/>
                  </a:cubicBezTo>
                  <a:cubicBezTo>
                    <a:pt x="1280973" y="899864"/>
                    <a:pt x="1305276" y="899864"/>
                    <a:pt x="1320232" y="884960"/>
                  </a:cubicBezTo>
                  <a:cubicBezTo>
                    <a:pt x="1452494" y="753152"/>
                    <a:pt x="1452494" y="753152"/>
                    <a:pt x="1452494" y="753152"/>
                  </a:cubicBezTo>
                  <a:cubicBezTo>
                    <a:pt x="1539423" y="753152"/>
                    <a:pt x="1539423" y="753152"/>
                    <a:pt x="1539423" y="753152"/>
                  </a:cubicBezTo>
                  <a:cubicBezTo>
                    <a:pt x="1539423" y="843275"/>
                    <a:pt x="1539423" y="843275"/>
                    <a:pt x="1539423" y="843275"/>
                  </a:cubicBezTo>
                  <a:cubicBezTo>
                    <a:pt x="1525636" y="854453"/>
                    <a:pt x="1516756" y="870987"/>
                    <a:pt x="1516756" y="889850"/>
                  </a:cubicBezTo>
                  <a:cubicBezTo>
                    <a:pt x="1516756" y="922919"/>
                    <a:pt x="1543629" y="949932"/>
                    <a:pt x="1577045" y="949932"/>
                  </a:cubicBezTo>
                  <a:cubicBezTo>
                    <a:pt x="1610228" y="949932"/>
                    <a:pt x="1637101" y="922919"/>
                    <a:pt x="1637101" y="889850"/>
                  </a:cubicBezTo>
                  <a:cubicBezTo>
                    <a:pt x="1637101" y="871686"/>
                    <a:pt x="1628688" y="855384"/>
                    <a:pt x="1615836" y="844439"/>
                  </a:cubicBezTo>
                  <a:cubicBezTo>
                    <a:pt x="1615836" y="715192"/>
                    <a:pt x="1615836" y="715192"/>
                    <a:pt x="1615836" y="715192"/>
                  </a:cubicBezTo>
                  <a:cubicBezTo>
                    <a:pt x="1615836" y="694001"/>
                    <a:pt x="1598777" y="677001"/>
                    <a:pt x="1577512" y="677001"/>
                  </a:cubicBezTo>
                  <a:cubicBezTo>
                    <a:pt x="1436604" y="677001"/>
                    <a:pt x="1436604" y="677001"/>
                    <a:pt x="1436604" y="677001"/>
                  </a:cubicBezTo>
                  <a:close/>
                  <a:moveTo>
                    <a:pt x="308264" y="677001"/>
                  </a:moveTo>
                  <a:cubicBezTo>
                    <a:pt x="286999" y="677001"/>
                    <a:pt x="269940" y="694001"/>
                    <a:pt x="269940" y="715192"/>
                  </a:cubicBezTo>
                  <a:cubicBezTo>
                    <a:pt x="269940" y="844439"/>
                    <a:pt x="269940" y="844439"/>
                    <a:pt x="269940" y="844439"/>
                  </a:cubicBezTo>
                  <a:cubicBezTo>
                    <a:pt x="257088" y="855384"/>
                    <a:pt x="248675" y="871686"/>
                    <a:pt x="248675" y="889850"/>
                  </a:cubicBezTo>
                  <a:cubicBezTo>
                    <a:pt x="248675" y="922919"/>
                    <a:pt x="275548" y="949932"/>
                    <a:pt x="308731" y="949932"/>
                  </a:cubicBezTo>
                  <a:cubicBezTo>
                    <a:pt x="342147" y="949932"/>
                    <a:pt x="369020" y="922919"/>
                    <a:pt x="369020" y="889850"/>
                  </a:cubicBezTo>
                  <a:cubicBezTo>
                    <a:pt x="369020" y="870987"/>
                    <a:pt x="360140" y="854453"/>
                    <a:pt x="346353" y="843275"/>
                  </a:cubicBezTo>
                  <a:cubicBezTo>
                    <a:pt x="346353" y="753152"/>
                    <a:pt x="346353" y="753152"/>
                    <a:pt x="346353" y="753152"/>
                  </a:cubicBezTo>
                  <a:cubicBezTo>
                    <a:pt x="433282" y="753152"/>
                    <a:pt x="433282" y="753152"/>
                    <a:pt x="433282" y="753152"/>
                  </a:cubicBezTo>
                  <a:cubicBezTo>
                    <a:pt x="565778" y="884960"/>
                    <a:pt x="565778" y="884960"/>
                    <a:pt x="565778" y="884960"/>
                  </a:cubicBezTo>
                  <a:cubicBezTo>
                    <a:pt x="580500" y="899864"/>
                    <a:pt x="604803" y="899864"/>
                    <a:pt x="619758" y="884960"/>
                  </a:cubicBezTo>
                  <a:cubicBezTo>
                    <a:pt x="634714" y="870289"/>
                    <a:pt x="634714" y="846069"/>
                    <a:pt x="619758" y="831165"/>
                  </a:cubicBezTo>
                  <a:cubicBezTo>
                    <a:pt x="476279" y="688179"/>
                    <a:pt x="476279" y="688179"/>
                    <a:pt x="476279" y="688179"/>
                  </a:cubicBezTo>
                  <a:cubicBezTo>
                    <a:pt x="469035" y="680960"/>
                    <a:pt x="459220" y="677001"/>
                    <a:pt x="449172" y="677001"/>
                  </a:cubicBezTo>
                  <a:cubicBezTo>
                    <a:pt x="308264" y="677001"/>
                    <a:pt x="308264" y="677001"/>
                    <a:pt x="308264" y="677001"/>
                  </a:cubicBezTo>
                  <a:close/>
                  <a:moveTo>
                    <a:pt x="991423" y="604455"/>
                  </a:moveTo>
                  <a:cubicBezTo>
                    <a:pt x="1005013" y="604455"/>
                    <a:pt x="1016543" y="612381"/>
                    <a:pt x="1022279" y="623965"/>
                  </a:cubicBezTo>
                  <a:cubicBezTo>
                    <a:pt x="1022279" y="623965"/>
                    <a:pt x="1022279" y="623965"/>
                    <a:pt x="1129550" y="623965"/>
                  </a:cubicBezTo>
                  <a:cubicBezTo>
                    <a:pt x="1137403" y="623965"/>
                    <a:pt x="1144198" y="630283"/>
                    <a:pt x="1144198" y="638707"/>
                  </a:cubicBezTo>
                  <a:cubicBezTo>
                    <a:pt x="1144198" y="638707"/>
                    <a:pt x="1144198" y="638707"/>
                    <a:pt x="1144198" y="946754"/>
                  </a:cubicBezTo>
                  <a:cubicBezTo>
                    <a:pt x="1144198" y="980452"/>
                    <a:pt x="1144198" y="980452"/>
                    <a:pt x="1144198" y="980452"/>
                  </a:cubicBezTo>
                  <a:cubicBezTo>
                    <a:pt x="1154112" y="987325"/>
                    <a:pt x="1154112" y="987325"/>
                    <a:pt x="1154112" y="987325"/>
                  </a:cubicBezTo>
                  <a:cubicBezTo>
                    <a:pt x="1160406" y="993643"/>
                    <a:pt x="1164583" y="1002566"/>
                    <a:pt x="1164583" y="1012044"/>
                  </a:cubicBezTo>
                  <a:cubicBezTo>
                    <a:pt x="1164583" y="1031553"/>
                    <a:pt x="1148877" y="1047848"/>
                    <a:pt x="1129049" y="1047848"/>
                  </a:cubicBezTo>
                  <a:cubicBezTo>
                    <a:pt x="1109667" y="1047848"/>
                    <a:pt x="1093960" y="1031553"/>
                    <a:pt x="1093960" y="1012044"/>
                  </a:cubicBezTo>
                  <a:cubicBezTo>
                    <a:pt x="1093960" y="1002566"/>
                    <a:pt x="1097636" y="993643"/>
                    <a:pt x="1103930" y="987325"/>
                  </a:cubicBezTo>
                  <a:cubicBezTo>
                    <a:pt x="1114902" y="979953"/>
                    <a:pt x="1114902" y="979953"/>
                    <a:pt x="1114902" y="979953"/>
                  </a:cubicBezTo>
                  <a:cubicBezTo>
                    <a:pt x="1114902" y="967261"/>
                    <a:pt x="1114902" y="967261"/>
                    <a:pt x="1114902" y="967261"/>
                  </a:cubicBezTo>
                  <a:cubicBezTo>
                    <a:pt x="1114902" y="922534"/>
                    <a:pt x="1114902" y="832470"/>
                    <a:pt x="1114902" y="653450"/>
                  </a:cubicBezTo>
                  <a:cubicBezTo>
                    <a:pt x="1114902" y="653450"/>
                    <a:pt x="1114902" y="653450"/>
                    <a:pt x="1023337" y="653450"/>
                  </a:cubicBezTo>
                  <a:cubicBezTo>
                    <a:pt x="1018102" y="665533"/>
                    <a:pt x="1005570" y="675010"/>
                    <a:pt x="991423" y="675010"/>
                  </a:cubicBezTo>
                  <a:cubicBezTo>
                    <a:pt x="971540" y="675010"/>
                    <a:pt x="955332" y="659214"/>
                    <a:pt x="955332" y="639206"/>
                  </a:cubicBezTo>
                  <a:cubicBezTo>
                    <a:pt x="955332" y="619752"/>
                    <a:pt x="971540" y="604455"/>
                    <a:pt x="991423" y="604455"/>
                  </a:cubicBezTo>
                  <a:close/>
                  <a:moveTo>
                    <a:pt x="756947" y="604455"/>
                  </a:moveTo>
                  <a:cubicBezTo>
                    <a:pt x="776800" y="604455"/>
                    <a:pt x="792483" y="619738"/>
                    <a:pt x="792483" y="639174"/>
                  </a:cubicBezTo>
                  <a:cubicBezTo>
                    <a:pt x="792483" y="653904"/>
                    <a:pt x="783585" y="666031"/>
                    <a:pt x="771573" y="671291"/>
                  </a:cubicBezTo>
                  <a:cubicBezTo>
                    <a:pt x="771573" y="832262"/>
                    <a:pt x="771573" y="832262"/>
                    <a:pt x="771573" y="832262"/>
                  </a:cubicBezTo>
                  <a:cubicBezTo>
                    <a:pt x="862998" y="832262"/>
                    <a:pt x="862998" y="832262"/>
                    <a:pt x="862998" y="832262"/>
                  </a:cubicBezTo>
                  <a:cubicBezTo>
                    <a:pt x="862998" y="760222"/>
                    <a:pt x="862998" y="760222"/>
                    <a:pt x="862998" y="760222"/>
                  </a:cubicBezTo>
                  <a:cubicBezTo>
                    <a:pt x="862998" y="751251"/>
                    <a:pt x="870839" y="743333"/>
                    <a:pt x="879737" y="743333"/>
                  </a:cubicBezTo>
                  <a:cubicBezTo>
                    <a:pt x="1024938" y="743333"/>
                    <a:pt x="1024938" y="743333"/>
                    <a:pt x="1024938" y="743333"/>
                  </a:cubicBezTo>
                  <a:cubicBezTo>
                    <a:pt x="1033836" y="743333"/>
                    <a:pt x="1041677" y="751251"/>
                    <a:pt x="1041677" y="760222"/>
                  </a:cubicBezTo>
                  <a:cubicBezTo>
                    <a:pt x="1041677" y="912776"/>
                    <a:pt x="1041677" y="912776"/>
                    <a:pt x="1041677" y="912776"/>
                  </a:cubicBezTo>
                  <a:cubicBezTo>
                    <a:pt x="1041677" y="922245"/>
                    <a:pt x="1033836" y="929610"/>
                    <a:pt x="1024938" y="929610"/>
                  </a:cubicBezTo>
                  <a:cubicBezTo>
                    <a:pt x="879737" y="929610"/>
                    <a:pt x="879737" y="929610"/>
                    <a:pt x="879737" y="929610"/>
                  </a:cubicBezTo>
                  <a:cubicBezTo>
                    <a:pt x="870839" y="929610"/>
                    <a:pt x="862998" y="922245"/>
                    <a:pt x="862998" y="912776"/>
                  </a:cubicBezTo>
                  <a:cubicBezTo>
                    <a:pt x="862998" y="861722"/>
                    <a:pt x="862998" y="861722"/>
                    <a:pt x="862998" y="861722"/>
                  </a:cubicBezTo>
                  <a:cubicBezTo>
                    <a:pt x="862998" y="861722"/>
                    <a:pt x="862998" y="861722"/>
                    <a:pt x="756947" y="861722"/>
                  </a:cubicBezTo>
                  <a:cubicBezTo>
                    <a:pt x="749105" y="861722"/>
                    <a:pt x="742321" y="854910"/>
                    <a:pt x="742321" y="846992"/>
                  </a:cubicBezTo>
                  <a:cubicBezTo>
                    <a:pt x="742321" y="846992"/>
                    <a:pt x="742321" y="846992"/>
                    <a:pt x="742321" y="671291"/>
                  </a:cubicBezTo>
                  <a:cubicBezTo>
                    <a:pt x="730809" y="666031"/>
                    <a:pt x="721967" y="653904"/>
                    <a:pt x="721967" y="639174"/>
                  </a:cubicBezTo>
                  <a:cubicBezTo>
                    <a:pt x="721967" y="619738"/>
                    <a:pt x="738150" y="604455"/>
                    <a:pt x="756947" y="604455"/>
                  </a:cubicBezTo>
                  <a:close/>
                  <a:moveTo>
                    <a:pt x="729080" y="558559"/>
                  </a:moveTo>
                  <a:cubicBezTo>
                    <a:pt x="699743" y="558559"/>
                    <a:pt x="675295" y="582669"/>
                    <a:pt x="675295" y="612088"/>
                  </a:cubicBezTo>
                  <a:cubicBezTo>
                    <a:pt x="675295" y="612088"/>
                    <a:pt x="675295" y="612088"/>
                    <a:pt x="675295" y="1038772"/>
                  </a:cubicBezTo>
                  <a:cubicBezTo>
                    <a:pt x="675295" y="1068854"/>
                    <a:pt x="699743" y="1092964"/>
                    <a:pt x="729080" y="1092964"/>
                  </a:cubicBezTo>
                  <a:cubicBezTo>
                    <a:pt x="729080" y="1092964"/>
                    <a:pt x="729080" y="1092964"/>
                    <a:pt x="833315" y="1092964"/>
                  </a:cubicBezTo>
                  <a:lnTo>
                    <a:pt x="904366" y="1092964"/>
                  </a:lnTo>
                  <a:lnTo>
                    <a:pt x="904366" y="1118748"/>
                  </a:lnTo>
                  <a:cubicBezTo>
                    <a:pt x="904366" y="1338097"/>
                    <a:pt x="904366" y="1338097"/>
                    <a:pt x="904366" y="1338097"/>
                  </a:cubicBezTo>
                  <a:cubicBezTo>
                    <a:pt x="863151" y="1353725"/>
                    <a:pt x="833879" y="1393376"/>
                    <a:pt x="833879" y="1439792"/>
                  </a:cubicBezTo>
                  <a:cubicBezTo>
                    <a:pt x="833879" y="1499502"/>
                    <a:pt x="882588" y="1548250"/>
                    <a:pt x="942771" y="1548250"/>
                  </a:cubicBezTo>
                  <a:cubicBezTo>
                    <a:pt x="1002954" y="1548250"/>
                    <a:pt x="1051897" y="1499502"/>
                    <a:pt x="1051897" y="1439792"/>
                  </a:cubicBezTo>
                  <a:cubicBezTo>
                    <a:pt x="1051897" y="1393376"/>
                    <a:pt x="1022391" y="1353725"/>
                    <a:pt x="981176" y="1338097"/>
                  </a:cubicBezTo>
                  <a:cubicBezTo>
                    <a:pt x="981176" y="1281944"/>
                    <a:pt x="981176" y="1229300"/>
                    <a:pt x="981176" y="1179947"/>
                  </a:cubicBezTo>
                  <a:lnTo>
                    <a:pt x="981176" y="1092964"/>
                  </a:lnTo>
                  <a:lnTo>
                    <a:pt x="1015101" y="1092964"/>
                  </a:lnTo>
                  <a:cubicBezTo>
                    <a:pt x="1055961" y="1092964"/>
                    <a:pt x="1102659" y="1092964"/>
                    <a:pt x="1156027" y="1092964"/>
                  </a:cubicBezTo>
                  <a:cubicBezTo>
                    <a:pt x="1186031" y="1092964"/>
                    <a:pt x="1210479" y="1068854"/>
                    <a:pt x="1210479" y="1038772"/>
                  </a:cubicBezTo>
                  <a:cubicBezTo>
                    <a:pt x="1210479" y="1038772"/>
                    <a:pt x="1210479" y="1038772"/>
                    <a:pt x="1210479" y="612088"/>
                  </a:cubicBezTo>
                  <a:cubicBezTo>
                    <a:pt x="1210479" y="582669"/>
                    <a:pt x="1186031" y="558559"/>
                    <a:pt x="1156027" y="558559"/>
                  </a:cubicBezTo>
                  <a:cubicBezTo>
                    <a:pt x="1156027" y="558559"/>
                    <a:pt x="1156027" y="558559"/>
                    <a:pt x="729080" y="558559"/>
                  </a:cubicBezTo>
                  <a:close/>
                  <a:moveTo>
                    <a:pt x="942888" y="295880"/>
                  </a:moveTo>
                  <a:cubicBezTo>
                    <a:pt x="966426" y="295880"/>
                    <a:pt x="985508" y="314779"/>
                    <a:pt x="985508" y="338091"/>
                  </a:cubicBezTo>
                  <a:cubicBezTo>
                    <a:pt x="985508" y="361403"/>
                    <a:pt x="966426" y="380301"/>
                    <a:pt x="942888" y="380301"/>
                  </a:cubicBezTo>
                  <a:cubicBezTo>
                    <a:pt x="919349" y="380301"/>
                    <a:pt x="900268" y="361403"/>
                    <a:pt x="900268" y="338091"/>
                  </a:cubicBezTo>
                  <a:cubicBezTo>
                    <a:pt x="900268" y="314779"/>
                    <a:pt x="919349" y="295880"/>
                    <a:pt x="942888" y="295880"/>
                  </a:cubicBezTo>
                  <a:close/>
                  <a:moveTo>
                    <a:pt x="942771" y="229491"/>
                  </a:moveTo>
                  <a:cubicBezTo>
                    <a:pt x="882588" y="229491"/>
                    <a:pt x="833879" y="278239"/>
                    <a:pt x="833879" y="337950"/>
                  </a:cubicBezTo>
                  <a:cubicBezTo>
                    <a:pt x="833879" y="384598"/>
                    <a:pt x="863151" y="424016"/>
                    <a:pt x="904366" y="439644"/>
                  </a:cubicBezTo>
                  <a:lnTo>
                    <a:pt x="904366" y="558558"/>
                  </a:lnTo>
                  <a:lnTo>
                    <a:pt x="927022" y="558558"/>
                  </a:lnTo>
                  <a:cubicBezTo>
                    <a:pt x="944638" y="558558"/>
                    <a:pt x="960899" y="558558"/>
                    <a:pt x="975909" y="558558"/>
                  </a:cubicBezTo>
                  <a:lnTo>
                    <a:pt x="981176" y="558558"/>
                  </a:lnTo>
                  <a:lnTo>
                    <a:pt x="981176" y="551951"/>
                  </a:lnTo>
                  <a:cubicBezTo>
                    <a:pt x="981176" y="439644"/>
                    <a:pt x="981176" y="439644"/>
                    <a:pt x="981176" y="439644"/>
                  </a:cubicBezTo>
                  <a:cubicBezTo>
                    <a:pt x="1022391" y="424016"/>
                    <a:pt x="1051897" y="384598"/>
                    <a:pt x="1051897" y="337950"/>
                  </a:cubicBezTo>
                  <a:cubicBezTo>
                    <a:pt x="1051897" y="278239"/>
                    <a:pt x="1002954" y="229491"/>
                    <a:pt x="942771" y="229491"/>
                  </a:cubicBezTo>
                  <a:close/>
                  <a:moveTo>
                    <a:pt x="1247488" y="189331"/>
                  </a:moveTo>
                  <a:cubicBezTo>
                    <a:pt x="1214269" y="189331"/>
                    <a:pt x="1187133" y="216093"/>
                    <a:pt x="1187133" y="249137"/>
                  </a:cubicBezTo>
                  <a:cubicBezTo>
                    <a:pt x="1187133" y="267754"/>
                    <a:pt x="1195788" y="284276"/>
                    <a:pt x="1209123" y="295214"/>
                  </a:cubicBezTo>
                  <a:cubicBezTo>
                    <a:pt x="1209123" y="463695"/>
                    <a:pt x="1209123" y="463695"/>
                    <a:pt x="1209123" y="463695"/>
                  </a:cubicBezTo>
                  <a:cubicBezTo>
                    <a:pt x="1209123" y="484638"/>
                    <a:pt x="1226434" y="501626"/>
                    <a:pt x="1247488" y="501626"/>
                  </a:cubicBezTo>
                  <a:cubicBezTo>
                    <a:pt x="1420833" y="501626"/>
                    <a:pt x="1420833" y="501626"/>
                    <a:pt x="1420833" y="501626"/>
                  </a:cubicBezTo>
                  <a:cubicBezTo>
                    <a:pt x="1431828" y="514890"/>
                    <a:pt x="1448437" y="523733"/>
                    <a:pt x="1467152" y="523733"/>
                  </a:cubicBezTo>
                  <a:cubicBezTo>
                    <a:pt x="1500370" y="523733"/>
                    <a:pt x="1527273" y="496739"/>
                    <a:pt x="1527273" y="463695"/>
                  </a:cubicBezTo>
                  <a:cubicBezTo>
                    <a:pt x="1527273" y="430650"/>
                    <a:pt x="1500370" y="403656"/>
                    <a:pt x="1467152" y="403656"/>
                  </a:cubicBezTo>
                  <a:cubicBezTo>
                    <a:pt x="1448437" y="403656"/>
                    <a:pt x="1431828" y="412266"/>
                    <a:pt x="1420833" y="425531"/>
                  </a:cubicBezTo>
                  <a:cubicBezTo>
                    <a:pt x="1285619" y="425531"/>
                    <a:pt x="1285619" y="425531"/>
                    <a:pt x="1285619" y="425531"/>
                  </a:cubicBezTo>
                  <a:cubicBezTo>
                    <a:pt x="1285619" y="295214"/>
                    <a:pt x="1285619" y="295214"/>
                    <a:pt x="1285619" y="295214"/>
                  </a:cubicBezTo>
                  <a:cubicBezTo>
                    <a:pt x="1298953" y="284276"/>
                    <a:pt x="1307843" y="267754"/>
                    <a:pt x="1307843" y="249137"/>
                  </a:cubicBezTo>
                  <a:cubicBezTo>
                    <a:pt x="1307843" y="216093"/>
                    <a:pt x="1280706" y="189331"/>
                    <a:pt x="1247488" y="189331"/>
                  </a:cubicBezTo>
                  <a:close/>
                  <a:moveTo>
                    <a:pt x="638288" y="189331"/>
                  </a:moveTo>
                  <a:cubicBezTo>
                    <a:pt x="605070" y="189331"/>
                    <a:pt x="577933" y="216093"/>
                    <a:pt x="577933" y="249137"/>
                  </a:cubicBezTo>
                  <a:cubicBezTo>
                    <a:pt x="577933" y="267754"/>
                    <a:pt x="586823" y="284276"/>
                    <a:pt x="600157" y="295214"/>
                  </a:cubicBezTo>
                  <a:cubicBezTo>
                    <a:pt x="600157" y="425531"/>
                    <a:pt x="600157" y="425531"/>
                    <a:pt x="600157" y="425531"/>
                  </a:cubicBezTo>
                  <a:cubicBezTo>
                    <a:pt x="464943" y="425531"/>
                    <a:pt x="464943" y="425531"/>
                    <a:pt x="464943" y="425531"/>
                  </a:cubicBezTo>
                  <a:cubicBezTo>
                    <a:pt x="453948" y="412266"/>
                    <a:pt x="437339" y="403656"/>
                    <a:pt x="418624" y="403656"/>
                  </a:cubicBezTo>
                  <a:cubicBezTo>
                    <a:pt x="385406" y="403656"/>
                    <a:pt x="358503" y="430650"/>
                    <a:pt x="358503" y="463695"/>
                  </a:cubicBezTo>
                  <a:cubicBezTo>
                    <a:pt x="358503" y="496739"/>
                    <a:pt x="385406" y="523733"/>
                    <a:pt x="418624" y="523733"/>
                  </a:cubicBezTo>
                  <a:cubicBezTo>
                    <a:pt x="437339" y="523733"/>
                    <a:pt x="453948" y="514890"/>
                    <a:pt x="464943" y="501626"/>
                  </a:cubicBezTo>
                  <a:cubicBezTo>
                    <a:pt x="638288" y="501626"/>
                    <a:pt x="638288" y="501626"/>
                    <a:pt x="638288" y="501626"/>
                  </a:cubicBezTo>
                  <a:cubicBezTo>
                    <a:pt x="659342" y="501626"/>
                    <a:pt x="676653" y="484638"/>
                    <a:pt x="676653" y="463695"/>
                  </a:cubicBezTo>
                  <a:cubicBezTo>
                    <a:pt x="676653" y="295214"/>
                    <a:pt x="676653" y="295214"/>
                    <a:pt x="676653" y="295214"/>
                  </a:cubicBezTo>
                  <a:cubicBezTo>
                    <a:pt x="689988" y="284276"/>
                    <a:pt x="698643" y="267754"/>
                    <a:pt x="698643" y="249137"/>
                  </a:cubicBezTo>
                  <a:cubicBezTo>
                    <a:pt x="698643" y="216093"/>
                    <a:pt x="671507" y="189331"/>
                    <a:pt x="638288" y="189331"/>
                  </a:cubicBezTo>
                  <a:close/>
                  <a:moveTo>
                    <a:pt x="716922" y="0"/>
                  </a:moveTo>
                  <a:cubicBezTo>
                    <a:pt x="783928" y="0"/>
                    <a:pt x="847765" y="27282"/>
                    <a:pt x="896209" y="75317"/>
                  </a:cubicBezTo>
                  <a:cubicBezTo>
                    <a:pt x="914771" y="96303"/>
                    <a:pt x="930391" y="117056"/>
                    <a:pt x="942841" y="141074"/>
                  </a:cubicBezTo>
                  <a:cubicBezTo>
                    <a:pt x="955292" y="117056"/>
                    <a:pt x="970911" y="96303"/>
                    <a:pt x="989700" y="75317"/>
                  </a:cubicBezTo>
                  <a:cubicBezTo>
                    <a:pt x="1037918" y="27282"/>
                    <a:pt x="1101755" y="0"/>
                    <a:pt x="1168761" y="0"/>
                  </a:cubicBezTo>
                  <a:cubicBezTo>
                    <a:pt x="1303000" y="0"/>
                    <a:pt x="1411885" y="105864"/>
                    <a:pt x="1422977" y="240642"/>
                  </a:cubicBezTo>
                  <a:cubicBezTo>
                    <a:pt x="1485230" y="243906"/>
                    <a:pt x="1544539" y="271188"/>
                    <a:pt x="1588003" y="317591"/>
                  </a:cubicBezTo>
                  <a:cubicBezTo>
                    <a:pt x="1659763" y="389877"/>
                    <a:pt x="1680136" y="494109"/>
                    <a:pt x="1650482" y="585515"/>
                  </a:cubicBezTo>
                  <a:cubicBezTo>
                    <a:pt x="1751670" y="620725"/>
                    <a:pt x="1825015" y="721692"/>
                    <a:pt x="1825015" y="834085"/>
                  </a:cubicBezTo>
                  <a:cubicBezTo>
                    <a:pt x="1825015" y="877456"/>
                    <a:pt x="1814149" y="919196"/>
                    <a:pt x="1795360" y="956038"/>
                  </a:cubicBezTo>
                  <a:cubicBezTo>
                    <a:pt x="1916922" y="1079390"/>
                    <a:pt x="1916922" y="1281557"/>
                    <a:pt x="1795360" y="1405143"/>
                  </a:cubicBezTo>
                  <a:cubicBezTo>
                    <a:pt x="1758009" y="1445250"/>
                    <a:pt x="1712734" y="1470900"/>
                    <a:pt x="1662932" y="1485357"/>
                  </a:cubicBezTo>
                  <a:cubicBezTo>
                    <a:pt x="1658178" y="1695452"/>
                    <a:pt x="1491568" y="1865440"/>
                    <a:pt x="1285796" y="1865440"/>
                  </a:cubicBezTo>
                  <a:cubicBezTo>
                    <a:pt x="1134579" y="1865440"/>
                    <a:pt x="1002151" y="1772401"/>
                    <a:pt x="942841" y="1639256"/>
                  </a:cubicBezTo>
                  <a:cubicBezTo>
                    <a:pt x="883758" y="1772401"/>
                    <a:pt x="751330" y="1865440"/>
                    <a:pt x="600113" y="1865440"/>
                  </a:cubicBezTo>
                  <a:cubicBezTo>
                    <a:pt x="394341" y="1865440"/>
                    <a:pt x="227504" y="1695452"/>
                    <a:pt x="222977" y="1485357"/>
                  </a:cubicBezTo>
                  <a:cubicBezTo>
                    <a:pt x="174533" y="1470900"/>
                    <a:pt x="127900" y="1445250"/>
                    <a:pt x="90549" y="1405143"/>
                  </a:cubicBezTo>
                  <a:cubicBezTo>
                    <a:pt x="31239" y="1345682"/>
                    <a:pt x="0" y="1265468"/>
                    <a:pt x="0" y="1180591"/>
                  </a:cubicBezTo>
                  <a:cubicBezTo>
                    <a:pt x="0" y="1095480"/>
                    <a:pt x="31239" y="1016898"/>
                    <a:pt x="90549" y="956038"/>
                  </a:cubicBezTo>
                  <a:cubicBezTo>
                    <a:pt x="71760" y="919196"/>
                    <a:pt x="60894" y="877456"/>
                    <a:pt x="60894" y="834085"/>
                  </a:cubicBezTo>
                  <a:cubicBezTo>
                    <a:pt x="60894" y="721692"/>
                    <a:pt x="134013" y="620725"/>
                    <a:pt x="235427" y="585515"/>
                  </a:cubicBezTo>
                  <a:cubicBezTo>
                    <a:pt x="205773" y="494109"/>
                    <a:pt x="226146" y="389877"/>
                    <a:pt x="297680" y="317591"/>
                  </a:cubicBezTo>
                  <a:cubicBezTo>
                    <a:pt x="341370" y="271188"/>
                    <a:pt x="400679" y="243906"/>
                    <a:pt x="462932" y="240642"/>
                  </a:cubicBezTo>
                  <a:cubicBezTo>
                    <a:pt x="473798" y="105864"/>
                    <a:pt x="582909" y="0"/>
                    <a:pt x="716922" y="0"/>
                  </a:cubicBezTo>
                  <a:close/>
                </a:path>
              </a:pathLst>
            </a:custGeom>
            <a:solidFill>
              <a:srgbClr val="2853DC"/>
            </a:solidFill>
            <a:ln>
              <a:noFill/>
            </a:ln>
          </p:spPr>
          <p:txBody>
            <a:bodyPr vert="horz" wrap="square" lIns="74345" tIns="37172" rIns="74345" bIns="37172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743407">
                <a:lnSpc>
                  <a:spcPct val="90000"/>
                </a:lnSpc>
                <a:defRPr/>
              </a:pPr>
              <a:endParaRPr lang="en-US" sz="976" kern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474" name="Group 473">
            <a:extLst>
              <a:ext uri="{FF2B5EF4-FFF2-40B4-BE49-F238E27FC236}">
                <a16:creationId xmlns:a16="http://schemas.microsoft.com/office/drawing/2014/main" id="{B8B4CC00-4F74-8199-AE6B-B0122C2480A1}"/>
              </a:ext>
            </a:extLst>
          </p:cNvPr>
          <p:cNvGrpSpPr/>
          <p:nvPr/>
        </p:nvGrpSpPr>
        <p:grpSpPr>
          <a:xfrm>
            <a:off x="6484039" y="4920462"/>
            <a:ext cx="557878" cy="418914"/>
            <a:chOff x="2940305" y="4474500"/>
            <a:chExt cx="686161" cy="515242"/>
          </a:xfrm>
        </p:grpSpPr>
        <p:grpSp>
          <p:nvGrpSpPr>
            <p:cNvPr id="475" name="Group 474">
              <a:extLst>
                <a:ext uri="{FF2B5EF4-FFF2-40B4-BE49-F238E27FC236}">
                  <a16:creationId xmlns:a16="http://schemas.microsoft.com/office/drawing/2014/main" id="{23DD6179-6F4F-A47F-490B-9690D4D1C824}"/>
                </a:ext>
              </a:extLst>
            </p:cNvPr>
            <p:cNvGrpSpPr/>
            <p:nvPr/>
          </p:nvGrpSpPr>
          <p:grpSpPr>
            <a:xfrm>
              <a:off x="2940305" y="4542094"/>
              <a:ext cx="389317" cy="447648"/>
              <a:chOff x="5559456" y="2290615"/>
              <a:chExt cx="803098" cy="923426"/>
            </a:xfrm>
          </p:grpSpPr>
          <p:grpSp>
            <p:nvGrpSpPr>
              <p:cNvPr id="479" name="Group 478">
                <a:extLst>
                  <a:ext uri="{FF2B5EF4-FFF2-40B4-BE49-F238E27FC236}">
                    <a16:creationId xmlns:a16="http://schemas.microsoft.com/office/drawing/2014/main" id="{440B3AFF-15A3-0080-0860-0E4C1A20EC99}"/>
                  </a:ext>
                </a:extLst>
              </p:cNvPr>
              <p:cNvGrpSpPr/>
              <p:nvPr/>
            </p:nvGrpSpPr>
            <p:grpSpPr>
              <a:xfrm>
                <a:off x="5675366" y="2290615"/>
                <a:ext cx="578218" cy="576574"/>
                <a:chOff x="2744787" y="87313"/>
                <a:chExt cx="6702426" cy="6683376"/>
              </a:xfrm>
            </p:grpSpPr>
            <p:sp>
              <p:nvSpPr>
                <p:cNvPr id="481" name="Oval 12">
                  <a:extLst>
                    <a:ext uri="{FF2B5EF4-FFF2-40B4-BE49-F238E27FC236}">
                      <a16:creationId xmlns:a16="http://schemas.microsoft.com/office/drawing/2014/main" id="{73F2BE70-F396-EC1F-484E-C78AEEA386A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08488" y="1746250"/>
                  <a:ext cx="3375025" cy="3365500"/>
                </a:xfrm>
                <a:prstGeom prst="ellipse">
                  <a:avLst/>
                </a:prstGeom>
                <a:solidFill>
                  <a:srgbClr val="7BA0FF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lnSpc>
                      <a:spcPct val="90000"/>
                    </a:lnSpc>
                    <a:defRPr/>
                  </a:pPr>
                  <a:endParaRPr lang="en-US" sz="976" kern="0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482" name="Freeform: Shape 481">
                  <a:extLst>
                    <a:ext uri="{FF2B5EF4-FFF2-40B4-BE49-F238E27FC236}">
                      <a16:creationId xmlns:a16="http://schemas.microsoft.com/office/drawing/2014/main" id="{A4612154-8253-5F86-C29F-A77D1CBD59A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744787" y="87313"/>
                  <a:ext cx="6702426" cy="6683376"/>
                </a:xfrm>
                <a:custGeom>
                  <a:avLst/>
                  <a:gdLst>
                    <a:gd name="connsiteX0" fmla="*/ 3351213 w 6702426"/>
                    <a:gd name="connsiteY0" fmla="*/ 163512 h 6683376"/>
                    <a:gd name="connsiteX1" fmla="*/ 165100 w 6702426"/>
                    <a:gd name="connsiteY1" fmla="*/ 3341687 h 6683376"/>
                    <a:gd name="connsiteX2" fmla="*/ 3351213 w 6702426"/>
                    <a:gd name="connsiteY2" fmla="*/ 6519862 h 6683376"/>
                    <a:gd name="connsiteX3" fmla="*/ 6537326 w 6702426"/>
                    <a:gd name="connsiteY3" fmla="*/ 3341687 h 6683376"/>
                    <a:gd name="connsiteX4" fmla="*/ 3351213 w 6702426"/>
                    <a:gd name="connsiteY4" fmla="*/ 163512 h 6683376"/>
                    <a:gd name="connsiteX5" fmla="*/ 3351213 w 6702426"/>
                    <a:gd name="connsiteY5" fmla="*/ 0 h 6683376"/>
                    <a:gd name="connsiteX6" fmla="*/ 6702426 w 6702426"/>
                    <a:gd name="connsiteY6" fmla="*/ 3341688 h 6683376"/>
                    <a:gd name="connsiteX7" fmla="*/ 3351213 w 6702426"/>
                    <a:gd name="connsiteY7" fmla="*/ 6683376 h 6683376"/>
                    <a:gd name="connsiteX8" fmla="*/ 0 w 6702426"/>
                    <a:gd name="connsiteY8" fmla="*/ 3341688 h 6683376"/>
                    <a:gd name="connsiteX9" fmla="*/ 3351213 w 6702426"/>
                    <a:gd name="connsiteY9" fmla="*/ 0 h 66833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702426" h="6683376">
                      <a:moveTo>
                        <a:pt x="3351213" y="163512"/>
                      </a:moveTo>
                      <a:cubicBezTo>
                        <a:pt x="1591571" y="163512"/>
                        <a:pt x="165100" y="1586429"/>
                        <a:pt x="165100" y="3341687"/>
                      </a:cubicBezTo>
                      <a:cubicBezTo>
                        <a:pt x="165100" y="5096945"/>
                        <a:pt x="1591571" y="6519862"/>
                        <a:pt x="3351213" y="6519862"/>
                      </a:cubicBezTo>
                      <a:cubicBezTo>
                        <a:pt x="5110855" y="6519862"/>
                        <a:pt x="6537326" y="5096945"/>
                        <a:pt x="6537326" y="3341687"/>
                      </a:cubicBezTo>
                      <a:cubicBezTo>
                        <a:pt x="6537326" y="1586429"/>
                        <a:pt x="5110855" y="163512"/>
                        <a:pt x="3351213" y="163512"/>
                      </a:cubicBezTo>
                      <a:close/>
                      <a:moveTo>
                        <a:pt x="3351213" y="0"/>
                      </a:moveTo>
                      <a:cubicBezTo>
                        <a:pt x="5202037" y="0"/>
                        <a:pt x="6702426" y="1496125"/>
                        <a:pt x="6702426" y="3341688"/>
                      </a:cubicBezTo>
                      <a:cubicBezTo>
                        <a:pt x="6702426" y="5187251"/>
                        <a:pt x="5202037" y="6683376"/>
                        <a:pt x="3351213" y="6683376"/>
                      </a:cubicBezTo>
                      <a:cubicBezTo>
                        <a:pt x="1500389" y="6683376"/>
                        <a:pt x="0" y="5187251"/>
                        <a:pt x="0" y="3341688"/>
                      </a:cubicBezTo>
                      <a:cubicBezTo>
                        <a:pt x="0" y="1496125"/>
                        <a:pt x="1500389" y="0"/>
                        <a:pt x="3351213" y="0"/>
                      </a:cubicBezTo>
                      <a:close/>
                    </a:path>
                  </a:pathLst>
                </a:custGeom>
                <a:solidFill>
                  <a:srgbClr val="7BA0FF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743407">
                    <a:lnSpc>
                      <a:spcPct val="90000"/>
                    </a:lnSpc>
                    <a:defRPr/>
                  </a:pPr>
                  <a:endParaRPr lang="en-US" sz="976" kern="0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480" name="Freeform: Shape 38">
                <a:extLst>
                  <a:ext uri="{FF2B5EF4-FFF2-40B4-BE49-F238E27FC236}">
                    <a16:creationId xmlns:a16="http://schemas.microsoft.com/office/drawing/2014/main" id="{9F026E7E-E98E-1552-88FB-D411D8C054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9456" y="2499002"/>
                <a:ext cx="803098" cy="715039"/>
              </a:xfrm>
              <a:custGeom>
                <a:avLst/>
                <a:gdLst>
                  <a:gd name="connsiteX0" fmla="*/ 412299 w 1438886"/>
                  <a:gd name="connsiteY0" fmla="*/ 811212 h 1281113"/>
                  <a:gd name="connsiteX1" fmla="*/ 347355 w 1438886"/>
                  <a:gd name="connsiteY1" fmla="*/ 919678 h 1281113"/>
                  <a:gd name="connsiteX2" fmla="*/ 718111 w 1438886"/>
                  <a:gd name="connsiteY2" fmla="*/ 1004887 h 1281113"/>
                  <a:gd name="connsiteX3" fmla="*/ 1090305 w 1438886"/>
                  <a:gd name="connsiteY3" fmla="*/ 919678 h 1281113"/>
                  <a:gd name="connsiteX4" fmla="*/ 1025361 w 1438886"/>
                  <a:gd name="connsiteY4" fmla="*/ 811212 h 1281113"/>
                  <a:gd name="connsiteX5" fmla="*/ 718111 w 1438886"/>
                  <a:gd name="connsiteY5" fmla="*/ 877691 h 1281113"/>
                  <a:gd name="connsiteX6" fmla="*/ 412299 w 1438886"/>
                  <a:gd name="connsiteY6" fmla="*/ 811212 h 1281113"/>
                  <a:gd name="connsiteX7" fmla="*/ 718037 w 1438886"/>
                  <a:gd name="connsiteY7" fmla="*/ 292100 h 1281113"/>
                  <a:gd name="connsiteX8" fmla="*/ 471180 w 1438886"/>
                  <a:gd name="connsiteY8" fmla="*/ 710653 h 1281113"/>
                  <a:gd name="connsiteX9" fmla="*/ 718037 w 1438886"/>
                  <a:gd name="connsiteY9" fmla="*/ 762000 h 1281113"/>
                  <a:gd name="connsiteX10" fmla="*/ 964893 w 1438886"/>
                  <a:gd name="connsiteY10" fmla="*/ 710653 h 1281113"/>
                  <a:gd name="connsiteX11" fmla="*/ 718037 w 1438886"/>
                  <a:gd name="connsiteY11" fmla="*/ 292100 h 1281113"/>
                  <a:gd name="connsiteX12" fmla="*/ 717875 w 1438886"/>
                  <a:gd name="connsiteY12" fmla="*/ 0 h 1281113"/>
                  <a:gd name="connsiteX13" fmla="*/ 863528 w 1438886"/>
                  <a:gd name="connsiteY13" fmla="*/ 145190 h 1281113"/>
                  <a:gd name="connsiteX14" fmla="*/ 831640 w 1438886"/>
                  <a:gd name="connsiteY14" fmla="*/ 235499 h 1281113"/>
                  <a:gd name="connsiteX15" fmla="*/ 1436881 w 1438886"/>
                  <a:gd name="connsiteY15" fmla="*/ 1262069 h 1281113"/>
                  <a:gd name="connsiteX16" fmla="*/ 1436881 w 1438886"/>
                  <a:gd name="connsiteY16" fmla="*/ 1274355 h 1281113"/>
                  <a:gd name="connsiteX17" fmla="*/ 1425977 w 1438886"/>
                  <a:gd name="connsiteY17" fmla="*/ 1281113 h 1281113"/>
                  <a:gd name="connsiteX18" fmla="*/ 1309538 w 1438886"/>
                  <a:gd name="connsiteY18" fmla="*/ 1281113 h 1281113"/>
                  <a:gd name="connsiteX19" fmla="*/ 1298634 w 1438886"/>
                  <a:gd name="connsiteY19" fmla="*/ 1274355 h 1281113"/>
                  <a:gd name="connsiteX20" fmla="*/ 1149690 w 1438886"/>
                  <a:gd name="connsiteY20" fmla="*/ 1022269 h 1281113"/>
                  <a:gd name="connsiteX21" fmla="*/ 718904 w 1438886"/>
                  <a:gd name="connsiteY21" fmla="*/ 1120564 h 1281113"/>
                  <a:gd name="connsiteX22" fmla="*/ 289557 w 1438886"/>
                  <a:gd name="connsiteY22" fmla="*/ 1022269 h 1281113"/>
                  <a:gd name="connsiteX23" fmla="*/ 139173 w 1438886"/>
                  <a:gd name="connsiteY23" fmla="*/ 1274355 h 1281113"/>
                  <a:gd name="connsiteX24" fmla="*/ 128270 w 1438886"/>
                  <a:gd name="connsiteY24" fmla="*/ 1281113 h 1281113"/>
                  <a:gd name="connsiteX25" fmla="*/ 11830 w 1438886"/>
                  <a:gd name="connsiteY25" fmla="*/ 1281113 h 1281113"/>
                  <a:gd name="connsiteX26" fmla="*/ 927 w 1438886"/>
                  <a:gd name="connsiteY26" fmla="*/ 1274355 h 1281113"/>
                  <a:gd name="connsiteX27" fmla="*/ 927 w 1438886"/>
                  <a:gd name="connsiteY27" fmla="*/ 1262069 h 1281113"/>
                  <a:gd name="connsiteX28" fmla="*/ 604727 w 1438886"/>
                  <a:gd name="connsiteY28" fmla="*/ 237751 h 1281113"/>
                  <a:gd name="connsiteX29" fmla="*/ 570782 w 1438886"/>
                  <a:gd name="connsiteY29" fmla="*/ 145190 h 1281113"/>
                  <a:gd name="connsiteX30" fmla="*/ 717875 w 1438886"/>
                  <a:gd name="connsiteY30" fmla="*/ 0 h 1281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438886" h="1281113">
                    <a:moveTo>
                      <a:pt x="412299" y="811212"/>
                    </a:moveTo>
                    <a:cubicBezTo>
                      <a:pt x="412299" y="811212"/>
                      <a:pt x="412299" y="811212"/>
                      <a:pt x="347355" y="919678"/>
                    </a:cubicBezTo>
                    <a:cubicBezTo>
                      <a:pt x="462446" y="976484"/>
                      <a:pt x="589662" y="1004887"/>
                      <a:pt x="718111" y="1004887"/>
                    </a:cubicBezTo>
                    <a:cubicBezTo>
                      <a:pt x="846766" y="1004887"/>
                      <a:pt x="973982" y="976484"/>
                      <a:pt x="1090305" y="919678"/>
                    </a:cubicBezTo>
                    <a:cubicBezTo>
                      <a:pt x="1090305" y="919678"/>
                      <a:pt x="1090305" y="919678"/>
                      <a:pt x="1025361" y="811212"/>
                    </a:cubicBezTo>
                    <a:cubicBezTo>
                      <a:pt x="929179" y="854640"/>
                      <a:pt x="823748" y="877691"/>
                      <a:pt x="718111" y="877691"/>
                    </a:cubicBezTo>
                    <a:cubicBezTo>
                      <a:pt x="612680" y="877691"/>
                      <a:pt x="507043" y="854640"/>
                      <a:pt x="412299" y="811212"/>
                    </a:cubicBezTo>
                    <a:close/>
                    <a:moveTo>
                      <a:pt x="718037" y="292100"/>
                    </a:moveTo>
                    <a:lnTo>
                      <a:pt x="471180" y="710653"/>
                    </a:lnTo>
                    <a:cubicBezTo>
                      <a:pt x="548452" y="744407"/>
                      <a:pt x="632523" y="762000"/>
                      <a:pt x="718037" y="762000"/>
                    </a:cubicBezTo>
                    <a:cubicBezTo>
                      <a:pt x="803550" y="762000"/>
                      <a:pt x="887622" y="744407"/>
                      <a:pt x="964893" y="710653"/>
                    </a:cubicBezTo>
                    <a:cubicBezTo>
                      <a:pt x="964893" y="710653"/>
                      <a:pt x="964893" y="710653"/>
                      <a:pt x="718037" y="292100"/>
                    </a:cubicBezTo>
                    <a:close/>
                    <a:moveTo>
                      <a:pt x="717875" y="0"/>
                    </a:moveTo>
                    <a:cubicBezTo>
                      <a:pt x="798313" y="0"/>
                      <a:pt x="863528" y="65940"/>
                      <a:pt x="863528" y="145190"/>
                    </a:cubicBezTo>
                    <a:cubicBezTo>
                      <a:pt x="863528" y="179184"/>
                      <a:pt x="851596" y="210516"/>
                      <a:pt x="831640" y="235499"/>
                    </a:cubicBezTo>
                    <a:cubicBezTo>
                      <a:pt x="868877" y="298572"/>
                      <a:pt x="997043" y="515845"/>
                      <a:pt x="1436881" y="1262069"/>
                    </a:cubicBezTo>
                    <a:cubicBezTo>
                      <a:pt x="1439555" y="1266164"/>
                      <a:pt x="1439555" y="1270260"/>
                      <a:pt x="1436881" y="1274355"/>
                    </a:cubicBezTo>
                    <a:cubicBezTo>
                      <a:pt x="1434206" y="1278246"/>
                      <a:pt x="1430092" y="1281113"/>
                      <a:pt x="1425977" y="1281113"/>
                    </a:cubicBezTo>
                    <a:cubicBezTo>
                      <a:pt x="1425977" y="1281113"/>
                      <a:pt x="1425977" y="1281113"/>
                      <a:pt x="1309538" y="1281113"/>
                    </a:cubicBezTo>
                    <a:cubicBezTo>
                      <a:pt x="1305423" y="1281113"/>
                      <a:pt x="1301309" y="1278246"/>
                      <a:pt x="1298634" y="1274355"/>
                    </a:cubicBezTo>
                    <a:cubicBezTo>
                      <a:pt x="1290611" y="1259406"/>
                      <a:pt x="1259341" y="1206982"/>
                      <a:pt x="1149690" y="1022269"/>
                    </a:cubicBezTo>
                    <a:cubicBezTo>
                      <a:pt x="1016998" y="1086980"/>
                      <a:pt x="867848" y="1120564"/>
                      <a:pt x="718904" y="1120564"/>
                    </a:cubicBezTo>
                    <a:cubicBezTo>
                      <a:pt x="569959" y="1120564"/>
                      <a:pt x="422250" y="1086980"/>
                      <a:pt x="289557" y="1022269"/>
                    </a:cubicBezTo>
                    <a:cubicBezTo>
                      <a:pt x="289557" y="1022269"/>
                      <a:pt x="289557" y="1022269"/>
                      <a:pt x="139173" y="1274355"/>
                    </a:cubicBezTo>
                    <a:cubicBezTo>
                      <a:pt x="136499" y="1278246"/>
                      <a:pt x="132384" y="1281113"/>
                      <a:pt x="128270" y="1281113"/>
                    </a:cubicBezTo>
                    <a:cubicBezTo>
                      <a:pt x="117572" y="1281113"/>
                      <a:pt x="87742" y="1281113"/>
                      <a:pt x="11830" y="1281113"/>
                    </a:cubicBezTo>
                    <a:cubicBezTo>
                      <a:pt x="7715" y="1281113"/>
                      <a:pt x="3807" y="1278246"/>
                      <a:pt x="927" y="1274355"/>
                    </a:cubicBezTo>
                    <a:cubicBezTo>
                      <a:pt x="-308" y="1270260"/>
                      <a:pt x="-308" y="1266164"/>
                      <a:pt x="927" y="1262069"/>
                    </a:cubicBezTo>
                    <a:cubicBezTo>
                      <a:pt x="31785" y="1210259"/>
                      <a:pt x="151105" y="1009573"/>
                      <a:pt x="604727" y="237751"/>
                    </a:cubicBezTo>
                    <a:cubicBezTo>
                      <a:pt x="583537" y="212563"/>
                      <a:pt x="570782" y="180208"/>
                      <a:pt x="570782" y="145190"/>
                    </a:cubicBezTo>
                    <a:cubicBezTo>
                      <a:pt x="570782" y="65940"/>
                      <a:pt x="636203" y="0"/>
                      <a:pt x="717875" y="0"/>
                    </a:cubicBezTo>
                    <a:close/>
                  </a:path>
                </a:pathLst>
              </a:custGeom>
              <a:solidFill>
                <a:srgbClr val="7BA0FF">
                  <a:lumMod val="100000"/>
                </a:srgbClr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13171F"/>
                  </a:solidFill>
                  <a:latin typeface="Calibri"/>
                </a:endParaRPr>
              </a:p>
            </p:txBody>
          </p:sp>
        </p:grpSp>
        <p:grpSp>
          <p:nvGrpSpPr>
            <p:cNvPr id="476" name="Group 475">
              <a:extLst>
                <a:ext uri="{FF2B5EF4-FFF2-40B4-BE49-F238E27FC236}">
                  <a16:creationId xmlns:a16="http://schemas.microsoft.com/office/drawing/2014/main" id="{5D50DD65-D838-1793-4865-677E8963CB3F}"/>
                </a:ext>
              </a:extLst>
            </p:cNvPr>
            <p:cNvGrpSpPr/>
            <p:nvPr/>
          </p:nvGrpSpPr>
          <p:grpSpPr>
            <a:xfrm>
              <a:off x="3251220" y="4474500"/>
              <a:ext cx="375246" cy="354056"/>
              <a:chOff x="3498746" y="2912965"/>
              <a:chExt cx="1005840" cy="949048"/>
            </a:xfrm>
            <a:solidFill>
              <a:srgbClr val="7BA0FF"/>
            </a:solidFill>
          </p:grpSpPr>
          <p:sp>
            <p:nvSpPr>
              <p:cNvPr id="477" name="Freeform: Shape 17">
                <a:extLst>
                  <a:ext uri="{FF2B5EF4-FFF2-40B4-BE49-F238E27FC236}">
                    <a16:creationId xmlns:a16="http://schemas.microsoft.com/office/drawing/2014/main" id="{D4480183-49F5-0952-45F4-A7804606FB3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498746" y="2912965"/>
                <a:ext cx="1005840" cy="949048"/>
              </a:xfrm>
              <a:custGeom>
                <a:avLst/>
                <a:gdLst>
                  <a:gd name="connsiteX0" fmla="*/ 2042685 w 2271778"/>
                  <a:gd name="connsiteY0" fmla="*/ 589289 h 2143512"/>
                  <a:gd name="connsiteX1" fmla="*/ 2257753 w 2271778"/>
                  <a:gd name="connsiteY1" fmla="*/ 679063 h 2143512"/>
                  <a:gd name="connsiteX2" fmla="*/ 2257753 w 2271778"/>
                  <a:gd name="connsiteY2" fmla="*/ 722080 h 2143512"/>
                  <a:gd name="connsiteX3" fmla="*/ 2179206 w 2271778"/>
                  <a:gd name="connsiteY3" fmla="*/ 755746 h 2143512"/>
                  <a:gd name="connsiteX4" fmla="*/ 2227830 w 2271778"/>
                  <a:gd name="connsiteY4" fmla="*/ 1071827 h 2143512"/>
                  <a:gd name="connsiteX5" fmla="*/ 1154364 w 2271778"/>
                  <a:gd name="connsiteY5" fmla="*/ 2143512 h 2143512"/>
                  <a:gd name="connsiteX6" fmla="*/ 411914 w 2271778"/>
                  <a:gd name="connsiteY6" fmla="*/ 1846134 h 2143512"/>
                  <a:gd name="connsiteX7" fmla="*/ 410043 w 2271778"/>
                  <a:gd name="connsiteY7" fmla="*/ 1739526 h 2143512"/>
                  <a:gd name="connsiteX8" fmla="*/ 516642 w 2271778"/>
                  <a:gd name="connsiteY8" fmla="*/ 1737656 h 2143512"/>
                  <a:gd name="connsiteX9" fmla="*/ 1154364 w 2271778"/>
                  <a:gd name="connsiteY9" fmla="*/ 1993888 h 2143512"/>
                  <a:gd name="connsiteX10" fmla="*/ 2078218 w 2271778"/>
                  <a:gd name="connsiteY10" fmla="*/ 1071827 h 2143512"/>
                  <a:gd name="connsiteX11" fmla="*/ 2042685 w 2271778"/>
                  <a:gd name="connsiteY11" fmla="*/ 817466 h 2143512"/>
                  <a:gd name="connsiteX12" fmla="*/ 1956658 w 2271778"/>
                  <a:gd name="connsiteY12" fmla="*/ 854872 h 2143512"/>
                  <a:gd name="connsiteX13" fmla="*/ 1926736 w 2271778"/>
                  <a:gd name="connsiteY13" fmla="*/ 824947 h 2143512"/>
                  <a:gd name="connsiteX14" fmla="*/ 2012763 w 2271778"/>
                  <a:gd name="connsiteY14" fmla="*/ 602381 h 2143512"/>
                  <a:gd name="connsiteX15" fmla="*/ 2042685 w 2271778"/>
                  <a:gd name="connsiteY15" fmla="*/ 589289 h 2143512"/>
                  <a:gd name="connsiteX16" fmla="*/ 1154149 w 2271778"/>
                  <a:gd name="connsiteY16" fmla="*/ 0 h 2143512"/>
                  <a:gd name="connsiteX17" fmla="*/ 1795739 w 2271778"/>
                  <a:gd name="connsiteY17" fmla="*/ 211323 h 2143512"/>
                  <a:gd name="connsiteX18" fmla="*/ 1810703 w 2271778"/>
                  <a:gd name="connsiteY18" fmla="*/ 316050 h 2143512"/>
                  <a:gd name="connsiteX19" fmla="*/ 1705954 w 2271778"/>
                  <a:gd name="connsiteY19" fmla="*/ 331011 h 2143512"/>
                  <a:gd name="connsiteX20" fmla="*/ 1154149 w 2271778"/>
                  <a:gd name="connsiteY20" fmla="*/ 147739 h 2143512"/>
                  <a:gd name="connsiteX21" fmla="*/ 231981 w 2271778"/>
                  <a:gd name="connsiteY21" fmla="*/ 1071578 h 2143512"/>
                  <a:gd name="connsiteX22" fmla="*/ 239463 w 2271778"/>
                  <a:gd name="connsiteY22" fmla="*/ 1193135 h 2143512"/>
                  <a:gd name="connsiteX23" fmla="*/ 314284 w 2271778"/>
                  <a:gd name="connsiteY23" fmla="*/ 1161343 h 2143512"/>
                  <a:gd name="connsiteX24" fmla="*/ 346083 w 2271778"/>
                  <a:gd name="connsiteY24" fmla="*/ 1189395 h 2143512"/>
                  <a:gd name="connsiteX25" fmla="*/ 260039 w 2271778"/>
                  <a:gd name="connsiteY25" fmla="*/ 1411939 h 2143512"/>
                  <a:gd name="connsiteX26" fmla="*/ 230110 w 2271778"/>
                  <a:gd name="connsiteY26" fmla="*/ 1425030 h 2143512"/>
                  <a:gd name="connsiteX27" fmla="*/ 15000 w 2271778"/>
                  <a:gd name="connsiteY27" fmla="*/ 1337134 h 2143512"/>
                  <a:gd name="connsiteX28" fmla="*/ 13129 w 2271778"/>
                  <a:gd name="connsiteY28" fmla="*/ 1294122 h 2143512"/>
                  <a:gd name="connsiteX29" fmla="*/ 99173 w 2271778"/>
                  <a:gd name="connsiteY29" fmla="*/ 1254849 h 2143512"/>
                  <a:gd name="connsiteX30" fmla="*/ 95432 w 2271778"/>
                  <a:gd name="connsiteY30" fmla="*/ 1238018 h 2143512"/>
                  <a:gd name="connsiteX31" fmla="*/ 82339 w 2271778"/>
                  <a:gd name="connsiteY31" fmla="*/ 1071578 h 2143512"/>
                  <a:gd name="connsiteX32" fmla="*/ 1154149 w 2271778"/>
                  <a:gd name="connsiteY32" fmla="*/ 0 h 2143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2271778" h="2143512">
                    <a:moveTo>
                      <a:pt x="2042685" y="589289"/>
                    </a:moveTo>
                    <a:cubicBezTo>
                      <a:pt x="2042685" y="589289"/>
                      <a:pt x="2042685" y="589289"/>
                      <a:pt x="2257753" y="679063"/>
                    </a:cubicBezTo>
                    <a:cubicBezTo>
                      <a:pt x="2276454" y="686545"/>
                      <a:pt x="2276454" y="712729"/>
                      <a:pt x="2257753" y="722080"/>
                    </a:cubicBezTo>
                    <a:cubicBezTo>
                      <a:pt x="2257753" y="722080"/>
                      <a:pt x="2257753" y="722080"/>
                      <a:pt x="2179206" y="755746"/>
                    </a:cubicBezTo>
                    <a:cubicBezTo>
                      <a:pt x="2210999" y="858613"/>
                      <a:pt x="2227830" y="963350"/>
                      <a:pt x="2227830" y="1071827"/>
                    </a:cubicBezTo>
                    <a:cubicBezTo>
                      <a:pt x="2227830" y="1662844"/>
                      <a:pt x="1745331" y="2143512"/>
                      <a:pt x="1154364" y="2143512"/>
                    </a:cubicBezTo>
                    <a:cubicBezTo>
                      <a:pt x="877581" y="2143512"/>
                      <a:pt x="613890" y="2038775"/>
                      <a:pt x="411914" y="1846134"/>
                    </a:cubicBezTo>
                    <a:cubicBezTo>
                      <a:pt x="381991" y="1816209"/>
                      <a:pt x="381991" y="1769451"/>
                      <a:pt x="410043" y="1739526"/>
                    </a:cubicBezTo>
                    <a:cubicBezTo>
                      <a:pt x="438096" y="1709601"/>
                      <a:pt x="486720" y="1709601"/>
                      <a:pt x="516642" y="1737656"/>
                    </a:cubicBezTo>
                    <a:cubicBezTo>
                      <a:pt x="688696" y="1904113"/>
                      <a:pt x="914984" y="1993888"/>
                      <a:pt x="1154364" y="1993888"/>
                    </a:cubicBezTo>
                    <a:cubicBezTo>
                      <a:pt x="1663045" y="1993888"/>
                      <a:pt x="2078218" y="1580550"/>
                      <a:pt x="2078218" y="1071827"/>
                    </a:cubicBezTo>
                    <a:cubicBezTo>
                      <a:pt x="2078218" y="985793"/>
                      <a:pt x="2065127" y="899759"/>
                      <a:pt x="2042685" y="817466"/>
                    </a:cubicBezTo>
                    <a:cubicBezTo>
                      <a:pt x="2042685" y="817466"/>
                      <a:pt x="2042685" y="817466"/>
                      <a:pt x="1956658" y="854872"/>
                    </a:cubicBezTo>
                    <a:cubicBezTo>
                      <a:pt x="1937957" y="862353"/>
                      <a:pt x="1919255" y="843650"/>
                      <a:pt x="1926736" y="824947"/>
                    </a:cubicBezTo>
                    <a:cubicBezTo>
                      <a:pt x="1926736" y="824947"/>
                      <a:pt x="1926736" y="824947"/>
                      <a:pt x="2012763" y="602381"/>
                    </a:cubicBezTo>
                    <a:cubicBezTo>
                      <a:pt x="2016503" y="591159"/>
                      <a:pt x="2029594" y="585548"/>
                      <a:pt x="2042685" y="589289"/>
                    </a:cubicBezTo>
                    <a:close/>
                    <a:moveTo>
                      <a:pt x="1154149" y="0"/>
                    </a:moveTo>
                    <a:cubicBezTo>
                      <a:pt x="1387965" y="0"/>
                      <a:pt x="1608687" y="72935"/>
                      <a:pt x="1795739" y="211323"/>
                    </a:cubicBezTo>
                    <a:cubicBezTo>
                      <a:pt x="1827538" y="235635"/>
                      <a:pt x="1835020" y="282388"/>
                      <a:pt x="1810703" y="316050"/>
                    </a:cubicBezTo>
                    <a:cubicBezTo>
                      <a:pt x="1786387" y="347842"/>
                      <a:pt x="1739623" y="355322"/>
                      <a:pt x="1705954" y="331011"/>
                    </a:cubicBezTo>
                    <a:cubicBezTo>
                      <a:pt x="1545089" y="211323"/>
                      <a:pt x="1354295" y="147739"/>
                      <a:pt x="1154149" y="147739"/>
                    </a:cubicBezTo>
                    <a:cubicBezTo>
                      <a:pt x="645367" y="147739"/>
                      <a:pt x="231981" y="562906"/>
                      <a:pt x="231981" y="1071578"/>
                    </a:cubicBezTo>
                    <a:cubicBezTo>
                      <a:pt x="231981" y="1112720"/>
                      <a:pt x="233851" y="1153863"/>
                      <a:pt x="239463" y="1193135"/>
                    </a:cubicBezTo>
                    <a:cubicBezTo>
                      <a:pt x="239463" y="1193135"/>
                      <a:pt x="239463" y="1193135"/>
                      <a:pt x="314284" y="1161343"/>
                    </a:cubicBezTo>
                    <a:cubicBezTo>
                      <a:pt x="332989" y="1151993"/>
                      <a:pt x="351694" y="1170694"/>
                      <a:pt x="346083" y="1189395"/>
                    </a:cubicBezTo>
                    <a:cubicBezTo>
                      <a:pt x="346083" y="1189395"/>
                      <a:pt x="346083" y="1189395"/>
                      <a:pt x="260039" y="1411939"/>
                    </a:cubicBezTo>
                    <a:cubicBezTo>
                      <a:pt x="254427" y="1425030"/>
                      <a:pt x="241333" y="1430640"/>
                      <a:pt x="230110" y="1425030"/>
                    </a:cubicBezTo>
                    <a:cubicBezTo>
                      <a:pt x="230110" y="1425030"/>
                      <a:pt x="230110" y="1425030"/>
                      <a:pt x="15000" y="1337134"/>
                    </a:cubicBezTo>
                    <a:cubicBezTo>
                      <a:pt x="-3705" y="1327784"/>
                      <a:pt x="-5576" y="1301602"/>
                      <a:pt x="13129" y="1294122"/>
                    </a:cubicBezTo>
                    <a:cubicBezTo>
                      <a:pt x="13129" y="1294122"/>
                      <a:pt x="13129" y="1294122"/>
                      <a:pt x="99173" y="1254849"/>
                    </a:cubicBezTo>
                    <a:cubicBezTo>
                      <a:pt x="97303" y="1249239"/>
                      <a:pt x="95432" y="1243628"/>
                      <a:pt x="95432" y="1238018"/>
                    </a:cubicBezTo>
                    <a:cubicBezTo>
                      <a:pt x="86080" y="1181915"/>
                      <a:pt x="82339" y="1127681"/>
                      <a:pt x="82339" y="1071578"/>
                    </a:cubicBezTo>
                    <a:cubicBezTo>
                      <a:pt x="82339" y="480620"/>
                      <a:pt x="563064" y="0"/>
                      <a:pt x="1154149" y="0"/>
                    </a:cubicBezTo>
                    <a:close/>
                  </a:path>
                </a:pathLst>
              </a:custGeom>
              <a:solidFill>
                <a:srgbClr val="2853DC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478" name="Freeform 14">
                <a:extLst>
                  <a:ext uri="{FF2B5EF4-FFF2-40B4-BE49-F238E27FC236}">
                    <a16:creationId xmlns:a16="http://schemas.microsoft.com/office/drawing/2014/main" id="{8A225695-CC3F-09F4-E8AD-A6D4F3D16FB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3846127" y="3147523"/>
                <a:ext cx="357725" cy="526579"/>
              </a:xfrm>
              <a:custGeom>
                <a:avLst/>
                <a:gdLst>
                  <a:gd name="T0" fmla="*/ 17 w 811"/>
                  <a:gd name="T1" fmla="*/ 1181 h 1195"/>
                  <a:gd name="T2" fmla="*/ 324 w 811"/>
                  <a:gd name="T3" fmla="*/ 677 h 1195"/>
                  <a:gd name="T4" fmla="*/ 319 w 811"/>
                  <a:gd name="T5" fmla="*/ 668 h 1195"/>
                  <a:gd name="T6" fmla="*/ 28 w 811"/>
                  <a:gd name="T7" fmla="*/ 668 h 1195"/>
                  <a:gd name="T8" fmla="*/ 10 w 811"/>
                  <a:gd name="T9" fmla="*/ 638 h 1195"/>
                  <a:gd name="T10" fmla="*/ 388 w 811"/>
                  <a:gd name="T11" fmla="*/ 22 h 1195"/>
                  <a:gd name="T12" fmla="*/ 426 w 811"/>
                  <a:gd name="T13" fmla="*/ 0 h 1195"/>
                  <a:gd name="T14" fmla="*/ 718 w 811"/>
                  <a:gd name="T15" fmla="*/ 0 h 1195"/>
                  <a:gd name="T16" fmla="*/ 733 w 811"/>
                  <a:gd name="T17" fmla="*/ 30 h 1195"/>
                  <a:gd name="T18" fmla="*/ 442 w 811"/>
                  <a:gd name="T19" fmla="*/ 436 h 1195"/>
                  <a:gd name="T20" fmla="*/ 446 w 811"/>
                  <a:gd name="T21" fmla="*/ 445 h 1195"/>
                  <a:gd name="T22" fmla="*/ 779 w 811"/>
                  <a:gd name="T23" fmla="*/ 445 h 1195"/>
                  <a:gd name="T24" fmla="*/ 795 w 811"/>
                  <a:gd name="T25" fmla="*/ 488 h 1195"/>
                  <a:gd name="T26" fmla="*/ 27 w 811"/>
                  <a:gd name="T27" fmla="*/ 1189 h 1195"/>
                  <a:gd name="T28" fmla="*/ 17 w 811"/>
                  <a:gd name="T29" fmla="*/ 1181 h 1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11" h="1195">
                    <a:moveTo>
                      <a:pt x="17" y="1181"/>
                    </a:moveTo>
                    <a:cubicBezTo>
                      <a:pt x="324" y="677"/>
                      <a:pt x="324" y="677"/>
                      <a:pt x="324" y="677"/>
                    </a:cubicBezTo>
                    <a:cubicBezTo>
                      <a:pt x="326" y="673"/>
                      <a:pt x="324" y="668"/>
                      <a:pt x="319" y="668"/>
                    </a:cubicBezTo>
                    <a:cubicBezTo>
                      <a:pt x="28" y="668"/>
                      <a:pt x="28" y="668"/>
                      <a:pt x="28" y="668"/>
                    </a:cubicBezTo>
                    <a:cubicBezTo>
                      <a:pt x="8" y="668"/>
                      <a:pt x="0" y="654"/>
                      <a:pt x="10" y="638"/>
                    </a:cubicBezTo>
                    <a:cubicBezTo>
                      <a:pt x="388" y="22"/>
                      <a:pt x="388" y="22"/>
                      <a:pt x="388" y="22"/>
                    </a:cubicBezTo>
                    <a:cubicBezTo>
                      <a:pt x="396" y="9"/>
                      <a:pt x="410" y="0"/>
                      <a:pt x="426" y="0"/>
                    </a:cubicBezTo>
                    <a:cubicBezTo>
                      <a:pt x="718" y="0"/>
                      <a:pt x="718" y="0"/>
                      <a:pt x="718" y="0"/>
                    </a:cubicBezTo>
                    <a:cubicBezTo>
                      <a:pt x="738" y="0"/>
                      <a:pt x="744" y="14"/>
                      <a:pt x="733" y="30"/>
                    </a:cubicBezTo>
                    <a:cubicBezTo>
                      <a:pt x="442" y="436"/>
                      <a:pt x="442" y="436"/>
                      <a:pt x="442" y="436"/>
                    </a:cubicBezTo>
                    <a:cubicBezTo>
                      <a:pt x="439" y="440"/>
                      <a:pt x="442" y="445"/>
                      <a:pt x="446" y="445"/>
                    </a:cubicBezTo>
                    <a:cubicBezTo>
                      <a:pt x="779" y="445"/>
                      <a:pt x="779" y="445"/>
                      <a:pt x="779" y="445"/>
                    </a:cubicBezTo>
                    <a:cubicBezTo>
                      <a:pt x="801" y="445"/>
                      <a:pt x="811" y="473"/>
                      <a:pt x="795" y="488"/>
                    </a:cubicBezTo>
                    <a:cubicBezTo>
                      <a:pt x="27" y="1189"/>
                      <a:pt x="27" y="1189"/>
                      <a:pt x="27" y="1189"/>
                    </a:cubicBezTo>
                    <a:cubicBezTo>
                      <a:pt x="21" y="1195"/>
                      <a:pt x="13" y="1188"/>
                      <a:pt x="17" y="118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</p:grpSp>
      <p:grpSp>
        <p:nvGrpSpPr>
          <p:cNvPr id="483" name="Group 482">
            <a:extLst>
              <a:ext uri="{FF2B5EF4-FFF2-40B4-BE49-F238E27FC236}">
                <a16:creationId xmlns:a16="http://schemas.microsoft.com/office/drawing/2014/main" id="{F7913E37-9728-DFF2-12F3-8DF8D200C7DE}"/>
              </a:ext>
            </a:extLst>
          </p:cNvPr>
          <p:cNvGrpSpPr/>
          <p:nvPr/>
        </p:nvGrpSpPr>
        <p:grpSpPr>
          <a:xfrm>
            <a:off x="6484039" y="2042950"/>
            <a:ext cx="352723" cy="499127"/>
            <a:chOff x="2886775" y="1754488"/>
            <a:chExt cx="433831" cy="613900"/>
          </a:xfrm>
        </p:grpSpPr>
        <p:grpSp>
          <p:nvGrpSpPr>
            <p:cNvPr id="484" name="Group 483">
              <a:extLst>
                <a:ext uri="{FF2B5EF4-FFF2-40B4-BE49-F238E27FC236}">
                  <a16:creationId xmlns:a16="http://schemas.microsoft.com/office/drawing/2014/main" id="{D8BF14B6-2E85-3956-BEFB-DF44509BB27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886775" y="1881252"/>
              <a:ext cx="262788" cy="487136"/>
              <a:chOff x="5434013" y="2201863"/>
              <a:chExt cx="1323975" cy="2454275"/>
            </a:xfrm>
          </p:grpSpPr>
          <p:sp>
            <p:nvSpPr>
              <p:cNvPr id="488" name="Freeform 5">
                <a:extLst>
                  <a:ext uri="{FF2B5EF4-FFF2-40B4-BE49-F238E27FC236}">
                    <a16:creationId xmlns:a16="http://schemas.microsoft.com/office/drawing/2014/main" id="{58B9AACA-B0C6-5B50-C130-018E6E30A5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4013" y="2201863"/>
                <a:ext cx="1323975" cy="2454275"/>
              </a:xfrm>
              <a:custGeom>
                <a:avLst/>
                <a:gdLst>
                  <a:gd name="T0" fmla="*/ 7527 w 8000"/>
                  <a:gd name="T1" fmla="*/ 14889 h 14889"/>
                  <a:gd name="T2" fmla="*/ 485 w 8000"/>
                  <a:gd name="T3" fmla="*/ 14889 h 14889"/>
                  <a:gd name="T4" fmla="*/ 0 w 8000"/>
                  <a:gd name="T5" fmla="*/ 14419 h 14889"/>
                  <a:gd name="T6" fmla="*/ 0 w 8000"/>
                  <a:gd name="T7" fmla="*/ 470 h 14889"/>
                  <a:gd name="T8" fmla="*/ 485 w 8000"/>
                  <a:gd name="T9" fmla="*/ 0 h 14889"/>
                  <a:gd name="T10" fmla="*/ 7527 w 8000"/>
                  <a:gd name="T11" fmla="*/ 0 h 14889"/>
                  <a:gd name="T12" fmla="*/ 8000 w 8000"/>
                  <a:gd name="T13" fmla="*/ 470 h 14889"/>
                  <a:gd name="T14" fmla="*/ 8000 w 8000"/>
                  <a:gd name="T15" fmla="*/ 14419 h 14889"/>
                  <a:gd name="T16" fmla="*/ 7527 w 8000"/>
                  <a:gd name="T17" fmla="*/ 14889 h 148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00" h="14889">
                    <a:moveTo>
                      <a:pt x="7527" y="14889"/>
                    </a:moveTo>
                    <a:cubicBezTo>
                      <a:pt x="485" y="14889"/>
                      <a:pt x="485" y="14889"/>
                      <a:pt x="485" y="14889"/>
                    </a:cubicBezTo>
                    <a:cubicBezTo>
                      <a:pt x="224" y="14889"/>
                      <a:pt x="0" y="14679"/>
                      <a:pt x="0" y="14419"/>
                    </a:cubicBezTo>
                    <a:cubicBezTo>
                      <a:pt x="0" y="470"/>
                      <a:pt x="0" y="470"/>
                      <a:pt x="0" y="470"/>
                    </a:cubicBezTo>
                    <a:cubicBezTo>
                      <a:pt x="0" y="210"/>
                      <a:pt x="224" y="0"/>
                      <a:pt x="485" y="0"/>
                    </a:cubicBezTo>
                    <a:cubicBezTo>
                      <a:pt x="7527" y="0"/>
                      <a:pt x="7527" y="0"/>
                      <a:pt x="7527" y="0"/>
                    </a:cubicBezTo>
                    <a:cubicBezTo>
                      <a:pt x="7788" y="0"/>
                      <a:pt x="8000" y="210"/>
                      <a:pt x="8000" y="470"/>
                    </a:cubicBezTo>
                    <a:cubicBezTo>
                      <a:pt x="8000" y="14419"/>
                      <a:pt x="8000" y="14419"/>
                      <a:pt x="8000" y="14419"/>
                    </a:cubicBezTo>
                    <a:cubicBezTo>
                      <a:pt x="8000" y="14679"/>
                      <a:pt x="7788" y="14889"/>
                      <a:pt x="7527" y="14889"/>
                    </a:cubicBezTo>
                    <a:close/>
                  </a:path>
                </a:pathLst>
              </a:custGeom>
              <a:solidFill>
                <a:srgbClr val="7BA0FF"/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defRPr/>
                </a:pPr>
                <a:endParaRPr lang="en-US" sz="1463" kern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489" name="Freeform: Shape 15">
                <a:extLst>
                  <a:ext uri="{FF2B5EF4-FFF2-40B4-BE49-F238E27FC236}">
                    <a16:creationId xmlns:a16="http://schemas.microsoft.com/office/drawing/2014/main" id="{F42B6465-7593-B588-3BD9-4CE60BE5D7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8151" y="2286001"/>
                <a:ext cx="1155700" cy="2239963"/>
              </a:xfrm>
              <a:custGeom>
                <a:avLst/>
                <a:gdLst>
                  <a:gd name="connsiteX0" fmla="*/ 453942 w 1155700"/>
                  <a:gd name="connsiteY0" fmla="*/ 2159000 h 2239963"/>
                  <a:gd name="connsiteX1" fmla="*/ 701592 w 1155700"/>
                  <a:gd name="connsiteY1" fmla="*/ 2159000 h 2239963"/>
                  <a:gd name="connsiteX2" fmla="*/ 742950 w 1155700"/>
                  <a:gd name="connsiteY2" fmla="*/ 2199482 h 2239963"/>
                  <a:gd name="connsiteX3" fmla="*/ 701592 w 1155700"/>
                  <a:gd name="connsiteY3" fmla="*/ 2239963 h 2239963"/>
                  <a:gd name="connsiteX4" fmla="*/ 453942 w 1155700"/>
                  <a:gd name="connsiteY4" fmla="*/ 2239963 h 2239963"/>
                  <a:gd name="connsiteX5" fmla="*/ 412750 w 1155700"/>
                  <a:gd name="connsiteY5" fmla="*/ 2199482 h 2239963"/>
                  <a:gd name="connsiteX6" fmla="*/ 453942 w 1155700"/>
                  <a:gd name="connsiteY6" fmla="*/ 2159000 h 2239963"/>
                  <a:gd name="connsiteX7" fmla="*/ 39059 w 1155700"/>
                  <a:gd name="connsiteY7" fmla="*/ 0 h 2239963"/>
                  <a:gd name="connsiteX8" fmla="*/ 1116642 w 1155700"/>
                  <a:gd name="connsiteY8" fmla="*/ 0 h 2239963"/>
                  <a:gd name="connsiteX9" fmla="*/ 1155700 w 1155700"/>
                  <a:gd name="connsiteY9" fmla="*/ 38549 h 2239963"/>
                  <a:gd name="connsiteX10" fmla="*/ 1155700 w 1155700"/>
                  <a:gd name="connsiteY10" fmla="*/ 1996626 h 2239963"/>
                  <a:gd name="connsiteX11" fmla="*/ 1116642 w 1155700"/>
                  <a:gd name="connsiteY11" fmla="*/ 2035175 h 2239963"/>
                  <a:gd name="connsiteX12" fmla="*/ 39059 w 1155700"/>
                  <a:gd name="connsiteY12" fmla="*/ 2035175 h 2239963"/>
                  <a:gd name="connsiteX13" fmla="*/ 0 w 1155700"/>
                  <a:gd name="connsiteY13" fmla="*/ 1996626 h 2239963"/>
                  <a:gd name="connsiteX14" fmla="*/ 0 w 1155700"/>
                  <a:gd name="connsiteY14" fmla="*/ 38549 h 2239963"/>
                  <a:gd name="connsiteX15" fmla="*/ 39059 w 1155700"/>
                  <a:gd name="connsiteY15" fmla="*/ 0 h 2239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55700" h="2239963">
                    <a:moveTo>
                      <a:pt x="453942" y="2159000"/>
                    </a:moveTo>
                    <a:cubicBezTo>
                      <a:pt x="701592" y="2159000"/>
                      <a:pt x="701592" y="2159000"/>
                      <a:pt x="701592" y="2159000"/>
                    </a:cubicBezTo>
                    <a:cubicBezTo>
                      <a:pt x="724347" y="2159000"/>
                      <a:pt x="742950" y="2177102"/>
                      <a:pt x="742950" y="2199482"/>
                    </a:cubicBezTo>
                    <a:cubicBezTo>
                      <a:pt x="742950" y="2221697"/>
                      <a:pt x="724347" y="2239963"/>
                      <a:pt x="701592" y="2239963"/>
                    </a:cubicBezTo>
                    <a:cubicBezTo>
                      <a:pt x="453942" y="2239963"/>
                      <a:pt x="453942" y="2239963"/>
                      <a:pt x="453942" y="2239963"/>
                    </a:cubicBezTo>
                    <a:cubicBezTo>
                      <a:pt x="431187" y="2239963"/>
                      <a:pt x="412750" y="2221697"/>
                      <a:pt x="412750" y="2199482"/>
                    </a:cubicBezTo>
                    <a:cubicBezTo>
                      <a:pt x="412750" y="2177102"/>
                      <a:pt x="431187" y="2159000"/>
                      <a:pt x="453942" y="2159000"/>
                    </a:cubicBezTo>
                    <a:close/>
                    <a:moveTo>
                      <a:pt x="39059" y="0"/>
                    </a:moveTo>
                    <a:cubicBezTo>
                      <a:pt x="39059" y="0"/>
                      <a:pt x="39059" y="0"/>
                      <a:pt x="1116642" y="0"/>
                    </a:cubicBezTo>
                    <a:cubicBezTo>
                      <a:pt x="1139315" y="0"/>
                      <a:pt x="1155700" y="18286"/>
                      <a:pt x="1155700" y="38549"/>
                    </a:cubicBezTo>
                    <a:cubicBezTo>
                      <a:pt x="1155700" y="38549"/>
                      <a:pt x="1155700" y="38549"/>
                      <a:pt x="1155700" y="1996626"/>
                    </a:cubicBezTo>
                    <a:cubicBezTo>
                      <a:pt x="1155700" y="2016889"/>
                      <a:pt x="1139315" y="2035175"/>
                      <a:pt x="1116642" y="2035175"/>
                    </a:cubicBezTo>
                    <a:cubicBezTo>
                      <a:pt x="1116642" y="2035175"/>
                      <a:pt x="1116642" y="2035175"/>
                      <a:pt x="39059" y="2035175"/>
                    </a:cubicBezTo>
                    <a:cubicBezTo>
                      <a:pt x="16550" y="2035175"/>
                      <a:pt x="0" y="2016889"/>
                      <a:pt x="0" y="1996626"/>
                    </a:cubicBezTo>
                    <a:cubicBezTo>
                      <a:pt x="0" y="1996626"/>
                      <a:pt x="0" y="1996626"/>
                      <a:pt x="0" y="38549"/>
                    </a:cubicBezTo>
                    <a:cubicBezTo>
                      <a:pt x="0" y="18286"/>
                      <a:pt x="16550" y="0"/>
                      <a:pt x="39059" y="0"/>
                    </a:cubicBezTo>
                    <a:close/>
                  </a:path>
                </a:pathLst>
              </a:custGeom>
              <a:solidFill>
                <a:srgbClr val="7BA0FF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743407">
                  <a:defRPr/>
                </a:pPr>
                <a:endParaRPr lang="en-US" sz="1463" kern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485" name="Group 484">
              <a:extLst>
                <a:ext uri="{FF2B5EF4-FFF2-40B4-BE49-F238E27FC236}">
                  <a16:creationId xmlns:a16="http://schemas.microsoft.com/office/drawing/2014/main" id="{E6412805-9794-E039-B14E-3F6C311E243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031664" y="1754488"/>
              <a:ext cx="288942" cy="286928"/>
              <a:chOff x="4083511" y="2880360"/>
              <a:chExt cx="531183" cy="530844"/>
            </a:xfrm>
          </p:grpSpPr>
          <p:sp>
            <p:nvSpPr>
              <p:cNvPr id="486" name="Oval 485">
                <a:extLst>
                  <a:ext uri="{FF2B5EF4-FFF2-40B4-BE49-F238E27FC236}">
                    <a16:creationId xmlns:a16="http://schemas.microsoft.com/office/drawing/2014/main" id="{1554377E-81B8-7FEA-D4CD-CDDB3B792D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3511" y="2880360"/>
                <a:ext cx="531183" cy="530844"/>
              </a:xfrm>
              <a:prstGeom prst="ellipse">
                <a:avLst/>
              </a:prstGeom>
              <a:solidFill>
                <a:srgbClr val="2853DC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487" name="Freeform 539">
                <a:extLst>
                  <a:ext uri="{FF2B5EF4-FFF2-40B4-BE49-F238E27FC236}">
                    <a16:creationId xmlns:a16="http://schemas.microsoft.com/office/drawing/2014/main" id="{900DC518-BA4B-E6EB-AB56-899DEC5AC5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6224" y="2942732"/>
                <a:ext cx="406777" cy="406099"/>
              </a:xfrm>
              <a:custGeom>
                <a:avLst/>
                <a:gdLst>
                  <a:gd name="T0" fmla="*/ 444 w 449"/>
                  <a:gd name="T1" fmla="*/ 218 h 448"/>
                  <a:gd name="T2" fmla="*/ 365 w 449"/>
                  <a:gd name="T3" fmla="*/ 139 h 448"/>
                  <a:gd name="T4" fmla="*/ 346 w 449"/>
                  <a:gd name="T5" fmla="*/ 146 h 448"/>
                  <a:gd name="T6" fmla="*/ 346 w 449"/>
                  <a:gd name="T7" fmla="*/ 189 h 448"/>
                  <a:gd name="T8" fmla="*/ 260 w 449"/>
                  <a:gd name="T9" fmla="*/ 189 h 448"/>
                  <a:gd name="T10" fmla="*/ 260 w 449"/>
                  <a:gd name="T11" fmla="*/ 102 h 448"/>
                  <a:gd name="T12" fmla="*/ 302 w 449"/>
                  <a:gd name="T13" fmla="*/ 102 h 448"/>
                  <a:gd name="T14" fmla="*/ 310 w 449"/>
                  <a:gd name="T15" fmla="*/ 84 h 448"/>
                  <a:gd name="T16" fmla="*/ 234 w 449"/>
                  <a:gd name="T17" fmla="*/ 4 h 448"/>
                  <a:gd name="T18" fmla="*/ 218 w 449"/>
                  <a:gd name="T19" fmla="*/ 4 h 448"/>
                  <a:gd name="T20" fmla="*/ 139 w 449"/>
                  <a:gd name="T21" fmla="*/ 84 h 448"/>
                  <a:gd name="T22" fmla="*/ 147 w 449"/>
                  <a:gd name="T23" fmla="*/ 103 h 448"/>
                  <a:gd name="T24" fmla="*/ 189 w 449"/>
                  <a:gd name="T25" fmla="*/ 103 h 448"/>
                  <a:gd name="T26" fmla="*/ 189 w 449"/>
                  <a:gd name="T27" fmla="*/ 189 h 448"/>
                  <a:gd name="T28" fmla="*/ 103 w 449"/>
                  <a:gd name="T29" fmla="*/ 189 h 448"/>
                  <a:gd name="T30" fmla="*/ 103 w 449"/>
                  <a:gd name="T31" fmla="*/ 146 h 448"/>
                  <a:gd name="T32" fmla="*/ 84 w 449"/>
                  <a:gd name="T33" fmla="*/ 138 h 448"/>
                  <a:gd name="T34" fmla="*/ 5 w 449"/>
                  <a:gd name="T35" fmla="*/ 214 h 448"/>
                  <a:gd name="T36" fmla="*/ 4 w 449"/>
                  <a:gd name="T37" fmla="*/ 230 h 448"/>
                  <a:gd name="T38" fmla="*/ 84 w 449"/>
                  <a:gd name="T39" fmla="*/ 310 h 448"/>
                  <a:gd name="T40" fmla="*/ 103 w 449"/>
                  <a:gd name="T41" fmla="*/ 302 h 448"/>
                  <a:gd name="T42" fmla="*/ 103 w 449"/>
                  <a:gd name="T43" fmla="*/ 259 h 448"/>
                  <a:gd name="T44" fmla="*/ 189 w 449"/>
                  <a:gd name="T45" fmla="*/ 259 h 448"/>
                  <a:gd name="T46" fmla="*/ 189 w 449"/>
                  <a:gd name="T47" fmla="*/ 346 h 448"/>
                  <a:gd name="T48" fmla="*/ 147 w 449"/>
                  <a:gd name="T49" fmla="*/ 346 h 448"/>
                  <a:gd name="T50" fmla="*/ 139 w 449"/>
                  <a:gd name="T51" fmla="*/ 364 h 448"/>
                  <a:gd name="T52" fmla="*/ 215 w 449"/>
                  <a:gd name="T53" fmla="*/ 444 h 448"/>
                  <a:gd name="T54" fmla="*/ 230 w 449"/>
                  <a:gd name="T55" fmla="*/ 444 h 448"/>
                  <a:gd name="T56" fmla="*/ 310 w 449"/>
                  <a:gd name="T57" fmla="*/ 364 h 448"/>
                  <a:gd name="T58" fmla="*/ 302 w 449"/>
                  <a:gd name="T59" fmla="*/ 346 h 448"/>
                  <a:gd name="T60" fmla="*/ 260 w 449"/>
                  <a:gd name="T61" fmla="*/ 346 h 448"/>
                  <a:gd name="T62" fmla="*/ 260 w 449"/>
                  <a:gd name="T63" fmla="*/ 259 h 448"/>
                  <a:gd name="T64" fmla="*/ 346 w 449"/>
                  <a:gd name="T65" fmla="*/ 259 h 448"/>
                  <a:gd name="T66" fmla="*/ 346 w 449"/>
                  <a:gd name="T67" fmla="*/ 302 h 448"/>
                  <a:gd name="T68" fmla="*/ 365 w 449"/>
                  <a:gd name="T69" fmla="*/ 310 h 448"/>
                  <a:gd name="T70" fmla="*/ 444 w 449"/>
                  <a:gd name="T71" fmla="*/ 234 h 448"/>
                  <a:gd name="T72" fmla="*/ 444 w 449"/>
                  <a:gd name="T73" fmla="*/ 218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49" h="448">
                    <a:moveTo>
                      <a:pt x="444" y="218"/>
                    </a:moveTo>
                    <a:cubicBezTo>
                      <a:pt x="365" y="139"/>
                      <a:pt x="365" y="139"/>
                      <a:pt x="365" y="139"/>
                    </a:cubicBezTo>
                    <a:cubicBezTo>
                      <a:pt x="358" y="132"/>
                      <a:pt x="346" y="137"/>
                      <a:pt x="346" y="146"/>
                    </a:cubicBezTo>
                    <a:cubicBezTo>
                      <a:pt x="346" y="189"/>
                      <a:pt x="346" y="189"/>
                      <a:pt x="346" y="189"/>
                    </a:cubicBezTo>
                    <a:cubicBezTo>
                      <a:pt x="260" y="189"/>
                      <a:pt x="260" y="189"/>
                      <a:pt x="260" y="189"/>
                    </a:cubicBezTo>
                    <a:cubicBezTo>
                      <a:pt x="260" y="102"/>
                      <a:pt x="260" y="102"/>
                      <a:pt x="260" y="102"/>
                    </a:cubicBezTo>
                    <a:cubicBezTo>
                      <a:pt x="302" y="102"/>
                      <a:pt x="302" y="102"/>
                      <a:pt x="302" y="102"/>
                    </a:cubicBezTo>
                    <a:cubicBezTo>
                      <a:pt x="312" y="102"/>
                      <a:pt x="317" y="91"/>
                      <a:pt x="310" y="84"/>
                    </a:cubicBezTo>
                    <a:cubicBezTo>
                      <a:pt x="234" y="4"/>
                      <a:pt x="234" y="4"/>
                      <a:pt x="234" y="4"/>
                    </a:cubicBezTo>
                    <a:cubicBezTo>
                      <a:pt x="230" y="0"/>
                      <a:pt x="223" y="0"/>
                      <a:pt x="218" y="4"/>
                    </a:cubicBezTo>
                    <a:cubicBezTo>
                      <a:pt x="139" y="84"/>
                      <a:pt x="139" y="84"/>
                      <a:pt x="139" y="84"/>
                    </a:cubicBezTo>
                    <a:cubicBezTo>
                      <a:pt x="132" y="91"/>
                      <a:pt x="137" y="103"/>
                      <a:pt x="147" y="103"/>
                    </a:cubicBezTo>
                    <a:cubicBezTo>
                      <a:pt x="189" y="103"/>
                      <a:pt x="189" y="103"/>
                      <a:pt x="189" y="103"/>
                    </a:cubicBezTo>
                    <a:cubicBezTo>
                      <a:pt x="189" y="189"/>
                      <a:pt x="189" y="189"/>
                      <a:pt x="189" y="189"/>
                    </a:cubicBezTo>
                    <a:cubicBezTo>
                      <a:pt x="103" y="189"/>
                      <a:pt x="103" y="189"/>
                      <a:pt x="103" y="189"/>
                    </a:cubicBezTo>
                    <a:cubicBezTo>
                      <a:pt x="103" y="146"/>
                      <a:pt x="103" y="146"/>
                      <a:pt x="103" y="146"/>
                    </a:cubicBezTo>
                    <a:cubicBezTo>
                      <a:pt x="103" y="137"/>
                      <a:pt x="91" y="132"/>
                      <a:pt x="84" y="138"/>
                    </a:cubicBezTo>
                    <a:cubicBezTo>
                      <a:pt x="5" y="214"/>
                      <a:pt x="5" y="214"/>
                      <a:pt x="5" y="214"/>
                    </a:cubicBezTo>
                    <a:cubicBezTo>
                      <a:pt x="0" y="219"/>
                      <a:pt x="0" y="226"/>
                      <a:pt x="4" y="230"/>
                    </a:cubicBezTo>
                    <a:cubicBezTo>
                      <a:pt x="84" y="310"/>
                      <a:pt x="84" y="310"/>
                      <a:pt x="84" y="310"/>
                    </a:cubicBezTo>
                    <a:cubicBezTo>
                      <a:pt x="91" y="316"/>
                      <a:pt x="103" y="312"/>
                      <a:pt x="103" y="302"/>
                    </a:cubicBezTo>
                    <a:cubicBezTo>
                      <a:pt x="103" y="259"/>
                      <a:pt x="103" y="259"/>
                      <a:pt x="103" y="259"/>
                    </a:cubicBezTo>
                    <a:cubicBezTo>
                      <a:pt x="189" y="259"/>
                      <a:pt x="189" y="259"/>
                      <a:pt x="189" y="259"/>
                    </a:cubicBezTo>
                    <a:cubicBezTo>
                      <a:pt x="189" y="346"/>
                      <a:pt x="189" y="346"/>
                      <a:pt x="189" y="346"/>
                    </a:cubicBezTo>
                    <a:cubicBezTo>
                      <a:pt x="147" y="346"/>
                      <a:pt x="147" y="346"/>
                      <a:pt x="147" y="346"/>
                    </a:cubicBezTo>
                    <a:cubicBezTo>
                      <a:pt x="137" y="346"/>
                      <a:pt x="132" y="357"/>
                      <a:pt x="139" y="364"/>
                    </a:cubicBezTo>
                    <a:cubicBezTo>
                      <a:pt x="215" y="444"/>
                      <a:pt x="215" y="444"/>
                      <a:pt x="215" y="444"/>
                    </a:cubicBezTo>
                    <a:cubicBezTo>
                      <a:pt x="219" y="448"/>
                      <a:pt x="226" y="448"/>
                      <a:pt x="230" y="444"/>
                    </a:cubicBezTo>
                    <a:cubicBezTo>
                      <a:pt x="310" y="364"/>
                      <a:pt x="310" y="364"/>
                      <a:pt x="310" y="364"/>
                    </a:cubicBezTo>
                    <a:cubicBezTo>
                      <a:pt x="317" y="358"/>
                      <a:pt x="312" y="346"/>
                      <a:pt x="302" y="346"/>
                    </a:cubicBezTo>
                    <a:cubicBezTo>
                      <a:pt x="260" y="346"/>
                      <a:pt x="260" y="346"/>
                      <a:pt x="260" y="346"/>
                    </a:cubicBezTo>
                    <a:cubicBezTo>
                      <a:pt x="260" y="259"/>
                      <a:pt x="260" y="259"/>
                      <a:pt x="260" y="259"/>
                    </a:cubicBezTo>
                    <a:cubicBezTo>
                      <a:pt x="346" y="259"/>
                      <a:pt x="346" y="259"/>
                      <a:pt x="346" y="259"/>
                    </a:cubicBezTo>
                    <a:cubicBezTo>
                      <a:pt x="346" y="302"/>
                      <a:pt x="346" y="302"/>
                      <a:pt x="346" y="302"/>
                    </a:cubicBezTo>
                    <a:cubicBezTo>
                      <a:pt x="346" y="311"/>
                      <a:pt x="358" y="316"/>
                      <a:pt x="365" y="310"/>
                    </a:cubicBezTo>
                    <a:cubicBezTo>
                      <a:pt x="444" y="234"/>
                      <a:pt x="444" y="234"/>
                      <a:pt x="444" y="234"/>
                    </a:cubicBezTo>
                    <a:cubicBezTo>
                      <a:pt x="449" y="230"/>
                      <a:pt x="449" y="223"/>
                      <a:pt x="444" y="218"/>
                    </a:cubicBezTo>
                    <a:close/>
                  </a:path>
                </a:pathLst>
              </a:custGeom>
              <a:solidFill>
                <a:srgbClr val="7BA0FF">
                  <a:lumMod val="40000"/>
                  <a:lumOff val="60000"/>
                </a:srgbClr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 kern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</p:grpSp>
      <p:grpSp>
        <p:nvGrpSpPr>
          <p:cNvPr id="490" name="Group 489">
            <a:extLst>
              <a:ext uri="{FF2B5EF4-FFF2-40B4-BE49-F238E27FC236}">
                <a16:creationId xmlns:a16="http://schemas.microsoft.com/office/drawing/2014/main" id="{36476EA0-B85D-355C-7185-3BAA20CD2232}"/>
              </a:ext>
            </a:extLst>
          </p:cNvPr>
          <p:cNvGrpSpPr/>
          <p:nvPr/>
        </p:nvGrpSpPr>
        <p:grpSpPr>
          <a:xfrm>
            <a:off x="4780767" y="2029974"/>
            <a:ext cx="536209" cy="512104"/>
            <a:chOff x="519786" y="1738527"/>
            <a:chExt cx="659509" cy="629861"/>
          </a:xfrm>
        </p:grpSpPr>
        <p:grpSp>
          <p:nvGrpSpPr>
            <p:cNvPr id="491" name="Group 490">
              <a:extLst>
                <a:ext uri="{FF2B5EF4-FFF2-40B4-BE49-F238E27FC236}">
                  <a16:creationId xmlns:a16="http://schemas.microsoft.com/office/drawing/2014/main" id="{A3453F82-110A-9650-CEA6-BA8E62656054}"/>
                </a:ext>
              </a:extLst>
            </p:cNvPr>
            <p:cNvGrpSpPr/>
            <p:nvPr/>
          </p:nvGrpSpPr>
          <p:grpSpPr>
            <a:xfrm>
              <a:off x="519786" y="1738527"/>
              <a:ext cx="402178" cy="629861"/>
              <a:chOff x="5646394" y="2298800"/>
              <a:chExt cx="661061" cy="1035304"/>
            </a:xfrm>
          </p:grpSpPr>
          <p:sp>
            <p:nvSpPr>
              <p:cNvPr id="495" name="Freeform 5">
                <a:extLst>
                  <a:ext uri="{FF2B5EF4-FFF2-40B4-BE49-F238E27FC236}">
                    <a16:creationId xmlns:a16="http://schemas.microsoft.com/office/drawing/2014/main" id="{9DEA6F27-BCF4-1B75-388F-4239DECDB0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0963" y="2298800"/>
                <a:ext cx="191921" cy="536844"/>
              </a:xfrm>
              <a:custGeom>
                <a:avLst/>
                <a:gdLst>
                  <a:gd name="T0" fmla="*/ 991 w 1027"/>
                  <a:gd name="T1" fmla="*/ 2872 h 2872"/>
                  <a:gd name="T2" fmla="*/ 36 w 1027"/>
                  <a:gd name="T3" fmla="*/ 2872 h 2872"/>
                  <a:gd name="T4" fmla="*/ 0 w 1027"/>
                  <a:gd name="T5" fmla="*/ 2836 h 2872"/>
                  <a:gd name="T6" fmla="*/ 0 w 1027"/>
                  <a:gd name="T7" fmla="*/ 36 h 2872"/>
                  <a:gd name="T8" fmla="*/ 36 w 1027"/>
                  <a:gd name="T9" fmla="*/ 0 h 2872"/>
                  <a:gd name="T10" fmla="*/ 991 w 1027"/>
                  <a:gd name="T11" fmla="*/ 0 h 2872"/>
                  <a:gd name="T12" fmla="*/ 1027 w 1027"/>
                  <a:gd name="T13" fmla="*/ 36 h 2872"/>
                  <a:gd name="T14" fmla="*/ 1027 w 1027"/>
                  <a:gd name="T15" fmla="*/ 2836 h 2872"/>
                  <a:gd name="T16" fmla="*/ 991 w 1027"/>
                  <a:gd name="T17" fmla="*/ 2872 h 2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27" h="2872">
                    <a:moveTo>
                      <a:pt x="991" y="2872"/>
                    </a:moveTo>
                    <a:cubicBezTo>
                      <a:pt x="36" y="2872"/>
                      <a:pt x="36" y="2872"/>
                      <a:pt x="36" y="2872"/>
                    </a:cubicBezTo>
                    <a:cubicBezTo>
                      <a:pt x="16" y="2872"/>
                      <a:pt x="0" y="2856"/>
                      <a:pt x="0" y="2836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991" y="0"/>
                      <a:pt x="991" y="0"/>
                      <a:pt x="991" y="0"/>
                    </a:cubicBezTo>
                    <a:cubicBezTo>
                      <a:pt x="1011" y="0"/>
                      <a:pt x="1027" y="16"/>
                      <a:pt x="1027" y="36"/>
                    </a:cubicBezTo>
                    <a:cubicBezTo>
                      <a:pt x="1027" y="2836"/>
                      <a:pt x="1027" y="2836"/>
                      <a:pt x="1027" y="2836"/>
                    </a:cubicBezTo>
                    <a:cubicBezTo>
                      <a:pt x="1027" y="2856"/>
                      <a:pt x="1011" y="2872"/>
                      <a:pt x="991" y="2872"/>
                    </a:cubicBezTo>
                    <a:close/>
                  </a:path>
                </a:pathLst>
              </a:custGeom>
              <a:solidFill>
                <a:srgbClr val="7BA0FF">
                  <a:lumMod val="60000"/>
                  <a:lumOff val="40000"/>
                </a:srgbClr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de-DE" sz="976" kern="0">
                  <a:solidFill>
                    <a:srgbClr val="000000"/>
                  </a:solidFill>
                  <a:latin typeface="Calibri"/>
                </a:endParaRPr>
              </a:p>
            </p:txBody>
          </p:sp>
          <p:grpSp>
            <p:nvGrpSpPr>
              <p:cNvPr id="496" name="Group 495">
                <a:extLst>
                  <a:ext uri="{FF2B5EF4-FFF2-40B4-BE49-F238E27FC236}">
                    <a16:creationId xmlns:a16="http://schemas.microsoft.com/office/drawing/2014/main" id="{D27A5803-6C0F-2D55-A117-A633C31D9D52}"/>
                  </a:ext>
                </a:extLst>
              </p:cNvPr>
              <p:cNvGrpSpPr/>
              <p:nvPr/>
            </p:nvGrpSpPr>
            <p:grpSpPr>
              <a:xfrm>
                <a:off x="5778606" y="2375568"/>
                <a:ext cx="396637" cy="958536"/>
                <a:chOff x="1379326" y="2329848"/>
                <a:chExt cx="396637" cy="958536"/>
              </a:xfrm>
              <a:solidFill>
                <a:srgbClr val="7BA0FF"/>
              </a:solidFill>
            </p:grpSpPr>
            <p:sp>
              <p:nvSpPr>
                <p:cNvPr id="509" name="Freeform 6">
                  <a:extLst>
                    <a:ext uri="{FF2B5EF4-FFF2-40B4-BE49-F238E27FC236}">
                      <a16:creationId xmlns:a16="http://schemas.microsoft.com/office/drawing/2014/main" id="{1B520C35-48FF-2718-F631-655DD507C33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379326" y="2465259"/>
                  <a:ext cx="396637" cy="197785"/>
                </a:xfrm>
                <a:custGeom>
                  <a:avLst/>
                  <a:gdLst>
                    <a:gd name="T0" fmla="*/ 2009 w 2125"/>
                    <a:gd name="T1" fmla="*/ 1060 h 1060"/>
                    <a:gd name="T2" fmla="*/ 116 w 2125"/>
                    <a:gd name="T3" fmla="*/ 1060 h 1060"/>
                    <a:gd name="T4" fmla="*/ 8 w 2125"/>
                    <a:gd name="T5" fmla="*/ 985 h 1060"/>
                    <a:gd name="T6" fmla="*/ 0 w 2125"/>
                    <a:gd name="T7" fmla="*/ 945 h 1060"/>
                    <a:gd name="T8" fmla="*/ 40 w 2125"/>
                    <a:gd name="T9" fmla="*/ 857 h 1060"/>
                    <a:gd name="T10" fmla="*/ 987 w 2125"/>
                    <a:gd name="T11" fmla="*/ 37 h 1060"/>
                    <a:gd name="T12" fmla="*/ 1138 w 2125"/>
                    <a:gd name="T13" fmla="*/ 37 h 1060"/>
                    <a:gd name="T14" fmla="*/ 2085 w 2125"/>
                    <a:gd name="T15" fmla="*/ 857 h 1060"/>
                    <a:gd name="T16" fmla="*/ 2125 w 2125"/>
                    <a:gd name="T17" fmla="*/ 945 h 1060"/>
                    <a:gd name="T18" fmla="*/ 2117 w 2125"/>
                    <a:gd name="T19" fmla="*/ 985 h 1060"/>
                    <a:gd name="T20" fmla="*/ 2009 w 2125"/>
                    <a:gd name="T21" fmla="*/ 1060 h 1060"/>
                    <a:gd name="T22" fmla="*/ 425 w 2125"/>
                    <a:gd name="T23" fmla="*/ 829 h 1060"/>
                    <a:gd name="T24" fmla="*/ 1700 w 2125"/>
                    <a:gd name="T25" fmla="*/ 829 h 1060"/>
                    <a:gd name="T26" fmla="*/ 1062 w 2125"/>
                    <a:gd name="T27" fmla="*/ 277 h 1060"/>
                    <a:gd name="T28" fmla="*/ 425 w 2125"/>
                    <a:gd name="T29" fmla="*/ 829 h 1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125" h="1060">
                      <a:moveTo>
                        <a:pt x="2009" y="1060"/>
                      </a:moveTo>
                      <a:cubicBezTo>
                        <a:pt x="116" y="1060"/>
                        <a:pt x="116" y="1060"/>
                        <a:pt x="116" y="1060"/>
                      </a:cubicBezTo>
                      <a:cubicBezTo>
                        <a:pt x="68" y="1060"/>
                        <a:pt x="24" y="1030"/>
                        <a:pt x="8" y="985"/>
                      </a:cubicBezTo>
                      <a:cubicBezTo>
                        <a:pt x="3" y="972"/>
                        <a:pt x="0" y="958"/>
                        <a:pt x="0" y="945"/>
                      </a:cubicBezTo>
                      <a:cubicBezTo>
                        <a:pt x="0" y="912"/>
                        <a:pt x="14" y="880"/>
                        <a:pt x="40" y="857"/>
                      </a:cubicBezTo>
                      <a:cubicBezTo>
                        <a:pt x="987" y="37"/>
                        <a:pt x="987" y="37"/>
                        <a:pt x="987" y="37"/>
                      </a:cubicBezTo>
                      <a:cubicBezTo>
                        <a:pt x="1030" y="0"/>
                        <a:pt x="1095" y="0"/>
                        <a:pt x="1138" y="37"/>
                      </a:cubicBezTo>
                      <a:cubicBezTo>
                        <a:pt x="2085" y="857"/>
                        <a:pt x="2085" y="857"/>
                        <a:pt x="2085" y="857"/>
                      </a:cubicBezTo>
                      <a:cubicBezTo>
                        <a:pt x="2110" y="880"/>
                        <a:pt x="2125" y="912"/>
                        <a:pt x="2125" y="945"/>
                      </a:cubicBezTo>
                      <a:cubicBezTo>
                        <a:pt x="2125" y="958"/>
                        <a:pt x="2122" y="972"/>
                        <a:pt x="2117" y="985"/>
                      </a:cubicBezTo>
                      <a:cubicBezTo>
                        <a:pt x="2100" y="1030"/>
                        <a:pt x="2057" y="1060"/>
                        <a:pt x="2009" y="1060"/>
                      </a:cubicBezTo>
                      <a:close/>
                      <a:moveTo>
                        <a:pt x="425" y="829"/>
                      </a:moveTo>
                      <a:cubicBezTo>
                        <a:pt x="1700" y="829"/>
                        <a:pt x="1700" y="829"/>
                        <a:pt x="1700" y="829"/>
                      </a:cubicBezTo>
                      <a:cubicBezTo>
                        <a:pt x="1062" y="277"/>
                        <a:pt x="1062" y="277"/>
                        <a:pt x="1062" y="277"/>
                      </a:cubicBezTo>
                      <a:lnTo>
                        <a:pt x="425" y="82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lnSpc>
                      <a:spcPct val="90000"/>
                    </a:lnSpc>
                    <a:defRPr/>
                  </a:pPr>
                  <a:endParaRPr lang="de-DE" sz="976" kern="0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510" name="Freeform 79">
                  <a:extLst>
                    <a:ext uri="{FF2B5EF4-FFF2-40B4-BE49-F238E27FC236}">
                      <a16:creationId xmlns:a16="http://schemas.microsoft.com/office/drawing/2014/main" id="{DD9AEC68-C63F-9FBC-978E-6EF5CC6A28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3800" y="2329848"/>
                  <a:ext cx="107689" cy="958536"/>
                </a:xfrm>
                <a:custGeom>
                  <a:avLst/>
                  <a:gdLst>
                    <a:gd name="T0" fmla="*/ 288 w 577"/>
                    <a:gd name="T1" fmla="*/ 5130 h 5130"/>
                    <a:gd name="T2" fmla="*/ 288 w 577"/>
                    <a:gd name="T3" fmla="*/ 5130 h 5130"/>
                    <a:gd name="T4" fmla="*/ 0 w 577"/>
                    <a:gd name="T5" fmla="*/ 4841 h 5130"/>
                    <a:gd name="T6" fmla="*/ 0 w 577"/>
                    <a:gd name="T7" fmla="*/ 288 h 5130"/>
                    <a:gd name="T8" fmla="*/ 288 w 577"/>
                    <a:gd name="T9" fmla="*/ 0 h 5130"/>
                    <a:gd name="T10" fmla="*/ 288 w 577"/>
                    <a:gd name="T11" fmla="*/ 0 h 5130"/>
                    <a:gd name="T12" fmla="*/ 577 w 577"/>
                    <a:gd name="T13" fmla="*/ 288 h 5130"/>
                    <a:gd name="T14" fmla="*/ 577 w 577"/>
                    <a:gd name="T15" fmla="*/ 4841 h 5130"/>
                    <a:gd name="T16" fmla="*/ 288 w 577"/>
                    <a:gd name="T17" fmla="*/ 5130 h 5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77" h="5130">
                      <a:moveTo>
                        <a:pt x="288" y="5130"/>
                      </a:moveTo>
                      <a:cubicBezTo>
                        <a:pt x="288" y="5130"/>
                        <a:pt x="288" y="5130"/>
                        <a:pt x="288" y="5130"/>
                      </a:cubicBezTo>
                      <a:cubicBezTo>
                        <a:pt x="129" y="5130"/>
                        <a:pt x="0" y="5001"/>
                        <a:pt x="0" y="4841"/>
                      </a:cubicBezTo>
                      <a:cubicBezTo>
                        <a:pt x="0" y="288"/>
                        <a:pt x="0" y="288"/>
                        <a:pt x="0" y="288"/>
                      </a:cubicBezTo>
                      <a:cubicBezTo>
                        <a:pt x="0" y="129"/>
                        <a:pt x="129" y="0"/>
                        <a:pt x="288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448" y="0"/>
                        <a:pt x="577" y="129"/>
                        <a:pt x="577" y="288"/>
                      </a:cubicBezTo>
                      <a:cubicBezTo>
                        <a:pt x="577" y="4841"/>
                        <a:pt x="577" y="4841"/>
                        <a:pt x="577" y="4841"/>
                      </a:cubicBezTo>
                      <a:cubicBezTo>
                        <a:pt x="577" y="5001"/>
                        <a:pt x="448" y="5130"/>
                        <a:pt x="288" y="51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lnSpc>
                      <a:spcPct val="90000"/>
                    </a:lnSpc>
                    <a:defRPr/>
                  </a:pPr>
                  <a:endParaRPr lang="de-DE" sz="976" kern="0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</p:grpSp>
          <p:grpSp>
            <p:nvGrpSpPr>
              <p:cNvPr id="497" name="Group 496">
                <a:extLst>
                  <a:ext uri="{FF2B5EF4-FFF2-40B4-BE49-F238E27FC236}">
                    <a16:creationId xmlns:a16="http://schemas.microsoft.com/office/drawing/2014/main" id="{13F2A608-F491-F37D-F80A-86C1B3B471E8}"/>
                  </a:ext>
                </a:extLst>
              </p:cNvPr>
              <p:cNvGrpSpPr/>
              <p:nvPr/>
            </p:nvGrpSpPr>
            <p:grpSpPr>
              <a:xfrm>
                <a:off x="5646394" y="2301466"/>
                <a:ext cx="661061" cy="601883"/>
                <a:chOff x="1247114" y="2255746"/>
                <a:chExt cx="661061" cy="601883"/>
              </a:xfrm>
              <a:solidFill>
                <a:srgbClr val="7BA0FF">
                  <a:lumMod val="60000"/>
                  <a:lumOff val="40000"/>
                </a:srgbClr>
              </a:solidFill>
            </p:grpSpPr>
            <p:sp>
              <p:nvSpPr>
                <p:cNvPr id="501" name="Freeform 46">
                  <a:extLst>
                    <a:ext uri="{FF2B5EF4-FFF2-40B4-BE49-F238E27FC236}">
                      <a16:creationId xmlns:a16="http://schemas.microsoft.com/office/drawing/2014/main" id="{53B16CB9-B91E-E9E6-941D-A884F9DA13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47114" y="2285600"/>
                  <a:ext cx="141275" cy="572029"/>
                </a:xfrm>
                <a:custGeom>
                  <a:avLst/>
                  <a:gdLst>
                    <a:gd name="T0" fmla="*/ 40 w 757"/>
                    <a:gd name="T1" fmla="*/ 2808 h 3063"/>
                    <a:gd name="T2" fmla="*/ 717 w 757"/>
                    <a:gd name="T3" fmla="*/ 3055 h 3063"/>
                    <a:gd name="T4" fmla="*/ 757 w 757"/>
                    <a:gd name="T5" fmla="*/ 3029 h 3063"/>
                    <a:gd name="T6" fmla="*/ 757 w 757"/>
                    <a:gd name="T7" fmla="*/ 309 h 3063"/>
                    <a:gd name="T8" fmla="*/ 717 w 757"/>
                    <a:gd name="T9" fmla="*/ 254 h 3063"/>
                    <a:gd name="T10" fmla="*/ 40 w 757"/>
                    <a:gd name="T11" fmla="*/ 8 h 3063"/>
                    <a:gd name="T12" fmla="*/ 0 w 757"/>
                    <a:gd name="T13" fmla="*/ 34 h 3063"/>
                    <a:gd name="T14" fmla="*/ 0 w 757"/>
                    <a:gd name="T15" fmla="*/ 2753 h 3063"/>
                    <a:gd name="T16" fmla="*/ 40 w 757"/>
                    <a:gd name="T17" fmla="*/ 2808 h 30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57" h="3063">
                      <a:moveTo>
                        <a:pt x="40" y="2808"/>
                      </a:moveTo>
                      <a:cubicBezTo>
                        <a:pt x="717" y="3055"/>
                        <a:pt x="717" y="3055"/>
                        <a:pt x="717" y="3055"/>
                      </a:cubicBezTo>
                      <a:cubicBezTo>
                        <a:pt x="739" y="3063"/>
                        <a:pt x="757" y="3051"/>
                        <a:pt x="757" y="3029"/>
                      </a:cubicBezTo>
                      <a:cubicBezTo>
                        <a:pt x="757" y="309"/>
                        <a:pt x="757" y="309"/>
                        <a:pt x="757" y="309"/>
                      </a:cubicBezTo>
                      <a:cubicBezTo>
                        <a:pt x="757" y="287"/>
                        <a:pt x="739" y="262"/>
                        <a:pt x="717" y="254"/>
                      </a:cubicBezTo>
                      <a:cubicBezTo>
                        <a:pt x="40" y="8"/>
                        <a:pt x="40" y="8"/>
                        <a:pt x="40" y="8"/>
                      </a:cubicBezTo>
                      <a:cubicBezTo>
                        <a:pt x="18" y="0"/>
                        <a:pt x="0" y="11"/>
                        <a:pt x="0" y="34"/>
                      </a:cubicBezTo>
                      <a:cubicBezTo>
                        <a:pt x="0" y="2753"/>
                        <a:pt x="0" y="2753"/>
                        <a:pt x="0" y="2753"/>
                      </a:cubicBezTo>
                      <a:cubicBezTo>
                        <a:pt x="0" y="2775"/>
                        <a:pt x="18" y="2800"/>
                        <a:pt x="40" y="280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lnSpc>
                      <a:spcPct val="90000"/>
                    </a:lnSpc>
                    <a:defRPr/>
                  </a:pPr>
                  <a:endParaRPr lang="de-DE" sz="976" kern="0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502" name="Freeform 7">
                  <a:extLst>
                    <a:ext uri="{FF2B5EF4-FFF2-40B4-BE49-F238E27FC236}">
                      <a16:creationId xmlns:a16="http://schemas.microsoft.com/office/drawing/2014/main" id="{4C2F0BEE-093F-A7AD-ADC7-C325A4408A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22118" y="2255746"/>
                  <a:ext cx="141275" cy="572029"/>
                </a:xfrm>
                <a:custGeom>
                  <a:avLst/>
                  <a:gdLst>
                    <a:gd name="T0" fmla="*/ 717 w 758"/>
                    <a:gd name="T1" fmla="*/ 2808 h 3063"/>
                    <a:gd name="T2" fmla="*/ 41 w 758"/>
                    <a:gd name="T3" fmla="*/ 3055 h 3063"/>
                    <a:gd name="T4" fmla="*/ 0 w 758"/>
                    <a:gd name="T5" fmla="*/ 3029 h 3063"/>
                    <a:gd name="T6" fmla="*/ 0 w 758"/>
                    <a:gd name="T7" fmla="*/ 309 h 3063"/>
                    <a:gd name="T8" fmla="*/ 41 w 758"/>
                    <a:gd name="T9" fmla="*/ 254 h 3063"/>
                    <a:gd name="T10" fmla="*/ 717 w 758"/>
                    <a:gd name="T11" fmla="*/ 8 h 3063"/>
                    <a:gd name="T12" fmla="*/ 758 w 758"/>
                    <a:gd name="T13" fmla="*/ 34 h 3063"/>
                    <a:gd name="T14" fmla="*/ 758 w 758"/>
                    <a:gd name="T15" fmla="*/ 2753 h 3063"/>
                    <a:gd name="T16" fmla="*/ 717 w 758"/>
                    <a:gd name="T17" fmla="*/ 2808 h 30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58" h="3063">
                      <a:moveTo>
                        <a:pt x="717" y="2808"/>
                      </a:moveTo>
                      <a:cubicBezTo>
                        <a:pt x="41" y="3055"/>
                        <a:pt x="41" y="3055"/>
                        <a:pt x="41" y="3055"/>
                      </a:cubicBezTo>
                      <a:cubicBezTo>
                        <a:pt x="18" y="3063"/>
                        <a:pt x="0" y="3051"/>
                        <a:pt x="0" y="3029"/>
                      </a:cubicBezTo>
                      <a:cubicBezTo>
                        <a:pt x="0" y="309"/>
                        <a:pt x="0" y="309"/>
                        <a:pt x="0" y="309"/>
                      </a:cubicBezTo>
                      <a:cubicBezTo>
                        <a:pt x="0" y="287"/>
                        <a:pt x="18" y="262"/>
                        <a:pt x="41" y="254"/>
                      </a:cubicBezTo>
                      <a:cubicBezTo>
                        <a:pt x="717" y="8"/>
                        <a:pt x="717" y="8"/>
                        <a:pt x="717" y="8"/>
                      </a:cubicBezTo>
                      <a:cubicBezTo>
                        <a:pt x="740" y="0"/>
                        <a:pt x="758" y="11"/>
                        <a:pt x="758" y="34"/>
                      </a:cubicBezTo>
                      <a:cubicBezTo>
                        <a:pt x="758" y="2753"/>
                        <a:pt x="758" y="2753"/>
                        <a:pt x="758" y="2753"/>
                      </a:cubicBezTo>
                      <a:cubicBezTo>
                        <a:pt x="758" y="2775"/>
                        <a:pt x="740" y="2800"/>
                        <a:pt x="717" y="280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lnSpc>
                      <a:spcPct val="90000"/>
                    </a:lnSpc>
                    <a:defRPr/>
                  </a:pPr>
                  <a:endParaRPr lang="de-DE" sz="976" kern="0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503" name="Freeform 8">
                  <a:extLst>
                    <a:ext uri="{FF2B5EF4-FFF2-40B4-BE49-F238E27FC236}">
                      <a16:creationId xmlns:a16="http://schemas.microsoft.com/office/drawing/2014/main" id="{8B0D1377-580C-DDD8-42CC-0B86E65E6C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7045" y="2265342"/>
                  <a:ext cx="141275" cy="572563"/>
                </a:xfrm>
                <a:custGeom>
                  <a:avLst/>
                  <a:gdLst>
                    <a:gd name="T0" fmla="*/ 717 w 758"/>
                    <a:gd name="T1" fmla="*/ 2809 h 3063"/>
                    <a:gd name="T2" fmla="*/ 41 w 758"/>
                    <a:gd name="T3" fmla="*/ 3055 h 3063"/>
                    <a:gd name="T4" fmla="*/ 0 w 758"/>
                    <a:gd name="T5" fmla="*/ 3029 h 3063"/>
                    <a:gd name="T6" fmla="*/ 0 w 758"/>
                    <a:gd name="T7" fmla="*/ 310 h 3063"/>
                    <a:gd name="T8" fmla="*/ 41 w 758"/>
                    <a:gd name="T9" fmla="*/ 254 h 3063"/>
                    <a:gd name="T10" fmla="*/ 717 w 758"/>
                    <a:gd name="T11" fmla="*/ 8 h 3063"/>
                    <a:gd name="T12" fmla="*/ 758 w 758"/>
                    <a:gd name="T13" fmla="*/ 34 h 3063"/>
                    <a:gd name="T14" fmla="*/ 758 w 758"/>
                    <a:gd name="T15" fmla="*/ 2753 h 3063"/>
                    <a:gd name="T16" fmla="*/ 717 w 758"/>
                    <a:gd name="T17" fmla="*/ 2809 h 30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58" h="3063">
                      <a:moveTo>
                        <a:pt x="717" y="2809"/>
                      </a:moveTo>
                      <a:cubicBezTo>
                        <a:pt x="41" y="3055"/>
                        <a:pt x="41" y="3055"/>
                        <a:pt x="41" y="3055"/>
                      </a:cubicBezTo>
                      <a:cubicBezTo>
                        <a:pt x="18" y="3063"/>
                        <a:pt x="0" y="3051"/>
                        <a:pt x="0" y="3029"/>
                      </a:cubicBezTo>
                      <a:cubicBezTo>
                        <a:pt x="0" y="310"/>
                        <a:pt x="0" y="310"/>
                        <a:pt x="0" y="310"/>
                      </a:cubicBezTo>
                      <a:cubicBezTo>
                        <a:pt x="0" y="287"/>
                        <a:pt x="18" y="262"/>
                        <a:pt x="41" y="254"/>
                      </a:cubicBezTo>
                      <a:cubicBezTo>
                        <a:pt x="717" y="8"/>
                        <a:pt x="717" y="8"/>
                        <a:pt x="717" y="8"/>
                      </a:cubicBezTo>
                      <a:cubicBezTo>
                        <a:pt x="739" y="0"/>
                        <a:pt x="758" y="11"/>
                        <a:pt x="758" y="34"/>
                      </a:cubicBezTo>
                      <a:cubicBezTo>
                        <a:pt x="758" y="2753"/>
                        <a:pt x="758" y="2753"/>
                        <a:pt x="758" y="2753"/>
                      </a:cubicBezTo>
                      <a:cubicBezTo>
                        <a:pt x="758" y="2776"/>
                        <a:pt x="739" y="2801"/>
                        <a:pt x="717" y="280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lnSpc>
                      <a:spcPct val="90000"/>
                    </a:lnSpc>
                    <a:defRPr/>
                  </a:pPr>
                  <a:endParaRPr lang="de-DE" sz="976" kern="0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504" name="Freeform 9">
                  <a:extLst>
                    <a:ext uri="{FF2B5EF4-FFF2-40B4-BE49-F238E27FC236}">
                      <a16:creationId xmlns:a16="http://schemas.microsoft.com/office/drawing/2014/main" id="{AEFB05F1-80E2-0F24-B903-54229C5AF0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51973" y="2275471"/>
                  <a:ext cx="141275" cy="572029"/>
                </a:xfrm>
                <a:custGeom>
                  <a:avLst/>
                  <a:gdLst>
                    <a:gd name="T0" fmla="*/ 717 w 757"/>
                    <a:gd name="T1" fmla="*/ 2809 h 3063"/>
                    <a:gd name="T2" fmla="*/ 40 w 757"/>
                    <a:gd name="T3" fmla="*/ 3055 h 3063"/>
                    <a:gd name="T4" fmla="*/ 0 w 757"/>
                    <a:gd name="T5" fmla="*/ 3029 h 3063"/>
                    <a:gd name="T6" fmla="*/ 0 w 757"/>
                    <a:gd name="T7" fmla="*/ 310 h 3063"/>
                    <a:gd name="T8" fmla="*/ 40 w 757"/>
                    <a:gd name="T9" fmla="*/ 255 h 3063"/>
                    <a:gd name="T10" fmla="*/ 717 w 757"/>
                    <a:gd name="T11" fmla="*/ 8 h 3063"/>
                    <a:gd name="T12" fmla="*/ 757 w 757"/>
                    <a:gd name="T13" fmla="*/ 34 h 3063"/>
                    <a:gd name="T14" fmla="*/ 757 w 757"/>
                    <a:gd name="T15" fmla="*/ 2754 h 3063"/>
                    <a:gd name="T16" fmla="*/ 717 w 757"/>
                    <a:gd name="T17" fmla="*/ 2809 h 30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57" h="3063">
                      <a:moveTo>
                        <a:pt x="717" y="2809"/>
                      </a:moveTo>
                      <a:cubicBezTo>
                        <a:pt x="40" y="3055"/>
                        <a:pt x="40" y="3055"/>
                        <a:pt x="40" y="3055"/>
                      </a:cubicBezTo>
                      <a:cubicBezTo>
                        <a:pt x="18" y="3063"/>
                        <a:pt x="0" y="3052"/>
                        <a:pt x="0" y="3029"/>
                      </a:cubicBezTo>
                      <a:cubicBezTo>
                        <a:pt x="0" y="310"/>
                        <a:pt x="0" y="310"/>
                        <a:pt x="0" y="310"/>
                      </a:cubicBezTo>
                      <a:cubicBezTo>
                        <a:pt x="0" y="288"/>
                        <a:pt x="18" y="263"/>
                        <a:pt x="40" y="255"/>
                      </a:cubicBezTo>
                      <a:cubicBezTo>
                        <a:pt x="717" y="8"/>
                        <a:pt x="717" y="8"/>
                        <a:pt x="717" y="8"/>
                      </a:cubicBezTo>
                      <a:cubicBezTo>
                        <a:pt x="739" y="0"/>
                        <a:pt x="757" y="12"/>
                        <a:pt x="757" y="34"/>
                      </a:cubicBezTo>
                      <a:cubicBezTo>
                        <a:pt x="757" y="2754"/>
                        <a:pt x="757" y="2754"/>
                        <a:pt x="757" y="2754"/>
                      </a:cubicBezTo>
                      <a:cubicBezTo>
                        <a:pt x="757" y="2776"/>
                        <a:pt x="739" y="2801"/>
                        <a:pt x="717" y="280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lnSpc>
                      <a:spcPct val="90000"/>
                    </a:lnSpc>
                    <a:defRPr/>
                  </a:pPr>
                  <a:endParaRPr lang="de-DE" sz="976" kern="0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505" name="Freeform 10">
                  <a:extLst>
                    <a:ext uri="{FF2B5EF4-FFF2-40B4-BE49-F238E27FC236}">
                      <a16:creationId xmlns:a16="http://schemas.microsoft.com/office/drawing/2014/main" id="{3FD5AAF7-E335-C721-E89B-74D228B978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66900" y="2285600"/>
                  <a:ext cx="141275" cy="572029"/>
                </a:xfrm>
                <a:custGeom>
                  <a:avLst/>
                  <a:gdLst>
                    <a:gd name="T0" fmla="*/ 717 w 758"/>
                    <a:gd name="T1" fmla="*/ 2808 h 3063"/>
                    <a:gd name="T2" fmla="*/ 41 w 758"/>
                    <a:gd name="T3" fmla="*/ 3055 h 3063"/>
                    <a:gd name="T4" fmla="*/ 0 w 758"/>
                    <a:gd name="T5" fmla="*/ 3029 h 3063"/>
                    <a:gd name="T6" fmla="*/ 0 w 758"/>
                    <a:gd name="T7" fmla="*/ 309 h 3063"/>
                    <a:gd name="T8" fmla="*/ 41 w 758"/>
                    <a:gd name="T9" fmla="*/ 254 h 3063"/>
                    <a:gd name="T10" fmla="*/ 717 w 758"/>
                    <a:gd name="T11" fmla="*/ 8 h 3063"/>
                    <a:gd name="T12" fmla="*/ 758 w 758"/>
                    <a:gd name="T13" fmla="*/ 34 h 3063"/>
                    <a:gd name="T14" fmla="*/ 758 w 758"/>
                    <a:gd name="T15" fmla="*/ 2753 h 3063"/>
                    <a:gd name="T16" fmla="*/ 717 w 758"/>
                    <a:gd name="T17" fmla="*/ 2808 h 30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58" h="3063">
                      <a:moveTo>
                        <a:pt x="717" y="2808"/>
                      </a:moveTo>
                      <a:cubicBezTo>
                        <a:pt x="41" y="3055"/>
                        <a:pt x="41" y="3055"/>
                        <a:pt x="41" y="3055"/>
                      </a:cubicBezTo>
                      <a:cubicBezTo>
                        <a:pt x="19" y="3063"/>
                        <a:pt x="0" y="3051"/>
                        <a:pt x="0" y="3029"/>
                      </a:cubicBezTo>
                      <a:cubicBezTo>
                        <a:pt x="0" y="309"/>
                        <a:pt x="0" y="309"/>
                        <a:pt x="0" y="309"/>
                      </a:cubicBezTo>
                      <a:cubicBezTo>
                        <a:pt x="0" y="287"/>
                        <a:pt x="19" y="262"/>
                        <a:pt x="41" y="254"/>
                      </a:cubicBezTo>
                      <a:cubicBezTo>
                        <a:pt x="717" y="8"/>
                        <a:pt x="717" y="8"/>
                        <a:pt x="717" y="8"/>
                      </a:cubicBezTo>
                      <a:cubicBezTo>
                        <a:pt x="740" y="0"/>
                        <a:pt x="758" y="11"/>
                        <a:pt x="758" y="34"/>
                      </a:cubicBezTo>
                      <a:cubicBezTo>
                        <a:pt x="758" y="2753"/>
                        <a:pt x="758" y="2753"/>
                        <a:pt x="758" y="2753"/>
                      </a:cubicBezTo>
                      <a:cubicBezTo>
                        <a:pt x="758" y="2775"/>
                        <a:pt x="740" y="2800"/>
                        <a:pt x="717" y="280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lnSpc>
                      <a:spcPct val="90000"/>
                    </a:lnSpc>
                    <a:defRPr/>
                  </a:pPr>
                  <a:endParaRPr lang="de-DE" sz="976" kern="0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506" name="Freeform 43">
                  <a:extLst>
                    <a:ext uri="{FF2B5EF4-FFF2-40B4-BE49-F238E27FC236}">
                      <a16:creationId xmlns:a16="http://schemas.microsoft.com/office/drawing/2014/main" id="{6F8C1A27-8669-C520-0A70-00ECF9A346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1895" y="2255746"/>
                  <a:ext cx="141275" cy="572029"/>
                </a:xfrm>
                <a:custGeom>
                  <a:avLst/>
                  <a:gdLst>
                    <a:gd name="T0" fmla="*/ 41 w 758"/>
                    <a:gd name="T1" fmla="*/ 2808 h 3063"/>
                    <a:gd name="T2" fmla="*/ 717 w 758"/>
                    <a:gd name="T3" fmla="*/ 3055 h 3063"/>
                    <a:gd name="T4" fmla="*/ 758 w 758"/>
                    <a:gd name="T5" fmla="*/ 3029 h 3063"/>
                    <a:gd name="T6" fmla="*/ 758 w 758"/>
                    <a:gd name="T7" fmla="*/ 309 h 3063"/>
                    <a:gd name="T8" fmla="*/ 717 w 758"/>
                    <a:gd name="T9" fmla="*/ 254 h 3063"/>
                    <a:gd name="T10" fmla="*/ 41 w 758"/>
                    <a:gd name="T11" fmla="*/ 8 h 3063"/>
                    <a:gd name="T12" fmla="*/ 0 w 758"/>
                    <a:gd name="T13" fmla="*/ 34 h 3063"/>
                    <a:gd name="T14" fmla="*/ 0 w 758"/>
                    <a:gd name="T15" fmla="*/ 2753 h 3063"/>
                    <a:gd name="T16" fmla="*/ 41 w 758"/>
                    <a:gd name="T17" fmla="*/ 2808 h 30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58" h="3063">
                      <a:moveTo>
                        <a:pt x="41" y="2808"/>
                      </a:moveTo>
                      <a:cubicBezTo>
                        <a:pt x="717" y="3055"/>
                        <a:pt x="717" y="3055"/>
                        <a:pt x="717" y="3055"/>
                      </a:cubicBezTo>
                      <a:cubicBezTo>
                        <a:pt x="740" y="3063"/>
                        <a:pt x="758" y="3051"/>
                        <a:pt x="758" y="3029"/>
                      </a:cubicBezTo>
                      <a:cubicBezTo>
                        <a:pt x="758" y="309"/>
                        <a:pt x="758" y="309"/>
                        <a:pt x="758" y="309"/>
                      </a:cubicBezTo>
                      <a:cubicBezTo>
                        <a:pt x="758" y="287"/>
                        <a:pt x="740" y="262"/>
                        <a:pt x="717" y="254"/>
                      </a:cubicBezTo>
                      <a:cubicBezTo>
                        <a:pt x="41" y="8"/>
                        <a:pt x="41" y="8"/>
                        <a:pt x="41" y="8"/>
                      </a:cubicBezTo>
                      <a:cubicBezTo>
                        <a:pt x="18" y="0"/>
                        <a:pt x="0" y="11"/>
                        <a:pt x="0" y="34"/>
                      </a:cubicBezTo>
                      <a:cubicBezTo>
                        <a:pt x="0" y="2753"/>
                        <a:pt x="0" y="2753"/>
                        <a:pt x="0" y="2753"/>
                      </a:cubicBezTo>
                      <a:cubicBezTo>
                        <a:pt x="0" y="2775"/>
                        <a:pt x="18" y="2800"/>
                        <a:pt x="41" y="280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lnSpc>
                      <a:spcPct val="90000"/>
                    </a:lnSpc>
                    <a:defRPr/>
                  </a:pPr>
                  <a:endParaRPr lang="de-DE" sz="976" kern="0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507" name="Freeform 44">
                  <a:extLst>
                    <a:ext uri="{FF2B5EF4-FFF2-40B4-BE49-F238E27FC236}">
                      <a16:creationId xmlns:a16="http://schemas.microsoft.com/office/drawing/2014/main" id="{C9EBAFE7-8E6B-0281-D1CD-68EC5F3C76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76968" y="2265342"/>
                  <a:ext cx="141275" cy="572563"/>
                </a:xfrm>
                <a:custGeom>
                  <a:avLst/>
                  <a:gdLst>
                    <a:gd name="T0" fmla="*/ 41 w 758"/>
                    <a:gd name="T1" fmla="*/ 2809 h 3063"/>
                    <a:gd name="T2" fmla="*/ 717 w 758"/>
                    <a:gd name="T3" fmla="*/ 3055 h 3063"/>
                    <a:gd name="T4" fmla="*/ 758 w 758"/>
                    <a:gd name="T5" fmla="*/ 3029 h 3063"/>
                    <a:gd name="T6" fmla="*/ 758 w 758"/>
                    <a:gd name="T7" fmla="*/ 310 h 3063"/>
                    <a:gd name="T8" fmla="*/ 717 w 758"/>
                    <a:gd name="T9" fmla="*/ 254 h 3063"/>
                    <a:gd name="T10" fmla="*/ 41 w 758"/>
                    <a:gd name="T11" fmla="*/ 8 h 3063"/>
                    <a:gd name="T12" fmla="*/ 0 w 758"/>
                    <a:gd name="T13" fmla="*/ 34 h 3063"/>
                    <a:gd name="T14" fmla="*/ 0 w 758"/>
                    <a:gd name="T15" fmla="*/ 2753 h 3063"/>
                    <a:gd name="T16" fmla="*/ 41 w 758"/>
                    <a:gd name="T17" fmla="*/ 2809 h 30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58" h="3063">
                      <a:moveTo>
                        <a:pt x="41" y="2809"/>
                      </a:moveTo>
                      <a:cubicBezTo>
                        <a:pt x="717" y="3055"/>
                        <a:pt x="717" y="3055"/>
                        <a:pt x="717" y="3055"/>
                      </a:cubicBezTo>
                      <a:cubicBezTo>
                        <a:pt x="740" y="3063"/>
                        <a:pt x="758" y="3051"/>
                        <a:pt x="758" y="3029"/>
                      </a:cubicBezTo>
                      <a:cubicBezTo>
                        <a:pt x="758" y="310"/>
                        <a:pt x="758" y="310"/>
                        <a:pt x="758" y="310"/>
                      </a:cubicBezTo>
                      <a:cubicBezTo>
                        <a:pt x="758" y="287"/>
                        <a:pt x="740" y="262"/>
                        <a:pt x="717" y="254"/>
                      </a:cubicBezTo>
                      <a:cubicBezTo>
                        <a:pt x="41" y="8"/>
                        <a:pt x="41" y="8"/>
                        <a:pt x="41" y="8"/>
                      </a:cubicBezTo>
                      <a:cubicBezTo>
                        <a:pt x="19" y="0"/>
                        <a:pt x="0" y="11"/>
                        <a:pt x="0" y="34"/>
                      </a:cubicBezTo>
                      <a:cubicBezTo>
                        <a:pt x="0" y="2753"/>
                        <a:pt x="0" y="2753"/>
                        <a:pt x="0" y="2753"/>
                      </a:cubicBezTo>
                      <a:cubicBezTo>
                        <a:pt x="0" y="2776"/>
                        <a:pt x="19" y="2801"/>
                        <a:pt x="41" y="280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lnSpc>
                      <a:spcPct val="90000"/>
                    </a:lnSpc>
                    <a:defRPr/>
                  </a:pPr>
                  <a:endParaRPr lang="de-DE" sz="976" kern="0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508" name="Freeform 45">
                  <a:extLst>
                    <a:ext uri="{FF2B5EF4-FFF2-40B4-BE49-F238E27FC236}">
                      <a16:creationId xmlns:a16="http://schemas.microsoft.com/office/drawing/2014/main" id="{C086E5E9-385B-EC60-7215-4FF5E80F2B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62041" y="2275471"/>
                  <a:ext cx="141275" cy="572029"/>
                </a:xfrm>
                <a:custGeom>
                  <a:avLst/>
                  <a:gdLst>
                    <a:gd name="T0" fmla="*/ 40 w 757"/>
                    <a:gd name="T1" fmla="*/ 2809 h 3063"/>
                    <a:gd name="T2" fmla="*/ 717 w 757"/>
                    <a:gd name="T3" fmla="*/ 3055 h 3063"/>
                    <a:gd name="T4" fmla="*/ 757 w 757"/>
                    <a:gd name="T5" fmla="*/ 3029 h 3063"/>
                    <a:gd name="T6" fmla="*/ 757 w 757"/>
                    <a:gd name="T7" fmla="*/ 310 h 3063"/>
                    <a:gd name="T8" fmla="*/ 717 w 757"/>
                    <a:gd name="T9" fmla="*/ 255 h 3063"/>
                    <a:gd name="T10" fmla="*/ 40 w 757"/>
                    <a:gd name="T11" fmla="*/ 8 h 3063"/>
                    <a:gd name="T12" fmla="*/ 0 w 757"/>
                    <a:gd name="T13" fmla="*/ 34 h 3063"/>
                    <a:gd name="T14" fmla="*/ 0 w 757"/>
                    <a:gd name="T15" fmla="*/ 2754 h 3063"/>
                    <a:gd name="T16" fmla="*/ 40 w 757"/>
                    <a:gd name="T17" fmla="*/ 2809 h 30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57" h="3063">
                      <a:moveTo>
                        <a:pt x="40" y="2809"/>
                      </a:moveTo>
                      <a:cubicBezTo>
                        <a:pt x="717" y="3055"/>
                        <a:pt x="717" y="3055"/>
                        <a:pt x="717" y="3055"/>
                      </a:cubicBezTo>
                      <a:cubicBezTo>
                        <a:pt x="739" y="3063"/>
                        <a:pt x="757" y="3052"/>
                        <a:pt x="757" y="3029"/>
                      </a:cubicBezTo>
                      <a:cubicBezTo>
                        <a:pt x="757" y="310"/>
                        <a:pt x="757" y="310"/>
                        <a:pt x="757" y="310"/>
                      </a:cubicBezTo>
                      <a:cubicBezTo>
                        <a:pt x="757" y="288"/>
                        <a:pt x="739" y="263"/>
                        <a:pt x="717" y="255"/>
                      </a:cubicBezTo>
                      <a:cubicBezTo>
                        <a:pt x="40" y="8"/>
                        <a:pt x="40" y="8"/>
                        <a:pt x="40" y="8"/>
                      </a:cubicBezTo>
                      <a:cubicBezTo>
                        <a:pt x="18" y="0"/>
                        <a:pt x="0" y="12"/>
                        <a:pt x="0" y="34"/>
                      </a:cubicBezTo>
                      <a:cubicBezTo>
                        <a:pt x="0" y="2754"/>
                        <a:pt x="0" y="2754"/>
                        <a:pt x="0" y="2754"/>
                      </a:cubicBezTo>
                      <a:cubicBezTo>
                        <a:pt x="0" y="2776"/>
                        <a:pt x="18" y="2801"/>
                        <a:pt x="40" y="280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lnSpc>
                      <a:spcPct val="90000"/>
                    </a:lnSpc>
                    <a:defRPr/>
                  </a:pPr>
                  <a:endParaRPr lang="de-DE" sz="976" kern="0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</p:grpSp>
          <p:grpSp>
            <p:nvGrpSpPr>
              <p:cNvPr id="498" name="Group 497">
                <a:extLst>
                  <a:ext uri="{FF2B5EF4-FFF2-40B4-BE49-F238E27FC236}">
                    <a16:creationId xmlns:a16="http://schemas.microsoft.com/office/drawing/2014/main" id="{372DD203-4198-8CA6-8109-720413382045}"/>
                  </a:ext>
                </a:extLst>
              </p:cNvPr>
              <p:cNvGrpSpPr/>
              <p:nvPr/>
            </p:nvGrpSpPr>
            <p:grpSpPr>
              <a:xfrm>
                <a:off x="5659722" y="2362754"/>
                <a:ext cx="634405" cy="509158"/>
                <a:chOff x="1260442" y="2317034"/>
                <a:chExt cx="634405" cy="509158"/>
              </a:xfrm>
              <a:solidFill>
                <a:srgbClr val="7BA0FF">
                  <a:lumMod val="20000"/>
                  <a:lumOff val="80000"/>
                </a:srgbClr>
              </a:solidFill>
            </p:grpSpPr>
            <p:sp>
              <p:nvSpPr>
                <p:cNvPr id="499" name="Freeform: Shape 14">
                  <a:extLst>
                    <a:ext uri="{FF2B5EF4-FFF2-40B4-BE49-F238E27FC236}">
                      <a16:creationId xmlns:a16="http://schemas.microsoft.com/office/drawing/2014/main" id="{099F7E7B-17FB-868E-9C6F-8CF6F814EA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60442" y="2317034"/>
                  <a:ext cx="114620" cy="509158"/>
                </a:xfrm>
                <a:custGeom>
                  <a:avLst/>
                  <a:gdLst>
                    <a:gd name="connsiteX0" fmla="*/ 276318 w 341312"/>
                    <a:gd name="connsiteY0" fmla="*/ 1344294 h 1516168"/>
                    <a:gd name="connsiteX1" fmla="*/ 329546 w 341312"/>
                    <a:gd name="connsiteY1" fmla="*/ 1363314 h 1516168"/>
                    <a:gd name="connsiteX2" fmla="*/ 341312 w 341312"/>
                    <a:gd name="connsiteY2" fmla="*/ 1378977 h 1516168"/>
                    <a:gd name="connsiteX3" fmla="*/ 341312 w 341312"/>
                    <a:gd name="connsiteY3" fmla="*/ 1508200 h 1516168"/>
                    <a:gd name="connsiteX4" fmla="*/ 329546 w 341312"/>
                    <a:gd name="connsiteY4" fmla="*/ 1515473 h 1516168"/>
                    <a:gd name="connsiteX5" fmla="*/ 276318 w 341312"/>
                    <a:gd name="connsiteY5" fmla="*/ 1495893 h 1516168"/>
                    <a:gd name="connsiteX6" fmla="*/ 265112 w 341312"/>
                    <a:gd name="connsiteY6" fmla="*/ 1480789 h 1516168"/>
                    <a:gd name="connsiteX7" fmla="*/ 265112 w 341312"/>
                    <a:gd name="connsiteY7" fmla="*/ 1351007 h 1516168"/>
                    <a:gd name="connsiteX8" fmla="*/ 276318 w 341312"/>
                    <a:gd name="connsiteY8" fmla="*/ 1344294 h 1516168"/>
                    <a:gd name="connsiteX9" fmla="*/ 188854 w 341312"/>
                    <a:gd name="connsiteY9" fmla="*/ 1311965 h 1516168"/>
                    <a:gd name="connsiteX10" fmla="*/ 241359 w 341312"/>
                    <a:gd name="connsiteY10" fmla="*/ 1331367 h 1516168"/>
                    <a:gd name="connsiteX11" fmla="*/ 252413 w 341312"/>
                    <a:gd name="connsiteY11" fmla="*/ 1346890 h 1516168"/>
                    <a:gd name="connsiteX12" fmla="*/ 252413 w 341312"/>
                    <a:gd name="connsiteY12" fmla="*/ 1474948 h 1516168"/>
                    <a:gd name="connsiteX13" fmla="*/ 241359 w 341312"/>
                    <a:gd name="connsiteY13" fmla="*/ 1482155 h 1516168"/>
                    <a:gd name="connsiteX14" fmla="*/ 188854 w 341312"/>
                    <a:gd name="connsiteY14" fmla="*/ 1462752 h 1516168"/>
                    <a:gd name="connsiteX15" fmla="*/ 177800 w 341312"/>
                    <a:gd name="connsiteY15" fmla="*/ 1447784 h 1516168"/>
                    <a:gd name="connsiteX16" fmla="*/ 177800 w 341312"/>
                    <a:gd name="connsiteY16" fmla="*/ 1319171 h 1516168"/>
                    <a:gd name="connsiteX17" fmla="*/ 188854 w 341312"/>
                    <a:gd name="connsiteY17" fmla="*/ 1311965 h 1516168"/>
                    <a:gd name="connsiteX18" fmla="*/ 99873 w 341312"/>
                    <a:gd name="connsiteY18" fmla="*/ 1280215 h 1516168"/>
                    <a:gd name="connsiteX19" fmla="*/ 151992 w 341312"/>
                    <a:gd name="connsiteY19" fmla="*/ 1299617 h 1516168"/>
                    <a:gd name="connsiteX20" fmla="*/ 163513 w 341312"/>
                    <a:gd name="connsiteY20" fmla="*/ 1315140 h 1516168"/>
                    <a:gd name="connsiteX21" fmla="*/ 163513 w 341312"/>
                    <a:gd name="connsiteY21" fmla="*/ 1443198 h 1516168"/>
                    <a:gd name="connsiteX22" fmla="*/ 151992 w 341312"/>
                    <a:gd name="connsiteY22" fmla="*/ 1450405 h 1516168"/>
                    <a:gd name="connsiteX23" fmla="*/ 99873 w 341312"/>
                    <a:gd name="connsiteY23" fmla="*/ 1431002 h 1516168"/>
                    <a:gd name="connsiteX24" fmla="*/ 88900 w 341312"/>
                    <a:gd name="connsiteY24" fmla="*/ 1416034 h 1516168"/>
                    <a:gd name="connsiteX25" fmla="*/ 88900 w 341312"/>
                    <a:gd name="connsiteY25" fmla="*/ 1287421 h 1516168"/>
                    <a:gd name="connsiteX26" fmla="*/ 99873 w 341312"/>
                    <a:gd name="connsiteY26" fmla="*/ 1280215 h 1516168"/>
                    <a:gd name="connsiteX27" fmla="*/ 11054 w 341312"/>
                    <a:gd name="connsiteY27" fmla="*/ 1246897 h 1516168"/>
                    <a:gd name="connsiteX28" fmla="*/ 63559 w 341312"/>
                    <a:gd name="connsiteY28" fmla="*/ 1266476 h 1516168"/>
                    <a:gd name="connsiteX29" fmla="*/ 74613 w 341312"/>
                    <a:gd name="connsiteY29" fmla="*/ 1282139 h 1516168"/>
                    <a:gd name="connsiteX30" fmla="*/ 74613 w 341312"/>
                    <a:gd name="connsiteY30" fmla="*/ 1411362 h 1516168"/>
                    <a:gd name="connsiteX31" fmla="*/ 63559 w 341312"/>
                    <a:gd name="connsiteY31" fmla="*/ 1418635 h 1516168"/>
                    <a:gd name="connsiteX32" fmla="*/ 11054 w 341312"/>
                    <a:gd name="connsiteY32" fmla="*/ 1399055 h 1516168"/>
                    <a:gd name="connsiteX33" fmla="*/ 0 w 341312"/>
                    <a:gd name="connsiteY33" fmla="*/ 1383951 h 1516168"/>
                    <a:gd name="connsiteX34" fmla="*/ 0 w 341312"/>
                    <a:gd name="connsiteY34" fmla="*/ 1254169 h 1516168"/>
                    <a:gd name="connsiteX35" fmla="*/ 11054 w 341312"/>
                    <a:gd name="connsiteY35" fmla="*/ 1246897 h 1516168"/>
                    <a:gd name="connsiteX36" fmla="*/ 276318 w 341312"/>
                    <a:gd name="connsiteY36" fmla="*/ 1165914 h 1516168"/>
                    <a:gd name="connsiteX37" fmla="*/ 329546 w 341312"/>
                    <a:gd name="connsiteY37" fmla="*/ 1185317 h 1516168"/>
                    <a:gd name="connsiteX38" fmla="*/ 341312 w 341312"/>
                    <a:gd name="connsiteY38" fmla="*/ 1200839 h 1516168"/>
                    <a:gd name="connsiteX39" fmla="*/ 341312 w 341312"/>
                    <a:gd name="connsiteY39" fmla="*/ 1328898 h 1516168"/>
                    <a:gd name="connsiteX40" fmla="*/ 329546 w 341312"/>
                    <a:gd name="connsiteY40" fmla="*/ 1336105 h 1516168"/>
                    <a:gd name="connsiteX41" fmla="*/ 276318 w 341312"/>
                    <a:gd name="connsiteY41" fmla="*/ 1316702 h 1516168"/>
                    <a:gd name="connsiteX42" fmla="*/ 265112 w 341312"/>
                    <a:gd name="connsiteY42" fmla="*/ 1301734 h 1516168"/>
                    <a:gd name="connsiteX43" fmla="*/ 265112 w 341312"/>
                    <a:gd name="connsiteY43" fmla="*/ 1173121 h 1516168"/>
                    <a:gd name="connsiteX44" fmla="*/ 276318 w 341312"/>
                    <a:gd name="connsiteY44" fmla="*/ 1165914 h 1516168"/>
                    <a:gd name="connsiteX45" fmla="*/ 188854 w 341312"/>
                    <a:gd name="connsiteY45" fmla="*/ 1134164 h 1516168"/>
                    <a:gd name="connsiteX46" fmla="*/ 241359 w 341312"/>
                    <a:gd name="connsiteY46" fmla="*/ 1153567 h 1516168"/>
                    <a:gd name="connsiteX47" fmla="*/ 252413 w 341312"/>
                    <a:gd name="connsiteY47" fmla="*/ 1169089 h 1516168"/>
                    <a:gd name="connsiteX48" fmla="*/ 252413 w 341312"/>
                    <a:gd name="connsiteY48" fmla="*/ 1297148 h 1516168"/>
                    <a:gd name="connsiteX49" fmla="*/ 241359 w 341312"/>
                    <a:gd name="connsiteY49" fmla="*/ 1304355 h 1516168"/>
                    <a:gd name="connsiteX50" fmla="*/ 188854 w 341312"/>
                    <a:gd name="connsiteY50" fmla="*/ 1284952 h 1516168"/>
                    <a:gd name="connsiteX51" fmla="*/ 177800 w 341312"/>
                    <a:gd name="connsiteY51" fmla="*/ 1269984 h 1516168"/>
                    <a:gd name="connsiteX52" fmla="*/ 177800 w 341312"/>
                    <a:gd name="connsiteY52" fmla="*/ 1141371 h 1516168"/>
                    <a:gd name="connsiteX53" fmla="*/ 188854 w 341312"/>
                    <a:gd name="connsiteY53" fmla="*/ 1134164 h 1516168"/>
                    <a:gd name="connsiteX54" fmla="*/ 99873 w 341312"/>
                    <a:gd name="connsiteY54" fmla="*/ 1100847 h 1516168"/>
                    <a:gd name="connsiteX55" fmla="*/ 151992 w 341312"/>
                    <a:gd name="connsiteY55" fmla="*/ 1120426 h 1516168"/>
                    <a:gd name="connsiteX56" fmla="*/ 163513 w 341312"/>
                    <a:gd name="connsiteY56" fmla="*/ 1136089 h 1516168"/>
                    <a:gd name="connsiteX57" fmla="*/ 163513 w 341312"/>
                    <a:gd name="connsiteY57" fmla="*/ 1265312 h 1516168"/>
                    <a:gd name="connsiteX58" fmla="*/ 151992 w 341312"/>
                    <a:gd name="connsiteY58" fmla="*/ 1272585 h 1516168"/>
                    <a:gd name="connsiteX59" fmla="*/ 99873 w 341312"/>
                    <a:gd name="connsiteY59" fmla="*/ 1253005 h 1516168"/>
                    <a:gd name="connsiteX60" fmla="*/ 88900 w 341312"/>
                    <a:gd name="connsiteY60" fmla="*/ 1237342 h 1516168"/>
                    <a:gd name="connsiteX61" fmla="*/ 88900 w 341312"/>
                    <a:gd name="connsiteY61" fmla="*/ 1108119 h 1516168"/>
                    <a:gd name="connsiteX62" fmla="*/ 99873 w 341312"/>
                    <a:gd name="connsiteY62" fmla="*/ 1100847 h 1516168"/>
                    <a:gd name="connsiteX63" fmla="*/ 11054 w 341312"/>
                    <a:gd name="connsiteY63" fmla="*/ 1069076 h 1516168"/>
                    <a:gd name="connsiteX64" fmla="*/ 63559 w 341312"/>
                    <a:gd name="connsiteY64" fmla="*/ 1088479 h 1516168"/>
                    <a:gd name="connsiteX65" fmla="*/ 74613 w 341312"/>
                    <a:gd name="connsiteY65" fmla="*/ 1104001 h 1516168"/>
                    <a:gd name="connsiteX66" fmla="*/ 74613 w 341312"/>
                    <a:gd name="connsiteY66" fmla="*/ 1232060 h 1516168"/>
                    <a:gd name="connsiteX67" fmla="*/ 63559 w 341312"/>
                    <a:gd name="connsiteY67" fmla="*/ 1239266 h 1516168"/>
                    <a:gd name="connsiteX68" fmla="*/ 11054 w 341312"/>
                    <a:gd name="connsiteY68" fmla="*/ 1219864 h 1516168"/>
                    <a:gd name="connsiteX69" fmla="*/ 0 w 341312"/>
                    <a:gd name="connsiteY69" fmla="*/ 1204341 h 1516168"/>
                    <a:gd name="connsiteX70" fmla="*/ 0 w 341312"/>
                    <a:gd name="connsiteY70" fmla="*/ 1076283 h 1516168"/>
                    <a:gd name="connsiteX71" fmla="*/ 11054 w 341312"/>
                    <a:gd name="connsiteY71" fmla="*/ 1069076 h 1516168"/>
                    <a:gd name="connsiteX72" fmla="*/ 276318 w 341312"/>
                    <a:gd name="connsiteY72" fmla="*/ 988114 h 1516168"/>
                    <a:gd name="connsiteX73" fmla="*/ 329546 w 341312"/>
                    <a:gd name="connsiteY73" fmla="*/ 1007517 h 1516168"/>
                    <a:gd name="connsiteX74" fmla="*/ 341312 w 341312"/>
                    <a:gd name="connsiteY74" fmla="*/ 1023039 h 1516168"/>
                    <a:gd name="connsiteX75" fmla="*/ 341312 w 341312"/>
                    <a:gd name="connsiteY75" fmla="*/ 1151098 h 1516168"/>
                    <a:gd name="connsiteX76" fmla="*/ 329546 w 341312"/>
                    <a:gd name="connsiteY76" fmla="*/ 1158304 h 1516168"/>
                    <a:gd name="connsiteX77" fmla="*/ 276318 w 341312"/>
                    <a:gd name="connsiteY77" fmla="*/ 1138902 h 1516168"/>
                    <a:gd name="connsiteX78" fmla="*/ 265112 w 341312"/>
                    <a:gd name="connsiteY78" fmla="*/ 1123379 h 1516168"/>
                    <a:gd name="connsiteX79" fmla="*/ 265112 w 341312"/>
                    <a:gd name="connsiteY79" fmla="*/ 995321 h 1516168"/>
                    <a:gd name="connsiteX80" fmla="*/ 276318 w 341312"/>
                    <a:gd name="connsiteY80" fmla="*/ 988114 h 1516168"/>
                    <a:gd name="connsiteX81" fmla="*/ 188854 w 341312"/>
                    <a:gd name="connsiteY81" fmla="*/ 956364 h 1516168"/>
                    <a:gd name="connsiteX82" fmla="*/ 241359 w 341312"/>
                    <a:gd name="connsiteY82" fmla="*/ 975767 h 1516168"/>
                    <a:gd name="connsiteX83" fmla="*/ 252413 w 341312"/>
                    <a:gd name="connsiteY83" fmla="*/ 990735 h 1516168"/>
                    <a:gd name="connsiteX84" fmla="*/ 252413 w 341312"/>
                    <a:gd name="connsiteY84" fmla="*/ 1119348 h 1516168"/>
                    <a:gd name="connsiteX85" fmla="*/ 241359 w 341312"/>
                    <a:gd name="connsiteY85" fmla="*/ 1126554 h 1516168"/>
                    <a:gd name="connsiteX86" fmla="*/ 188854 w 341312"/>
                    <a:gd name="connsiteY86" fmla="*/ 1107152 h 1516168"/>
                    <a:gd name="connsiteX87" fmla="*/ 177800 w 341312"/>
                    <a:gd name="connsiteY87" fmla="*/ 1091629 h 1516168"/>
                    <a:gd name="connsiteX88" fmla="*/ 177800 w 341312"/>
                    <a:gd name="connsiteY88" fmla="*/ 963571 h 1516168"/>
                    <a:gd name="connsiteX89" fmla="*/ 188854 w 341312"/>
                    <a:gd name="connsiteY89" fmla="*/ 956364 h 1516168"/>
                    <a:gd name="connsiteX90" fmla="*/ 99873 w 341312"/>
                    <a:gd name="connsiteY90" fmla="*/ 923047 h 1516168"/>
                    <a:gd name="connsiteX91" fmla="*/ 151992 w 341312"/>
                    <a:gd name="connsiteY91" fmla="*/ 942626 h 1516168"/>
                    <a:gd name="connsiteX92" fmla="*/ 163513 w 341312"/>
                    <a:gd name="connsiteY92" fmla="*/ 957730 h 1516168"/>
                    <a:gd name="connsiteX93" fmla="*/ 163513 w 341312"/>
                    <a:gd name="connsiteY93" fmla="*/ 1087512 h 1516168"/>
                    <a:gd name="connsiteX94" fmla="*/ 151992 w 341312"/>
                    <a:gd name="connsiteY94" fmla="*/ 1094784 h 1516168"/>
                    <a:gd name="connsiteX95" fmla="*/ 99873 w 341312"/>
                    <a:gd name="connsiteY95" fmla="*/ 1075205 h 1516168"/>
                    <a:gd name="connsiteX96" fmla="*/ 88900 w 341312"/>
                    <a:gd name="connsiteY96" fmla="*/ 1059542 h 1516168"/>
                    <a:gd name="connsiteX97" fmla="*/ 88900 w 341312"/>
                    <a:gd name="connsiteY97" fmla="*/ 930319 h 1516168"/>
                    <a:gd name="connsiteX98" fmla="*/ 99873 w 341312"/>
                    <a:gd name="connsiteY98" fmla="*/ 923047 h 1516168"/>
                    <a:gd name="connsiteX99" fmla="*/ 11054 w 341312"/>
                    <a:gd name="connsiteY99" fmla="*/ 891276 h 1516168"/>
                    <a:gd name="connsiteX100" fmla="*/ 63559 w 341312"/>
                    <a:gd name="connsiteY100" fmla="*/ 910679 h 1516168"/>
                    <a:gd name="connsiteX101" fmla="*/ 74613 w 341312"/>
                    <a:gd name="connsiteY101" fmla="*/ 925647 h 1516168"/>
                    <a:gd name="connsiteX102" fmla="*/ 74613 w 341312"/>
                    <a:gd name="connsiteY102" fmla="*/ 1054260 h 1516168"/>
                    <a:gd name="connsiteX103" fmla="*/ 63559 w 341312"/>
                    <a:gd name="connsiteY103" fmla="*/ 1061466 h 1516168"/>
                    <a:gd name="connsiteX104" fmla="*/ 11054 w 341312"/>
                    <a:gd name="connsiteY104" fmla="*/ 1042064 h 1516168"/>
                    <a:gd name="connsiteX105" fmla="*/ 0 w 341312"/>
                    <a:gd name="connsiteY105" fmla="*/ 1026541 h 1516168"/>
                    <a:gd name="connsiteX106" fmla="*/ 0 w 341312"/>
                    <a:gd name="connsiteY106" fmla="*/ 898483 h 1516168"/>
                    <a:gd name="connsiteX107" fmla="*/ 11054 w 341312"/>
                    <a:gd name="connsiteY107" fmla="*/ 891276 h 1516168"/>
                    <a:gd name="connsiteX108" fmla="*/ 276318 w 341312"/>
                    <a:gd name="connsiteY108" fmla="*/ 810314 h 1516168"/>
                    <a:gd name="connsiteX109" fmla="*/ 329546 w 341312"/>
                    <a:gd name="connsiteY109" fmla="*/ 829717 h 1516168"/>
                    <a:gd name="connsiteX110" fmla="*/ 341312 w 341312"/>
                    <a:gd name="connsiteY110" fmla="*/ 844685 h 1516168"/>
                    <a:gd name="connsiteX111" fmla="*/ 341312 w 341312"/>
                    <a:gd name="connsiteY111" fmla="*/ 973298 h 1516168"/>
                    <a:gd name="connsiteX112" fmla="*/ 329546 w 341312"/>
                    <a:gd name="connsiteY112" fmla="*/ 980504 h 1516168"/>
                    <a:gd name="connsiteX113" fmla="*/ 276318 w 341312"/>
                    <a:gd name="connsiteY113" fmla="*/ 961102 h 1516168"/>
                    <a:gd name="connsiteX114" fmla="*/ 265112 w 341312"/>
                    <a:gd name="connsiteY114" fmla="*/ 945579 h 1516168"/>
                    <a:gd name="connsiteX115" fmla="*/ 265112 w 341312"/>
                    <a:gd name="connsiteY115" fmla="*/ 817521 h 1516168"/>
                    <a:gd name="connsiteX116" fmla="*/ 276318 w 341312"/>
                    <a:gd name="connsiteY116" fmla="*/ 810314 h 1516168"/>
                    <a:gd name="connsiteX117" fmla="*/ 188854 w 341312"/>
                    <a:gd name="connsiteY117" fmla="*/ 776997 h 1516168"/>
                    <a:gd name="connsiteX118" fmla="*/ 241359 w 341312"/>
                    <a:gd name="connsiteY118" fmla="*/ 796576 h 1516168"/>
                    <a:gd name="connsiteX119" fmla="*/ 252413 w 341312"/>
                    <a:gd name="connsiteY119" fmla="*/ 811680 h 1516168"/>
                    <a:gd name="connsiteX120" fmla="*/ 252413 w 341312"/>
                    <a:gd name="connsiteY120" fmla="*/ 941462 h 1516168"/>
                    <a:gd name="connsiteX121" fmla="*/ 241359 w 341312"/>
                    <a:gd name="connsiteY121" fmla="*/ 948175 h 1516168"/>
                    <a:gd name="connsiteX122" fmla="*/ 188854 w 341312"/>
                    <a:gd name="connsiteY122" fmla="*/ 929155 h 1516168"/>
                    <a:gd name="connsiteX123" fmla="*/ 177800 w 341312"/>
                    <a:gd name="connsiteY123" fmla="*/ 913492 h 1516168"/>
                    <a:gd name="connsiteX124" fmla="*/ 177800 w 341312"/>
                    <a:gd name="connsiteY124" fmla="*/ 784269 h 1516168"/>
                    <a:gd name="connsiteX125" fmla="*/ 188854 w 341312"/>
                    <a:gd name="connsiteY125" fmla="*/ 776997 h 1516168"/>
                    <a:gd name="connsiteX126" fmla="*/ 99873 w 341312"/>
                    <a:gd name="connsiteY126" fmla="*/ 745247 h 1516168"/>
                    <a:gd name="connsiteX127" fmla="*/ 151992 w 341312"/>
                    <a:gd name="connsiteY127" fmla="*/ 764826 h 1516168"/>
                    <a:gd name="connsiteX128" fmla="*/ 163513 w 341312"/>
                    <a:gd name="connsiteY128" fmla="*/ 779930 h 1516168"/>
                    <a:gd name="connsiteX129" fmla="*/ 163513 w 341312"/>
                    <a:gd name="connsiteY129" fmla="*/ 909712 h 1516168"/>
                    <a:gd name="connsiteX130" fmla="*/ 151992 w 341312"/>
                    <a:gd name="connsiteY130" fmla="*/ 916425 h 1516168"/>
                    <a:gd name="connsiteX131" fmla="*/ 99873 w 341312"/>
                    <a:gd name="connsiteY131" fmla="*/ 897405 h 1516168"/>
                    <a:gd name="connsiteX132" fmla="*/ 88900 w 341312"/>
                    <a:gd name="connsiteY132" fmla="*/ 881742 h 1516168"/>
                    <a:gd name="connsiteX133" fmla="*/ 88900 w 341312"/>
                    <a:gd name="connsiteY133" fmla="*/ 752519 h 1516168"/>
                    <a:gd name="connsiteX134" fmla="*/ 99873 w 341312"/>
                    <a:gd name="connsiteY134" fmla="*/ 745247 h 1516168"/>
                    <a:gd name="connsiteX135" fmla="*/ 11054 w 341312"/>
                    <a:gd name="connsiteY135" fmla="*/ 713483 h 1516168"/>
                    <a:gd name="connsiteX136" fmla="*/ 63559 w 341312"/>
                    <a:gd name="connsiteY136" fmla="*/ 732948 h 1516168"/>
                    <a:gd name="connsiteX137" fmla="*/ 74613 w 341312"/>
                    <a:gd name="connsiteY137" fmla="*/ 747963 h 1516168"/>
                    <a:gd name="connsiteX138" fmla="*/ 74613 w 341312"/>
                    <a:gd name="connsiteY138" fmla="*/ 876430 h 1516168"/>
                    <a:gd name="connsiteX139" fmla="*/ 63559 w 341312"/>
                    <a:gd name="connsiteY139" fmla="*/ 883659 h 1516168"/>
                    <a:gd name="connsiteX140" fmla="*/ 11054 w 341312"/>
                    <a:gd name="connsiteY140" fmla="*/ 864751 h 1516168"/>
                    <a:gd name="connsiteX141" fmla="*/ 0 w 341312"/>
                    <a:gd name="connsiteY141" fmla="*/ 849179 h 1516168"/>
                    <a:gd name="connsiteX142" fmla="*/ 0 w 341312"/>
                    <a:gd name="connsiteY142" fmla="*/ 720713 h 1516168"/>
                    <a:gd name="connsiteX143" fmla="*/ 11054 w 341312"/>
                    <a:gd name="connsiteY143" fmla="*/ 713483 h 1516168"/>
                    <a:gd name="connsiteX144" fmla="*/ 276318 w 341312"/>
                    <a:gd name="connsiteY144" fmla="*/ 632521 h 1516168"/>
                    <a:gd name="connsiteX145" fmla="*/ 329546 w 341312"/>
                    <a:gd name="connsiteY145" fmla="*/ 651986 h 1516168"/>
                    <a:gd name="connsiteX146" fmla="*/ 341312 w 341312"/>
                    <a:gd name="connsiteY146" fmla="*/ 667001 h 1516168"/>
                    <a:gd name="connsiteX147" fmla="*/ 341312 w 341312"/>
                    <a:gd name="connsiteY147" fmla="*/ 795468 h 1516168"/>
                    <a:gd name="connsiteX148" fmla="*/ 329546 w 341312"/>
                    <a:gd name="connsiteY148" fmla="*/ 802697 h 1516168"/>
                    <a:gd name="connsiteX149" fmla="*/ 276318 w 341312"/>
                    <a:gd name="connsiteY149" fmla="*/ 783789 h 1516168"/>
                    <a:gd name="connsiteX150" fmla="*/ 265112 w 341312"/>
                    <a:gd name="connsiteY150" fmla="*/ 768217 h 1516168"/>
                    <a:gd name="connsiteX151" fmla="*/ 265112 w 341312"/>
                    <a:gd name="connsiteY151" fmla="*/ 639751 h 1516168"/>
                    <a:gd name="connsiteX152" fmla="*/ 276318 w 341312"/>
                    <a:gd name="connsiteY152" fmla="*/ 632521 h 1516168"/>
                    <a:gd name="connsiteX153" fmla="*/ 188854 w 341312"/>
                    <a:gd name="connsiteY153" fmla="*/ 599183 h 1516168"/>
                    <a:gd name="connsiteX154" fmla="*/ 241359 w 341312"/>
                    <a:gd name="connsiteY154" fmla="*/ 618648 h 1516168"/>
                    <a:gd name="connsiteX155" fmla="*/ 252413 w 341312"/>
                    <a:gd name="connsiteY155" fmla="*/ 633663 h 1516168"/>
                    <a:gd name="connsiteX156" fmla="*/ 252413 w 341312"/>
                    <a:gd name="connsiteY156" fmla="*/ 762130 h 1516168"/>
                    <a:gd name="connsiteX157" fmla="*/ 241359 w 341312"/>
                    <a:gd name="connsiteY157" fmla="*/ 769359 h 1516168"/>
                    <a:gd name="connsiteX158" fmla="*/ 188854 w 341312"/>
                    <a:gd name="connsiteY158" fmla="*/ 750451 h 1516168"/>
                    <a:gd name="connsiteX159" fmla="*/ 177800 w 341312"/>
                    <a:gd name="connsiteY159" fmla="*/ 734879 h 1516168"/>
                    <a:gd name="connsiteX160" fmla="*/ 177800 w 341312"/>
                    <a:gd name="connsiteY160" fmla="*/ 606413 h 1516168"/>
                    <a:gd name="connsiteX161" fmla="*/ 188854 w 341312"/>
                    <a:gd name="connsiteY161" fmla="*/ 599183 h 1516168"/>
                    <a:gd name="connsiteX162" fmla="*/ 99873 w 341312"/>
                    <a:gd name="connsiteY162" fmla="*/ 567433 h 1516168"/>
                    <a:gd name="connsiteX163" fmla="*/ 151992 w 341312"/>
                    <a:gd name="connsiteY163" fmla="*/ 586342 h 1516168"/>
                    <a:gd name="connsiteX164" fmla="*/ 163513 w 341312"/>
                    <a:gd name="connsiteY164" fmla="*/ 601913 h 1516168"/>
                    <a:gd name="connsiteX165" fmla="*/ 163513 w 341312"/>
                    <a:gd name="connsiteY165" fmla="*/ 730380 h 1516168"/>
                    <a:gd name="connsiteX166" fmla="*/ 151992 w 341312"/>
                    <a:gd name="connsiteY166" fmla="*/ 737609 h 1516168"/>
                    <a:gd name="connsiteX167" fmla="*/ 99873 w 341312"/>
                    <a:gd name="connsiteY167" fmla="*/ 718701 h 1516168"/>
                    <a:gd name="connsiteX168" fmla="*/ 88900 w 341312"/>
                    <a:gd name="connsiteY168" fmla="*/ 703129 h 1516168"/>
                    <a:gd name="connsiteX169" fmla="*/ 88900 w 341312"/>
                    <a:gd name="connsiteY169" fmla="*/ 574663 h 1516168"/>
                    <a:gd name="connsiteX170" fmla="*/ 99873 w 341312"/>
                    <a:gd name="connsiteY170" fmla="*/ 567433 h 1516168"/>
                    <a:gd name="connsiteX171" fmla="*/ 11054 w 341312"/>
                    <a:gd name="connsiteY171" fmla="*/ 535683 h 1516168"/>
                    <a:gd name="connsiteX172" fmla="*/ 63559 w 341312"/>
                    <a:gd name="connsiteY172" fmla="*/ 554592 h 1516168"/>
                    <a:gd name="connsiteX173" fmla="*/ 74613 w 341312"/>
                    <a:gd name="connsiteY173" fmla="*/ 570163 h 1516168"/>
                    <a:gd name="connsiteX174" fmla="*/ 74613 w 341312"/>
                    <a:gd name="connsiteY174" fmla="*/ 698630 h 1516168"/>
                    <a:gd name="connsiteX175" fmla="*/ 63559 w 341312"/>
                    <a:gd name="connsiteY175" fmla="*/ 705859 h 1516168"/>
                    <a:gd name="connsiteX176" fmla="*/ 11054 w 341312"/>
                    <a:gd name="connsiteY176" fmla="*/ 686951 h 1516168"/>
                    <a:gd name="connsiteX177" fmla="*/ 0 w 341312"/>
                    <a:gd name="connsiteY177" fmla="*/ 671379 h 1516168"/>
                    <a:gd name="connsiteX178" fmla="*/ 0 w 341312"/>
                    <a:gd name="connsiteY178" fmla="*/ 542913 h 1516168"/>
                    <a:gd name="connsiteX179" fmla="*/ 11054 w 341312"/>
                    <a:gd name="connsiteY179" fmla="*/ 535683 h 1516168"/>
                    <a:gd name="connsiteX180" fmla="*/ 276318 w 341312"/>
                    <a:gd name="connsiteY180" fmla="*/ 453154 h 1516168"/>
                    <a:gd name="connsiteX181" fmla="*/ 329546 w 341312"/>
                    <a:gd name="connsiteY181" fmla="*/ 472234 h 1516168"/>
                    <a:gd name="connsiteX182" fmla="*/ 341312 w 341312"/>
                    <a:gd name="connsiteY182" fmla="*/ 487947 h 1516168"/>
                    <a:gd name="connsiteX183" fmla="*/ 341312 w 341312"/>
                    <a:gd name="connsiteY183" fmla="*/ 617582 h 1516168"/>
                    <a:gd name="connsiteX184" fmla="*/ 329546 w 341312"/>
                    <a:gd name="connsiteY184" fmla="*/ 624877 h 1516168"/>
                    <a:gd name="connsiteX185" fmla="*/ 276318 w 341312"/>
                    <a:gd name="connsiteY185" fmla="*/ 605797 h 1516168"/>
                    <a:gd name="connsiteX186" fmla="*/ 265112 w 341312"/>
                    <a:gd name="connsiteY186" fmla="*/ 590083 h 1516168"/>
                    <a:gd name="connsiteX187" fmla="*/ 265112 w 341312"/>
                    <a:gd name="connsiteY187" fmla="*/ 460449 h 1516168"/>
                    <a:gd name="connsiteX188" fmla="*/ 276318 w 341312"/>
                    <a:gd name="connsiteY188" fmla="*/ 453154 h 1516168"/>
                    <a:gd name="connsiteX189" fmla="*/ 188854 w 341312"/>
                    <a:gd name="connsiteY189" fmla="*/ 421383 h 1516168"/>
                    <a:gd name="connsiteX190" fmla="*/ 241359 w 341312"/>
                    <a:gd name="connsiteY190" fmla="*/ 440292 h 1516168"/>
                    <a:gd name="connsiteX191" fmla="*/ 252413 w 341312"/>
                    <a:gd name="connsiteY191" fmla="*/ 455863 h 1516168"/>
                    <a:gd name="connsiteX192" fmla="*/ 252413 w 341312"/>
                    <a:gd name="connsiteY192" fmla="*/ 584330 h 1516168"/>
                    <a:gd name="connsiteX193" fmla="*/ 241359 w 341312"/>
                    <a:gd name="connsiteY193" fmla="*/ 591559 h 1516168"/>
                    <a:gd name="connsiteX194" fmla="*/ 188854 w 341312"/>
                    <a:gd name="connsiteY194" fmla="*/ 572651 h 1516168"/>
                    <a:gd name="connsiteX195" fmla="*/ 177800 w 341312"/>
                    <a:gd name="connsiteY195" fmla="*/ 557079 h 1516168"/>
                    <a:gd name="connsiteX196" fmla="*/ 177800 w 341312"/>
                    <a:gd name="connsiteY196" fmla="*/ 428613 h 1516168"/>
                    <a:gd name="connsiteX197" fmla="*/ 188854 w 341312"/>
                    <a:gd name="connsiteY197" fmla="*/ 421383 h 1516168"/>
                    <a:gd name="connsiteX198" fmla="*/ 99873 w 341312"/>
                    <a:gd name="connsiteY198" fmla="*/ 389633 h 1516168"/>
                    <a:gd name="connsiteX199" fmla="*/ 151992 w 341312"/>
                    <a:gd name="connsiteY199" fmla="*/ 408542 h 1516168"/>
                    <a:gd name="connsiteX200" fmla="*/ 163513 w 341312"/>
                    <a:gd name="connsiteY200" fmla="*/ 424113 h 1516168"/>
                    <a:gd name="connsiteX201" fmla="*/ 163513 w 341312"/>
                    <a:gd name="connsiteY201" fmla="*/ 552580 h 1516168"/>
                    <a:gd name="connsiteX202" fmla="*/ 151992 w 341312"/>
                    <a:gd name="connsiteY202" fmla="*/ 559809 h 1516168"/>
                    <a:gd name="connsiteX203" fmla="*/ 99873 w 341312"/>
                    <a:gd name="connsiteY203" fmla="*/ 540901 h 1516168"/>
                    <a:gd name="connsiteX204" fmla="*/ 88900 w 341312"/>
                    <a:gd name="connsiteY204" fmla="*/ 525329 h 1516168"/>
                    <a:gd name="connsiteX205" fmla="*/ 88900 w 341312"/>
                    <a:gd name="connsiteY205" fmla="*/ 396863 h 1516168"/>
                    <a:gd name="connsiteX206" fmla="*/ 99873 w 341312"/>
                    <a:gd name="connsiteY206" fmla="*/ 389633 h 1516168"/>
                    <a:gd name="connsiteX207" fmla="*/ 11054 w 341312"/>
                    <a:gd name="connsiteY207" fmla="*/ 356317 h 1516168"/>
                    <a:gd name="connsiteX208" fmla="*/ 63559 w 341312"/>
                    <a:gd name="connsiteY208" fmla="*/ 375397 h 1516168"/>
                    <a:gd name="connsiteX209" fmla="*/ 74613 w 341312"/>
                    <a:gd name="connsiteY209" fmla="*/ 391110 h 1516168"/>
                    <a:gd name="connsiteX210" fmla="*/ 74613 w 341312"/>
                    <a:gd name="connsiteY210" fmla="*/ 520745 h 1516168"/>
                    <a:gd name="connsiteX211" fmla="*/ 63559 w 341312"/>
                    <a:gd name="connsiteY211" fmla="*/ 528040 h 1516168"/>
                    <a:gd name="connsiteX212" fmla="*/ 11054 w 341312"/>
                    <a:gd name="connsiteY212" fmla="*/ 508960 h 1516168"/>
                    <a:gd name="connsiteX213" fmla="*/ 0 w 341312"/>
                    <a:gd name="connsiteY213" fmla="*/ 493246 h 1516168"/>
                    <a:gd name="connsiteX214" fmla="*/ 0 w 341312"/>
                    <a:gd name="connsiteY214" fmla="*/ 363612 h 1516168"/>
                    <a:gd name="connsiteX215" fmla="*/ 11054 w 341312"/>
                    <a:gd name="connsiteY215" fmla="*/ 356317 h 1516168"/>
                    <a:gd name="connsiteX216" fmla="*/ 276318 w 341312"/>
                    <a:gd name="connsiteY216" fmla="*/ 275333 h 1516168"/>
                    <a:gd name="connsiteX217" fmla="*/ 329546 w 341312"/>
                    <a:gd name="connsiteY217" fmla="*/ 294242 h 1516168"/>
                    <a:gd name="connsiteX218" fmla="*/ 341312 w 341312"/>
                    <a:gd name="connsiteY218" fmla="*/ 309813 h 1516168"/>
                    <a:gd name="connsiteX219" fmla="*/ 341312 w 341312"/>
                    <a:gd name="connsiteY219" fmla="*/ 438280 h 1516168"/>
                    <a:gd name="connsiteX220" fmla="*/ 329546 w 341312"/>
                    <a:gd name="connsiteY220" fmla="*/ 445509 h 1516168"/>
                    <a:gd name="connsiteX221" fmla="*/ 276318 w 341312"/>
                    <a:gd name="connsiteY221" fmla="*/ 426601 h 1516168"/>
                    <a:gd name="connsiteX222" fmla="*/ 265112 w 341312"/>
                    <a:gd name="connsiteY222" fmla="*/ 411029 h 1516168"/>
                    <a:gd name="connsiteX223" fmla="*/ 265112 w 341312"/>
                    <a:gd name="connsiteY223" fmla="*/ 282563 h 1516168"/>
                    <a:gd name="connsiteX224" fmla="*/ 276318 w 341312"/>
                    <a:gd name="connsiteY224" fmla="*/ 275333 h 1516168"/>
                    <a:gd name="connsiteX225" fmla="*/ 188854 w 341312"/>
                    <a:gd name="connsiteY225" fmla="*/ 243583 h 1516168"/>
                    <a:gd name="connsiteX226" fmla="*/ 241359 w 341312"/>
                    <a:gd name="connsiteY226" fmla="*/ 262492 h 1516168"/>
                    <a:gd name="connsiteX227" fmla="*/ 252413 w 341312"/>
                    <a:gd name="connsiteY227" fmla="*/ 278063 h 1516168"/>
                    <a:gd name="connsiteX228" fmla="*/ 252413 w 341312"/>
                    <a:gd name="connsiteY228" fmla="*/ 406530 h 1516168"/>
                    <a:gd name="connsiteX229" fmla="*/ 241359 w 341312"/>
                    <a:gd name="connsiteY229" fmla="*/ 413759 h 1516168"/>
                    <a:gd name="connsiteX230" fmla="*/ 188854 w 341312"/>
                    <a:gd name="connsiteY230" fmla="*/ 394295 h 1516168"/>
                    <a:gd name="connsiteX231" fmla="*/ 177800 w 341312"/>
                    <a:gd name="connsiteY231" fmla="*/ 379279 h 1516168"/>
                    <a:gd name="connsiteX232" fmla="*/ 177800 w 341312"/>
                    <a:gd name="connsiteY232" fmla="*/ 250813 h 1516168"/>
                    <a:gd name="connsiteX233" fmla="*/ 188854 w 341312"/>
                    <a:gd name="connsiteY233" fmla="*/ 243583 h 1516168"/>
                    <a:gd name="connsiteX234" fmla="*/ 99873 w 341312"/>
                    <a:gd name="connsiteY234" fmla="*/ 211833 h 1516168"/>
                    <a:gd name="connsiteX235" fmla="*/ 151992 w 341312"/>
                    <a:gd name="connsiteY235" fmla="*/ 230742 h 1516168"/>
                    <a:gd name="connsiteX236" fmla="*/ 163513 w 341312"/>
                    <a:gd name="connsiteY236" fmla="*/ 246313 h 1516168"/>
                    <a:gd name="connsiteX237" fmla="*/ 163513 w 341312"/>
                    <a:gd name="connsiteY237" fmla="*/ 374780 h 1516168"/>
                    <a:gd name="connsiteX238" fmla="*/ 151992 w 341312"/>
                    <a:gd name="connsiteY238" fmla="*/ 382009 h 1516168"/>
                    <a:gd name="connsiteX239" fmla="*/ 99873 w 341312"/>
                    <a:gd name="connsiteY239" fmla="*/ 362545 h 1516168"/>
                    <a:gd name="connsiteX240" fmla="*/ 88900 w 341312"/>
                    <a:gd name="connsiteY240" fmla="*/ 347529 h 1516168"/>
                    <a:gd name="connsiteX241" fmla="*/ 88900 w 341312"/>
                    <a:gd name="connsiteY241" fmla="*/ 219063 h 1516168"/>
                    <a:gd name="connsiteX242" fmla="*/ 99873 w 341312"/>
                    <a:gd name="connsiteY242" fmla="*/ 211833 h 1516168"/>
                    <a:gd name="connsiteX243" fmla="*/ 11054 w 341312"/>
                    <a:gd name="connsiteY243" fmla="*/ 179044 h 1516168"/>
                    <a:gd name="connsiteX244" fmla="*/ 63559 w 341312"/>
                    <a:gd name="connsiteY244" fmla="*/ 197892 h 1516168"/>
                    <a:gd name="connsiteX245" fmla="*/ 74613 w 341312"/>
                    <a:gd name="connsiteY245" fmla="*/ 213414 h 1516168"/>
                    <a:gd name="connsiteX246" fmla="*/ 74613 w 341312"/>
                    <a:gd name="connsiteY246" fmla="*/ 341473 h 1516168"/>
                    <a:gd name="connsiteX247" fmla="*/ 63559 w 341312"/>
                    <a:gd name="connsiteY247" fmla="*/ 348679 h 1516168"/>
                    <a:gd name="connsiteX248" fmla="*/ 11054 w 341312"/>
                    <a:gd name="connsiteY248" fmla="*/ 329277 h 1516168"/>
                    <a:gd name="connsiteX249" fmla="*/ 0 w 341312"/>
                    <a:gd name="connsiteY249" fmla="*/ 314309 h 1516168"/>
                    <a:gd name="connsiteX250" fmla="*/ 0 w 341312"/>
                    <a:gd name="connsiteY250" fmla="*/ 185696 h 1516168"/>
                    <a:gd name="connsiteX251" fmla="*/ 11054 w 341312"/>
                    <a:gd name="connsiteY251" fmla="*/ 179044 h 1516168"/>
                    <a:gd name="connsiteX252" fmla="*/ 276318 w 341312"/>
                    <a:gd name="connsiteY252" fmla="*/ 98081 h 1516168"/>
                    <a:gd name="connsiteX253" fmla="*/ 329546 w 341312"/>
                    <a:gd name="connsiteY253" fmla="*/ 116929 h 1516168"/>
                    <a:gd name="connsiteX254" fmla="*/ 341312 w 341312"/>
                    <a:gd name="connsiteY254" fmla="*/ 132451 h 1516168"/>
                    <a:gd name="connsiteX255" fmla="*/ 341312 w 341312"/>
                    <a:gd name="connsiteY255" fmla="*/ 260510 h 1516168"/>
                    <a:gd name="connsiteX256" fmla="*/ 329546 w 341312"/>
                    <a:gd name="connsiteY256" fmla="*/ 267716 h 1516168"/>
                    <a:gd name="connsiteX257" fmla="*/ 276318 w 341312"/>
                    <a:gd name="connsiteY257" fmla="*/ 248314 h 1516168"/>
                    <a:gd name="connsiteX258" fmla="*/ 265112 w 341312"/>
                    <a:gd name="connsiteY258" fmla="*/ 233346 h 1516168"/>
                    <a:gd name="connsiteX259" fmla="*/ 265112 w 341312"/>
                    <a:gd name="connsiteY259" fmla="*/ 104733 h 1516168"/>
                    <a:gd name="connsiteX260" fmla="*/ 276318 w 341312"/>
                    <a:gd name="connsiteY260" fmla="*/ 98081 h 1516168"/>
                    <a:gd name="connsiteX261" fmla="*/ 188854 w 341312"/>
                    <a:gd name="connsiteY261" fmla="*/ 66331 h 1516168"/>
                    <a:gd name="connsiteX262" fmla="*/ 241359 w 341312"/>
                    <a:gd name="connsiteY262" fmla="*/ 85179 h 1516168"/>
                    <a:gd name="connsiteX263" fmla="*/ 252413 w 341312"/>
                    <a:gd name="connsiteY263" fmla="*/ 100701 h 1516168"/>
                    <a:gd name="connsiteX264" fmla="*/ 252413 w 341312"/>
                    <a:gd name="connsiteY264" fmla="*/ 228760 h 1516168"/>
                    <a:gd name="connsiteX265" fmla="*/ 241359 w 341312"/>
                    <a:gd name="connsiteY265" fmla="*/ 235966 h 1516168"/>
                    <a:gd name="connsiteX266" fmla="*/ 188854 w 341312"/>
                    <a:gd name="connsiteY266" fmla="*/ 216564 h 1516168"/>
                    <a:gd name="connsiteX267" fmla="*/ 177800 w 341312"/>
                    <a:gd name="connsiteY267" fmla="*/ 201596 h 1516168"/>
                    <a:gd name="connsiteX268" fmla="*/ 177800 w 341312"/>
                    <a:gd name="connsiteY268" fmla="*/ 72983 h 1516168"/>
                    <a:gd name="connsiteX269" fmla="*/ 188854 w 341312"/>
                    <a:gd name="connsiteY269" fmla="*/ 66331 h 1516168"/>
                    <a:gd name="connsiteX270" fmla="*/ 99873 w 341312"/>
                    <a:gd name="connsiteY270" fmla="*/ 32460 h 1516168"/>
                    <a:gd name="connsiteX271" fmla="*/ 151992 w 341312"/>
                    <a:gd name="connsiteY271" fmla="*/ 52039 h 1516168"/>
                    <a:gd name="connsiteX272" fmla="*/ 163513 w 341312"/>
                    <a:gd name="connsiteY272" fmla="*/ 67702 h 1516168"/>
                    <a:gd name="connsiteX273" fmla="*/ 163513 w 341312"/>
                    <a:gd name="connsiteY273" fmla="*/ 196925 h 1516168"/>
                    <a:gd name="connsiteX274" fmla="*/ 151992 w 341312"/>
                    <a:gd name="connsiteY274" fmla="*/ 204197 h 1516168"/>
                    <a:gd name="connsiteX275" fmla="*/ 99873 w 341312"/>
                    <a:gd name="connsiteY275" fmla="*/ 184618 h 1516168"/>
                    <a:gd name="connsiteX276" fmla="*/ 88900 w 341312"/>
                    <a:gd name="connsiteY276" fmla="*/ 169514 h 1516168"/>
                    <a:gd name="connsiteX277" fmla="*/ 88900 w 341312"/>
                    <a:gd name="connsiteY277" fmla="*/ 39732 h 1516168"/>
                    <a:gd name="connsiteX278" fmla="*/ 99873 w 341312"/>
                    <a:gd name="connsiteY278" fmla="*/ 32460 h 1516168"/>
                    <a:gd name="connsiteX279" fmla="*/ 11054 w 341312"/>
                    <a:gd name="connsiteY279" fmla="*/ 689 h 1516168"/>
                    <a:gd name="connsiteX280" fmla="*/ 63559 w 341312"/>
                    <a:gd name="connsiteY280" fmla="*/ 20092 h 1516168"/>
                    <a:gd name="connsiteX281" fmla="*/ 74613 w 341312"/>
                    <a:gd name="connsiteY281" fmla="*/ 35614 h 1516168"/>
                    <a:gd name="connsiteX282" fmla="*/ 74613 w 341312"/>
                    <a:gd name="connsiteY282" fmla="*/ 163673 h 1516168"/>
                    <a:gd name="connsiteX283" fmla="*/ 63559 w 341312"/>
                    <a:gd name="connsiteY283" fmla="*/ 170879 h 1516168"/>
                    <a:gd name="connsiteX284" fmla="*/ 11054 w 341312"/>
                    <a:gd name="connsiteY284" fmla="*/ 151477 h 1516168"/>
                    <a:gd name="connsiteX285" fmla="*/ 0 w 341312"/>
                    <a:gd name="connsiteY285" fmla="*/ 136509 h 1516168"/>
                    <a:gd name="connsiteX286" fmla="*/ 0 w 341312"/>
                    <a:gd name="connsiteY286" fmla="*/ 7896 h 1516168"/>
                    <a:gd name="connsiteX287" fmla="*/ 11054 w 341312"/>
                    <a:gd name="connsiteY287" fmla="*/ 689 h 15161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</a:cxnLst>
                  <a:rect l="l" t="t" r="r" b="b"/>
                  <a:pathLst>
                    <a:path w="341312" h="1516168">
                      <a:moveTo>
                        <a:pt x="276318" y="1344294"/>
                      </a:moveTo>
                      <a:cubicBezTo>
                        <a:pt x="276318" y="1344294"/>
                        <a:pt x="276318" y="1344294"/>
                        <a:pt x="329546" y="1363314"/>
                      </a:cubicBezTo>
                      <a:cubicBezTo>
                        <a:pt x="336270" y="1365552"/>
                        <a:pt x="341312" y="1372824"/>
                        <a:pt x="341312" y="1378977"/>
                      </a:cubicBezTo>
                      <a:cubicBezTo>
                        <a:pt x="341312" y="1378977"/>
                        <a:pt x="341312" y="1378977"/>
                        <a:pt x="341312" y="1508200"/>
                      </a:cubicBezTo>
                      <a:cubicBezTo>
                        <a:pt x="341312" y="1514354"/>
                        <a:pt x="336270" y="1517710"/>
                        <a:pt x="329546" y="1515473"/>
                      </a:cubicBezTo>
                      <a:cubicBezTo>
                        <a:pt x="329546" y="1515473"/>
                        <a:pt x="329546" y="1515473"/>
                        <a:pt x="276318" y="1495893"/>
                      </a:cubicBezTo>
                      <a:cubicBezTo>
                        <a:pt x="270155" y="1493656"/>
                        <a:pt x="265112" y="1486943"/>
                        <a:pt x="265112" y="1480789"/>
                      </a:cubicBezTo>
                      <a:cubicBezTo>
                        <a:pt x="265112" y="1480789"/>
                        <a:pt x="265112" y="1480789"/>
                        <a:pt x="265112" y="1351007"/>
                      </a:cubicBezTo>
                      <a:cubicBezTo>
                        <a:pt x="265112" y="1344854"/>
                        <a:pt x="270155" y="1341497"/>
                        <a:pt x="276318" y="1344294"/>
                      </a:cubicBezTo>
                      <a:close/>
                      <a:moveTo>
                        <a:pt x="188854" y="1311965"/>
                      </a:moveTo>
                      <a:cubicBezTo>
                        <a:pt x="188854" y="1311965"/>
                        <a:pt x="188854" y="1311965"/>
                        <a:pt x="241359" y="1331367"/>
                      </a:cubicBezTo>
                      <a:cubicBezTo>
                        <a:pt x="247439" y="1333585"/>
                        <a:pt x="252413" y="1340792"/>
                        <a:pt x="252413" y="1346890"/>
                      </a:cubicBezTo>
                      <a:cubicBezTo>
                        <a:pt x="252413" y="1346890"/>
                        <a:pt x="252413" y="1346890"/>
                        <a:pt x="252413" y="1474948"/>
                      </a:cubicBezTo>
                      <a:cubicBezTo>
                        <a:pt x="252413" y="1481046"/>
                        <a:pt x="247439" y="1484372"/>
                        <a:pt x="241359" y="1482155"/>
                      </a:cubicBezTo>
                      <a:cubicBezTo>
                        <a:pt x="241359" y="1482155"/>
                        <a:pt x="241359" y="1482155"/>
                        <a:pt x="188854" y="1462752"/>
                      </a:cubicBezTo>
                      <a:cubicBezTo>
                        <a:pt x="182774" y="1460534"/>
                        <a:pt x="177800" y="1453882"/>
                        <a:pt x="177800" y="1447784"/>
                      </a:cubicBezTo>
                      <a:cubicBezTo>
                        <a:pt x="177800" y="1447784"/>
                        <a:pt x="177800" y="1447784"/>
                        <a:pt x="177800" y="1319171"/>
                      </a:cubicBezTo>
                      <a:cubicBezTo>
                        <a:pt x="177800" y="1313073"/>
                        <a:pt x="182774" y="1309747"/>
                        <a:pt x="188854" y="1311965"/>
                      </a:cubicBezTo>
                      <a:close/>
                      <a:moveTo>
                        <a:pt x="99873" y="1280215"/>
                      </a:moveTo>
                      <a:cubicBezTo>
                        <a:pt x="99873" y="1280215"/>
                        <a:pt x="99873" y="1280215"/>
                        <a:pt x="151992" y="1299617"/>
                      </a:cubicBezTo>
                      <a:cubicBezTo>
                        <a:pt x="158576" y="1301835"/>
                        <a:pt x="163513" y="1308487"/>
                        <a:pt x="163513" y="1315140"/>
                      </a:cubicBezTo>
                      <a:cubicBezTo>
                        <a:pt x="163513" y="1315140"/>
                        <a:pt x="163513" y="1315140"/>
                        <a:pt x="163513" y="1443198"/>
                      </a:cubicBezTo>
                      <a:cubicBezTo>
                        <a:pt x="163513" y="1449296"/>
                        <a:pt x="158576" y="1452622"/>
                        <a:pt x="151992" y="1450405"/>
                      </a:cubicBezTo>
                      <a:cubicBezTo>
                        <a:pt x="151992" y="1450405"/>
                        <a:pt x="151992" y="1450405"/>
                        <a:pt x="99873" y="1431002"/>
                      </a:cubicBezTo>
                      <a:cubicBezTo>
                        <a:pt x="93838" y="1428784"/>
                        <a:pt x="88900" y="1422132"/>
                        <a:pt x="88900" y="1416034"/>
                      </a:cubicBezTo>
                      <a:cubicBezTo>
                        <a:pt x="88900" y="1416034"/>
                        <a:pt x="88900" y="1416034"/>
                        <a:pt x="88900" y="1287421"/>
                      </a:cubicBezTo>
                      <a:cubicBezTo>
                        <a:pt x="88900" y="1281323"/>
                        <a:pt x="93838" y="1277997"/>
                        <a:pt x="99873" y="1280215"/>
                      </a:cubicBezTo>
                      <a:close/>
                      <a:moveTo>
                        <a:pt x="11054" y="1246897"/>
                      </a:moveTo>
                      <a:cubicBezTo>
                        <a:pt x="11054" y="1246897"/>
                        <a:pt x="11054" y="1246897"/>
                        <a:pt x="63559" y="1266476"/>
                      </a:cubicBezTo>
                      <a:cubicBezTo>
                        <a:pt x="69639" y="1268714"/>
                        <a:pt x="74613" y="1275426"/>
                        <a:pt x="74613" y="1282139"/>
                      </a:cubicBezTo>
                      <a:cubicBezTo>
                        <a:pt x="74613" y="1282139"/>
                        <a:pt x="74613" y="1282139"/>
                        <a:pt x="74613" y="1411362"/>
                      </a:cubicBezTo>
                      <a:cubicBezTo>
                        <a:pt x="74613" y="1417516"/>
                        <a:pt x="69639" y="1420872"/>
                        <a:pt x="63559" y="1418635"/>
                      </a:cubicBezTo>
                      <a:cubicBezTo>
                        <a:pt x="63559" y="1418635"/>
                        <a:pt x="63559" y="1418635"/>
                        <a:pt x="11054" y="1399055"/>
                      </a:cubicBezTo>
                      <a:cubicBezTo>
                        <a:pt x="4974" y="1396818"/>
                        <a:pt x="0" y="1390105"/>
                        <a:pt x="0" y="1383951"/>
                      </a:cubicBezTo>
                      <a:cubicBezTo>
                        <a:pt x="0" y="1383951"/>
                        <a:pt x="0" y="1383951"/>
                        <a:pt x="0" y="1254169"/>
                      </a:cubicBezTo>
                      <a:cubicBezTo>
                        <a:pt x="0" y="1248016"/>
                        <a:pt x="4974" y="1244659"/>
                        <a:pt x="11054" y="1246897"/>
                      </a:cubicBezTo>
                      <a:close/>
                      <a:moveTo>
                        <a:pt x="276318" y="1165914"/>
                      </a:moveTo>
                      <a:cubicBezTo>
                        <a:pt x="276318" y="1165914"/>
                        <a:pt x="276318" y="1165914"/>
                        <a:pt x="329546" y="1185317"/>
                      </a:cubicBezTo>
                      <a:cubicBezTo>
                        <a:pt x="336270" y="1187535"/>
                        <a:pt x="341312" y="1194187"/>
                        <a:pt x="341312" y="1200839"/>
                      </a:cubicBezTo>
                      <a:cubicBezTo>
                        <a:pt x="341312" y="1200839"/>
                        <a:pt x="341312" y="1200839"/>
                        <a:pt x="341312" y="1328898"/>
                      </a:cubicBezTo>
                      <a:cubicBezTo>
                        <a:pt x="341312" y="1334996"/>
                        <a:pt x="336270" y="1338322"/>
                        <a:pt x="329546" y="1336105"/>
                      </a:cubicBezTo>
                      <a:cubicBezTo>
                        <a:pt x="329546" y="1336105"/>
                        <a:pt x="329546" y="1336105"/>
                        <a:pt x="276318" y="1316702"/>
                      </a:cubicBezTo>
                      <a:cubicBezTo>
                        <a:pt x="270155" y="1314484"/>
                        <a:pt x="265112" y="1307832"/>
                        <a:pt x="265112" y="1301734"/>
                      </a:cubicBezTo>
                      <a:cubicBezTo>
                        <a:pt x="265112" y="1301734"/>
                        <a:pt x="265112" y="1301734"/>
                        <a:pt x="265112" y="1173121"/>
                      </a:cubicBezTo>
                      <a:cubicBezTo>
                        <a:pt x="265112" y="1167023"/>
                        <a:pt x="270155" y="1163697"/>
                        <a:pt x="276318" y="1165914"/>
                      </a:cubicBezTo>
                      <a:close/>
                      <a:moveTo>
                        <a:pt x="188854" y="1134164"/>
                      </a:moveTo>
                      <a:cubicBezTo>
                        <a:pt x="188854" y="1134164"/>
                        <a:pt x="188854" y="1134164"/>
                        <a:pt x="241359" y="1153567"/>
                      </a:cubicBezTo>
                      <a:cubicBezTo>
                        <a:pt x="247439" y="1155785"/>
                        <a:pt x="252413" y="1162437"/>
                        <a:pt x="252413" y="1169089"/>
                      </a:cubicBezTo>
                      <a:cubicBezTo>
                        <a:pt x="252413" y="1169089"/>
                        <a:pt x="252413" y="1169089"/>
                        <a:pt x="252413" y="1297148"/>
                      </a:cubicBezTo>
                      <a:cubicBezTo>
                        <a:pt x="252413" y="1303246"/>
                        <a:pt x="247439" y="1306572"/>
                        <a:pt x="241359" y="1304355"/>
                      </a:cubicBezTo>
                      <a:cubicBezTo>
                        <a:pt x="241359" y="1304355"/>
                        <a:pt x="241359" y="1304355"/>
                        <a:pt x="188854" y="1284952"/>
                      </a:cubicBezTo>
                      <a:cubicBezTo>
                        <a:pt x="182774" y="1282734"/>
                        <a:pt x="177800" y="1276082"/>
                        <a:pt x="177800" y="1269984"/>
                      </a:cubicBezTo>
                      <a:cubicBezTo>
                        <a:pt x="177800" y="1269984"/>
                        <a:pt x="177800" y="1269984"/>
                        <a:pt x="177800" y="1141371"/>
                      </a:cubicBezTo>
                      <a:cubicBezTo>
                        <a:pt x="177800" y="1135273"/>
                        <a:pt x="182774" y="1131947"/>
                        <a:pt x="188854" y="1134164"/>
                      </a:cubicBezTo>
                      <a:close/>
                      <a:moveTo>
                        <a:pt x="99873" y="1100847"/>
                      </a:moveTo>
                      <a:cubicBezTo>
                        <a:pt x="99873" y="1100847"/>
                        <a:pt x="99873" y="1100847"/>
                        <a:pt x="151992" y="1120426"/>
                      </a:cubicBezTo>
                      <a:cubicBezTo>
                        <a:pt x="158576" y="1122663"/>
                        <a:pt x="163513" y="1129376"/>
                        <a:pt x="163513" y="1136089"/>
                      </a:cubicBezTo>
                      <a:cubicBezTo>
                        <a:pt x="163513" y="1136089"/>
                        <a:pt x="163513" y="1136089"/>
                        <a:pt x="163513" y="1265312"/>
                      </a:cubicBezTo>
                      <a:cubicBezTo>
                        <a:pt x="163513" y="1271466"/>
                        <a:pt x="158576" y="1274822"/>
                        <a:pt x="151992" y="1272585"/>
                      </a:cubicBezTo>
                      <a:cubicBezTo>
                        <a:pt x="151992" y="1272585"/>
                        <a:pt x="151992" y="1272585"/>
                        <a:pt x="99873" y="1253005"/>
                      </a:cubicBezTo>
                      <a:cubicBezTo>
                        <a:pt x="93838" y="1250768"/>
                        <a:pt x="88900" y="1244055"/>
                        <a:pt x="88900" y="1237342"/>
                      </a:cubicBezTo>
                      <a:cubicBezTo>
                        <a:pt x="88900" y="1237342"/>
                        <a:pt x="88900" y="1237342"/>
                        <a:pt x="88900" y="1108119"/>
                      </a:cubicBezTo>
                      <a:cubicBezTo>
                        <a:pt x="88900" y="1101965"/>
                        <a:pt x="93838" y="1098609"/>
                        <a:pt x="99873" y="1100847"/>
                      </a:cubicBezTo>
                      <a:close/>
                      <a:moveTo>
                        <a:pt x="11054" y="1069076"/>
                      </a:moveTo>
                      <a:cubicBezTo>
                        <a:pt x="11054" y="1069076"/>
                        <a:pt x="11054" y="1069076"/>
                        <a:pt x="63559" y="1088479"/>
                      </a:cubicBezTo>
                      <a:cubicBezTo>
                        <a:pt x="69639" y="1090697"/>
                        <a:pt x="74613" y="1097349"/>
                        <a:pt x="74613" y="1104001"/>
                      </a:cubicBezTo>
                      <a:cubicBezTo>
                        <a:pt x="74613" y="1104001"/>
                        <a:pt x="74613" y="1104001"/>
                        <a:pt x="74613" y="1232060"/>
                      </a:cubicBezTo>
                      <a:cubicBezTo>
                        <a:pt x="74613" y="1238158"/>
                        <a:pt x="69639" y="1241484"/>
                        <a:pt x="63559" y="1239266"/>
                      </a:cubicBezTo>
                      <a:cubicBezTo>
                        <a:pt x="63559" y="1239266"/>
                        <a:pt x="63559" y="1239266"/>
                        <a:pt x="11054" y="1219864"/>
                      </a:cubicBezTo>
                      <a:cubicBezTo>
                        <a:pt x="4974" y="1217646"/>
                        <a:pt x="0" y="1210994"/>
                        <a:pt x="0" y="1204341"/>
                      </a:cubicBezTo>
                      <a:cubicBezTo>
                        <a:pt x="0" y="1204341"/>
                        <a:pt x="0" y="1204341"/>
                        <a:pt x="0" y="1076283"/>
                      </a:cubicBezTo>
                      <a:cubicBezTo>
                        <a:pt x="0" y="1070185"/>
                        <a:pt x="4974" y="1066859"/>
                        <a:pt x="11054" y="1069076"/>
                      </a:cubicBezTo>
                      <a:close/>
                      <a:moveTo>
                        <a:pt x="276318" y="988114"/>
                      </a:moveTo>
                      <a:cubicBezTo>
                        <a:pt x="276318" y="988114"/>
                        <a:pt x="276318" y="988114"/>
                        <a:pt x="329546" y="1007517"/>
                      </a:cubicBezTo>
                      <a:cubicBezTo>
                        <a:pt x="336270" y="1009735"/>
                        <a:pt x="341312" y="1016387"/>
                        <a:pt x="341312" y="1023039"/>
                      </a:cubicBezTo>
                      <a:cubicBezTo>
                        <a:pt x="341312" y="1023039"/>
                        <a:pt x="341312" y="1023039"/>
                        <a:pt x="341312" y="1151098"/>
                      </a:cubicBezTo>
                      <a:cubicBezTo>
                        <a:pt x="341312" y="1157196"/>
                        <a:pt x="336270" y="1160522"/>
                        <a:pt x="329546" y="1158304"/>
                      </a:cubicBezTo>
                      <a:cubicBezTo>
                        <a:pt x="329546" y="1158304"/>
                        <a:pt x="329546" y="1158304"/>
                        <a:pt x="276318" y="1138902"/>
                      </a:cubicBezTo>
                      <a:cubicBezTo>
                        <a:pt x="270155" y="1136684"/>
                        <a:pt x="265112" y="1130032"/>
                        <a:pt x="265112" y="1123379"/>
                      </a:cubicBezTo>
                      <a:cubicBezTo>
                        <a:pt x="265112" y="1123379"/>
                        <a:pt x="265112" y="1123379"/>
                        <a:pt x="265112" y="995321"/>
                      </a:cubicBezTo>
                      <a:cubicBezTo>
                        <a:pt x="265112" y="989223"/>
                        <a:pt x="270155" y="985897"/>
                        <a:pt x="276318" y="988114"/>
                      </a:cubicBezTo>
                      <a:close/>
                      <a:moveTo>
                        <a:pt x="188854" y="956364"/>
                      </a:moveTo>
                      <a:cubicBezTo>
                        <a:pt x="188854" y="956364"/>
                        <a:pt x="188854" y="956364"/>
                        <a:pt x="241359" y="975767"/>
                      </a:cubicBezTo>
                      <a:cubicBezTo>
                        <a:pt x="247439" y="977985"/>
                        <a:pt x="252413" y="984637"/>
                        <a:pt x="252413" y="990735"/>
                      </a:cubicBezTo>
                      <a:cubicBezTo>
                        <a:pt x="252413" y="990735"/>
                        <a:pt x="252413" y="990735"/>
                        <a:pt x="252413" y="1119348"/>
                      </a:cubicBezTo>
                      <a:cubicBezTo>
                        <a:pt x="252413" y="1125446"/>
                        <a:pt x="247439" y="1128772"/>
                        <a:pt x="241359" y="1126554"/>
                      </a:cubicBezTo>
                      <a:cubicBezTo>
                        <a:pt x="241359" y="1126554"/>
                        <a:pt x="241359" y="1126554"/>
                        <a:pt x="188854" y="1107152"/>
                      </a:cubicBezTo>
                      <a:cubicBezTo>
                        <a:pt x="182774" y="1104934"/>
                        <a:pt x="177800" y="1098282"/>
                        <a:pt x="177800" y="1091629"/>
                      </a:cubicBezTo>
                      <a:cubicBezTo>
                        <a:pt x="177800" y="1091629"/>
                        <a:pt x="177800" y="1091629"/>
                        <a:pt x="177800" y="963571"/>
                      </a:cubicBezTo>
                      <a:cubicBezTo>
                        <a:pt x="177800" y="957473"/>
                        <a:pt x="182774" y="954147"/>
                        <a:pt x="188854" y="956364"/>
                      </a:cubicBezTo>
                      <a:close/>
                      <a:moveTo>
                        <a:pt x="99873" y="923047"/>
                      </a:moveTo>
                      <a:cubicBezTo>
                        <a:pt x="99873" y="923047"/>
                        <a:pt x="99873" y="923047"/>
                        <a:pt x="151992" y="942626"/>
                      </a:cubicBezTo>
                      <a:cubicBezTo>
                        <a:pt x="158576" y="944863"/>
                        <a:pt x="163513" y="951576"/>
                        <a:pt x="163513" y="957730"/>
                      </a:cubicBezTo>
                      <a:cubicBezTo>
                        <a:pt x="163513" y="957730"/>
                        <a:pt x="163513" y="957730"/>
                        <a:pt x="163513" y="1087512"/>
                      </a:cubicBezTo>
                      <a:cubicBezTo>
                        <a:pt x="163513" y="1093665"/>
                        <a:pt x="158576" y="1097022"/>
                        <a:pt x="151992" y="1094784"/>
                      </a:cubicBezTo>
                      <a:cubicBezTo>
                        <a:pt x="151992" y="1094784"/>
                        <a:pt x="151992" y="1094784"/>
                        <a:pt x="99873" y="1075205"/>
                      </a:cubicBezTo>
                      <a:cubicBezTo>
                        <a:pt x="93838" y="1072967"/>
                        <a:pt x="88900" y="1066255"/>
                        <a:pt x="88900" y="1059542"/>
                      </a:cubicBezTo>
                      <a:cubicBezTo>
                        <a:pt x="88900" y="1059542"/>
                        <a:pt x="88900" y="1059542"/>
                        <a:pt x="88900" y="930319"/>
                      </a:cubicBezTo>
                      <a:cubicBezTo>
                        <a:pt x="88900" y="924165"/>
                        <a:pt x="93838" y="920809"/>
                        <a:pt x="99873" y="923047"/>
                      </a:cubicBezTo>
                      <a:close/>
                      <a:moveTo>
                        <a:pt x="11054" y="891276"/>
                      </a:moveTo>
                      <a:cubicBezTo>
                        <a:pt x="11054" y="891276"/>
                        <a:pt x="11054" y="891276"/>
                        <a:pt x="63559" y="910679"/>
                      </a:cubicBezTo>
                      <a:cubicBezTo>
                        <a:pt x="69639" y="912897"/>
                        <a:pt x="74613" y="919549"/>
                        <a:pt x="74613" y="925647"/>
                      </a:cubicBezTo>
                      <a:cubicBezTo>
                        <a:pt x="74613" y="925647"/>
                        <a:pt x="74613" y="925647"/>
                        <a:pt x="74613" y="1054260"/>
                      </a:cubicBezTo>
                      <a:cubicBezTo>
                        <a:pt x="74613" y="1060358"/>
                        <a:pt x="69639" y="1063684"/>
                        <a:pt x="63559" y="1061466"/>
                      </a:cubicBezTo>
                      <a:cubicBezTo>
                        <a:pt x="63559" y="1061466"/>
                        <a:pt x="63559" y="1061466"/>
                        <a:pt x="11054" y="1042064"/>
                      </a:cubicBezTo>
                      <a:cubicBezTo>
                        <a:pt x="4974" y="1039846"/>
                        <a:pt x="0" y="1032639"/>
                        <a:pt x="0" y="1026541"/>
                      </a:cubicBezTo>
                      <a:cubicBezTo>
                        <a:pt x="0" y="1026541"/>
                        <a:pt x="0" y="1026541"/>
                        <a:pt x="0" y="898483"/>
                      </a:cubicBezTo>
                      <a:cubicBezTo>
                        <a:pt x="0" y="892385"/>
                        <a:pt x="4974" y="889059"/>
                        <a:pt x="11054" y="891276"/>
                      </a:cubicBezTo>
                      <a:close/>
                      <a:moveTo>
                        <a:pt x="276318" y="810314"/>
                      </a:moveTo>
                      <a:cubicBezTo>
                        <a:pt x="276318" y="810314"/>
                        <a:pt x="276318" y="810314"/>
                        <a:pt x="329546" y="829717"/>
                      </a:cubicBezTo>
                      <a:cubicBezTo>
                        <a:pt x="336270" y="831935"/>
                        <a:pt x="341312" y="838587"/>
                        <a:pt x="341312" y="844685"/>
                      </a:cubicBezTo>
                      <a:cubicBezTo>
                        <a:pt x="341312" y="844685"/>
                        <a:pt x="341312" y="844685"/>
                        <a:pt x="341312" y="973298"/>
                      </a:cubicBezTo>
                      <a:cubicBezTo>
                        <a:pt x="341312" y="979396"/>
                        <a:pt x="336270" y="982722"/>
                        <a:pt x="329546" y="980504"/>
                      </a:cubicBezTo>
                      <a:cubicBezTo>
                        <a:pt x="329546" y="980504"/>
                        <a:pt x="329546" y="980504"/>
                        <a:pt x="276318" y="961102"/>
                      </a:cubicBezTo>
                      <a:cubicBezTo>
                        <a:pt x="270155" y="958884"/>
                        <a:pt x="265112" y="951677"/>
                        <a:pt x="265112" y="945579"/>
                      </a:cubicBezTo>
                      <a:cubicBezTo>
                        <a:pt x="265112" y="945579"/>
                        <a:pt x="265112" y="945579"/>
                        <a:pt x="265112" y="817521"/>
                      </a:cubicBezTo>
                      <a:cubicBezTo>
                        <a:pt x="265112" y="811423"/>
                        <a:pt x="270155" y="808097"/>
                        <a:pt x="276318" y="810314"/>
                      </a:cubicBezTo>
                      <a:close/>
                      <a:moveTo>
                        <a:pt x="188854" y="776997"/>
                      </a:moveTo>
                      <a:cubicBezTo>
                        <a:pt x="188854" y="776997"/>
                        <a:pt x="188854" y="776997"/>
                        <a:pt x="241359" y="796576"/>
                      </a:cubicBezTo>
                      <a:cubicBezTo>
                        <a:pt x="247439" y="798813"/>
                        <a:pt x="252413" y="805526"/>
                        <a:pt x="252413" y="811680"/>
                      </a:cubicBezTo>
                      <a:cubicBezTo>
                        <a:pt x="252413" y="811680"/>
                        <a:pt x="252413" y="811680"/>
                        <a:pt x="252413" y="941462"/>
                      </a:cubicBezTo>
                      <a:cubicBezTo>
                        <a:pt x="252413" y="947615"/>
                        <a:pt x="247439" y="950972"/>
                        <a:pt x="241359" y="948175"/>
                      </a:cubicBezTo>
                      <a:cubicBezTo>
                        <a:pt x="241359" y="948175"/>
                        <a:pt x="241359" y="948175"/>
                        <a:pt x="188854" y="929155"/>
                      </a:cubicBezTo>
                      <a:cubicBezTo>
                        <a:pt x="182774" y="926917"/>
                        <a:pt x="177800" y="919645"/>
                        <a:pt x="177800" y="913492"/>
                      </a:cubicBezTo>
                      <a:cubicBezTo>
                        <a:pt x="177800" y="913492"/>
                        <a:pt x="177800" y="913492"/>
                        <a:pt x="177800" y="784269"/>
                      </a:cubicBezTo>
                      <a:cubicBezTo>
                        <a:pt x="177800" y="778115"/>
                        <a:pt x="182774" y="774759"/>
                        <a:pt x="188854" y="776997"/>
                      </a:cubicBezTo>
                      <a:close/>
                      <a:moveTo>
                        <a:pt x="99873" y="745247"/>
                      </a:moveTo>
                      <a:cubicBezTo>
                        <a:pt x="99873" y="745247"/>
                        <a:pt x="99873" y="745247"/>
                        <a:pt x="151992" y="764826"/>
                      </a:cubicBezTo>
                      <a:cubicBezTo>
                        <a:pt x="158576" y="767063"/>
                        <a:pt x="163513" y="773776"/>
                        <a:pt x="163513" y="779930"/>
                      </a:cubicBezTo>
                      <a:cubicBezTo>
                        <a:pt x="163513" y="779930"/>
                        <a:pt x="163513" y="779930"/>
                        <a:pt x="163513" y="909712"/>
                      </a:cubicBezTo>
                      <a:cubicBezTo>
                        <a:pt x="163513" y="915865"/>
                        <a:pt x="158576" y="919222"/>
                        <a:pt x="151992" y="916425"/>
                      </a:cubicBezTo>
                      <a:cubicBezTo>
                        <a:pt x="151992" y="916425"/>
                        <a:pt x="151992" y="916425"/>
                        <a:pt x="99873" y="897405"/>
                      </a:cubicBezTo>
                      <a:cubicBezTo>
                        <a:pt x="93838" y="895167"/>
                        <a:pt x="88900" y="887895"/>
                        <a:pt x="88900" y="881742"/>
                      </a:cubicBezTo>
                      <a:cubicBezTo>
                        <a:pt x="88900" y="881742"/>
                        <a:pt x="88900" y="881742"/>
                        <a:pt x="88900" y="752519"/>
                      </a:cubicBezTo>
                      <a:cubicBezTo>
                        <a:pt x="88900" y="746365"/>
                        <a:pt x="93838" y="743009"/>
                        <a:pt x="99873" y="745247"/>
                      </a:cubicBezTo>
                      <a:close/>
                      <a:moveTo>
                        <a:pt x="11054" y="713483"/>
                      </a:moveTo>
                      <a:cubicBezTo>
                        <a:pt x="11054" y="713483"/>
                        <a:pt x="11054" y="713483"/>
                        <a:pt x="63559" y="732948"/>
                      </a:cubicBezTo>
                      <a:cubicBezTo>
                        <a:pt x="69639" y="735172"/>
                        <a:pt x="74613" y="741846"/>
                        <a:pt x="74613" y="747963"/>
                      </a:cubicBezTo>
                      <a:cubicBezTo>
                        <a:pt x="74613" y="747963"/>
                        <a:pt x="74613" y="747963"/>
                        <a:pt x="74613" y="876430"/>
                      </a:cubicBezTo>
                      <a:cubicBezTo>
                        <a:pt x="74613" y="883103"/>
                        <a:pt x="69639" y="885884"/>
                        <a:pt x="63559" y="883659"/>
                      </a:cubicBezTo>
                      <a:cubicBezTo>
                        <a:pt x="63559" y="883659"/>
                        <a:pt x="63559" y="883659"/>
                        <a:pt x="11054" y="864751"/>
                      </a:cubicBezTo>
                      <a:cubicBezTo>
                        <a:pt x="4974" y="862526"/>
                        <a:pt x="0" y="855297"/>
                        <a:pt x="0" y="849179"/>
                      </a:cubicBezTo>
                      <a:cubicBezTo>
                        <a:pt x="0" y="849179"/>
                        <a:pt x="0" y="849179"/>
                        <a:pt x="0" y="720713"/>
                      </a:cubicBezTo>
                      <a:cubicBezTo>
                        <a:pt x="0" y="714596"/>
                        <a:pt x="4974" y="711259"/>
                        <a:pt x="11054" y="713483"/>
                      </a:cubicBezTo>
                      <a:close/>
                      <a:moveTo>
                        <a:pt x="276318" y="632521"/>
                      </a:moveTo>
                      <a:cubicBezTo>
                        <a:pt x="276318" y="632521"/>
                        <a:pt x="276318" y="632521"/>
                        <a:pt x="329546" y="651986"/>
                      </a:cubicBezTo>
                      <a:cubicBezTo>
                        <a:pt x="336270" y="654210"/>
                        <a:pt x="341312" y="660884"/>
                        <a:pt x="341312" y="667001"/>
                      </a:cubicBezTo>
                      <a:cubicBezTo>
                        <a:pt x="341312" y="667001"/>
                        <a:pt x="341312" y="667001"/>
                        <a:pt x="341312" y="795468"/>
                      </a:cubicBezTo>
                      <a:cubicBezTo>
                        <a:pt x="341312" y="802141"/>
                        <a:pt x="336270" y="804922"/>
                        <a:pt x="329546" y="802697"/>
                      </a:cubicBezTo>
                      <a:cubicBezTo>
                        <a:pt x="329546" y="802697"/>
                        <a:pt x="329546" y="802697"/>
                        <a:pt x="276318" y="783789"/>
                      </a:cubicBezTo>
                      <a:cubicBezTo>
                        <a:pt x="270155" y="781564"/>
                        <a:pt x="265112" y="774335"/>
                        <a:pt x="265112" y="768217"/>
                      </a:cubicBezTo>
                      <a:cubicBezTo>
                        <a:pt x="265112" y="768217"/>
                        <a:pt x="265112" y="768217"/>
                        <a:pt x="265112" y="639751"/>
                      </a:cubicBezTo>
                      <a:cubicBezTo>
                        <a:pt x="265112" y="633634"/>
                        <a:pt x="270155" y="630297"/>
                        <a:pt x="276318" y="632521"/>
                      </a:cubicBezTo>
                      <a:close/>
                      <a:moveTo>
                        <a:pt x="188854" y="599183"/>
                      </a:moveTo>
                      <a:cubicBezTo>
                        <a:pt x="188854" y="599183"/>
                        <a:pt x="188854" y="599183"/>
                        <a:pt x="241359" y="618648"/>
                      </a:cubicBezTo>
                      <a:cubicBezTo>
                        <a:pt x="247439" y="620872"/>
                        <a:pt x="252413" y="627546"/>
                        <a:pt x="252413" y="633663"/>
                      </a:cubicBezTo>
                      <a:cubicBezTo>
                        <a:pt x="252413" y="633663"/>
                        <a:pt x="252413" y="633663"/>
                        <a:pt x="252413" y="762130"/>
                      </a:cubicBezTo>
                      <a:cubicBezTo>
                        <a:pt x="252413" y="768803"/>
                        <a:pt x="247439" y="771584"/>
                        <a:pt x="241359" y="769359"/>
                      </a:cubicBezTo>
                      <a:cubicBezTo>
                        <a:pt x="241359" y="769359"/>
                        <a:pt x="241359" y="769359"/>
                        <a:pt x="188854" y="750451"/>
                      </a:cubicBezTo>
                      <a:cubicBezTo>
                        <a:pt x="182774" y="748226"/>
                        <a:pt x="177800" y="740997"/>
                        <a:pt x="177800" y="734879"/>
                      </a:cubicBezTo>
                      <a:cubicBezTo>
                        <a:pt x="177800" y="734879"/>
                        <a:pt x="177800" y="734879"/>
                        <a:pt x="177800" y="606413"/>
                      </a:cubicBezTo>
                      <a:cubicBezTo>
                        <a:pt x="177800" y="600296"/>
                        <a:pt x="182774" y="596959"/>
                        <a:pt x="188854" y="599183"/>
                      </a:cubicBezTo>
                      <a:close/>
                      <a:moveTo>
                        <a:pt x="99873" y="567433"/>
                      </a:moveTo>
                      <a:cubicBezTo>
                        <a:pt x="99873" y="567433"/>
                        <a:pt x="99873" y="567433"/>
                        <a:pt x="151992" y="586342"/>
                      </a:cubicBezTo>
                      <a:cubicBezTo>
                        <a:pt x="158576" y="589122"/>
                        <a:pt x="163513" y="595796"/>
                        <a:pt x="163513" y="601913"/>
                      </a:cubicBezTo>
                      <a:cubicBezTo>
                        <a:pt x="163513" y="601913"/>
                        <a:pt x="163513" y="601913"/>
                        <a:pt x="163513" y="730380"/>
                      </a:cubicBezTo>
                      <a:cubicBezTo>
                        <a:pt x="163513" y="737053"/>
                        <a:pt x="158576" y="739834"/>
                        <a:pt x="151992" y="737609"/>
                      </a:cubicBezTo>
                      <a:cubicBezTo>
                        <a:pt x="151992" y="737609"/>
                        <a:pt x="151992" y="737609"/>
                        <a:pt x="99873" y="718701"/>
                      </a:cubicBezTo>
                      <a:cubicBezTo>
                        <a:pt x="93838" y="716476"/>
                        <a:pt x="88900" y="709247"/>
                        <a:pt x="88900" y="703129"/>
                      </a:cubicBezTo>
                      <a:cubicBezTo>
                        <a:pt x="88900" y="703129"/>
                        <a:pt x="88900" y="703129"/>
                        <a:pt x="88900" y="574663"/>
                      </a:cubicBezTo>
                      <a:cubicBezTo>
                        <a:pt x="88900" y="568546"/>
                        <a:pt x="93838" y="565209"/>
                        <a:pt x="99873" y="567433"/>
                      </a:cubicBezTo>
                      <a:close/>
                      <a:moveTo>
                        <a:pt x="11054" y="535683"/>
                      </a:moveTo>
                      <a:cubicBezTo>
                        <a:pt x="11054" y="535683"/>
                        <a:pt x="11054" y="535683"/>
                        <a:pt x="63559" y="554592"/>
                      </a:cubicBezTo>
                      <a:cubicBezTo>
                        <a:pt x="69639" y="556816"/>
                        <a:pt x="74613" y="564046"/>
                        <a:pt x="74613" y="570163"/>
                      </a:cubicBezTo>
                      <a:cubicBezTo>
                        <a:pt x="74613" y="570163"/>
                        <a:pt x="74613" y="570163"/>
                        <a:pt x="74613" y="698630"/>
                      </a:cubicBezTo>
                      <a:cubicBezTo>
                        <a:pt x="74613" y="705303"/>
                        <a:pt x="69639" y="708084"/>
                        <a:pt x="63559" y="705859"/>
                      </a:cubicBezTo>
                      <a:cubicBezTo>
                        <a:pt x="63559" y="705859"/>
                        <a:pt x="63559" y="705859"/>
                        <a:pt x="11054" y="686951"/>
                      </a:cubicBezTo>
                      <a:cubicBezTo>
                        <a:pt x="4974" y="684726"/>
                        <a:pt x="0" y="677497"/>
                        <a:pt x="0" y="671379"/>
                      </a:cubicBezTo>
                      <a:cubicBezTo>
                        <a:pt x="0" y="671379"/>
                        <a:pt x="0" y="671379"/>
                        <a:pt x="0" y="542913"/>
                      </a:cubicBezTo>
                      <a:cubicBezTo>
                        <a:pt x="0" y="536796"/>
                        <a:pt x="4974" y="533459"/>
                        <a:pt x="11054" y="535683"/>
                      </a:cubicBezTo>
                      <a:close/>
                      <a:moveTo>
                        <a:pt x="276318" y="453154"/>
                      </a:moveTo>
                      <a:cubicBezTo>
                        <a:pt x="276318" y="453154"/>
                        <a:pt x="276318" y="453154"/>
                        <a:pt x="329546" y="472234"/>
                      </a:cubicBezTo>
                      <a:cubicBezTo>
                        <a:pt x="336270" y="474479"/>
                        <a:pt x="341312" y="481774"/>
                        <a:pt x="341312" y="487947"/>
                      </a:cubicBezTo>
                      <a:cubicBezTo>
                        <a:pt x="341312" y="487947"/>
                        <a:pt x="341312" y="487947"/>
                        <a:pt x="341312" y="617582"/>
                      </a:cubicBezTo>
                      <a:cubicBezTo>
                        <a:pt x="341312" y="624316"/>
                        <a:pt x="336270" y="627122"/>
                        <a:pt x="329546" y="624877"/>
                      </a:cubicBezTo>
                      <a:cubicBezTo>
                        <a:pt x="329546" y="624877"/>
                        <a:pt x="329546" y="624877"/>
                        <a:pt x="276318" y="605797"/>
                      </a:cubicBezTo>
                      <a:cubicBezTo>
                        <a:pt x="270155" y="603552"/>
                        <a:pt x="265112" y="596257"/>
                        <a:pt x="265112" y="590083"/>
                      </a:cubicBezTo>
                      <a:cubicBezTo>
                        <a:pt x="265112" y="590083"/>
                        <a:pt x="265112" y="590083"/>
                        <a:pt x="265112" y="460449"/>
                      </a:cubicBezTo>
                      <a:cubicBezTo>
                        <a:pt x="265112" y="454276"/>
                        <a:pt x="270155" y="450909"/>
                        <a:pt x="276318" y="453154"/>
                      </a:cubicBezTo>
                      <a:close/>
                      <a:moveTo>
                        <a:pt x="188854" y="421383"/>
                      </a:moveTo>
                      <a:cubicBezTo>
                        <a:pt x="188854" y="421383"/>
                        <a:pt x="188854" y="421383"/>
                        <a:pt x="241359" y="440292"/>
                      </a:cubicBezTo>
                      <a:cubicBezTo>
                        <a:pt x="247439" y="442516"/>
                        <a:pt x="252413" y="449746"/>
                        <a:pt x="252413" y="455863"/>
                      </a:cubicBezTo>
                      <a:cubicBezTo>
                        <a:pt x="252413" y="455863"/>
                        <a:pt x="252413" y="455863"/>
                        <a:pt x="252413" y="584330"/>
                      </a:cubicBezTo>
                      <a:cubicBezTo>
                        <a:pt x="252413" y="590447"/>
                        <a:pt x="247439" y="593784"/>
                        <a:pt x="241359" y="591559"/>
                      </a:cubicBezTo>
                      <a:cubicBezTo>
                        <a:pt x="241359" y="591559"/>
                        <a:pt x="241359" y="591559"/>
                        <a:pt x="188854" y="572651"/>
                      </a:cubicBezTo>
                      <a:cubicBezTo>
                        <a:pt x="182774" y="570426"/>
                        <a:pt x="177800" y="563197"/>
                        <a:pt x="177800" y="557079"/>
                      </a:cubicBezTo>
                      <a:cubicBezTo>
                        <a:pt x="177800" y="557079"/>
                        <a:pt x="177800" y="557079"/>
                        <a:pt x="177800" y="428613"/>
                      </a:cubicBezTo>
                      <a:cubicBezTo>
                        <a:pt x="177800" y="421940"/>
                        <a:pt x="182774" y="419159"/>
                        <a:pt x="188854" y="421383"/>
                      </a:cubicBezTo>
                      <a:close/>
                      <a:moveTo>
                        <a:pt x="99873" y="389633"/>
                      </a:moveTo>
                      <a:cubicBezTo>
                        <a:pt x="99873" y="389633"/>
                        <a:pt x="99873" y="389633"/>
                        <a:pt x="151992" y="408542"/>
                      </a:cubicBezTo>
                      <a:cubicBezTo>
                        <a:pt x="158576" y="410766"/>
                        <a:pt x="163513" y="417996"/>
                        <a:pt x="163513" y="424113"/>
                      </a:cubicBezTo>
                      <a:cubicBezTo>
                        <a:pt x="163513" y="424113"/>
                        <a:pt x="163513" y="424113"/>
                        <a:pt x="163513" y="552580"/>
                      </a:cubicBezTo>
                      <a:cubicBezTo>
                        <a:pt x="163513" y="558697"/>
                        <a:pt x="158576" y="562034"/>
                        <a:pt x="151992" y="559809"/>
                      </a:cubicBezTo>
                      <a:cubicBezTo>
                        <a:pt x="151992" y="559809"/>
                        <a:pt x="151992" y="559809"/>
                        <a:pt x="99873" y="540901"/>
                      </a:cubicBezTo>
                      <a:cubicBezTo>
                        <a:pt x="93838" y="538120"/>
                        <a:pt x="88900" y="531447"/>
                        <a:pt x="88900" y="525329"/>
                      </a:cubicBezTo>
                      <a:cubicBezTo>
                        <a:pt x="88900" y="525329"/>
                        <a:pt x="88900" y="525329"/>
                        <a:pt x="88900" y="396863"/>
                      </a:cubicBezTo>
                      <a:cubicBezTo>
                        <a:pt x="88900" y="390190"/>
                        <a:pt x="93838" y="387409"/>
                        <a:pt x="99873" y="389633"/>
                      </a:cubicBezTo>
                      <a:close/>
                      <a:moveTo>
                        <a:pt x="11054" y="356317"/>
                      </a:moveTo>
                      <a:cubicBezTo>
                        <a:pt x="11054" y="356317"/>
                        <a:pt x="11054" y="356317"/>
                        <a:pt x="63559" y="375397"/>
                      </a:cubicBezTo>
                      <a:cubicBezTo>
                        <a:pt x="69639" y="377642"/>
                        <a:pt x="74613" y="384937"/>
                        <a:pt x="74613" y="391110"/>
                      </a:cubicBezTo>
                      <a:cubicBezTo>
                        <a:pt x="74613" y="391110"/>
                        <a:pt x="74613" y="391110"/>
                        <a:pt x="74613" y="520745"/>
                      </a:cubicBezTo>
                      <a:cubicBezTo>
                        <a:pt x="74613" y="526918"/>
                        <a:pt x="69639" y="530285"/>
                        <a:pt x="63559" y="528040"/>
                      </a:cubicBezTo>
                      <a:cubicBezTo>
                        <a:pt x="63559" y="528040"/>
                        <a:pt x="63559" y="528040"/>
                        <a:pt x="11054" y="508960"/>
                      </a:cubicBezTo>
                      <a:cubicBezTo>
                        <a:pt x="4974" y="506154"/>
                        <a:pt x="0" y="499420"/>
                        <a:pt x="0" y="493246"/>
                      </a:cubicBezTo>
                      <a:cubicBezTo>
                        <a:pt x="0" y="493246"/>
                        <a:pt x="0" y="493246"/>
                        <a:pt x="0" y="363612"/>
                      </a:cubicBezTo>
                      <a:cubicBezTo>
                        <a:pt x="0" y="356878"/>
                        <a:pt x="4974" y="354072"/>
                        <a:pt x="11054" y="356317"/>
                      </a:cubicBezTo>
                      <a:close/>
                      <a:moveTo>
                        <a:pt x="276318" y="275333"/>
                      </a:moveTo>
                      <a:cubicBezTo>
                        <a:pt x="276318" y="275333"/>
                        <a:pt x="276318" y="275333"/>
                        <a:pt x="329546" y="294242"/>
                      </a:cubicBezTo>
                      <a:cubicBezTo>
                        <a:pt x="336270" y="296466"/>
                        <a:pt x="341312" y="303696"/>
                        <a:pt x="341312" y="309813"/>
                      </a:cubicBezTo>
                      <a:cubicBezTo>
                        <a:pt x="341312" y="309813"/>
                        <a:pt x="341312" y="309813"/>
                        <a:pt x="341312" y="438280"/>
                      </a:cubicBezTo>
                      <a:cubicBezTo>
                        <a:pt x="341312" y="444397"/>
                        <a:pt x="336270" y="447734"/>
                        <a:pt x="329546" y="445509"/>
                      </a:cubicBezTo>
                      <a:cubicBezTo>
                        <a:pt x="329546" y="445509"/>
                        <a:pt x="329546" y="445509"/>
                        <a:pt x="276318" y="426601"/>
                      </a:cubicBezTo>
                      <a:cubicBezTo>
                        <a:pt x="270155" y="423820"/>
                        <a:pt x="265112" y="417147"/>
                        <a:pt x="265112" y="411029"/>
                      </a:cubicBezTo>
                      <a:cubicBezTo>
                        <a:pt x="265112" y="411029"/>
                        <a:pt x="265112" y="411029"/>
                        <a:pt x="265112" y="282563"/>
                      </a:cubicBezTo>
                      <a:cubicBezTo>
                        <a:pt x="265112" y="275890"/>
                        <a:pt x="270155" y="273109"/>
                        <a:pt x="276318" y="275333"/>
                      </a:cubicBezTo>
                      <a:close/>
                      <a:moveTo>
                        <a:pt x="188854" y="243583"/>
                      </a:moveTo>
                      <a:cubicBezTo>
                        <a:pt x="188854" y="243583"/>
                        <a:pt x="188854" y="243583"/>
                        <a:pt x="241359" y="262492"/>
                      </a:cubicBezTo>
                      <a:cubicBezTo>
                        <a:pt x="247439" y="264716"/>
                        <a:pt x="252413" y="271946"/>
                        <a:pt x="252413" y="278063"/>
                      </a:cubicBezTo>
                      <a:cubicBezTo>
                        <a:pt x="252413" y="278063"/>
                        <a:pt x="252413" y="278063"/>
                        <a:pt x="252413" y="406530"/>
                      </a:cubicBezTo>
                      <a:cubicBezTo>
                        <a:pt x="252413" y="412647"/>
                        <a:pt x="247439" y="415984"/>
                        <a:pt x="241359" y="413759"/>
                      </a:cubicBezTo>
                      <a:cubicBezTo>
                        <a:pt x="241359" y="413759"/>
                        <a:pt x="241359" y="413759"/>
                        <a:pt x="188854" y="394295"/>
                      </a:cubicBezTo>
                      <a:cubicBezTo>
                        <a:pt x="182774" y="392070"/>
                        <a:pt x="177800" y="385397"/>
                        <a:pt x="177800" y="379279"/>
                      </a:cubicBezTo>
                      <a:cubicBezTo>
                        <a:pt x="177800" y="379279"/>
                        <a:pt x="177800" y="379279"/>
                        <a:pt x="177800" y="250813"/>
                      </a:cubicBezTo>
                      <a:cubicBezTo>
                        <a:pt x="177800" y="244140"/>
                        <a:pt x="182774" y="241359"/>
                        <a:pt x="188854" y="243583"/>
                      </a:cubicBezTo>
                      <a:close/>
                      <a:moveTo>
                        <a:pt x="99873" y="211833"/>
                      </a:moveTo>
                      <a:cubicBezTo>
                        <a:pt x="99873" y="211833"/>
                        <a:pt x="99873" y="211833"/>
                        <a:pt x="151992" y="230742"/>
                      </a:cubicBezTo>
                      <a:cubicBezTo>
                        <a:pt x="158576" y="232966"/>
                        <a:pt x="163513" y="240196"/>
                        <a:pt x="163513" y="246313"/>
                      </a:cubicBezTo>
                      <a:cubicBezTo>
                        <a:pt x="163513" y="246313"/>
                        <a:pt x="163513" y="246313"/>
                        <a:pt x="163513" y="374780"/>
                      </a:cubicBezTo>
                      <a:cubicBezTo>
                        <a:pt x="163513" y="380897"/>
                        <a:pt x="158576" y="384234"/>
                        <a:pt x="151992" y="382009"/>
                      </a:cubicBezTo>
                      <a:cubicBezTo>
                        <a:pt x="151992" y="382009"/>
                        <a:pt x="151992" y="382009"/>
                        <a:pt x="99873" y="362545"/>
                      </a:cubicBezTo>
                      <a:cubicBezTo>
                        <a:pt x="93838" y="360320"/>
                        <a:pt x="88900" y="353647"/>
                        <a:pt x="88900" y="347529"/>
                      </a:cubicBezTo>
                      <a:cubicBezTo>
                        <a:pt x="88900" y="347529"/>
                        <a:pt x="88900" y="347529"/>
                        <a:pt x="88900" y="219063"/>
                      </a:cubicBezTo>
                      <a:cubicBezTo>
                        <a:pt x="88900" y="212390"/>
                        <a:pt x="93838" y="209609"/>
                        <a:pt x="99873" y="211833"/>
                      </a:cubicBezTo>
                      <a:close/>
                      <a:moveTo>
                        <a:pt x="11054" y="179044"/>
                      </a:moveTo>
                      <a:cubicBezTo>
                        <a:pt x="11054" y="179044"/>
                        <a:pt x="11054" y="179044"/>
                        <a:pt x="63559" y="197892"/>
                      </a:cubicBezTo>
                      <a:cubicBezTo>
                        <a:pt x="69639" y="200110"/>
                        <a:pt x="74613" y="207316"/>
                        <a:pt x="74613" y="213414"/>
                      </a:cubicBezTo>
                      <a:cubicBezTo>
                        <a:pt x="74613" y="213414"/>
                        <a:pt x="74613" y="213414"/>
                        <a:pt x="74613" y="341473"/>
                      </a:cubicBezTo>
                      <a:cubicBezTo>
                        <a:pt x="74613" y="347571"/>
                        <a:pt x="69639" y="350897"/>
                        <a:pt x="63559" y="348679"/>
                      </a:cubicBezTo>
                      <a:cubicBezTo>
                        <a:pt x="63559" y="348679"/>
                        <a:pt x="63559" y="348679"/>
                        <a:pt x="11054" y="329277"/>
                      </a:cubicBezTo>
                      <a:cubicBezTo>
                        <a:pt x="4974" y="327059"/>
                        <a:pt x="0" y="320407"/>
                        <a:pt x="0" y="314309"/>
                      </a:cubicBezTo>
                      <a:cubicBezTo>
                        <a:pt x="0" y="314309"/>
                        <a:pt x="0" y="314309"/>
                        <a:pt x="0" y="185696"/>
                      </a:cubicBezTo>
                      <a:cubicBezTo>
                        <a:pt x="0" y="179598"/>
                        <a:pt x="4974" y="176272"/>
                        <a:pt x="11054" y="179044"/>
                      </a:cubicBezTo>
                      <a:close/>
                      <a:moveTo>
                        <a:pt x="276318" y="98081"/>
                      </a:moveTo>
                      <a:cubicBezTo>
                        <a:pt x="276318" y="98081"/>
                        <a:pt x="276318" y="98081"/>
                        <a:pt x="329546" y="116929"/>
                      </a:cubicBezTo>
                      <a:cubicBezTo>
                        <a:pt x="336270" y="119147"/>
                        <a:pt x="341312" y="126353"/>
                        <a:pt x="341312" y="132451"/>
                      </a:cubicBezTo>
                      <a:cubicBezTo>
                        <a:pt x="341312" y="132451"/>
                        <a:pt x="341312" y="132451"/>
                        <a:pt x="341312" y="260510"/>
                      </a:cubicBezTo>
                      <a:cubicBezTo>
                        <a:pt x="341312" y="266608"/>
                        <a:pt x="336270" y="269934"/>
                        <a:pt x="329546" y="267716"/>
                      </a:cubicBezTo>
                      <a:cubicBezTo>
                        <a:pt x="329546" y="267716"/>
                        <a:pt x="329546" y="267716"/>
                        <a:pt x="276318" y="248314"/>
                      </a:cubicBezTo>
                      <a:cubicBezTo>
                        <a:pt x="270155" y="246096"/>
                        <a:pt x="265112" y="239444"/>
                        <a:pt x="265112" y="233346"/>
                      </a:cubicBezTo>
                      <a:cubicBezTo>
                        <a:pt x="265112" y="233346"/>
                        <a:pt x="265112" y="233346"/>
                        <a:pt x="265112" y="104733"/>
                      </a:cubicBezTo>
                      <a:cubicBezTo>
                        <a:pt x="265112" y="98635"/>
                        <a:pt x="270155" y="95309"/>
                        <a:pt x="276318" y="98081"/>
                      </a:cubicBezTo>
                      <a:close/>
                      <a:moveTo>
                        <a:pt x="188854" y="66331"/>
                      </a:moveTo>
                      <a:cubicBezTo>
                        <a:pt x="188854" y="66331"/>
                        <a:pt x="188854" y="66331"/>
                        <a:pt x="241359" y="85179"/>
                      </a:cubicBezTo>
                      <a:cubicBezTo>
                        <a:pt x="247439" y="87397"/>
                        <a:pt x="252413" y="94603"/>
                        <a:pt x="252413" y="100701"/>
                      </a:cubicBezTo>
                      <a:cubicBezTo>
                        <a:pt x="252413" y="100701"/>
                        <a:pt x="252413" y="100701"/>
                        <a:pt x="252413" y="228760"/>
                      </a:cubicBezTo>
                      <a:cubicBezTo>
                        <a:pt x="252413" y="234858"/>
                        <a:pt x="247439" y="238184"/>
                        <a:pt x="241359" y="235966"/>
                      </a:cubicBezTo>
                      <a:cubicBezTo>
                        <a:pt x="241359" y="235966"/>
                        <a:pt x="241359" y="235966"/>
                        <a:pt x="188854" y="216564"/>
                      </a:cubicBezTo>
                      <a:cubicBezTo>
                        <a:pt x="182774" y="214346"/>
                        <a:pt x="177800" y="207694"/>
                        <a:pt x="177800" y="201596"/>
                      </a:cubicBezTo>
                      <a:cubicBezTo>
                        <a:pt x="177800" y="201596"/>
                        <a:pt x="177800" y="201596"/>
                        <a:pt x="177800" y="72983"/>
                      </a:cubicBezTo>
                      <a:cubicBezTo>
                        <a:pt x="177800" y="66885"/>
                        <a:pt x="182774" y="63559"/>
                        <a:pt x="188854" y="66331"/>
                      </a:cubicBezTo>
                      <a:close/>
                      <a:moveTo>
                        <a:pt x="99873" y="32460"/>
                      </a:moveTo>
                      <a:cubicBezTo>
                        <a:pt x="99873" y="32460"/>
                        <a:pt x="99873" y="32460"/>
                        <a:pt x="151992" y="52039"/>
                      </a:cubicBezTo>
                      <a:cubicBezTo>
                        <a:pt x="158576" y="54276"/>
                        <a:pt x="163513" y="61549"/>
                        <a:pt x="163513" y="67702"/>
                      </a:cubicBezTo>
                      <a:cubicBezTo>
                        <a:pt x="163513" y="67702"/>
                        <a:pt x="163513" y="67702"/>
                        <a:pt x="163513" y="196925"/>
                      </a:cubicBezTo>
                      <a:cubicBezTo>
                        <a:pt x="163513" y="203078"/>
                        <a:pt x="158576" y="206435"/>
                        <a:pt x="151992" y="204197"/>
                      </a:cubicBezTo>
                      <a:cubicBezTo>
                        <a:pt x="151992" y="204197"/>
                        <a:pt x="151992" y="204197"/>
                        <a:pt x="99873" y="184618"/>
                      </a:cubicBezTo>
                      <a:cubicBezTo>
                        <a:pt x="93838" y="182380"/>
                        <a:pt x="88900" y="175668"/>
                        <a:pt x="88900" y="169514"/>
                      </a:cubicBezTo>
                      <a:cubicBezTo>
                        <a:pt x="88900" y="169514"/>
                        <a:pt x="88900" y="169514"/>
                        <a:pt x="88900" y="39732"/>
                      </a:cubicBezTo>
                      <a:cubicBezTo>
                        <a:pt x="88900" y="33578"/>
                        <a:pt x="93838" y="30222"/>
                        <a:pt x="99873" y="32460"/>
                      </a:cubicBezTo>
                      <a:close/>
                      <a:moveTo>
                        <a:pt x="11054" y="689"/>
                      </a:moveTo>
                      <a:cubicBezTo>
                        <a:pt x="11054" y="689"/>
                        <a:pt x="11054" y="689"/>
                        <a:pt x="63559" y="20092"/>
                      </a:cubicBezTo>
                      <a:cubicBezTo>
                        <a:pt x="69639" y="22310"/>
                        <a:pt x="74613" y="28962"/>
                        <a:pt x="74613" y="35614"/>
                      </a:cubicBezTo>
                      <a:cubicBezTo>
                        <a:pt x="74613" y="35614"/>
                        <a:pt x="74613" y="35614"/>
                        <a:pt x="74613" y="163673"/>
                      </a:cubicBezTo>
                      <a:cubicBezTo>
                        <a:pt x="74613" y="169771"/>
                        <a:pt x="69639" y="173097"/>
                        <a:pt x="63559" y="170879"/>
                      </a:cubicBezTo>
                      <a:cubicBezTo>
                        <a:pt x="63559" y="170879"/>
                        <a:pt x="63559" y="170879"/>
                        <a:pt x="11054" y="151477"/>
                      </a:cubicBezTo>
                      <a:cubicBezTo>
                        <a:pt x="4974" y="149259"/>
                        <a:pt x="0" y="142607"/>
                        <a:pt x="0" y="136509"/>
                      </a:cubicBezTo>
                      <a:cubicBezTo>
                        <a:pt x="0" y="136509"/>
                        <a:pt x="0" y="136509"/>
                        <a:pt x="0" y="7896"/>
                      </a:cubicBezTo>
                      <a:cubicBezTo>
                        <a:pt x="0" y="1798"/>
                        <a:pt x="4974" y="-1528"/>
                        <a:pt x="11054" y="68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743407">
                    <a:lnSpc>
                      <a:spcPct val="90000"/>
                    </a:lnSpc>
                    <a:defRPr/>
                  </a:pPr>
                  <a:endParaRPr lang="de-DE" sz="976" kern="0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500" name="Freeform: Shape 9">
                  <a:extLst>
                    <a:ext uri="{FF2B5EF4-FFF2-40B4-BE49-F238E27FC236}">
                      <a16:creationId xmlns:a16="http://schemas.microsoft.com/office/drawing/2014/main" id="{A12B4228-0569-2584-8BE1-1DF0F87935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80227" y="2317034"/>
                  <a:ext cx="114620" cy="509158"/>
                </a:xfrm>
                <a:custGeom>
                  <a:avLst/>
                  <a:gdLst>
                    <a:gd name="connsiteX0" fmla="*/ 63092 w 341313"/>
                    <a:gd name="connsiteY0" fmla="*/ 1344294 h 1516168"/>
                    <a:gd name="connsiteX1" fmla="*/ 74613 w 341313"/>
                    <a:gd name="connsiteY1" fmla="*/ 1351007 h 1516168"/>
                    <a:gd name="connsiteX2" fmla="*/ 74613 w 341313"/>
                    <a:gd name="connsiteY2" fmla="*/ 1480789 h 1516168"/>
                    <a:gd name="connsiteX3" fmla="*/ 63092 w 341313"/>
                    <a:gd name="connsiteY3" fmla="*/ 1495893 h 1516168"/>
                    <a:gd name="connsiteX4" fmla="*/ 10972 w 341313"/>
                    <a:gd name="connsiteY4" fmla="*/ 1515473 h 1516168"/>
                    <a:gd name="connsiteX5" fmla="*/ 0 w 341313"/>
                    <a:gd name="connsiteY5" fmla="*/ 1508200 h 1516168"/>
                    <a:gd name="connsiteX6" fmla="*/ 0 w 341313"/>
                    <a:gd name="connsiteY6" fmla="*/ 1378977 h 1516168"/>
                    <a:gd name="connsiteX7" fmla="*/ 10972 w 341313"/>
                    <a:gd name="connsiteY7" fmla="*/ 1363314 h 1516168"/>
                    <a:gd name="connsiteX8" fmla="*/ 63092 w 341313"/>
                    <a:gd name="connsiteY8" fmla="*/ 1344294 h 1516168"/>
                    <a:gd name="connsiteX9" fmla="*/ 152459 w 341313"/>
                    <a:gd name="connsiteY9" fmla="*/ 1311965 h 1516168"/>
                    <a:gd name="connsiteX10" fmla="*/ 163513 w 341313"/>
                    <a:gd name="connsiteY10" fmla="*/ 1319171 h 1516168"/>
                    <a:gd name="connsiteX11" fmla="*/ 163513 w 341313"/>
                    <a:gd name="connsiteY11" fmla="*/ 1447784 h 1516168"/>
                    <a:gd name="connsiteX12" fmla="*/ 152459 w 341313"/>
                    <a:gd name="connsiteY12" fmla="*/ 1462752 h 1516168"/>
                    <a:gd name="connsiteX13" fmla="*/ 99954 w 341313"/>
                    <a:gd name="connsiteY13" fmla="*/ 1482155 h 1516168"/>
                    <a:gd name="connsiteX14" fmla="*/ 88900 w 341313"/>
                    <a:gd name="connsiteY14" fmla="*/ 1474948 h 1516168"/>
                    <a:gd name="connsiteX15" fmla="*/ 88900 w 341313"/>
                    <a:gd name="connsiteY15" fmla="*/ 1346890 h 1516168"/>
                    <a:gd name="connsiteX16" fmla="*/ 99954 w 341313"/>
                    <a:gd name="connsiteY16" fmla="*/ 1331367 h 1516168"/>
                    <a:gd name="connsiteX17" fmla="*/ 152459 w 341313"/>
                    <a:gd name="connsiteY17" fmla="*/ 1311965 h 1516168"/>
                    <a:gd name="connsiteX18" fmla="*/ 240892 w 341313"/>
                    <a:gd name="connsiteY18" fmla="*/ 1280215 h 1516168"/>
                    <a:gd name="connsiteX19" fmla="*/ 252413 w 341313"/>
                    <a:gd name="connsiteY19" fmla="*/ 1287421 h 1516168"/>
                    <a:gd name="connsiteX20" fmla="*/ 252413 w 341313"/>
                    <a:gd name="connsiteY20" fmla="*/ 1416034 h 1516168"/>
                    <a:gd name="connsiteX21" fmla="*/ 240892 w 341313"/>
                    <a:gd name="connsiteY21" fmla="*/ 1431002 h 1516168"/>
                    <a:gd name="connsiteX22" fmla="*/ 188772 w 341313"/>
                    <a:gd name="connsiteY22" fmla="*/ 1450405 h 1516168"/>
                    <a:gd name="connsiteX23" fmla="*/ 177800 w 341313"/>
                    <a:gd name="connsiteY23" fmla="*/ 1443198 h 1516168"/>
                    <a:gd name="connsiteX24" fmla="*/ 177800 w 341313"/>
                    <a:gd name="connsiteY24" fmla="*/ 1315140 h 1516168"/>
                    <a:gd name="connsiteX25" fmla="*/ 188772 w 341313"/>
                    <a:gd name="connsiteY25" fmla="*/ 1299617 h 1516168"/>
                    <a:gd name="connsiteX26" fmla="*/ 240892 w 341313"/>
                    <a:gd name="connsiteY26" fmla="*/ 1280215 h 1516168"/>
                    <a:gd name="connsiteX27" fmla="*/ 330259 w 341313"/>
                    <a:gd name="connsiteY27" fmla="*/ 1246897 h 1516168"/>
                    <a:gd name="connsiteX28" fmla="*/ 341313 w 341313"/>
                    <a:gd name="connsiteY28" fmla="*/ 1254169 h 1516168"/>
                    <a:gd name="connsiteX29" fmla="*/ 341313 w 341313"/>
                    <a:gd name="connsiteY29" fmla="*/ 1383951 h 1516168"/>
                    <a:gd name="connsiteX30" fmla="*/ 330259 w 341313"/>
                    <a:gd name="connsiteY30" fmla="*/ 1399055 h 1516168"/>
                    <a:gd name="connsiteX31" fmla="*/ 277754 w 341313"/>
                    <a:gd name="connsiteY31" fmla="*/ 1418635 h 1516168"/>
                    <a:gd name="connsiteX32" fmla="*/ 266700 w 341313"/>
                    <a:gd name="connsiteY32" fmla="*/ 1411362 h 1516168"/>
                    <a:gd name="connsiteX33" fmla="*/ 266700 w 341313"/>
                    <a:gd name="connsiteY33" fmla="*/ 1282139 h 1516168"/>
                    <a:gd name="connsiteX34" fmla="*/ 277754 w 341313"/>
                    <a:gd name="connsiteY34" fmla="*/ 1266476 h 1516168"/>
                    <a:gd name="connsiteX35" fmla="*/ 330259 w 341313"/>
                    <a:gd name="connsiteY35" fmla="*/ 1246897 h 1516168"/>
                    <a:gd name="connsiteX36" fmla="*/ 63092 w 341313"/>
                    <a:gd name="connsiteY36" fmla="*/ 1165914 h 1516168"/>
                    <a:gd name="connsiteX37" fmla="*/ 74613 w 341313"/>
                    <a:gd name="connsiteY37" fmla="*/ 1173121 h 1516168"/>
                    <a:gd name="connsiteX38" fmla="*/ 74613 w 341313"/>
                    <a:gd name="connsiteY38" fmla="*/ 1301734 h 1516168"/>
                    <a:gd name="connsiteX39" fmla="*/ 63092 w 341313"/>
                    <a:gd name="connsiteY39" fmla="*/ 1316702 h 1516168"/>
                    <a:gd name="connsiteX40" fmla="*/ 10972 w 341313"/>
                    <a:gd name="connsiteY40" fmla="*/ 1336105 h 1516168"/>
                    <a:gd name="connsiteX41" fmla="*/ 0 w 341313"/>
                    <a:gd name="connsiteY41" fmla="*/ 1328898 h 1516168"/>
                    <a:gd name="connsiteX42" fmla="*/ 0 w 341313"/>
                    <a:gd name="connsiteY42" fmla="*/ 1200839 h 1516168"/>
                    <a:gd name="connsiteX43" fmla="*/ 10972 w 341313"/>
                    <a:gd name="connsiteY43" fmla="*/ 1185317 h 1516168"/>
                    <a:gd name="connsiteX44" fmla="*/ 63092 w 341313"/>
                    <a:gd name="connsiteY44" fmla="*/ 1165914 h 1516168"/>
                    <a:gd name="connsiteX45" fmla="*/ 152459 w 341313"/>
                    <a:gd name="connsiteY45" fmla="*/ 1134164 h 1516168"/>
                    <a:gd name="connsiteX46" fmla="*/ 163513 w 341313"/>
                    <a:gd name="connsiteY46" fmla="*/ 1141371 h 1516168"/>
                    <a:gd name="connsiteX47" fmla="*/ 163513 w 341313"/>
                    <a:gd name="connsiteY47" fmla="*/ 1269984 h 1516168"/>
                    <a:gd name="connsiteX48" fmla="*/ 152459 w 341313"/>
                    <a:gd name="connsiteY48" fmla="*/ 1284952 h 1516168"/>
                    <a:gd name="connsiteX49" fmla="*/ 99954 w 341313"/>
                    <a:gd name="connsiteY49" fmla="*/ 1304355 h 1516168"/>
                    <a:gd name="connsiteX50" fmla="*/ 88900 w 341313"/>
                    <a:gd name="connsiteY50" fmla="*/ 1297148 h 1516168"/>
                    <a:gd name="connsiteX51" fmla="*/ 88900 w 341313"/>
                    <a:gd name="connsiteY51" fmla="*/ 1169089 h 1516168"/>
                    <a:gd name="connsiteX52" fmla="*/ 99954 w 341313"/>
                    <a:gd name="connsiteY52" fmla="*/ 1153567 h 1516168"/>
                    <a:gd name="connsiteX53" fmla="*/ 152459 w 341313"/>
                    <a:gd name="connsiteY53" fmla="*/ 1134164 h 1516168"/>
                    <a:gd name="connsiteX54" fmla="*/ 240892 w 341313"/>
                    <a:gd name="connsiteY54" fmla="*/ 1100847 h 1516168"/>
                    <a:gd name="connsiteX55" fmla="*/ 252413 w 341313"/>
                    <a:gd name="connsiteY55" fmla="*/ 1108119 h 1516168"/>
                    <a:gd name="connsiteX56" fmla="*/ 252413 w 341313"/>
                    <a:gd name="connsiteY56" fmla="*/ 1237342 h 1516168"/>
                    <a:gd name="connsiteX57" fmla="*/ 240892 w 341313"/>
                    <a:gd name="connsiteY57" fmla="*/ 1253005 h 1516168"/>
                    <a:gd name="connsiteX58" fmla="*/ 188772 w 341313"/>
                    <a:gd name="connsiteY58" fmla="*/ 1272585 h 1516168"/>
                    <a:gd name="connsiteX59" fmla="*/ 177800 w 341313"/>
                    <a:gd name="connsiteY59" fmla="*/ 1265312 h 1516168"/>
                    <a:gd name="connsiteX60" fmla="*/ 177800 w 341313"/>
                    <a:gd name="connsiteY60" fmla="*/ 1136089 h 1516168"/>
                    <a:gd name="connsiteX61" fmla="*/ 188772 w 341313"/>
                    <a:gd name="connsiteY61" fmla="*/ 1120426 h 1516168"/>
                    <a:gd name="connsiteX62" fmla="*/ 240892 w 341313"/>
                    <a:gd name="connsiteY62" fmla="*/ 1100847 h 1516168"/>
                    <a:gd name="connsiteX63" fmla="*/ 330259 w 341313"/>
                    <a:gd name="connsiteY63" fmla="*/ 1069076 h 1516168"/>
                    <a:gd name="connsiteX64" fmla="*/ 341313 w 341313"/>
                    <a:gd name="connsiteY64" fmla="*/ 1076283 h 1516168"/>
                    <a:gd name="connsiteX65" fmla="*/ 341313 w 341313"/>
                    <a:gd name="connsiteY65" fmla="*/ 1204341 h 1516168"/>
                    <a:gd name="connsiteX66" fmla="*/ 330259 w 341313"/>
                    <a:gd name="connsiteY66" fmla="*/ 1219864 h 1516168"/>
                    <a:gd name="connsiteX67" fmla="*/ 277754 w 341313"/>
                    <a:gd name="connsiteY67" fmla="*/ 1239266 h 1516168"/>
                    <a:gd name="connsiteX68" fmla="*/ 266700 w 341313"/>
                    <a:gd name="connsiteY68" fmla="*/ 1232060 h 1516168"/>
                    <a:gd name="connsiteX69" fmla="*/ 266700 w 341313"/>
                    <a:gd name="connsiteY69" fmla="*/ 1104001 h 1516168"/>
                    <a:gd name="connsiteX70" fmla="*/ 277754 w 341313"/>
                    <a:gd name="connsiteY70" fmla="*/ 1088479 h 1516168"/>
                    <a:gd name="connsiteX71" fmla="*/ 330259 w 341313"/>
                    <a:gd name="connsiteY71" fmla="*/ 1069076 h 1516168"/>
                    <a:gd name="connsiteX72" fmla="*/ 63092 w 341313"/>
                    <a:gd name="connsiteY72" fmla="*/ 988114 h 1516168"/>
                    <a:gd name="connsiteX73" fmla="*/ 74613 w 341313"/>
                    <a:gd name="connsiteY73" fmla="*/ 995321 h 1516168"/>
                    <a:gd name="connsiteX74" fmla="*/ 74613 w 341313"/>
                    <a:gd name="connsiteY74" fmla="*/ 1123379 h 1516168"/>
                    <a:gd name="connsiteX75" fmla="*/ 63092 w 341313"/>
                    <a:gd name="connsiteY75" fmla="*/ 1138902 h 1516168"/>
                    <a:gd name="connsiteX76" fmla="*/ 10972 w 341313"/>
                    <a:gd name="connsiteY76" fmla="*/ 1158304 h 1516168"/>
                    <a:gd name="connsiteX77" fmla="*/ 0 w 341313"/>
                    <a:gd name="connsiteY77" fmla="*/ 1151098 h 1516168"/>
                    <a:gd name="connsiteX78" fmla="*/ 0 w 341313"/>
                    <a:gd name="connsiteY78" fmla="*/ 1023039 h 1516168"/>
                    <a:gd name="connsiteX79" fmla="*/ 10972 w 341313"/>
                    <a:gd name="connsiteY79" fmla="*/ 1007517 h 1516168"/>
                    <a:gd name="connsiteX80" fmla="*/ 63092 w 341313"/>
                    <a:gd name="connsiteY80" fmla="*/ 988114 h 1516168"/>
                    <a:gd name="connsiteX81" fmla="*/ 152459 w 341313"/>
                    <a:gd name="connsiteY81" fmla="*/ 956364 h 1516168"/>
                    <a:gd name="connsiteX82" fmla="*/ 163513 w 341313"/>
                    <a:gd name="connsiteY82" fmla="*/ 963571 h 1516168"/>
                    <a:gd name="connsiteX83" fmla="*/ 163513 w 341313"/>
                    <a:gd name="connsiteY83" fmla="*/ 1091629 h 1516168"/>
                    <a:gd name="connsiteX84" fmla="*/ 152459 w 341313"/>
                    <a:gd name="connsiteY84" fmla="*/ 1107152 h 1516168"/>
                    <a:gd name="connsiteX85" fmla="*/ 99954 w 341313"/>
                    <a:gd name="connsiteY85" fmla="*/ 1126554 h 1516168"/>
                    <a:gd name="connsiteX86" fmla="*/ 88900 w 341313"/>
                    <a:gd name="connsiteY86" fmla="*/ 1119348 h 1516168"/>
                    <a:gd name="connsiteX87" fmla="*/ 88900 w 341313"/>
                    <a:gd name="connsiteY87" fmla="*/ 990735 h 1516168"/>
                    <a:gd name="connsiteX88" fmla="*/ 99954 w 341313"/>
                    <a:gd name="connsiteY88" fmla="*/ 975767 h 1516168"/>
                    <a:gd name="connsiteX89" fmla="*/ 152459 w 341313"/>
                    <a:gd name="connsiteY89" fmla="*/ 956364 h 1516168"/>
                    <a:gd name="connsiteX90" fmla="*/ 240892 w 341313"/>
                    <a:gd name="connsiteY90" fmla="*/ 923047 h 1516168"/>
                    <a:gd name="connsiteX91" fmla="*/ 252413 w 341313"/>
                    <a:gd name="connsiteY91" fmla="*/ 930319 h 1516168"/>
                    <a:gd name="connsiteX92" fmla="*/ 252413 w 341313"/>
                    <a:gd name="connsiteY92" fmla="*/ 1059542 h 1516168"/>
                    <a:gd name="connsiteX93" fmla="*/ 240892 w 341313"/>
                    <a:gd name="connsiteY93" fmla="*/ 1075205 h 1516168"/>
                    <a:gd name="connsiteX94" fmla="*/ 188772 w 341313"/>
                    <a:gd name="connsiteY94" fmla="*/ 1094784 h 1516168"/>
                    <a:gd name="connsiteX95" fmla="*/ 177800 w 341313"/>
                    <a:gd name="connsiteY95" fmla="*/ 1087512 h 1516168"/>
                    <a:gd name="connsiteX96" fmla="*/ 177800 w 341313"/>
                    <a:gd name="connsiteY96" fmla="*/ 957730 h 1516168"/>
                    <a:gd name="connsiteX97" fmla="*/ 188772 w 341313"/>
                    <a:gd name="connsiteY97" fmla="*/ 942626 h 1516168"/>
                    <a:gd name="connsiteX98" fmla="*/ 240892 w 341313"/>
                    <a:gd name="connsiteY98" fmla="*/ 923047 h 1516168"/>
                    <a:gd name="connsiteX99" fmla="*/ 330259 w 341313"/>
                    <a:gd name="connsiteY99" fmla="*/ 891276 h 1516168"/>
                    <a:gd name="connsiteX100" fmla="*/ 341313 w 341313"/>
                    <a:gd name="connsiteY100" fmla="*/ 898483 h 1516168"/>
                    <a:gd name="connsiteX101" fmla="*/ 341313 w 341313"/>
                    <a:gd name="connsiteY101" fmla="*/ 1026541 h 1516168"/>
                    <a:gd name="connsiteX102" fmla="*/ 330259 w 341313"/>
                    <a:gd name="connsiteY102" fmla="*/ 1042064 h 1516168"/>
                    <a:gd name="connsiteX103" fmla="*/ 277754 w 341313"/>
                    <a:gd name="connsiteY103" fmla="*/ 1061466 h 1516168"/>
                    <a:gd name="connsiteX104" fmla="*/ 266700 w 341313"/>
                    <a:gd name="connsiteY104" fmla="*/ 1054260 h 1516168"/>
                    <a:gd name="connsiteX105" fmla="*/ 266700 w 341313"/>
                    <a:gd name="connsiteY105" fmla="*/ 925647 h 1516168"/>
                    <a:gd name="connsiteX106" fmla="*/ 277754 w 341313"/>
                    <a:gd name="connsiteY106" fmla="*/ 910679 h 1516168"/>
                    <a:gd name="connsiteX107" fmla="*/ 330259 w 341313"/>
                    <a:gd name="connsiteY107" fmla="*/ 891276 h 1516168"/>
                    <a:gd name="connsiteX108" fmla="*/ 63092 w 341313"/>
                    <a:gd name="connsiteY108" fmla="*/ 810314 h 1516168"/>
                    <a:gd name="connsiteX109" fmla="*/ 74613 w 341313"/>
                    <a:gd name="connsiteY109" fmla="*/ 817521 h 1516168"/>
                    <a:gd name="connsiteX110" fmla="*/ 74613 w 341313"/>
                    <a:gd name="connsiteY110" fmla="*/ 945579 h 1516168"/>
                    <a:gd name="connsiteX111" fmla="*/ 63092 w 341313"/>
                    <a:gd name="connsiteY111" fmla="*/ 961102 h 1516168"/>
                    <a:gd name="connsiteX112" fmla="*/ 10972 w 341313"/>
                    <a:gd name="connsiteY112" fmla="*/ 980504 h 1516168"/>
                    <a:gd name="connsiteX113" fmla="*/ 0 w 341313"/>
                    <a:gd name="connsiteY113" fmla="*/ 973298 h 1516168"/>
                    <a:gd name="connsiteX114" fmla="*/ 0 w 341313"/>
                    <a:gd name="connsiteY114" fmla="*/ 844685 h 1516168"/>
                    <a:gd name="connsiteX115" fmla="*/ 10972 w 341313"/>
                    <a:gd name="connsiteY115" fmla="*/ 829717 h 1516168"/>
                    <a:gd name="connsiteX116" fmla="*/ 63092 w 341313"/>
                    <a:gd name="connsiteY116" fmla="*/ 810314 h 1516168"/>
                    <a:gd name="connsiteX117" fmla="*/ 152459 w 341313"/>
                    <a:gd name="connsiteY117" fmla="*/ 776997 h 1516168"/>
                    <a:gd name="connsiteX118" fmla="*/ 163513 w 341313"/>
                    <a:gd name="connsiteY118" fmla="*/ 784269 h 1516168"/>
                    <a:gd name="connsiteX119" fmla="*/ 163513 w 341313"/>
                    <a:gd name="connsiteY119" fmla="*/ 913492 h 1516168"/>
                    <a:gd name="connsiteX120" fmla="*/ 152459 w 341313"/>
                    <a:gd name="connsiteY120" fmla="*/ 929155 h 1516168"/>
                    <a:gd name="connsiteX121" fmla="*/ 99954 w 341313"/>
                    <a:gd name="connsiteY121" fmla="*/ 948175 h 1516168"/>
                    <a:gd name="connsiteX122" fmla="*/ 88900 w 341313"/>
                    <a:gd name="connsiteY122" fmla="*/ 941462 h 1516168"/>
                    <a:gd name="connsiteX123" fmla="*/ 88900 w 341313"/>
                    <a:gd name="connsiteY123" fmla="*/ 811680 h 1516168"/>
                    <a:gd name="connsiteX124" fmla="*/ 99954 w 341313"/>
                    <a:gd name="connsiteY124" fmla="*/ 796576 h 1516168"/>
                    <a:gd name="connsiteX125" fmla="*/ 152459 w 341313"/>
                    <a:gd name="connsiteY125" fmla="*/ 776997 h 1516168"/>
                    <a:gd name="connsiteX126" fmla="*/ 240892 w 341313"/>
                    <a:gd name="connsiteY126" fmla="*/ 745247 h 1516168"/>
                    <a:gd name="connsiteX127" fmla="*/ 252413 w 341313"/>
                    <a:gd name="connsiteY127" fmla="*/ 752519 h 1516168"/>
                    <a:gd name="connsiteX128" fmla="*/ 252413 w 341313"/>
                    <a:gd name="connsiteY128" fmla="*/ 881742 h 1516168"/>
                    <a:gd name="connsiteX129" fmla="*/ 240892 w 341313"/>
                    <a:gd name="connsiteY129" fmla="*/ 897405 h 1516168"/>
                    <a:gd name="connsiteX130" fmla="*/ 188772 w 341313"/>
                    <a:gd name="connsiteY130" fmla="*/ 916425 h 1516168"/>
                    <a:gd name="connsiteX131" fmla="*/ 177800 w 341313"/>
                    <a:gd name="connsiteY131" fmla="*/ 909712 h 1516168"/>
                    <a:gd name="connsiteX132" fmla="*/ 177800 w 341313"/>
                    <a:gd name="connsiteY132" fmla="*/ 779930 h 1516168"/>
                    <a:gd name="connsiteX133" fmla="*/ 188772 w 341313"/>
                    <a:gd name="connsiteY133" fmla="*/ 764826 h 1516168"/>
                    <a:gd name="connsiteX134" fmla="*/ 240892 w 341313"/>
                    <a:gd name="connsiteY134" fmla="*/ 745247 h 1516168"/>
                    <a:gd name="connsiteX135" fmla="*/ 330259 w 341313"/>
                    <a:gd name="connsiteY135" fmla="*/ 713483 h 1516168"/>
                    <a:gd name="connsiteX136" fmla="*/ 341313 w 341313"/>
                    <a:gd name="connsiteY136" fmla="*/ 720713 h 1516168"/>
                    <a:gd name="connsiteX137" fmla="*/ 341313 w 341313"/>
                    <a:gd name="connsiteY137" fmla="*/ 849179 h 1516168"/>
                    <a:gd name="connsiteX138" fmla="*/ 330259 w 341313"/>
                    <a:gd name="connsiteY138" fmla="*/ 864751 h 1516168"/>
                    <a:gd name="connsiteX139" fmla="*/ 277754 w 341313"/>
                    <a:gd name="connsiteY139" fmla="*/ 883659 h 1516168"/>
                    <a:gd name="connsiteX140" fmla="*/ 266700 w 341313"/>
                    <a:gd name="connsiteY140" fmla="*/ 876430 h 1516168"/>
                    <a:gd name="connsiteX141" fmla="*/ 266700 w 341313"/>
                    <a:gd name="connsiteY141" fmla="*/ 747963 h 1516168"/>
                    <a:gd name="connsiteX142" fmla="*/ 277754 w 341313"/>
                    <a:gd name="connsiteY142" fmla="*/ 732948 h 1516168"/>
                    <a:gd name="connsiteX143" fmla="*/ 330259 w 341313"/>
                    <a:gd name="connsiteY143" fmla="*/ 713483 h 1516168"/>
                    <a:gd name="connsiteX144" fmla="*/ 63092 w 341313"/>
                    <a:gd name="connsiteY144" fmla="*/ 632521 h 1516168"/>
                    <a:gd name="connsiteX145" fmla="*/ 74613 w 341313"/>
                    <a:gd name="connsiteY145" fmla="*/ 639751 h 1516168"/>
                    <a:gd name="connsiteX146" fmla="*/ 74613 w 341313"/>
                    <a:gd name="connsiteY146" fmla="*/ 768217 h 1516168"/>
                    <a:gd name="connsiteX147" fmla="*/ 63092 w 341313"/>
                    <a:gd name="connsiteY147" fmla="*/ 783789 h 1516168"/>
                    <a:gd name="connsiteX148" fmla="*/ 10972 w 341313"/>
                    <a:gd name="connsiteY148" fmla="*/ 802697 h 1516168"/>
                    <a:gd name="connsiteX149" fmla="*/ 0 w 341313"/>
                    <a:gd name="connsiteY149" fmla="*/ 795468 h 1516168"/>
                    <a:gd name="connsiteX150" fmla="*/ 0 w 341313"/>
                    <a:gd name="connsiteY150" fmla="*/ 667001 h 1516168"/>
                    <a:gd name="connsiteX151" fmla="*/ 10972 w 341313"/>
                    <a:gd name="connsiteY151" fmla="*/ 651986 h 1516168"/>
                    <a:gd name="connsiteX152" fmla="*/ 63092 w 341313"/>
                    <a:gd name="connsiteY152" fmla="*/ 632521 h 1516168"/>
                    <a:gd name="connsiteX153" fmla="*/ 152459 w 341313"/>
                    <a:gd name="connsiteY153" fmla="*/ 599183 h 1516168"/>
                    <a:gd name="connsiteX154" fmla="*/ 163513 w 341313"/>
                    <a:gd name="connsiteY154" fmla="*/ 606413 h 1516168"/>
                    <a:gd name="connsiteX155" fmla="*/ 163513 w 341313"/>
                    <a:gd name="connsiteY155" fmla="*/ 734879 h 1516168"/>
                    <a:gd name="connsiteX156" fmla="*/ 152459 w 341313"/>
                    <a:gd name="connsiteY156" fmla="*/ 750451 h 1516168"/>
                    <a:gd name="connsiteX157" fmla="*/ 99954 w 341313"/>
                    <a:gd name="connsiteY157" fmla="*/ 769359 h 1516168"/>
                    <a:gd name="connsiteX158" fmla="*/ 88900 w 341313"/>
                    <a:gd name="connsiteY158" fmla="*/ 762130 h 1516168"/>
                    <a:gd name="connsiteX159" fmla="*/ 88900 w 341313"/>
                    <a:gd name="connsiteY159" fmla="*/ 633663 h 1516168"/>
                    <a:gd name="connsiteX160" fmla="*/ 99954 w 341313"/>
                    <a:gd name="connsiteY160" fmla="*/ 618648 h 1516168"/>
                    <a:gd name="connsiteX161" fmla="*/ 152459 w 341313"/>
                    <a:gd name="connsiteY161" fmla="*/ 599183 h 1516168"/>
                    <a:gd name="connsiteX162" fmla="*/ 240892 w 341313"/>
                    <a:gd name="connsiteY162" fmla="*/ 567433 h 1516168"/>
                    <a:gd name="connsiteX163" fmla="*/ 252413 w 341313"/>
                    <a:gd name="connsiteY163" fmla="*/ 574663 h 1516168"/>
                    <a:gd name="connsiteX164" fmla="*/ 252413 w 341313"/>
                    <a:gd name="connsiteY164" fmla="*/ 703129 h 1516168"/>
                    <a:gd name="connsiteX165" fmla="*/ 240892 w 341313"/>
                    <a:gd name="connsiteY165" fmla="*/ 718701 h 1516168"/>
                    <a:gd name="connsiteX166" fmla="*/ 188772 w 341313"/>
                    <a:gd name="connsiteY166" fmla="*/ 737609 h 1516168"/>
                    <a:gd name="connsiteX167" fmla="*/ 177800 w 341313"/>
                    <a:gd name="connsiteY167" fmla="*/ 730380 h 1516168"/>
                    <a:gd name="connsiteX168" fmla="*/ 177800 w 341313"/>
                    <a:gd name="connsiteY168" fmla="*/ 601913 h 1516168"/>
                    <a:gd name="connsiteX169" fmla="*/ 188772 w 341313"/>
                    <a:gd name="connsiteY169" fmla="*/ 586342 h 1516168"/>
                    <a:gd name="connsiteX170" fmla="*/ 240892 w 341313"/>
                    <a:gd name="connsiteY170" fmla="*/ 567433 h 1516168"/>
                    <a:gd name="connsiteX171" fmla="*/ 330259 w 341313"/>
                    <a:gd name="connsiteY171" fmla="*/ 535683 h 1516168"/>
                    <a:gd name="connsiteX172" fmla="*/ 341313 w 341313"/>
                    <a:gd name="connsiteY172" fmla="*/ 542913 h 1516168"/>
                    <a:gd name="connsiteX173" fmla="*/ 341313 w 341313"/>
                    <a:gd name="connsiteY173" fmla="*/ 671379 h 1516168"/>
                    <a:gd name="connsiteX174" fmla="*/ 330259 w 341313"/>
                    <a:gd name="connsiteY174" fmla="*/ 686951 h 1516168"/>
                    <a:gd name="connsiteX175" fmla="*/ 277754 w 341313"/>
                    <a:gd name="connsiteY175" fmla="*/ 705859 h 1516168"/>
                    <a:gd name="connsiteX176" fmla="*/ 266700 w 341313"/>
                    <a:gd name="connsiteY176" fmla="*/ 698630 h 1516168"/>
                    <a:gd name="connsiteX177" fmla="*/ 266700 w 341313"/>
                    <a:gd name="connsiteY177" fmla="*/ 570163 h 1516168"/>
                    <a:gd name="connsiteX178" fmla="*/ 277754 w 341313"/>
                    <a:gd name="connsiteY178" fmla="*/ 554592 h 1516168"/>
                    <a:gd name="connsiteX179" fmla="*/ 330259 w 341313"/>
                    <a:gd name="connsiteY179" fmla="*/ 535683 h 1516168"/>
                    <a:gd name="connsiteX180" fmla="*/ 63092 w 341313"/>
                    <a:gd name="connsiteY180" fmla="*/ 453154 h 1516168"/>
                    <a:gd name="connsiteX181" fmla="*/ 74613 w 341313"/>
                    <a:gd name="connsiteY181" fmla="*/ 460449 h 1516168"/>
                    <a:gd name="connsiteX182" fmla="*/ 74613 w 341313"/>
                    <a:gd name="connsiteY182" fmla="*/ 590083 h 1516168"/>
                    <a:gd name="connsiteX183" fmla="*/ 63092 w 341313"/>
                    <a:gd name="connsiteY183" fmla="*/ 605797 h 1516168"/>
                    <a:gd name="connsiteX184" fmla="*/ 10972 w 341313"/>
                    <a:gd name="connsiteY184" fmla="*/ 624877 h 1516168"/>
                    <a:gd name="connsiteX185" fmla="*/ 0 w 341313"/>
                    <a:gd name="connsiteY185" fmla="*/ 617582 h 1516168"/>
                    <a:gd name="connsiteX186" fmla="*/ 0 w 341313"/>
                    <a:gd name="connsiteY186" fmla="*/ 487947 h 1516168"/>
                    <a:gd name="connsiteX187" fmla="*/ 10972 w 341313"/>
                    <a:gd name="connsiteY187" fmla="*/ 472234 h 1516168"/>
                    <a:gd name="connsiteX188" fmla="*/ 63092 w 341313"/>
                    <a:gd name="connsiteY188" fmla="*/ 453154 h 1516168"/>
                    <a:gd name="connsiteX189" fmla="*/ 152459 w 341313"/>
                    <a:gd name="connsiteY189" fmla="*/ 421383 h 1516168"/>
                    <a:gd name="connsiteX190" fmla="*/ 163513 w 341313"/>
                    <a:gd name="connsiteY190" fmla="*/ 428613 h 1516168"/>
                    <a:gd name="connsiteX191" fmla="*/ 163513 w 341313"/>
                    <a:gd name="connsiteY191" fmla="*/ 557079 h 1516168"/>
                    <a:gd name="connsiteX192" fmla="*/ 152459 w 341313"/>
                    <a:gd name="connsiteY192" fmla="*/ 572651 h 1516168"/>
                    <a:gd name="connsiteX193" fmla="*/ 99954 w 341313"/>
                    <a:gd name="connsiteY193" fmla="*/ 591559 h 1516168"/>
                    <a:gd name="connsiteX194" fmla="*/ 88900 w 341313"/>
                    <a:gd name="connsiteY194" fmla="*/ 584330 h 1516168"/>
                    <a:gd name="connsiteX195" fmla="*/ 88900 w 341313"/>
                    <a:gd name="connsiteY195" fmla="*/ 455863 h 1516168"/>
                    <a:gd name="connsiteX196" fmla="*/ 99954 w 341313"/>
                    <a:gd name="connsiteY196" fmla="*/ 440292 h 1516168"/>
                    <a:gd name="connsiteX197" fmla="*/ 152459 w 341313"/>
                    <a:gd name="connsiteY197" fmla="*/ 421383 h 1516168"/>
                    <a:gd name="connsiteX198" fmla="*/ 240892 w 341313"/>
                    <a:gd name="connsiteY198" fmla="*/ 389633 h 1516168"/>
                    <a:gd name="connsiteX199" fmla="*/ 252413 w 341313"/>
                    <a:gd name="connsiteY199" fmla="*/ 396863 h 1516168"/>
                    <a:gd name="connsiteX200" fmla="*/ 252413 w 341313"/>
                    <a:gd name="connsiteY200" fmla="*/ 525329 h 1516168"/>
                    <a:gd name="connsiteX201" fmla="*/ 240892 w 341313"/>
                    <a:gd name="connsiteY201" fmla="*/ 540901 h 1516168"/>
                    <a:gd name="connsiteX202" fmla="*/ 188772 w 341313"/>
                    <a:gd name="connsiteY202" fmla="*/ 559809 h 1516168"/>
                    <a:gd name="connsiteX203" fmla="*/ 177800 w 341313"/>
                    <a:gd name="connsiteY203" fmla="*/ 552580 h 1516168"/>
                    <a:gd name="connsiteX204" fmla="*/ 177800 w 341313"/>
                    <a:gd name="connsiteY204" fmla="*/ 424113 h 1516168"/>
                    <a:gd name="connsiteX205" fmla="*/ 188772 w 341313"/>
                    <a:gd name="connsiteY205" fmla="*/ 408542 h 1516168"/>
                    <a:gd name="connsiteX206" fmla="*/ 240892 w 341313"/>
                    <a:gd name="connsiteY206" fmla="*/ 389633 h 1516168"/>
                    <a:gd name="connsiteX207" fmla="*/ 330259 w 341313"/>
                    <a:gd name="connsiteY207" fmla="*/ 356317 h 1516168"/>
                    <a:gd name="connsiteX208" fmla="*/ 341313 w 341313"/>
                    <a:gd name="connsiteY208" fmla="*/ 363612 h 1516168"/>
                    <a:gd name="connsiteX209" fmla="*/ 341313 w 341313"/>
                    <a:gd name="connsiteY209" fmla="*/ 493246 h 1516168"/>
                    <a:gd name="connsiteX210" fmla="*/ 330259 w 341313"/>
                    <a:gd name="connsiteY210" fmla="*/ 508960 h 1516168"/>
                    <a:gd name="connsiteX211" fmla="*/ 277754 w 341313"/>
                    <a:gd name="connsiteY211" fmla="*/ 528040 h 1516168"/>
                    <a:gd name="connsiteX212" fmla="*/ 266700 w 341313"/>
                    <a:gd name="connsiteY212" fmla="*/ 520745 h 1516168"/>
                    <a:gd name="connsiteX213" fmla="*/ 266700 w 341313"/>
                    <a:gd name="connsiteY213" fmla="*/ 391110 h 1516168"/>
                    <a:gd name="connsiteX214" fmla="*/ 277754 w 341313"/>
                    <a:gd name="connsiteY214" fmla="*/ 375397 h 1516168"/>
                    <a:gd name="connsiteX215" fmla="*/ 330259 w 341313"/>
                    <a:gd name="connsiteY215" fmla="*/ 356317 h 1516168"/>
                    <a:gd name="connsiteX216" fmla="*/ 63092 w 341313"/>
                    <a:gd name="connsiteY216" fmla="*/ 275333 h 1516168"/>
                    <a:gd name="connsiteX217" fmla="*/ 74613 w 341313"/>
                    <a:gd name="connsiteY217" fmla="*/ 282563 h 1516168"/>
                    <a:gd name="connsiteX218" fmla="*/ 74613 w 341313"/>
                    <a:gd name="connsiteY218" fmla="*/ 411029 h 1516168"/>
                    <a:gd name="connsiteX219" fmla="*/ 63092 w 341313"/>
                    <a:gd name="connsiteY219" fmla="*/ 426601 h 1516168"/>
                    <a:gd name="connsiteX220" fmla="*/ 10972 w 341313"/>
                    <a:gd name="connsiteY220" fmla="*/ 445509 h 1516168"/>
                    <a:gd name="connsiteX221" fmla="*/ 0 w 341313"/>
                    <a:gd name="connsiteY221" fmla="*/ 438280 h 1516168"/>
                    <a:gd name="connsiteX222" fmla="*/ 0 w 341313"/>
                    <a:gd name="connsiteY222" fmla="*/ 309813 h 1516168"/>
                    <a:gd name="connsiteX223" fmla="*/ 10972 w 341313"/>
                    <a:gd name="connsiteY223" fmla="*/ 294242 h 1516168"/>
                    <a:gd name="connsiteX224" fmla="*/ 63092 w 341313"/>
                    <a:gd name="connsiteY224" fmla="*/ 275333 h 1516168"/>
                    <a:gd name="connsiteX225" fmla="*/ 152459 w 341313"/>
                    <a:gd name="connsiteY225" fmla="*/ 243583 h 1516168"/>
                    <a:gd name="connsiteX226" fmla="*/ 163513 w 341313"/>
                    <a:gd name="connsiteY226" fmla="*/ 250813 h 1516168"/>
                    <a:gd name="connsiteX227" fmla="*/ 163513 w 341313"/>
                    <a:gd name="connsiteY227" fmla="*/ 379279 h 1516168"/>
                    <a:gd name="connsiteX228" fmla="*/ 152459 w 341313"/>
                    <a:gd name="connsiteY228" fmla="*/ 394295 h 1516168"/>
                    <a:gd name="connsiteX229" fmla="*/ 99954 w 341313"/>
                    <a:gd name="connsiteY229" fmla="*/ 413759 h 1516168"/>
                    <a:gd name="connsiteX230" fmla="*/ 88900 w 341313"/>
                    <a:gd name="connsiteY230" fmla="*/ 406530 h 1516168"/>
                    <a:gd name="connsiteX231" fmla="*/ 88900 w 341313"/>
                    <a:gd name="connsiteY231" fmla="*/ 278063 h 1516168"/>
                    <a:gd name="connsiteX232" fmla="*/ 99954 w 341313"/>
                    <a:gd name="connsiteY232" fmla="*/ 262492 h 1516168"/>
                    <a:gd name="connsiteX233" fmla="*/ 152459 w 341313"/>
                    <a:gd name="connsiteY233" fmla="*/ 243583 h 1516168"/>
                    <a:gd name="connsiteX234" fmla="*/ 240892 w 341313"/>
                    <a:gd name="connsiteY234" fmla="*/ 211833 h 1516168"/>
                    <a:gd name="connsiteX235" fmla="*/ 252413 w 341313"/>
                    <a:gd name="connsiteY235" fmla="*/ 219063 h 1516168"/>
                    <a:gd name="connsiteX236" fmla="*/ 252413 w 341313"/>
                    <a:gd name="connsiteY236" fmla="*/ 347529 h 1516168"/>
                    <a:gd name="connsiteX237" fmla="*/ 240892 w 341313"/>
                    <a:gd name="connsiteY237" fmla="*/ 362545 h 1516168"/>
                    <a:gd name="connsiteX238" fmla="*/ 188772 w 341313"/>
                    <a:gd name="connsiteY238" fmla="*/ 382009 h 1516168"/>
                    <a:gd name="connsiteX239" fmla="*/ 177800 w 341313"/>
                    <a:gd name="connsiteY239" fmla="*/ 374780 h 1516168"/>
                    <a:gd name="connsiteX240" fmla="*/ 177800 w 341313"/>
                    <a:gd name="connsiteY240" fmla="*/ 246313 h 1516168"/>
                    <a:gd name="connsiteX241" fmla="*/ 188772 w 341313"/>
                    <a:gd name="connsiteY241" fmla="*/ 230742 h 1516168"/>
                    <a:gd name="connsiteX242" fmla="*/ 240892 w 341313"/>
                    <a:gd name="connsiteY242" fmla="*/ 211833 h 1516168"/>
                    <a:gd name="connsiteX243" fmla="*/ 330259 w 341313"/>
                    <a:gd name="connsiteY243" fmla="*/ 179044 h 1516168"/>
                    <a:gd name="connsiteX244" fmla="*/ 341313 w 341313"/>
                    <a:gd name="connsiteY244" fmla="*/ 185696 h 1516168"/>
                    <a:gd name="connsiteX245" fmla="*/ 341313 w 341313"/>
                    <a:gd name="connsiteY245" fmla="*/ 314309 h 1516168"/>
                    <a:gd name="connsiteX246" fmla="*/ 330259 w 341313"/>
                    <a:gd name="connsiteY246" fmla="*/ 329277 h 1516168"/>
                    <a:gd name="connsiteX247" fmla="*/ 277754 w 341313"/>
                    <a:gd name="connsiteY247" fmla="*/ 348679 h 1516168"/>
                    <a:gd name="connsiteX248" fmla="*/ 266700 w 341313"/>
                    <a:gd name="connsiteY248" fmla="*/ 341473 h 1516168"/>
                    <a:gd name="connsiteX249" fmla="*/ 266700 w 341313"/>
                    <a:gd name="connsiteY249" fmla="*/ 213414 h 1516168"/>
                    <a:gd name="connsiteX250" fmla="*/ 277754 w 341313"/>
                    <a:gd name="connsiteY250" fmla="*/ 197892 h 1516168"/>
                    <a:gd name="connsiteX251" fmla="*/ 330259 w 341313"/>
                    <a:gd name="connsiteY251" fmla="*/ 179044 h 1516168"/>
                    <a:gd name="connsiteX252" fmla="*/ 63092 w 341313"/>
                    <a:gd name="connsiteY252" fmla="*/ 98081 h 1516168"/>
                    <a:gd name="connsiteX253" fmla="*/ 74613 w 341313"/>
                    <a:gd name="connsiteY253" fmla="*/ 104733 h 1516168"/>
                    <a:gd name="connsiteX254" fmla="*/ 74613 w 341313"/>
                    <a:gd name="connsiteY254" fmla="*/ 233346 h 1516168"/>
                    <a:gd name="connsiteX255" fmla="*/ 63092 w 341313"/>
                    <a:gd name="connsiteY255" fmla="*/ 248314 h 1516168"/>
                    <a:gd name="connsiteX256" fmla="*/ 10972 w 341313"/>
                    <a:gd name="connsiteY256" fmla="*/ 267716 h 1516168"/>
                    <a:gd name="connsiteX257" fmla="*/ 0 w 341313"/>
                    <a:gd name="connsiteY257" fmla="*/ 260510 h 1516168"/>
                    <a:gd name="connsiteX258" fmla="*/ 0 w 341313"/>
                    <a:gd name="connsiteY258" fmla="*/ 132451 h 1516168"/>
                    <a:gd name="connsiteX259" fmla="*/ 10972 w 341313"/>
                    <a:gd name="connsiteY259" fmla="*/ 116929 h 1516168"/>
                    <a:gd name="connsiteX260" fmla="*/ 63092 w 341313"/>
                    <a:gd name="connsiteY260" fmla="*/ 98081 h 1516168"/>
                    <a:gd name="connsiteX261" fmla="*/ 152459 w 341313"/>
                    <a:gd name="connsiteY261" fmla="*/ 66331 h 1516168"/>
                    <a:gd name="connsiteX262" fmla="*/ 163513 w 341313"/>
                    <a:gd name="connsiteY262" fmla="*/ 72983 h 1516168"/>
                    <a:gd name="connsiteX263" fmla="*/ 163513 w 341313"/>
                    <a:gd name="connsiteY263" fmla="*/ 201596 h 1516168"/>
                    <a:gd name="connsiteX264" fmla="*/ 152459 w 341313"/>
                    <a:gd name="connsiteY264" fmla="*/ 216564 h 1516168"/>
                    <a:gd name="connsiteX265" fmla="*/ 99954 w 341313"/>
                    <a:gd name="connsiteY265" fmla="*/ 235966 h 1516168"/>
                    <a:gd name="connsiteX266" fmla="*/ 88900 w 341313"/>
                    <a:gd name="connsiteY266" fmla="*/ 228760 h 1516168"/>
                    <a:gd name="connsiteX267" fmla="*/ 88900 w 341313"/>
                    <a:gd name="connsiteY267" fmla="*/ 100701 h 1516168"/>
                    <a:gd name="connsiteX268" fmla="*/ 99954 w 341313"/>
                    <a:gd name="connsiteY268" fmla="*/ 85179 h 1516168"/>
                    <a:gd name="connsiteX269" fmla="*/ 152459 w 341313"/>
                    <a:gd name="connsiteY269" fmla="*/ 66331 h 1516168"/>
                    <a:gd name="connsiteX270" fmla="*/ 240892 w 341313"/>
                    <a:gd name="connsiteY270" fmla="*/ 32460 h 1516168"/>
                    <a:gd name="connsiteX271" fmla="*/ 252413 w 341313"/>
                    <a:gd name="connsiteY271" fmla="*/ 39732 h 1516168"/>
                    <a:gd name="connsiteX272" fmla="*/ 252413 w 341313"/>
                    <a:gd name="connsiteY272" fmla="*/ 169514 h 1516168"/>
                    <a:gd name="connsiteX273" fmla="*/ 240892 w 341313"/>
                    <a:gd name="connsiteY273" fmla="*/ 184618 h 1516168"/>
                    <a:gd name="connsiteX274" fmla="*/ 188772 w 341313"/>
                    <a:gd name="connsiteY274" fmla="*/ 204197 h 1516168"/>
                    <a:gd name="connsiteX275" fmla="*/ 177800 w 341313"/>
                    <a:gd name="connsiteY275" fmla="*/ 196925 h 1516168"/>
                    <a:gd name="connsiteX276" fmla="*/ 177800 w 341313"/>
                    <a:gd name="connsiteY276" fmla="*/ 67702 h 1516168"/>
                    <a:gd name="connsiteX277" fmla="*/ 188772 w 341313"/>
                    <a:gd name="connsiteY277" fmla="*/ 52039 h 1516168"/>
                    <a:gd name="connsiteX278" fmla="*/ 240892 w 341313"/>
                    <a:gd name="connsiteY278" fmla="*/ 32460 h 1516168"/>
                    <a:gd name="connsiteX279" fmla="*/ 330259 w 341313"/>
                    <a:gd name="connsiteY279" fmla="*/ 689 h 1516168"/>
                    <a:gd name="connsiteX280" fmla="*/ 341313 w 341313"/>
                    <a:gd name="connsiteY280" fmla="*/ 7896 h 1516168"/>
                    <a:gd name="connsiteX281" fmla="*/ 341313 w 341313"/>
                    <a:gd name="connsiteY281" fmla="*/ 136509 h 1516168"/>
                    <a:gd name="connsiteX282" fmla="*/ 330259 w 341313"/>
                    <a:gd name="connsiteY282" fmla="*/ 151477 h 1516168"/>
                    <a:gd name="connsiteX283" fmla="*/ 277754 w 341313"/>
                    <a:gd name="connsiteY283" fmla="*/ 170879 h 1516168"/>
                    <a:gd name="connsiteX284" fmla="*/ 266700 w 341313"/>
                    <a:gd name="connsiteY284" fmla="*/ 163673 h 1516168"/>
                    <a:gd name="connsiteX285" fmla="*/ 266700 w 341313"/>
                    <a:gd name="connsiteY285" fmla="*/ 35614 h 1516168"/>
                    <a:gd name="connsiteX286" fmla="*/ 277754 w 341313"/>
                    <a:gd name="connsiteY286" fmla="*/ 20092 h 1516168"/>
                    <a:gd name="connsiteX287" fmla="*/ 330259 w 341313"/>
                    <a:gd name="connsiteY287" fmla="*/ 689 h 15161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</a:cxnLst>
                  <a:rect l="l" t="t" r="r" b="b"/>
                  <a:pathLst>
                    <a:path w="341313" h="1516168">
                      <a:moveTo>
                        <a:pt x="63092" y="1344294"/>
                      </a:moveTo>
                      <a:cubicBezTo>
                        <a:pt x="69675" y="1341497"/>
                        <a:pt x="74613" y="1344854"/>
                        <a:pt x="74613" y="1351007"/>
                      </a:cubicBezTo>
                      <a:cubicBezTo>
                        <a:pt x="74613" y="1480789"/>
                        <a:pt x="74613" y="1480789"/>
                        <a:pt x="74613" y="1480789"/>
                      </a:cubicBezTo>
                      <a:cubicBezTo>
                        <a:pt x="74613" y="1486943"/>
                        <a:pt x="69675" y="1493656"/>
                        <a:pt x="63092" y="1495893"/>
                      </a:cubicBezTo>
                      <a:cubicBezTo>
                        <a:pt x="10972" y="1515473"/>
                        <a:pt x="10972" y="1515473"/>
                        <a:pt x="10972" y="1515473"/>
                      </a:cubicBezTo>
                      <a:cubicBezTo>
                        <a:pt x="4937" y="1517710"/>
                        <a:pt x="0" y="1514354"/>
                        <a:pt x="0" y="1508200"/>
                      </a:cubicBezTo>
                      <a:cubicBezTo>
                        <a:pt x="0" y="1378977"/>
                        <a:pt x="0" y="1378977"/>
                        <a:pt x="0" y="1378977"/>
                      </a:cubicBezTo>
                      <a:cubicBezTo>
                        <a:pt x="0" y="1372824"/>
                        <a:pt x="4937" y="1365552"/>
                        <a:pt x="10972" y="1363314"/>
                      </a:cubicBezTo>
                      <a:cubicBezTo>
                        <a:pt x="63092" y="1344294"/>
                        <a:pt x="63092" y="1344294"/>
                        <a:pt x="63092" y="1344294"/>
                      </a:cubicBezTo>
                      <a:close/>
                      <a:moveTo>
                        <a:pt x="152459" y="1311965"/>
                      </a:moveTo>
                      <a:cubicBezTo>
                        <a:pt x="158539" y="1309747"/>
                        <a:pt x="163513" y="1313073"/>
                        <a:pt x="163513" y="1319171"/>
                      </a:cubicBezTo>
                      <a:cubicBezTo>
                        <a:pt x="163513" y="1447784"/>
                        <a:pt x="163513" y="1447784"/>
                        <a:pt x="163513" y="1447784"/>
                      </a:cubicBezTo>
                      <a:cubicBezTo>
                        <a:pt x="163513" y="1453882"/>
                        <a:pt x="158539" y="1460534"/>
                        <a:pt x="152459" y="1462752"/>
                      </a:cubicBezTo>
                      <a:cubicBezTo>
                        <a:pt x="99954" y="1482155"/>
                        <a:pt x="99954" y="1482155"/>
                        <a:pt x="99954" y="1482155"/>
                      </a:cubicBezTo>
                      <a:cubicBezTo>
                        <a:pt x="93874" y="1484372"/>
                        <a:pt x="88900" y="1481046"/>
                        <a:pt x="88900" y="1474948"/>
                      </a:cubicBezTo>
                      <a:cubicBezTo>
                        <a:pt x="88900" y="1346890"/>
                        <a:pt x="88900" y="1346890"/>
                        <a:pt x="88900" y="1346890"/>
                      </a:cubicBezTo>
                      <a:cubicBezTo>
                        <a:pt x="88900" y="1340792"/>
                        <a:pt x="93874" y="1333585"/>
                        <a:pt x="99954" y="1331367"/>
                      </a:cubicBezTo>
                      <a:cubicBezTo>
                        <a:pt x="152459" y="1311965"/>
                        <a:pt x="152459" y="1311965"/>
                        <a:pt x="152459" y="1311965"/>
                      </a:cubicBezTo>
                      <a:close/>
                      <a:moveTo>
                        <a:pt x="240892" y="1280215"/>
                      </a:moveTo>
                      <a:cubicBezTo>
                        <a:pt x="247475" y="1277997"/>
                        <a:pt x="252413" y="1281323"/>
                        <a:pt x="252413" y="1287421"/>
                      </a:cubicBezTo>
                      <a:cubicBezTo>
                        <a:pt x="252413" y="1416034"/>
                        <a:pt x="252413" y="1416034"/>
                        <a:pt x="252413" y="1416034"/>
                      </a:cubicBezTo>
                      <a:cubicBezTo>
                        <a:pt x="252413" y="1422132"/>
                        <a:pt x="247475" y="1428784"/>
                        <a:pt x="240892" y="1431002"/>
                      </a:cubicBezTo>
                      <a:cubicBezTo>
                        <a:pt x="188772" y="1450405"/>
                        <a:pt x="188772" y="1450405"/>
                        <a:pt x="188772" y="1450405"/>
                      </a:cubicBezTo>
                      <a:cubicBezTo>
                        <a:pt x="182737" y="1452622"/>
                        <a:pt x="177800" y="1449296"/>
                        <a:pt x="177800" y="1443198"/>
                      </a:cubicBezTo>
                      <a:cubicBezTo>
                        <a:pt x="177800" y="1315140"/>
                        <a:pt x="177800" y="1315140"/>
                        <a:pt x="177800" y="1315140"/>
                      </a:cubicBezTo>
                      <a:cubicBezTo>
                        <a:pt x="177800" y="1308487"/>
                        <a:pt x="182737" y="1301835"/>
                        <a:pt x="188772" y="1299617"/>
                      </a:cubicBezTo>
                      <a:cubicBezTo>
                        <a:pt x="240892" y="1280215"/>
                        <a:pt x="240892" y="1280215"/>
                        <a:pt x="240892" y="1280215"/>
                      </a:cubicBezTo>
                      <a:close/>
                      <a:moveTo>
                        <a:pt x="330259" y="1246897"/>
                      </a:moveTo>
                      <a:cubicBezTo>
                        <a:pt x="336339" y="1244659"/>
                        <a:pt x="341313" y="1248016"/>
                        <a:pt x="341313" y="1254169"/>
                      </a:cubicBezTo>
                      <a:cubicBezTo>
                        <a:pt x="341313" y="1383951"/>
                        <a:pt x="341313" y="1383951"/>
                        <a:pt x="341313" y="1383951"/>
                      </a:cubicBezTo>
                      <a:cubicBezTo>
                        <a:pt x="341313" y="1390105"/>
                        <a:pt x="336339" y="1396818"/>
                        <a:pt x="330259" y="1399055"/>
                      </a:cubicBezTo>
                      <a:cubicBezTo>
                        <a:pt x="277754" y="1418635"/>
                        <a:pt x="277754" y="1418635"/>
                        <a:pt x="277754" y="1418635"/>
                      </a:cubicBezTo>
                      <a:cubicBezTo>
                        <a:pt x="271674" y="1420872"/>
                        <a:pt x="266700" y="1417516"/>
                        <a:pt x="266700" y="1411362"/>
                      </a:cubicBezTo>
                      <a:cubicBezTo>
                        <a:pt x="266700" y="1282139"/>
                        <a:pt x="266700" y="1282139"/>
                        <a:pt x="266700" y="1282139"/>
                      </a:cubicBezTo>
                      <a:cubicBezTo>
                        <a:pt x="266700" y="1275426"/>
                        <a:pt x="271674" y="1268714"/>
                        <a:pt x="277754" y="1266476"/>
                      </a:cubicBezTo>
                      <a:cubicBezTo>
                        <a:pt x="330259" y="1246897"/>
                        <a:pt x="330259" y="1246897"/>
                        <a:pt x="330259" y="1246897"/>
                      </a:cubicBezTo>
                      <a:close/>
                      <a:moveTo>
                        <a:pt x="63092" y="1165914"/>
                      </a:moveTo>
                      <a:cubicBezTo>
                        <a:pt x="69675" y="1163697"/>
                        <a:pt x="74613" y="1167023"/>
                        <a:pt x="74613" y="1173121"/>
                      </a:cubicBezTo>
                      <a:cubicBezTo>
                        <a:pt x="74613" y="1301734"/>
                        <a:pt x="74613" y="1301734"/>
                        <a:pt x="74613" y="1301734"/>
                      </a:cubicBezTo>
                      <a:cubicBezTo>
                        <a:pt x="74613" y="1307832"/>
                        <a:pt x="69675" y="1314484"/>
                        <a:pt x="63092" y="1316702"/>
                      </a:cubicBezTo>
                      <a:cubicBezTo>
                        <a:pt x="10972" y="1336105"/>
                        <a:pt x="10972" y="1336105"/>
                        <a:pt x="10972" y="1336105"/>
                      </a:cubicBezTo>
                      <a:cubicBezTo>
                        <a:pt x="4937" y="1338322"/>
                        <a:pt x="0" y="1334996"/>
                        <a:pt x="0" y="1328898"/>
                      </a:cubicBezTo>
                      <a:cubicBezTo>
                        <a:pt x="0" y="1200839"/>
                        <a:pt x="0" y="1200839"/>
                        <a:pt x="0" y="1200839"/>
                      </a:cubicBezTo>
                      <a:cubicBezTo>
                        <a:pt x="0" y="1194187"/>
                        <a:pt x="4937" y="1187535"/>
                        <a:pt x="10972" y="1185317"/>
                      </a:cubicBezTo>
                      <a:cubicBezTo>
                        <a:pt x="63092" y="1165914"/>
                        <a:pt x="63092" y="1165914"/>
                        <a:pt x="63092" y="1165914"/>
                      </a:cubicBezTo>
                      <a:close/>
                      <a:moveTo>
                        <a:pt x="152459" y="1134164"/>
                      </a:moveTo>
                      <a:cubicBezTo>
                        <a:pt x="158539" y="1131947"/>
                        <a:pt x="163513" y="1135273"/>
                        <a:pt x="163513" y="1141371"/>
                      </a:cubicBezTo>
                      <a:cubicBezTo>
                        <a:pt x="163513" y="1269984"/>
                        <a:pt x="163513" y="1269984"/>
                        <a:pt x="163513" y="1269984"/>
                      </a:cubicBezTo>
                      <a:cubicBezTo>
                        <a:pt x="163513" y="1276082"/>
                        <a:pt x="158539" y="1282734"/>
                        <a:pt x="152459" y="1284952"/>
                      </a:cubicBezTo>
                      <a:cubicBezTo>
                        <a:pt x="99954" y="1304355"/>
                        <a:pt x="99954" y="1304355"/>
                        <a:pt x="99954" y="1304355"/>
                      </a:cubicBezTo>
                      <a:cubicBezTo>
                        <a:pt x="93874" y="1306572"/>
                        <a:pt x="88900" y="1303246"/>
                        <a:pt x="88900" y="1297148"/>
                      </a:cubicBezTo>
                      <a:cubicBezTo>
                        <a:pt x="88900" y="1169089"/>
                        <a:pt x="88900" y="1169089"/>
                        <a:pt x="88900" y="1169089"/>
                      </a:cubicBezTo>
                      <a:cubicBezTo>
                        <a:pt x="88900" y="1162437"/>
                        <a:pt x="93874" y="1155785"/>
                        <a:pt x="99954" y="1153567"/>
                      </a:cubicBezTo>
                      <a:cubicBezTo>
                        <a:pt x="152459" y="1134164"/>
                        <a:pt x="152459" y="1134164"/>
                        <a:pt x="152459" y="1134164"/>
                      </a:cubicBezTo>
                      <a:close/>
                      <a:moveTo>
                        <a:pt x="240892" y="1100847"/>
                      </a:moveTo>
                      <a:cubicBezTo>
                        <a:pt x="247475" y="1098609"/>
                        <a:pt x="252413" y="1101965"/>
                        <a:pt x="252413" y="1108119"/>
                      </a:cubicBezTo>
                      <a:cubicBezTo>
                        <a:pt x="252413" y="1237342"/>
                        <a:pt x="252413" y="1237342"/>
                        <a:pt x="252413" y="1237342"/>
                      </a:cubicBezTo>
                      <a:cubicBezTo>
                        <a:pt x="252413" y="1244055"/>
                        <a:pt x="247475" y="1250768"/>
                        <a:pt x="240892" y="1253005"/>
                      </a:cubicBezTo>
                      <a:cubicBezTo>
                        <a:pt x="188772" y="1272585"/>
                        <a:pt x="188772" y="1272585"/>
                        <a:pt x="188772" y="1272585"/>
                      </a:cubicBezTo>
                      <a:cubicBezTo>
                        <a:pt x="182737" y="1274822"/>
                        <a:pt x="177800" y="1271466"/>
                        <a:pt x="177800" y="1265312"/>
                      </a:cubicBezTo>
                      <a:cubicBezTo>
                        <a:pt x="177800" y="1136089"/>
                        <a:pt x="177800" y="1136089"/>
                        <a:pt x="177800" y="1136089"/>
                      </a:cubicBezTo>
                      <a:cubicBezTo>
                        <a:pt x="177800" y="1129376"/>
                        <a:pt x="182737" y="1122663"/>
                        <a:pt x="188772" y="1120426"/>
                      </a:cubicBezTo>
                      <a:cubicBezTo>
                        <a:pt x="240892" y="1100847"/>
                        <a:pt x="240892" y="1100847"/>
                        <a:pt x="240892" y="1100847"/>
                      </a:cubicBezTo>
                      <a:close/>
                      <a:moveTo>
                        <a:pt x="330259" y="1069076"/>
                      </a:moveTo>
                      <a:cubicBezTo>
                        <a:pt x="336339" y="1066859"/>
                        <a:pt x="341313" y="1070185"/>
                        <a:pt x="341313" y="1076283"/>
                      </a:cubicBezTo>
                      <a:cubicBezTo>
                        <a:pt x="341313" y="1204341"/>
                        <a:pt x="341313" y="1204341"/>
                        <a:pt x="341313" y="1204341"/>
                      </a:cubicBezTo>
                      <a:cubicBezTo>
                        <a:pt x="341313" y="1210994"/>
                        <a:pt x="336339" y="1217646"/>
                        <a:pt x="330259" y="1219864"/>
                      </a:cubicBezTo>
                      <a:cubicBezTo>
                        <a:pt x="277754" y="1239266"/>
                        <a:pt x="277754" y="1239266"/>
                        <a:pt x="277754" y="1239266"/>
                      </a:cubicBezTo>
                      <a:cubicBezTo>
                        <a:pt x="271674" y="1241484"/>
                        <a:pt x="266700" y="1238158"/>
                        <a:pt x="266700" y="1232060"/>
                      </a:cubicBezTo>
                      <a:cubicBezTo>
                        <a:pt x="266700" y="1104001"/>
                        <a:pt x="266700" y="1104001"/>
                        <a:pt x="266700" y="1104001"/>
                      </a:cubicBezTo>
                      <a:cubicBezTo>
                        <a:pt x="266700" y="1097349"/>
                        <a:pt x="271674" y="1090697"/>
                        <a:pt x="277754" y="1088479"/>
                      </a:cubicBezTo>
                      <a:cubicBezTo>
                        <a:pt x="330259" y="1069076"/>
                        <a:pt x="330259" y="1069076"/>
                        <a:pt x="330259" y="1069076"/>
                      </a:cubicBezTo>
                      <a:close/>
                      <a:moveTo>
                        <a:pt x="63092" y="988114"/>
                      </a:moveTo>
                      <a:cubicBezTo>
                        <a:pt x="69675" y="985897"/>
                        <a:pt x="74613" y="989223"/>
                        <a:pt x="74613" y="995321"/>
                      </a:cubicBezTo>
                      <a:cubicBezTo>
                        <a:pt x="74613" y="1123379"/>
                        <a:pt x="74613" y="1123379"/>
                        <a:pt x="74613" y="1123379"/>
                      </a:cubicBezTo>
                      <a:cubicBezTo>
                        <a:pt x="74613" y="1130032"/>
                        <a:pt x="69675" y="1136684"/>
                        <a:pt x="63092" y="1138902"/>
                      </a:cubicBezTo>
                      <a:cubicBezTo>
                        <a:pt x="10972" y="1158304"/>
                        <a:pt x="10972" y="1158304"/>
                        <a:pt x="10972" y="1158304"/>
                      </a:cubicBezTo>
                      <a:cubicBezTo>
                        <a:pt x="4937" y="1160522"/>
                        <a:pt x="0" y="1157196"/>
                        <a:pt x="0" y="1151098"/>
                      </a:cubicBezTo>
                      <a:cubicBezTo>
                        <a:pt x="0" y="1023039"/>
                        <a:pt x="0" y="1023039"/>
                        <a:pt x="0" y="1023039"/>
                      </a:cubicBezTo>
                      <a:cubicBezTo>
                        <a:pt x="0" y="1016387"/>
                        <a:pt x="4937" y="1009735"/>
                        <a:pt x="10972" y="1007517"/>
                      </a:cubicBezTo>
                      <a:cubicBezTo>
                        <a:pt x="63092" y="988114"/>
                        <a:pt x="63092" y="988114"/>
                        <a:pt x="63092" y="988114"/>
                      </a:cubicBezTo>
                      <a:close/>
                      <a:moveTo>
                        <a:pt x="152459" y="956364"/>
                      </a:moveTo>
                      <a:cubicBezTo>
                        <a:pt x="158539" y="954147"/>
                        <a:pt x="163513" y="957473"/>
                        <a:pt x="163513" y="963571"/>
                      </a:cubicBezTo>
                      <a:cubicBezTo>
                        <a:pt x="163513" y="1091629"/>
                        <a:pt x="163513" y="1091629"/>
                        <a:pt x="163513" y="1091629"/>
                      </a:cubicBezTo>
                      <a:cubicBezTo>
                        <a:pt x="163513" y="1098282"/>
                        <a:pt x="158539" y="1104934"/>
                        <a:pt x="152459" y="1107152"/>
                      </a:cubicBezTo>
                      <a:cubicBezTo>
                        <a:pt x="99954" y="1126554"/>
                        <a:pt x="99954" y="1126554"/>
                        <a:pt x="99954" y="1126554"/>
                      </a:cubicBezTo>
                      <a:cubicBezTo>
                        <a:pt x="93874" y="1128772"/>
                        <a:pt x="88900" y="1125446"/>
                        <a:pt x="88900" y="1119348"/>
                      </a:cubicBezTo>
                      <a:cubicBezTo>
                        <a:pt x="88900" y="990735"/>
                        <a:pt x="88900" y="990735"/>
                        <a:pt x="88900" y="990735"/>
                      </a:cubicBezTo>
                      <a:cubicBezTo>
                        <a:pt x="88900" y="984637"/>
                        <a:pt x="93874" y="977985"/>
                        <a:pt x="99954" y="975767"/>
                      </a:cubicBezTo>
                      <a:cubicBezTo>
                        <a:pt x="152459" y="956364"/>
                        <a:pt x="152459" y="956364"/>
                        <a:pt x="152459" y="956364"/>
                      </a:cubicBezTo>
                      <a:close/>
                      <a:moveTo>
                        <a:pt x="240892" y="923047"/>
                      </a:moveTo>
                      <a:cubicBezTo>
                        <a:pt x="247475" y="920809"/>
                        <a:pt x="252413" y="924165"/>
                        <a:pt x="252413" y="930319"/>
                      </a:cubicBezTo>
                      <a:cubicBezTo>
                        <a:pt x="252413" y="1059542"/>
                        <a:pt x="252413" y="1059542"/>
                        <a:pt x="252413" y="1059542"/>
                      </a:cubicBezTo>
                      <a:cubicBezTo>
                        <a:pt x="252413" y="1066255"/>
                        <a:pt x="247475" y="1072967"/>
                        <a:pt x="240892" y="1075205"/>
                      </a:cubicBezTo>
                      <a:cubicBezTo>
                        <a:pt x="188772" y="1094784"/>
                        <a:pt x="188772" y="1094784"/>
                        <a:pt x="188772" y="1094784"/>
                      </a:cubicBezTo>
                      <a:cubicBezTo>
                        <a:pt x="182737" y="1097022"/>
                        <a:pt x="177800" y="1093665"/>
                        <a:pt x="177800" y="1087512"/>
                      </a:cubicBezTo>
                      <a:cubicBezTo>
                        <a:pt x="177800" y="957730"/>
                        <a:pt x="177800" y="957730"/>
                        <a:pt x="177800" y="957730"/>
                      </a:cubicBezTo>
                      <a:cubicBezTo>
                        <a:pt x="177800" y="951576"/>
                        <a:pt x="182737" y="944863"/>
                        <a:pt x="188772" y="942626"/>
                      </a:cubicBezTo>
                      <a:cubicBezTo>
                        <a:pt x="240892" y="923047"/>
                        <a:pt x="240892" y="923047"/>
                        <a:pt x="240892" y="923047"/>
                      </a:cubicBezTo>
                      <a:close/>
                      <a:moveTo>
                        <a:pt x="330259" y="891276"/>
                      </a:moveTo>
                      <a:cubicBezTo>
                        <a:pt x="336339" y="889059"/>
                        <a:pt x="341313" y="892385"/>
                        <a:pt x="341313" y="898483"/>
                      </a:cubicBezTo>
                      <a:cubicBezTo>
                        <a:pt x="341313" y="1026541"/>
                        <a:pt x="341313" y="1026541"/>
                        <a:pt x="341313" y="1026541"/>
                      </a:cubicBezTo>
                      <a:cubicBezTo>
                        <a:pt x="341313" y="1032639"/>
                        <a:pt x="336339" y="1039846"/>
                        <a:pt x="330259" y="1042064"/>
                      </a:cubicBezTo>
                      <a:cubicBezTo>
                        <a:pt x="277754" y="1061466"/>
                        <a:pt x="277754" y="1061466"/>
                        <a:pt x="277754" y="1061466"/>
                      </a:cubicBezTo>
                      <a:cubicBezTo>
                        <a:pt x="271674" y="1063684"/>
                        <a:pt x="266700" y="1060358"/>
                        <a:pt x="266700" y="1054260"/>
                      </a:cubicBezTo>
                      <a:cubicBezTo>
                        <a:pt x="266700" y="925647"/>
                        <a:pt x="266700" y="925647"/>
                        <a:pt x="266700" y="925647"/>
                      </a:cubicBezTo>
                      <a:cubicBezTo>
                        <a:pt x="266700" y="919549"/>
                        <a:pt x="271674" y="912897"/>
                        <a:pt x="277754" y="910679"/>
                      </a:cubicBezTo>
                      <a:cubicBezTo>
                        <a:pt x="330259" y="891276"/>
                        <a:pt x="330259" y="891276"/>
                        <a:pt x="330259" y="891276"/>
                      </a:cubicBezTo>
                      <a:close/>
                      <a:moveTo>
                        <a:pt x="63092" y="810314"/>
                      </a:moveTo>
                      <a:cubicBezTo>
                        <a:pt x="69675" y="808097"/>
                        <a:pt x="74613" y="811423"/>
                        <a:pt x="74613" y="817521"/>
                      </a:cubicBezTo>
                      <a:cubicBezTo>
                        <a:pt x="74613" y="945579"/>
                        <a:pt x="74613" y="945579"/>
                        <a:pt x="74613" y="945579"/>
                      </a:cubicBezTo>
                      <a:cubicBezTo>
                        <a:pt x="74613" y="951677"/>
                        <a:pt x="69675" y="958884"/>
                        <a:pt x="63092" y="961102"/>
                      </a:cubicBezTo>
                      <a:cubicBezTo>
                        <a:pt x="10972" y="980504"/>
                        <a:pt x="10972" y="980504"/>
                        <a:pt x="10972" y="980504"/>
                      </a:cubicBezTo>
                      <a:cubicBezTo>
                        <a:pt x="4937" y="982722"/>
                        <a:pt x="0" y="979396"/>
                        <a:pt x="0" y="973298"/>
                      </a:cubicBezTo>
                      <a:cubicBezTo>
                        <a:pt x="0" y="844685"/>
                        <a:pt x="0" y="844685"/>
                        <a:pt x="0" y="844685"/>
                      </a:cubicBezTo>
                      <a:cubicBezTo>
                        <a:pt x="0" y="838587"/>
                        <a:pt x="4937" y="831935"/>
                        <a:pt x="10972" y="829717"/>
                      </a:cubicBezTo>
                      <a:cubicBezTo>
                        <a:pt x="63092" y="810314"/>
                        <a:pt x="63092" y="810314"/>
                        <a:pt x="63092" y="810314"/>
                      </a:cubicBezTo>
                      <a:close/>
                      <a:moveTo>
                        <a:pt x="152459" y="776997"/>
                      </a:moveTo>
                      <a:cubicBezTo>
                        <a:pt x="158539" y="774759"/>
                        <a:pt x="163513" y="778115"/>
                        <a:pt x="163513" y="784269"/>
                      </a:cubicBezTo>
                      <a:cubicBezTo>
                        <a:pt x="163513" y="913492"/>
                        <a:pt x="163513" y="913492"/>
                        <a:pt x="163513" y="913492"/>
                      </a:cubicBezTo>
                      <a:cubicBezTo>
                        <a:pt x="163513" y="919645"/>
                        <a:pt x="158539" y="926917"/>
                        <a:pt x="152459" y="929155"/>
                      </a:cubicBezTo>
                      <a:cubicBezTo>
                        <a:pt x="99954" y="948175"/>
                        <a:pt x="99954" y="948175"/>
                        <a:pt x="99954" y="948175"/>
                      </a:cubicBezTo>
                      <a:cubicBezTo>
                        <a:pt x="93874" y="950972"/>
                        <a:pt x="88900" y="947615"/>
                        <a:pt x="88900" y="941462"/>
                      </a:cubicBezTo>
                      <a:cubicBezTo>
                        <a:pt x="88900" y="811680"/>
                        <a:pt x="88900" y="811680"/>
                        <a:pt x="88900" y="811680"/>
                      </a:cubicBezTo>
                      <a:cubicBezTo>
                        <a:pt x="88900" y="805526"/>
                        <a:pt x="93874" y="798813"/>
                        <a:pt x="99954" y="796576"/>
                      </a:cubicBezTo>
                      <a:cubicBezTo>
                        <a:pt x="152459" y="776997"/>
                        <a:pt x="152459" y="776997"/>
                        <a:pt x="152459" y="776997"/>
                      </a:cubicBezTo>
                      <a:close/>
                      <a:moveTo>
                        <a:pt x="240892" y="745247"/>
                      </a:moveTo>
                      <a:cubicBezTo>
                        <a:pt x="247475" y="743009"/>
                        <a:pt x="252413" y="746365"/>
                        <a:pt x="252413" y="752519"/>
                      </a:cubicBezTo>
                      <a:cubicBezTo>
                        <a:pt x="252413" y="881742"/>
                        <a:pt x="252413" y="881742"/>
                        <a:pt x="252413" y="881742"/>
                      </a:cubicBezTo>
                      <a:cubicBezTo>
                        <a:pt x="252413" y="887895"/>
                        <a:pt x="247475" y="895167"/>
                        <a:pt x="240892" y="897405"/>
                      </a:cubicBezTo>
                      <a:cubicBezTo>
                        <a:pt x="188772" y="916425"/>
                        <a:pt x="188772" y="916425"/>
                        <a:pt x="188772" y="916425"/>
                      </a:cubicBezTo>
                      <a:cubicBezTo>
                        <a:pt x="182737" y="919222"/>
                        <a:pt x="177800" y="915865"/>
                        <a:pt x="177800" y="909712"/>
                      </a:cubicBezTo>
                      <a:cubicBezTo>
                        <a:pt x="177800" y="779930"/>
                        <a:pt x="177800" y="779930"/>
                        <a:pt x="177800" y="779930"/>
                      </a:cubicBezTo>
                      <a:cubicBezTo>
                        <a:pt x="177800" y="773776"/>
                        <a:pt x="182737" y="767063"/>
                        <a:pt x="188772" y="764826"/>
                      </a:cubicBezTo>
                      <a:cubicBezTo>
                        <a:pt x="240892" y="745247"/>
                        <a:pt x="240892" y="745247"/>
                        <a:pt x="240892" y="745247"/>
                      </a:cubicBezTo>
                      <a:close/>
                      <a:moveTo>
                        <a:pt x="330259" y="713483"/>
                      </a:moveTo>
                      <a:cubicBezTo>
                        <a:pt x="336339" y="711259"/>
                        <a:pt x="341313" y="714596"/>
                        <a:pt x="341313" y="720713"/>
                      </a:cubicBezTo>
                      <a:cubicBezTo>
                        <a:pt x="341313" y="849179"/>
                        <a:pt x="341313" y="849179"/>
                        <a:pt x="341313" y="849179"/>
                      </a:cubicBezTo>
                      <a:cubicBezTo>
                        <a:pt x="341313" y="855297"/>
                        <a:pt x="336339" y="862526"/>
                        <a:pt x="330259" y="864751"/>
                      </a:cubicBezTo>
                      <a:cubicBezTo>
                        <a:pt x="277754" y="883659"/>
                        <a:pt x="277754" y="883659"/>
                        <a:pt x="277754" y="883659"/>
                      </a:cubicBezTo>
                      <a:cubicBezTo>
                        <a:pt x="271674" y="885884"/>
                        <a:pt x="266700" y="883103"/>
                        <a:pt x="266700" y="876430"/>
                      </a:cubicBezTo>
                      <a:cubicBezTo>
                        <a:pt x="266700" y="747963"/>
                        <a:pt x="266700" y="747963"/>
                        <a:pt x="266700" y="747963"/>
                      </a:cubicBezTo>
                      <a:cubicBezTo>
                        <a:pt x="266700" y="741846"/>
                        <a:pt x="271674" y="735172"/>
                        <a:pt x="277754" y="732948"/>
                      </a:cubicBezTo>
                      <a:cubicBezTo>
                        <a:pt x="330259" y="713483"/>
                        <a:pt x="330259" y="713483"/>
                        <a:pt x="330259" y="713483"/>
                      </a:cubicBezTo>
                      <a:close/>
                      <a:moveTo>
                        <a:pt x="63092" y="632521"/>
                      </a:moveTo>
                      <a:cubicBezTo>
                        <a:pt x="69675" y="630297"/>
                        <a:pt x="74613" y="633634"/>
                        <a:pt x="74613" y="639751"/>
                      </a:cubicBezTo>
                      <a:cubicBezTo>
                        <a:pt x="74613" y="768217"/>
                        <a:pt x="74613" y="768217"/>
                        <a:pt x="74613" y="768217"/>
                      </a:cubicBezTo>
                      <a:cubicBezTo>
                        <a:pt x="74613" y="774335"/>
                        <a:pt x="69675" y="781564"/>
                        <a:pt x="63092" y="783789"/>
                      </a:cubicBezTo>
                      <a:cubicBezTo>
                        <a:pt x="10972" y="802697"/>
                        <a:pt x="10972" y="802697"/>
                        <a:pt x="10972" y="802697"/>
                      </a:cubicBezTo>
                      <a:cubicBezTo>
                        <a:pt x="4937" y="804922"/>
                        <a:pt x="0" y="802141"/>
                        <a:pt x="0" y="795468"/>
                      </a:cubicBezTo>
                      <a:cubicBezTo>
                        <a:pt x="0" y="667001"/>
                        <a:pt x="0" y="667001"/>
                        <a:pt x="0" y="667001"/>
                      </a:cubicBezTo>
                      <a:cubicBezTo>
                        <a:pt x="0" y="660884"/>
                        <a:pt x="4937" y="654210"/>
                        <a:pt x="10972" y="651986"/>
                      </a:cubicBezTo>
                      <a:cubicBezTo>
                        <a:pt x="63092" y="632521"/>
                        <a:pt x="63092" y="632521"/>
                        <a:pt x="63092" y="632521"/>
                      </a:cubicBezTo>
                      <a:close/>
                      <a:moveTo>
                        <a:pt x="152459" y="599183"/>
                      </a:moveTo>
                      <a:cubicBezTo>
                        <a:pt x="158539" y="596959"/>
                        <a:pt x="163513" y="600296"/>
                        <a:pt x="163513" y="606413"/>
                      </a:cubicBezTo>
                      <a:cubicBezTo>
                        <a:pt x="163513" y="734879"/>
                        <a:pt x="163513" y="734879"/>
                        <a:pt x="163513" y="734879"/>
                      </a:cubicBezTo>
                      <a:cubicBezTo>
                        <a:pt x="163513" y="740997"/>
                        <a:pt x="158539" y="748226"/>
                        <a:pt x="152459" y="750451"/>
                      </a:cubicBezTo>
                      <a:cubicBezTo>
                        <a:pt x="99954" y="769359"/>
                        <a:pt x="99954" y="769359"/>
                        <a:pt x="99954" y="769359"/>
                      </a:cubicBezTo>
                      <a:cubicBezTo>
                        <a:pt x="93874" y="771584"/>
                        <a:pt x="88900" y="768803"/>
                        <a:pt x="88900" y="762130"/>
                      </a:cubicBezTo>
                      <a:cubicBezTo>
                        <a:pt x="88900" y="633663"/>
                        <a:pt x="88900" y="633663"/>
                        <a:pt x="88900" y="633663"/>
                      </a:cubicBezTo>
                      <a:cubicBezTo>
                        <a:pt x="88900" y="627546"/>
                        <a:pt x="93874" y="620872"/>
                        <a:pt x="99954" y="618648"/>
                      </a:cubicBezTo>
                      <a:cubicBezTo>
                        <a:pt x="152459" y="599183"/>
                        <a:pt x="152459" y="599183"/>
                        <a:pt x="152459" y="599183"/>
                      </a:cubicBezTo>
                      <a:close/>
                      <a:moveTo>
                        <a:pt x="240892" y="567433"/>
                      </a:moveTo>
                      <a:cubicBezTo>
                        <a:pt x="247475" y="565209"/>
                        <a:pt x="252413" y="568546"/>
                        <a:pt x="252413" y="574663"/>
                      </a:cubicBezTo>
                      <a:cubicBezTo>
                        <a:pt x="252413" y="703129"/>
                        <a:pt x="252413" y="703129"/>
                        <a:pt x="252413" y="703129"/>
                      </a:cubicBezTo>
                      <a:cubicBezTo>
                        <a:pt x="252413" y="709247"/>
                        <a:pt x="247475" y="716476"/>
                        <a:pt x="240892" y="718701"/>
                      </a:cubicBezTo>
                      <a:cubicBezTo>
                        <a:pt x="188772" y="737609"/>
                        <a:pt x="188772" y="737609"/>
                        <a:pt x="188772" y="737609"/>
                      </a:cubicBezTo>
                      <a:cubicBezTo>
                        <a:pt x="182737" y="739834"/>
                        <a:pt x="177800" y="737053"/>
                        <a:pt x="177800" y="730380"/>
                      </a:cubicBezTo>
                      <a:cubicBezTo>
                        <a:pt x="177800" y="601913"/>
                        <a:pt x="177800" y="601913"/>
                        <a:pt x="177800" y="601913"/>
                      </a:cubicBezTo>
                      <a:cubicBezTo>
                        <a:pt x="177800" y="595796"/>
                        <a:pt x="182737" y="589122"/>
                        <a:pt x="188772" y="586342"/>
                      </a:cubicBezTo>
                      <a:cubicBezTo>
                        <a:pt x="240892" y="567433"/>
                        <a:pt x="240892" y="567433"/>
                        <a:pt x="240892" y="567433"/>
                      </a:cubicBezTo>
                      <a:close/>
                      <a:moveTo>
                        <a:pt x="330259" y="535683"/>
                      </a:moveTo>
                      <a:cubicBezTo>
                        <a:pt x="336339" y="533459"/>
                        <a:pt x="341313" y="536796"/>
                        <a:pt x="341313" y="542913"/>
                      </a:cubicBezTo>
                      <a:cubicBezTo>
                        <a:pt x="341313" y="671379"/>
                        <a:pt x="341313" y="671379"/>
                        <a:pt x="341313" y="671379"/>
                      </a:cubicBezTo>
                      <a:cubicBezTo>
                        <a:pt x="341313" y="677497"/>
                        <a:pt x="336339" y="684726"/>
                        <a:pt x="330259" y="686951"/>
                      </a:cubicBezTo>
                      <a:cubicBezTo>
                        <a:pt x="277754" y="705859"/>
                        <a:pt x="277754" y="705859"/>
                        <a:pt x="277754" y="705859"/>
                      </a:cubicBezTo>
                      <a:cubicBezTo>
                        <a:pt x="271674" y="708084"/>
                        <a:pt x="266700" y="705303"/>
                        <a:pt x="266700" y="698630"/>
                      </a:cubicBezTo>
                      <a:cubicBezTo>
                        <a:pt x="266700" y="570163"/>
                        <a:pt x="266700" y="570163"/>
                        <a:pt x="266700" y="570163"/>
                      </a:cubicBezTo>
                      <a:cubicBezTo>
                        <a:pt x="266700" y="564046"/>
                        <a:pt x="271674" y="556816"/>
                        <a:pt x="277754" y="554592"/>
                      </a:cubicBezTo>
                      <a:cubicBezTo>
                        <a:pt x="330259" y="535683"/>
                        <a:pt x="330259" y="535683"/>
                        <a:pt x="330259" y="535683"/>
                      </a:cubicBezTo>
                      <a:close/>
                      <a:moveTo>
                        <a:pt x="63092" y="453154"/>
                      </a:moveTo>
                      <a:cubicBezTo>
                        <a:pt x="69675" y="450909"/>
                        <a:pt x="74613" y="454276"/>
                        <a:pt x="74613" y="460449"/>
                      </a:cubicBezTo>
                      <a:cubicBezTo>
                        <a:pt x="74613" y="590083"/>
                        <a:pt x="74613" y="590083"/>
                        <a:pt x="74613" y="590083"/>
                      </a:cubicBezTo>
                      <a:cubicBezTo>
                        <a:pt x="74613" y="596257"/>
                        <a:pt x="69675" y="603552"/>
                        <a:pt x="63092" y="605797"/>
                      </a:cubicBezTo>
                      <a:cubicBezTo>
                        <a:pt x="10972" y="624877"/>
                        <a:pt x="10972" y="624877"/>
                        <a:pt x="10972" y="624877"/>
                      </a:cubicBezTo>
                      <a:cubicBezTo>
                        <a:pt x="4937" y="627122"/>
                        <a:pt x="0" y="624316"/>
                        <a:pt x="0" y="617582"/>
                      </a:cubicBezTo>
                      <a:cubicBezTo>
                        <a:pt x="0" y="487947"/>
                        <a:pt x="0" y="487947"/>
                        <a:pt x="0" y="487947"/>
                      </a:cubicBezTo>
                      <a:cubicBezTo>
                        <a:pt x="0" y="481774"/>
                        <a:pt x="4937" y="474479"/>
                        <a:pt x="10972" y="472234"/>
                      </a:cubicBezTo>
                      <a:cubicBezTo>
                        <a:pt x="63092" y="453154"/>
                        <a:pt x="63092" y="453154"/>
                        <a:pt x="63092" y="453154"/>
                      </a:cubicBezTo>
                      <a:close/>
                      <a:moveTo>
                        <a:pt x="152459" y="421383"/>
                      </a:moveTo>
                      <a:cubicBezTo>
                        <a:pt x="158539" y="419159"/>
                        <a:pt x="163513" y="421940"/>
                        <a:pt x="163513" y="428613"/>
                      </a:cubicBezTo>
                      <a:cubicBezTo>
                        <a:pt x="163513" y="557079"/>
                        <a:pt x="163513" y="557079"/>
                        <a:pt x="163513" y="557079"/>
                      </a:cubicBezTo>
                      <a:cubicBezTo>
                        <a:pt x="163513" y="563197"/>
                        <a:pt x="158539" y="570426"/>
                        <a:pt x="152459" y="572651"/>
                      </a:cubicBezTo>
                      <a:cubicBezTo>
                        <a:pt x="99954" y="591559"/>
                        <a:pt x="99954" y="591559"/>
                        <a:pt x="99954" y="591559"/>
                      </a:cubicBezTo>
                      <a:cubicBezTo>
                        <a:pt x="93874" y="593784"/>
                        <a:pt x="88900" y="590447"/>
                        <a:pt x="88900" y="584330"/>
                      </a:cubicBezTo>
                      <a:cubicBezTo>
                        <a:pt x="88900" y="455863"/>
                        <a:pt x="88900" y="455863"/>
                        <a:pt x="88900" y="455863"/>
                      </a:cubicBezTo>
                      <a:cubicBezTo>
                        <a:pt x="88900" y="449746"/>
                        <a:pt x="93874" y="442516"/>
                        <a:pt x="99954" y="440292"/>
                      </a:cubicBezTo>
                      <a:cubicBezTo>
                        <a:pt x="152459" y="421383"/>
                        <a:pt x="152459" y="421383"/>
                        <a:pt x="152459" y="421383"/>
                      </a:cubicBezTo>
                      <a:close/>
                      <a:moveTo>
                        <a:pt x="240892" y="389633"/>
                      </a:moveTo>
                      <a:cubicBezTo>
                        <a:pt x="247475" y="387409"/>
                        <a:pt x="252413" y="390190"/>
                        <a:pt x="252413" y="396863"/>
                      </a:cubicBezTo>
                      <a:cubicBezTo>
                        <a:pt x="252413" y="525329"/>
                        <a:pt x="252413" y="525329"/>
                        <a:pt x="252413" y="525329"/>
                      </a:cubicBezTo>
                      <a:cubicBezTo>
                        <a:pt x="252413" y="531447"/>
                        <a:pt x="247475" y="538120"/>
                        <a:pt x="240892" y="540901"/>
                      </a:cubicBezTo>
                      <a:cubicBezTo>
                        <a:pt x="188772" y="559809"/>
                        <a:pt x="188772" y="559809"/>
                        <a:pt x="188772" y="559809"/>
                      </a:cubicBezTo>
                      <a:cubicBezTo>
                        <a:pt x="182737" y="562034"/>
                        <a:pt x="177800" y="558697"/>
                        <a:pt x="177800" y="552580"/>
                      </a:cubicBezTo>
                      <a:cubicBezTo>
                        <a:pt x="177800" y="424113"/>
                        <a:pt x="177800" y="424113"/>
                        <a:pt x="177800" y="424113"/>
                      </a:cubicBezTo>
                      <a:cubicBezTo>
                        <a:pt x="177800" y="417996"/>
                        <a:pt x="182737" y="410766"/>
                        <a:pt x="188772" y="408542"/>
                      </a:cubicBezTo>
                      <a:cubicBezTo>
                        <a:pt x="240892" y="389633"/>
                        <a:pt x="240892" y="389633"/>
                        <a:pt x="240892" y="389633"/>
                      </a:cubicBezTo>
                      <a:close/>
                      <a:moveTo>
                        <a:pt x="330259" y="356317"/>
                      </a:moveTo>
                      <a:cubicBezTo>
                        <a:pt x="336339" y="354072"/>
                        <a:pt x="341313" y="356878"/>
                        <a:pt x="341313" y="363612"/>
                      </a:cubicBezTo>
                      <a:cubicBezTo>
                        <a:pt x="341313" y="493246"/>
                        <a:pt x="341313" y="493246"/>
                        <a:pt x="341313" y="493246"/>
                      </a:cubicBezTo>
                      <a:cubicBezTo>
                        <a:pt x="341313" y="499420"/>
                        <a:pt x="336339" y="506154"/>
                        <a:pt x="330259" y="508960"/>
                      </a:cubicBezTo>
                      <a:cubicBezTo>
                        <a:pt x="277754" y="528040"/>
                        <a:pt x="277754" y="528040"/>
                        <a:pt x="277754" y="528040"/>
                      </a:cubicBezTo>
                      <a:cubicBezTo>
                        <a:pt x="271674" y="530285"/>
                        <a:pt x="266700" y="526918"/>
                        <a:pt x="266700" y="520745"/>
                      </a:cubicBezTo>
                      <a:cubicBezTo>
                        <a:pt x="266700" y="391110"/>
                        <a:pt x="266700" y="391110"/>
                        <a:pt x="266700" y="391110"/>
                      </a:cubicBezTo>
                      <a:cubicBezTo>
                        <a:pt x="266700" y="384937"/>
                        <a:pt x="271674" y="377642"/>
                        <a:pt x="277754" y="375397"/>
                      </a:cubicBezTo>
                      <a:cubicBezTo>
                        <a:pt x="330259" y="356317"/>
                        <a:pt x="330259" y="356317"/>
                        <a:pt x="330259" y="356317"/>
                      </a:cubicBezTo>
                      <a:close/>
                      <a:moveTo>
                        <a:pt x="63092" y="275333"/>
                      </a:moveTo>
                      <a:cubicBezTo>
                        <a:pt x="69675" y="273109"/>
                        <a:pt x="74613" y="275890"/>
                        <a:pt x="74613" y="282563"/>
                      </a:cubicBezTo>
                      <a:cubicBezTo>
                        <a:pt x="74613" y="411029"/>
                        <a:pt x="74613" y="411029"/>
                        <a:pt x="74613" y="411029"/>
                      </a:cubicBezTo>
                      <a:cubicBezTo>
                        <a:pt x="74613" y="417147"/>
                        <a:pt x="69675" y="423820"/>
                        <a:pt x="63092" y="426601"/>
                      </a:cubicBezTo>
                      <a:cubicBezTo>
                        <a:pt x="10972" y="445509"/>
                        <a:pt x="10972" y="445509"/>
                        <a:pt x="10972" y="445509"/>
                      </a:cubicBezTo>
                      <a:cubicBezTo>
                        <a:pt x="4937" y="447734"/>
                        <a:pt x="0" y="444397"/>
                        <a:pt x="0" y="438280"/>
                      </a:cubicBezTo>
                      <a:cubicBezTo>
                        <a:pt x="0" y="309813"/>
                        <a:pt x="0" y="309813"/>
                        <a:pt x="0" y="309813"/>
                      </a:cubicBezTo>
                      <a:cubicBezTo>
                        <a:pt x="0" y="303696"/>
                        <a:pt x="4937" y="296466"/>
                        <a:pt x="10972" y="294242"/>
                      </a:cubicBezTo>
                      <a:cubicBezTo>
                        <a:pt x="63092" y="275333"/>
                        <a:pt x="63092" y="275333"/>
                        <a:pt x="63092" y="275333"/>
                      </a:cubicBezTo>
                      <a:close/>
                      <a:moveTo>
                        <a:pt x="152459" y="243583"/>
                      </a:moveTo>
                      <a:cubicBezTo>
                        <a:pt x="158539" y="241359"/>
                        <a:pt x="163513" y="244140"/>
                        <a:pt x="163513" y="250813"/>
                      </a:cubicBezTo>
                      <a:cubicBezTo>
                        <a:pt x="163513" y="379279"/>
                        <a:pt x="163513" y="379279"/>
                        <a:pt x="163513" y="379279"/>
                      </a:cubicBezTo>
                      <a:cubicBezTo>
                        <a:pt x="163513" y="385397"/>
                        <a:pt x="158539" y="392070"/>
                        <a:pt x="152459" y="394295"/>
                      </a:cubicBezTo>
                      <a:cubicBezTo>
                        <a:pt x="99954" y="413759"/>
                        <a:pt x="99954" y="413759"/>
                        <a:pt x="99954" y="413759"/>
                      </a:cubicBezTo>
                      <a:cubicBezTo>
                        <a:pt x="93874" y="415984"/>
                        <a:pt x="88900" y="412647"/>
                        <a:pt x="88900" y="406530"/>
                      </a:cubicBezTo>
                      <a:cubicBezTo>
                        <a:pt x="88900" y="278063"/>
                        <a:pt x="88900" y="278063"/>
                        <a:pt x="88900" y="278063"/>
                      </a:cubicBezTo>
                      <a:cubicBezTo>
                        <a:pt x="88900" y="271946"/>
                        <a:pt x="93874" y="264716"/>
                        <a:pt x="99954" y="262492"/>
                      </a:cubicBezTo>
                      <a:cubicBezTo>
                        <a:pt x="152459" y="243583"/>
                        <a:pt x="152459" y="243583"/>
                        <a:pt x="152459" y="243583"/>
                      </a:cubicBezTo>
                      <a:close/>
                      <a:moveTo>
                        <a:pt x="240892" y="211833"/>
                      </a:moveTo>
                      <a:cubicBezTo>
                        <a:pt x="247475" y="209609"/>
                        <a:pt x="252413" y="212390"/>
                        <a:pt x="252413" y="219063"/>
                      </a:cubicBezTo>
                      <a:cubicBezTo>
                        <a:pt x="252413" y="347529"/>
                        <a:pt x="252413" y="347529"/>
                        <a:pt x="252413" y="347529"/>
                      </a:cubicBezTo>
                      <a:cubicBezTo>
                        <a:pt x="252413" y="353647"/>
                        <a:pt x="247475" y="360320"/>
                        <a:pt x="240892" y="362545"/>
                      </a:cubicBezTo>
                      <a:cubicBezTo>
                        <a:pt x="188772" y="382009"/>
                        <a:pt x="188772" y="382009"/>
                        <a:pt x="188772" y="382009"/>
                      </a:cubicBezTo>
                      <a:cubicBezTo>
                        <a:pt x="182737" y="384234"/>
                        <a:pt x="177800" y="380897"/>
                        <a:pt x="177800" y="374780"/>
                      </a:cubicBezTo>
                      <a:cubicBezTo>
                        <a:pt x="177800" y="246313"/>
                        <a:pt x="177800" y="246313"/>
                        <a:pt x="177800" y="246313"/>
                      </a:cubicBezTo>
                      <a:cubicBezTo>
                        <a:pt x="177800" y="240196"/>
                        <a:pt x="182737" y="232966"/>
                        <a:pt x="188772" y="230742"/>
                      </a:cubicBezTo>
                      <a:cubicBezTo>
                        <a:pt x="240892" y="211833"/>
                        <a:pt x="240892" y="211833"/>
                        <a:pt x="240892" y="211833"/>
                      </a:cubicBezTo>
                      <a:close/>
                      <a:moveTo>
                        <a:pt x="330259" y="179044"/>
                      </a:moveTo>
                      <a:cubicBezTo>
                        <a:pt x="336339" y="176272"/>
                        <a:pt x="341313" y="179598"/>
                        <a:pt x="341313" y="185696"/>
                      </a:cubicBezTo>
                      <a:cubicBezTo>
                        <a:pt x="341313" y="314309"/>
                        <a:pt x="341313" y="314309"/>
                        <a:pt x="341313" y="314309"/>
                      </a:cubicBezTo>
                      <a:cubicBezTo>
                        <a:pt x="341313" y="320407"/>
                        <a:pt x="336339" y="327059"/>
                        <a:pt x="330259" y="329277"/>
                      </a:cubicBezTo>
                      <a:cubicBezTo>
                        <a:pt x="277754" y="348679"/>
                        <a:pt x="277754" y="348679"/>
                        <a:pt x="277754" y="348679"/>
                      </a:cubicBezTo>
                      <a:cubicBezTo>
                        <a:pt x="271674" y="350897"/>
                        <a:pt x="266700" y="347571"/>
                        <a:pt x="266700" y="341473"/>
                      </a:cubicBezTo>
                      <a:cubicBezTo>
                        <a:pt x="266700" y="213414"/>
                        <a:pt x="266700" y="213414"/>
                        <a:pt x="266700" y="213414"/>
                      </a:cubicBezTo>
                      <a:cubicBezTo>
                        <a:pt x="266700" y="207316"/>
                        <a:pt x="271674" y="200110"/>
                        <a:pt x="277754" y="197892"/>
                      </a:cubicBezTo>
                      <a:cubicBezTo>
                        <a:pt x="330259" y="179044"/>
                        <a:pt x="330259" y="179044"/>
                        <a:pt x="330259" y="179044"/>
                      </a:cubicBezTo>
                      <a:close/>
                      <a:moveTo>
                        <a:pt x="63092" y="98081"/>
                      </a:moveTo>
                      <a:cubicBezTo>
                        <a:pt x="69675" y="95309"/>
                        <a:pt x="74613" y="98635"/>
                        <a:pt x="74613" y="104733"/>
                      </a:cubicBezTo>
                      <a:cubicBezTo>
                        <a:pt x="74613" y="233346"/>
                        <a:pt x="74613" y="233346"/>
                        <a:pt x="74613" y="233346"/>
                      </a:cubicBezTo>
                      <a:cubicBezTo>
                        <a:pt x="74613" y="239444"/>
                        <a:pt x="69675" y="246096"/>
                        <a:pt x="63092" y="248314"/>
                      </a:cubicBezTo>
                      <a:cubicBezTo>
                        <a:pt x="10972" y="267716"/>
                        <a:pt x="10972" y="267716"/>
                        <a:pt x="10972" y="267716"/>
                      </a:cubicBezTo>
                      <a:cubicBezTo>
                        <a:pt x="4937" y="269934"/>
                        <a:pt x="0" y="266608"/>
                        <a:pt x="0" y="260510"/>
                      </a:cubicBezTo>
                      <a:cubicBezTo>
                        <a:pt x="0" y="132451"/>
                        <a:pt x="0" y="132451"/>
                        <a:pt x="0" y="132451"/>
                      </a:cubicBezTo>
                      <a:cubicBezTo>
                        <a:pt x="0" y="126353"/>
                        <a:pt x="4937" y="119147"/>
                        <a:pt x="10972" y="116929"/>
                      </a:cubicBezTo>
                      <a:cubicBezTo>
                        <a:pt x="63092" y="98081"/>
                        <a:pt x="63092" y="98081"/>
                        <a:pt x="63092" y="98081"/>
                      </a:cubicBezTo>
                      <a:close/>
                      <a:moveTo>
                        <a:pt x="152459" y="66331"/>
                      </a:moveTo>
                      <a:cubicBezTo>
                        <a:pt x="158539" y="63559"/>
                        <a:pt x="163513" y="66885"/>
                        <a:pt x="163513" y="72983"/>
                      </a:cubicBezTo>
                      <a:cubicBezTo>
                        <a:pt x="163513" y="201596"/>
                        <a:pt x="163513" y="201596"/>
                        <a:pt x="163513" y="201596"/>
                      </a:cubicBezTo>
                      <a:cubicBezTo>
                        <a:pt x="163513" y="207694"/>
                        <a:pt x="158539" y="214346"/>
                        <a:pt x="152459" y="216564"/>
                      </a:cubicBezTo>
                      <a:cubicBezTo>
                        <a:pt x="99954" y="235966"/>
                        <a:pt x="99954" y="235966"/>
                        <a:pt x="99954" y="235966"/>
                      </a:cubicBezTo>
                      <a:cubicBezTo>
                        <a:pt x="93874" y="238184"/>
                        <a:pt x="88900" y="234858"/>
                        <a:pt x="88900" y="228760"/>
                      </a:cubicBezTo>
                      <a:cubicBezTo>
                        <a:pt x="88900" y="100701"/>
                        <a:pt x="88900" y="100701"/>
                        <a:pt x="88900" y="100701"/>
                      </a:cubicBezTo>
                      <a:cubicBezTo>
                        <a:pt x="88900" y="94603"/>
                        <a:pt x="93874" y="87397"/>
                        <a:pt x="99954" y="85179"/>
                      </a:cubicBezTo>
                      <a:cubicBezTo>
                        <a:pt x="152459" y="66331"/>
                        <a:pt x="152459" y="66331"/>
                        <a:pt x="152459" y="66331"/>
                      </a:cubicBezTo>
                      <a:close/>
                      <a:moveTo>
                        <a:pt x="240892" y="32460"/>
                      </a:moveTo>
                      <a:cubicBezTo>
                        <a:pt x="247475" y="30222"/>
                        <a:pt x="252413" y="33578"/>
                        <a:pt x="252413" y="39732"/>
                      </a:cubicBezTo>
                      <a:cubicBezTo>
                        <a:pt x="252413" y="169514"/>
                        <a:pt x="252413" y="169514"/>
                        <a:pt x="252413" y="169514"/>
                      </a:cubicBezTo>
                      <a:cubicBezTo>
                        <a:pt x="252413" y="175668"/>
                        <a:pt x="247475" y="182380"/>
                        <a:pt x="240892" y="184618"/>
                      </a:cubicBezTo>
                      <a:cubicBezTo>
                        <a:pt x="188772" y="204197"/>
                        <a:pt x="188772" y="204197"/>
                        <a:pt x="188772" y="204197"/>
                      </a:cubicBezTo>
                      <a:cubicBezTo>
                        <a:pt x="182737" y="206435"/>
                        <a:pt x="177800" y="203078"/>
                        <a:pt x="177800" y="196925"/>
                      </a:cubicBezTo>
                      <a:cubicBezTo>
                        <a:pt x="177800" y="67702"/>
                        <a:pt x="177800" y="67702"/>
                        <a:pt x="177800" y="67702"/>
                      </a:cubicBezTo>
                      <a:cubicBezTo>
                        <a:pt x="177800" y="61549"/>
                        <a:pt x="182737" y="54276"/>
                        <a:pt x="188772" y="52039"/>
                      </a:cubicBezTo>
                      <a:cubicBezTo>
                        <a:pt x="240892" y="32460"/>
                        <a:pt x="240892" y="32460"/>
                        <a:pt x="240892" y="32460"/>
                      </a:cubicBezTo>
                      <a:close/>
                      <a:moveTo>
                        <a:pt x="330259" y="689"/>
                      </a:moveTo>
                      <a:cubicBezTo>
                        <a:pt x="336339" y="-1528"/>
                        <a:pt x="341313" y="1798"/>
                        <a:pt x="341313" y="7896"/>
                      </a:cubicBezTo>
                      <a:cubicBezTo>
                        <a:pt x="341313" y="136509"/>
                        <a:pt x="341313" y="136509"/>
                        <a:pt x="341313" y="136509"/>
                      </a:cubicBezTo>
                      <a:cubicBezTo>
                        <a:pt x="341313" y="142607"/>
                        <a:pt x="336339" y="149259"/>
                        <a:pt x="330259" y="151477"/>
                      </a:cubicBezTo>
                      <a:cubicBezTo>
                        <a:pt x="277754" y="170879"/>
                        <a:pt x="277754" y="170879"/>
                        <a:pt x="277754" y="170879"/>
                      </a:cubicBezTo>
                      <a:cubicBezTo>
                        <a:pt x="271674" y="173097"/>
                        <a:pt x="266700" y="169771"/>
                        <a:pt x="266700" y="163673"/>
                      </a:cubicBezTo>
                      <a:cubicBezTo>
                        <a:pt x="266700" y="35614"/>
                        <a:pt x="266700" y="35614"/>
                        <a:pt x="266700" y="35614"/>
                      </a:cubicBezTo>
                      <a:cubicBezTo>
                        <a:pt x="266700" y="28962"/>
                        <a:pt x="271674" y="22310"/>
                        <a:pt x="277754" y="20092"/>
                      </a:cubicBezTo>
                      <a:cubicBezTo>
                        <a:pt x="330259" y="689"/>
                        <a:pt x="330259" y="689"/>
                        <a:pt x="330259" y="68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743407">
                    <a:lnSpc>
                      <a:spcPct val="90000"/>
                    </a:lnSpc>
                    <a:defRPr/>
                  </a:pPr>
                  <a:endParaRPr lang="de-DE" sz="976" kern="0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</p:grpSp>
        </p:grpSp>
        <p:grpSp>
          <p:nvGrpSpPr>
            <p:cNvPr id="492" name="Group 491">
              <a:extLst>
                <a:ext uri="{FF2B5EF4-FFF2-40B4-BE49-F238E27FC236}">
                  <a16:creationId xmlns:a16="http://schemas.microsoft.com/office/drawing/2014/main" id="{F202DCB4-AFCD-24AB-F3E7-4A7B53984966}"/>
                </a:ext>
              </a:extLst>
            </p:cNvPr>
            <p:cNvGrpSpPr/>
            <p:nvPr/>
          </p:nvGrpSpPr>
          <p:grpSpPr>
            <a:xfrm rot="5400000">
              <a:off x="929387" y="1848156"/>
              <a:ext cx="291337" cy="208478"/>
              <a:chOff x="1265737" y="1588422"/>
              <a:chExt cx="377741" cy="270308"/>
            </a:xfrm>
          </p:grpSpPr>
          <p:sp>
            <p:nvSpPr>
              <p:cNvPr id="493" name="Freeform: Shape 492">
                <a:extLst>
                  <a:ext uri="{FF2B5EF4-FFF2-40B4-BE49-F238E27FC236}">
                    <a16:creationId xmlns:a16="http://schemas.microsoft.com/office/drawing/2014/main" id="{886CE928-1703-B207-9A69-15DE41CBFBC6}"/>
                  </a:ext>
                </a:extLst>
              </p:cNvPr>
              <p:cNvSpPr/>
              <p:nvPr/>
            </p:nvSpPr>
            <p:spPr>
              <a:xfrm>
                <a:off x="1265737" y="1678664"/>
                <a:ext cx="179393" cy="180066"/>
              </a:xfrm>
              <a:custGeom>
                <a:avLst/>
                <a:gdLst>
                  <a:gd name="connsiteX0" fmla="*/ 188644 w 202472"/>
                  <a:gd name="connsiteY0" fmla="*/ 94663 h 203231"/>
                  <a:gd name="connsiteX1" fmla="*/ 198173 w 202472"/>
                  <a:gd name="connsiteY1" fmla="*/ 114971 h 203231"/>
                  <a:gd name="connsiteX2" fmla="*/ 113351 w 202472"/>
                  <a:gd name="connsiteY2" fmla="*/ 198231 h 203231"/>
                  <a:gd name="connsiteX3" fmla="*/ 95387 w 202472"/>
                  <a:gd name="connsiteY3" fmla="*/ 201042 h 203231"/>
                  <a:gd name="connsiteX4" fmla="*/ 4316 w 202472"/>
                  <a:gd name="connsiteY4" fmla="*/ 114971 h 203231"/>
                  <a:gd name="connsiteX5" fmla="*/ 13376 w 202472"/>
                  <a:gd name="connsiteY5" fmla="*/ 94663 h 203231"/>
                  <a:gd name="connsiteX6" fmla="*/ 61645 w 202472"/>
                  <a:gd name="connsiteY6" fmla="*/ 94663 h 203231"/>
                  <a:gd name="connsiteX7" fmla="*/ 61645 w 202472"/>
                  <a:gd name="connsiteY7" fmla="*/ 17496 h 203231"/>
                  <a:gd name="connsiteX8" fmla="*/ 79610 w 202472"/>
                  <a:gd name="connsiteY8" fmla="*/ 0 h 203231"/>
                  <a:gd name="connsiteX9" fmla="*/ 122880 w 202472"/>
                  <a:gd name="connsiteY9" fmla="*/ 0 h 203231"/>
                  <a:gd name="connsiteX10" fmla="*/ 140375 w 202472"/>
                  <a:gd name="connsiteY10" fmla="*/ 17496 h 203231"/>
                  <a:gd name="connsiteX11" fmla="*/ 140375 w 202472"/>
                  <a:gd name="connsiteY11" fmla="*/ 94663 h 203231"/>
                  <a:gd name="connsiteX12" fmla="*/ 188644 w 202472"/>
                  <a:gd name="connsiteY12" fmla="*/ 94663 h 203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2472" h="203231">
                    <a:moveTo>
                      <a:pt x="188644" y="94663"/>
                    </a:moveTo>
                    <a:cubicBezTo>
                      <a:pt x="200985" y="94663"/>
                      <a:pt x="207233" y="106223"/>
                      <a:pt x="198173" y="114971"/>
                    </a:cubicBezTo>
                    <a:cubicBezTo>
                      <a:pt x="113351" y="198231"/>
                      <a:pt x="113351" y="198231"/>
                      <a:pt x="113351" y="198231"/>
                    </a:cubicBezTo>
                    <a:cubicBezTo>
                      <a:pt x="107103" y="204323"/>
                      <a:pt x="98199" y="204323"/>
                      <a:pt x="95387" y="201042"/>
                    </a:cubicBezTo>
                    <a:cubicBezTo>
                      <a:pt x="4316" y="114971"/>
                      <a:pt x="4316" y="114971"/>
                      <a:pt x="4316" y="114971"/>
                    </a:cubicBezTo>
                    <a:cubicBezTo>
                      <a:pt x="-4744" y="106223"/>
                      <a:pt x="1505" y="94663"/>
                      <a:pt x="13376" y="94663"/>
                    </a:cubicBezTo>
                    <a:cubicBezTo>
                      <a:pt x="61645" y="94663"/>
                      <a:pt x="61645" y="94663"/>
                      <a:pt x="61645" y="94663"/>
                    </a:cubicBezTo>
                    <a:cubicBezTo>
                      <a:pt x="61645" y="17496"/>
                      <a:pt x="61645" y="17496"/>
                      <a:pt x="61645" y="17496"/>
                    </a:cubicBezTo>
                    <a:cubicBezTo>
                      <a:pt x="61645" y="8123"/>
                      <a:pt x="69456" y="0"/>
                      <a:pt x="79610" y="0"/>
                    </a:cubicBezTo>
                    <a:cubicBezTo>
                      <a:pt x="122880" y="0"/>
                      <a:pt x="122880" y="0"/>
                      <a:pt x="122880" y="0"/>
                    </a:cubicBezTo>
                    <a:cubicBezTo>
                      <a:pt x="132409" y="0"/>
                      <a:pt x="140375" y="8279"/>
                      <a:pt x="140375" y="17496"/>
                    </a:cubicBezTo>
                    <a:cubicBezTo>
                      <a:pt x="140375" y="94663"/>
                      <a:pt x="140375" y="94663"/>
                      <a:pt x="140375" y="94663"/>
                    </a:cubicBezTo>
                    <a:cubicBezTo>
                      <a:pt x="188644" y="94663"/>
                      <a:pt x="188644" y="94663"/>
                      <a:pt x="188644" y="94663"/>
                    </a:cubicBezTo>
                    <a:close/>
                  </a:path>
                </a:pathLst>
              </a:custGeom>
              <a:solidFill>
                <a:srgbClr val="2853DC"/>
              </a:solidFill>
              <a:ln w="15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 kern="0">
                  <a:solidFill>
                    <a:srgbClr val="13171F"/>
                  </a:solidFill>
                  <a:latin typeface="Calibri"/>
                </a:endParaRPr>
              </a:p>
            </p:txBody>
          </p:sp>
          <p:sp>
            <p:nvSpPr>
              <p:cNvPr id="494" name="Freeform: Shape 493">
                <a:extLst>
                  <a:ext uri="{FF2B5EF4-FFF2-40B4-BE49-F238E27FC236}">
                    <a16:creationId xmlns:a16="http://schemas.microsoft.com/office/drawing/2014/main" id="{CDE7EC44-4EB4-6BB6-AEB1-E40F2C52A8F4}"/>
                  </a:ext>
                </a:extLst>
              </p:cNvPr>
              <p:cNvSpPr/>
              <p:nvPr/>
            </p:nvSpPr>
            <p:spPr>
              <a:xfrm>
                <a:off x="1464085" y="1588422"/>
                <a:ext cx="179393" cy="180066"/>
              </a:xfrm>
              <a:custGeom>
                <a:avLst/>
                <a:gdLst>
                  <a:gd name="connsiteX0" fmla="*/ 13828 w 202472"/>
                  <a:gd name="connsiteY0" fmla="*/ 108568 h 203231"/>
                  <a:gd name="connsiteX1" fmla="*/ 4300 w 202472"/>
                  <a:gd name="connsiteY1" fmla="*/ 88261 h 203231"/>
                  <a:gd name="connsiteX2" fmla="*/ 89122 w 202472"/>
                  <a:gd name="connsiteY2" fmla="*/ 5001 h 203231"/>
                  <a:gd name="connsiteX3" fmla="*/ 107086 w 202472"/>
                  <a:gd name="connsiteY3" fmla="*/ 2189 h 203231"/>
                  <a:gd name="connsiteX4" fmla="*/ 198156 w 202472"/>
                  <a:gd name="connsiteY4" fmla="*/ 88261 h 203231"/>
                  <a:gd name="connsiteX5" fmla="*/ 189096 w 202472"/>
                  <a:gd name="connsiteY5" fmla="*/ 108568 h 203231"/>
                  <a:gd name="connsiteX6" fmla="*/ 140827 w 202472"/>
                  <a:gd name="connsiteY6" fmla="*/ 108568 h 203231"/>
                  <a:gd name="connsiteX7" fmla="*/ 140827 w 202472"/>
                  <a:gd name="connsiteY7" fmla="*/ 185736 h 203231"/>
                  <a:gd name="connsiteX8" fmla="*/ 122863 w 202472"/>
                  <a:gd name="connsiteY8" fmla="*/ 203231 h 203231"/>
                  <a:gd name="connsiteX9" fmla="*/ 79593 w 202472"/>
                  <a:gd name="connsiteY9" fmla="*/ 203231 h 203231"/>
                  <a:gd name="connsiteX10" fmla="*/ 62097 w 202472"/>
                  <a:gd name="connsiteY10" fmla="*/ 185736 h 203231"/>
                  <a:gd name="connsiteX11" fmla="*/ 62097 w 202472"/>
                  <a:gd name="connsiteY11" fmla="*/ 108568 h 203231"/>
                  <a:gd name="connsiteX12" fmla="*/ 13828 w 202472"/>
                  <a:gd name="connsiteY12" fmla="*/ 108568 h 203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2472" h="203231">
                    <a:moveTo>
                      <a:pt x="13828" y="108568"/>
                    </a:moveTo>
                    <a:cubicBezTo>
                      <a:pt x="1488" y="108568"/>
                      <a:pt x="-4761" y="97009"/>
                      <a:pt x="4300" y="88261"/>
                    </a:cubicBezTo>
                    <a:cubicBezTo>
                      <a:pt x="89122" y="5001"/>
                      <a:pt x="89122" y="5001"/>
                      <a:pt x="89122" y="5001"/>
                    </a:cubicBezTo>
                    <a:cubicBezTo>
                      <a:pt x="95370" y="-1091"/>
                      <a:pt x="104274" y="-1091"/>
                      <a:pt x="107086" y="2189"/>
                    </a:cubicBezTo>
                    <a:cubicBezTo>
                      <a:pt x="198156" y="88261"/>
                      <a:pt x="198156" y="88261"/>
                      <a:pt x="198156" y="88261"/>
                    </a:cubicBezTo>
                    <a:cubicBezTo>
                      <a:pt x="207216" y="97009"/>
                      <a:pt x="200968" y="108568"/>
                      <a:pt x="189096" y="108568"/>
                    </a:cubicBezTo>
                    <a:cubicBezTo>
                      <a:pt x="140827" y="108568"/>
                      <a:pt x="140827" y="108568"/>
                      <a:pt x="140827" y="108568"/>
                    </a:cubicBezTo>
                    <a:cubicBezTo>
                      <a:pt x="140827" y="185736"/>
                      <a:pt x="140827" y="185736"/>
                      <a:pt x="140827" y="185736"/>
                    </a:cubicBezTo>
                    <a:cubicBezTo>
                      <a:pt x="140827" y="195108"/>
                      <a:pt x="133017" y="203231"/>
                      <a:pt x="122863" y="203231"/>
                    </a:cubicBezTo>
                    <a:cubicBezTo>
                      <a:pt x="79593" y="203231"/>
                      <a:pt x="79593" y="203231"/>
                      <a:pt x="79593" y="203231"/>
                    </a:cubicBezTo>
                    <a:cubicBezTo>
                      <a:pt x="70064" y="203231"/>
                      <a:pt x="62097" y="194952"/>
                      <a:pt x="62097" y="185736"/>
                    </a:cubicBezTo>
                    <a:cubicBezTo>
                      <a:pt x="62097" y="108568"/>
                      <a:pt x="62097" y="108568"/>
                      <a:pt x="62097" y="108568"/>
                    </a:cubicBezTo>
                    <a:cubicBezTo>
                      <a:pt x="13828" y="108568"/>
                      <a:pt x="13828" y="108568"/>
                      <a:pt x="13828" y="108568"/>
                    </a:cubicBezTo>
                    <a:close/>
                  </a:path>
                </a:pathLst>
              </a:custGeom>
              <a:solidFill>
                <a:srgbClr val="2853DC"/>
              </a:solidFill>
              <a:ln w="15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 kern="0">
                  <a:solidFill>
                    <a:srgbClr val="13171F"/>
                  </a:solidFill>
                  <a:latin typeface="Calibri"/>
                </a:endParaRPr>
              </a:p>
            </p:txBody>
          </p:sp>
        </p:grpSp>
      </p:grpSp>
      <p:grpSp>
        <p:nvGrpSpPr>
          <p:cNvPr id="511" name="Group 510">
            <a:extLst>
              <a:ext uri="{FF2B5EF4-FFF2-40B4-BE49-F238E27FC236}">
                <a16:creationId xmlns:a16="http://schemas.microsoft.com/office/drawing/2014/main" id="{4FDD8976-08EF-72EA-B6D8-F7E7C5080B4E}"/>
              </a:ext>
            </a:extLst>
          </p:cNvPr>
          <p:cNvGrpSpPr/>
          <p:nvPr/>
        </p:nvGrpSpPr>
        <p:grpSpPr>
          <a:xfrm>
            <a:off x="4780767" y="3434776"/>
            <a:ext cx="826650" cy="464869"/>
            <a:chOff x="519786" y="3075178"/>
            <a:chExt cx="1016737" cy="571765"/>
          </a:xfrm>
        </p:grpSpPr>
        <p:grpSp>
          <p:nvGrpSpPr>
            <p:cNvPr id="512" name="Group 511">
              <a:extLst>
                <a:ext uri="{FF2B5EF4-FFF2-40B4-BE49-F238E27FC236}">
                  <a16:creationId xmlns:a16="http://schemas.microsoft.com/office/drawing/2014/main" id="{76DBA1FB-7611-F630-9B3A-1939655C0EF6}"/>
                </a:ext>
              </a:extLst>
            </p:cNvPr>
            <p:cNvGrpSpPr/>
            <p:nvPr/>
          </p:nvGrpSpPr>
          <p:grpSpPr>
            <a:xfrm>
              <a:off x="519786" y="3078100"/>
              <a:ext cx="391781" cy="568843"/>
              <a:chOff x="4319166" y="-841949"/>
              <a:chExt cx="600483" cy="871866"/>
            </a:xfrm>
          </p:grpSpPr>
          <p:sp>
            <p:nvSpPr>
              <p:cNvPr id="521" name="Freeform: Shape 431">
                <a:extLst>
                  <a:ext uri="{FF2B5EF4-FFF2-40B4-BE49-F238E27FC236}">
                    <a16:creationId xmlns:a16="http://schemas.microsoft.com/office/drawing/2014/main" id="{4BBE0953-1BA6-A03B-06D0-D18318F82D01}"/>
                  </a:ext>
                </a:extLst>
              </p:cNvPr>
              <p:cNvSpPr/>
              <p:nvPr/>
            </p:nvSpPr>
            <p:spPr>
              <a:xfrm>
                <a:off x="4319166" y="-841949"/>
                <a:ext cx="600482" cy="871866"/>
              </a:xfrm>
              <a:custGeom>
                <a:avLst/>
                <a:gdLst>
                  <a:gd name="connsiteX0" fmla="*/ 195096 w 3278506"/>
                  <a:gd name="connsiteY0" fmla="*/ 0 h 4760204"/>
                  <a:gd name="connsiteX1" fmla="*/ 3066829 w 3278506"/>
                  <a:gd name="connsiteY1" fmla="*/ 550 h 4760204"/>
                  <a:gd name="connsiteX2" fmla="*/ 3095016 w 3278506"/>
                  <a:gd name="connsiteY2" fmla="*/ 550 h 4760204"/>
                  <a:gd name="connsiteX3" fmla="*/ 3278506 w 3278506"/>
                  <a:gd name="connsiteY3" fmla="*/ 197050 h 4760204"/>
                  <a:gd name="connsiteX4" fmla="*/ 3278506 w 3278506"/>
                  <a:gd name="connsiteY4" fmla="*/ 1860969 h 4760204"/>
                  <a:gd name="connsiteX5" fmla="*/ 2994980 w 3278506"/>
                  <a:gd name="connsiteY5" fmla="*/ 2296902 h 4760204"/>
                  <a:gd name="connsiteX6" fmla="*/ 1905093 w 3278506"/>
                  <a:gd name="connsiteY6" fmla="*/ 2780720 h 4760204"/>
                  <a:gd name="connsiteX7" fmla="*/ 1905093 w 3278506"/>
                  <a:gd name="connsiteY7" fmla="*/ 3111143 h 4760204"/>
                  <a:gd name="connsiteX8" fmla="*/ 1905093 w 3278506"/>
                  <a:gd name="connsiteY8" fmla="*/ 3133079 h 4760204"/>
                  <a:gd name="connsiteX9" fmla="*/ 1905093 w 3278506"/>
                  <a:gd name="connsiteY9" fmla="*/ 3209700 h 4760204"/>
                  <a:gd name="connsiteX10" fmla="*/ 1905093 w 3278506"/>
                  <a:gd name="connsiteY10" fmla="*/ 3234479 h 4760204"/>
                  <a:gd name="connsiteX11" fmla="*/ 1905093 w 3278506"/>
                  <a:gd name="connsiteY11" fmla="*/ 3326130 h 4760204"/>
                  <a:gd name="connsiteX12" fmla="*/ 1905093 w 3278506"/>
                  <a:gd name="connsiteY12" fmla="*/ 3461923 h 4760204"/>
                  <a:gd name="connsiteX13" fmla="*/ 1905093 w 3278506"/>
                  <a:gd name="connsiteY13" fmla="*/ 3493124 h 4760204"/>
                  <a:gd name="connsiteX14" fmla="*/ 1905093 w 3278506"/>
                  <a:gd name="connsiteY14" fmla="*/ 3618570 h 4760204"/>
                  <a:gd name="connsiteX15" fmla="*/ 1905093 w 3278506"/>
                  <a:gd name="connsiteY15" fmla="*/ 3787925 h 4760204"/>
                  <a:gd name="connsiteX16" fmla="*/ 1905093 w 3278506"/>
                  <a:gd name="connsiteY16" fmla="*/ 3797560 h 4760204"/>
                  <a:gd name="connsiteX17" fmla="*/ 1905093 w 3278506"/>
                  <a:gd name="connsiteY17" fmla="*/ 3828635 h 4760204"/>
                  <a:gd name="connsiteX18" fmla="*/ 1905093 w 3278506"/>
                  <a:gd name="connsiteY18" fmla="*/ 4121246 h 4760204"/>
                  <a:gd name="connsiteX19" fmla="*/ 1905093 w 3278506"/>
                  <a:gd name="connsiteY19" fmla="*/ 4495452 h 4760204"/>
                  <a:gd name="connsiteX20" fmla="*/ 1639253 w 3278506"/>
                  <a:gd name="connsiteY20" fmla="*/ 4760204 h 4760204"/>
                  <a:gd name="connsiteX21" fmla="*/ 1373413 w 3278506"/>
                  <a:gd name="connsiteY21" fmla="*/ 4495452 h 4760204"/>
                  <a:gd name="connsiteX22" fmla="*/ 1373413 w 3278506"/>
                  <a:gd name="connsiteY22" fmla="*/ 3950042 h 4760204"/>
                  <a:gd name="connsiteX23" fmla="*/ 1373413 w 3278506"/>
                  <a:gd name="connsiteY23" fmla="*/ 3828635 h 4760204"/>
                  <a:gd name="connsiteX24" fmla="*/ 1373413 w 3278506"/>
                  <a:gd name="connsiteY24" fmla="*/ 3802012 h 4760204"/>
                  <a:gd name="connsiteX25" fmla="*/ 1373413 w 3278506"/>
                  <a:gd name="connsiteY25" fmla="*/ 3743202 h 4760204"/>
                  <a:gd name="connsiteX26" fmla="*/ 1373413 w 3278506"/>
                  <a:gd name="connsiteY26" fmla="*/ 3629362 h 4760204"/>
                  <a:gd name="connsiteX27" fmla="*/ 1373413 w 3278506"/>
                  <a:gd name="connsiteY27" fmla="*/ 3532665 h 4760204"/>
                  <a:gd name="connsiteX28" fmla="*/ 1373413 w 3278506"/>
                  <a:gd name="connsiteY28" fmla="*/ 3430199 h 4760204"/>
                  <a:gd name="connsiteX29" fmla="*/ 1373413 w 3278506"/>
                  <a:gd name="connsiteY29" fmla="*/ 3302647 h 4760204"/>
                  <a:gd name="connsiteX30" fmla="*/ 1373413 w 3278506"/>
                  <a:gd name="connsiteY30" fmla="*/ 3202629 h 4760204"/>
                  <a:gd name="connsiteX31" fmla="*/ 1373413 w 3278506"/>
                  <a:gd name="connsiteY31" fmla="*/ 3133079 h 4760204"/>
                  <a:gd name="connsiteX32" fmla="*/ 1373413 w 3278506"/>
                  <a:gd name="connsiteY32" fmla="*/ 3052286 h 4760204"/>
                  <a:gd name="connsiteX33" fmla="*/ 1373413 w 3278506"/>
                  <a:gd name="connsiteY33" fmla="*/ 2780720 h 4760204"/>
                  <a:gd name="connsiteX34" fmla="*/ 283525 w 3278506"/>
                  <a:gd name="connsiteY34" fmla="*/ 2296902 h 4760204"/>
                  <a:gd name="connsiteX35" fmla="*/ 0 w 3278506"/>
                  <a:gd name="connsiteY35" fmla="*/ 1860969 h 4760204"/>
                  <a:gd name="connsiteX36" fmla="*/ 0 w 3278506"/>
                  <a:gd name="connsiteY36" fmla="*/ 197050 h 4760204"/>
                  <a:gd name="connsiteX37" fmla="*/ 195096 w 3278506"/>
                  <a:gd name="connsiteY37" fmla="*/ 0 h 4760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3278506" h="4760204">
                    <a:moveTo>
                      <a:pt x="195096" y="0"/>
                    </a:moveTo>
                    <a:cubicBezTo>
                      <a:pt x="195096" y="0"/>
                      <a:pt x="195096" y="0"/>
                      <a:pt x="3066829" y="550"/>
                    </a:cubicBezTo>
                    <a:cubicBezTo>
                      <a:pt x="3076224" y="0"/>
                      <a:pt x="3085620" y="0"/>
                      <a:pt x="3095016" y="550"/>
                    </a:cubicBezTo>
                    <a:cubicBezTo>
                      <a:pt x="3193393" y="7706"/>
                      <a:pt x="3278506" y="88618"/>
                      <a:pt x="3278506" y="197050"/>
                    </a:cubicBezTo>
                    <a:cubicBezTo>
                      <a:pt x="3278506" y="197050"/>
                      <a:pt x="3278506" y="197050"/>
                      <a:pt x="3278506" y="1860969"/>
                    </a:cubicBezTo>
                    <a:cubicBezTo>
                      <a:pt x="3278506" y="2049213"/>
                      <a:pt x="3167417" y="2219843"/>
                      <a:pt x="2994980" y="2296902"/>
                    </a:cubicBezTo>
                    <a:cubicBezTo>
                      <a:pt x="2994980" y="2296902"/>
                      <a:pt x="2994980" y="2296902"/>
                      <a:pt x="1905093" y="2780720"/>
                    </a:cubicBezTo>
                    <a:cubicBezTo>
                      <a:pt x="1905093" y="2780720"/>
                      <a:pt x="1905093" y="2780720"/>
                      <a:pt x="1905093" y="3111143"/>
                    </a:cubicBezTo>
                    <a:lnTo>
                      <a:pt x="1905093" y="3133079"/>
                    </a:lnTo>
                    <a:lnTo>
                      <a:pt x="1905093" y="3209700"/>
                    </a:lnTo>
                    <a:lnTo>
                      <a:pt x="1905093" y="3234479"/>
                    </a:lnTo>
                    <a:lnTo>
                      <a:pt x="1905093" y="3326130"/>
                    </a:lnTo>
                    <a:lnTo>
                      <a:pt x="1905093" y="3461923"/>
                    </a:lnTo>
                    <a:lnTo>
                      <a:pt x="1905093" y="3493124"/>
                    </a:lnTo>
                    <a:lnTo>
                      <a:pt x="1905093" y="3618570"/>
                    </a:lnTo>
                    <a:lnTo>
                      <a:pt x="1905093" y="3787925"/>
                    </a:lnTo>
                    <a:lnTo>
                      <a:pt x="1905093" y="3797560"/>
                    </a:lnTo>
                    <a:lnTo>
                      <a:pt x="1905093" y="3828635"/>
                    </a:lnTo>
                    <a:lnTo>
                      <a:pt x="1905093" y="4121246"/>
                    </a:lnTo>
                    <a:cubicBezTo>
                      <a:pt x="1905093" y="4239036"/>
                      <a:pt x="1905093" y="4363640"/>
                      <a:pt x="1905093" y="4495452"/>
                    </a:cubicBezTo>
                    <a:cubicBezTo>
                      <a:pt x="1905093" y="4641864"/>
                      <a:pt x="1786266" y="4760204"/>
                      <a:pt x="1639253" y="4760204"/>
                    </a:cubicBezTo>
                    <a:cubicBezTo>
                      <a:pt x="1492240" y="4760204"/>
                      <a:pt x="1373413" y="4641864"/>
                      <a:pt x="1373413" y="4495452"/>
                    </a:cubicBezTo>
                    <a:cubicBezTo>
                      <a:pt x="1373413" y="4495452"/>
                      <a:pt x="1373413" y="4495452"/>
                      <a:pt x="1373413" y="3950042"/>
                    </a:cubicBezTo>
                    <a:lnTo>
                      <a:pt x="1373413" y="3828635"/>
                    </a:lnTo>
                    <a:lnTo>
                      <a:pt x="1373413" y="3802012"/>
                    </a:lnTo>
                    <a:lnTo>
                      <a:pt x="1373413" y="3743202"/>
                    </a:lnTo>
                    <a:lnTo>
                      <a:pt x="1373413" y="3629362"/>
                    </a:lnTo>
                    <a:lnTo>
                      <a:pt x="1373413" y="3532665"/>
                    </a:lnTo>
                    <a:lnTo>
                      <a:pt x="1373413" y="3430199"/>
                    </a:lnTo>
                    <a:lnTo>
                      <a:pt x="1373413" y="3302647"/>
                    </a:lnTo>
                    <a:lnTo>
                      <a:pt x="1373413" y="3202629"/>
                    </a:lnTo>
                    <a:lnTo>
                      <a:pt x="1373413" y="3133079"/>
                    </a:lnTo>
                    <a:lnTo>
                      <a:pt x="1373413" y="3052286"/>
                    </a:lnTo>
                    <a:cubicBezTo>
                      <a:pt x="1373413" y="2965346"/>
                      <a:pt x="1373413" y="2874872"/>
                      <a:pt x="1373413" y="2780720"/>
                    </a:cubicBezTo>
                    <a:cubicBezTo>
                      <a:pt x="1373413" y="2780720"/>
                      <a:pt x="1373413" y="2780720"/>
                      <a:pt x="283525" y="2296902"/>
                    </a:cubicBezTo>
                    <a:cubicBezTo>
                      <a:pt x="111089" y="2219843"/>
                      <a:pt x="0" y="2049213"/>
                      <a:pt x="0" y="1860969"/>
                    </a:cubicBezTo>
                    <a:cubicBezTo>
                      <a:pt x="0" y="1860969"/>
                      <a:pt x="0" y="1860969"/>
                      <a:pt x="0" y="197050"/>
                    </a:cubicBezTo>
                    <a:cubicBezTo>
                      <a:pt x="0" y="84765"/>
                      <a:pt x="91745" y="1651"/>
                      <a:pt x="195096" y="0"/>
                    </a:cubicBezTo>
                    <a:close/>
                  </a:path>
                </a:pathLst>
              </a:custGeom>
              <a:solidFill>
                <a:srgbClr val="7BA0FF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743407">
                  <a:lnSpc>
                    <a:spcPct val="90000"/>
                  </a:lnSpc>
                  <a:defRPr/>
                </a:pPr>
                <a:endParaRPr lang="de-DE" sz="976" kern="0" err="1">
                  <a:solidFill>
                    <a:srgbClr val="F7F8FA"/>
                  </a:solidFill>
                  <a:latin typeface="Calibri"/>
                </a:endParaRPr>
              </a:p>
            </p:txBody>
          </p:sp>
          <p:sp>
            <p:nvSpPr>
              <p:cNvPr id="522" name="Freeform 6">
                <a:extLst>
                  <a:ext uri="{FF2B5EF4-FFF2-40B4-BE49-F238E27FC236}">
                    <a16:creationId xmlns:a16="http://schemas.microsoft.com/office/drawing/2014/main" id="{408AC231-A4CB-16F6-5017-D10BAB29B5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9408" y="-841949"/>
                <a:ext cx="300241" cy="521606"/>
              </a:xfrm>
              <a:custGeom>
                <a:avLst/>
                <a:gdLst>
                  <a:gd name="T0" fmla="*/ 2634 w 2966"/>
                  <a:gd name="T1" fmla="*/ 1 h 5174"/>
                  <a:gd name="T2" fmla="*/ 2634 w 2966"/>
                  <a:gd name="T3" fmla="*/ 1 h 5174"/>
                  <a:gd name="T4" fmla="*/ 2583 w 2966"/>
                  <a:gd name="T5" fmla="*/ 1 h 5174"/>
                  <a:gd name="T6" fmla="*/ 2463 w 2966"/>
                  <a:gd name="T7" fmla="*/ 31 h 5174"/>
                  <a:gd name="T8" fmla="*/ 442 w 2966"/>
                  <a:gd name="T9" fmla="*/ 933 h 5174"/>
                  <a:gd name="T10" fmla="*/ 0 w 2966"/>
                  <a:gd name="T11" fmla="*/ 1614 h 5174"/>
                  <a:gd name="T12" fmla="*/ 0 w 2966"/>
                  <a:gd name="T13" fmla="*/ 4836 h 5174"/>
                  <a:gd name="T14" fmla="*/ 393 w 2966"/>
                  <a:gd name="T15" fmla="*/ 5091 h 5174"/>
                  <a:gd name="T16" fmla="*/ 481 w 2966"/>
                  <a:gd name="T17" fmla="*/ 5052 h 5174"/>
                  <a:gd name="T18" fmla="*/ 2453 w 2966"/>
                  <a:gd name="T19" fmla="*/ 4173 h 5174"/>
                  <a:gd name="T20" fmla="*/ 2966 w 2966"/>
                  <a:gd name="T21" fmla="*/ 3381 h 5174"/>
                  <a:gd name="T22" fmla="*/ 2966 w 2966"/>
                  <a:gd name="T23" fmla="*/ 358 h 5174"/>
                  <a:gd name="T24" fmla="*/ 2634 w 2966"/>
                  <a:gd name="T25" fmla="*/ 1 h 5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66" h="5174">
                    <a:moveTo>
                      <a:pt x="2634" y="1"/>
                    </a:moveTo>
                    <a:cubicBezTo>
                      <a:pt x="2634" y="1"/>
                      <a:pt x="2634" y="1"/>
                      <a:pt x="2634" y="1"/>
                    </a:cubicBezTo>
                    <a:cubicBezTo>
                      <a:pt x="2617" y="0"/>
                      <a:pt x="2600" y="0"/>
                      <a:pt x="2583" y="1"/>
                    </a:cubicBezTo>
                    <a:cubicBezTo>
                      <a:pt x="2543" y="4"/>
                      <a:pt x="2502" y="14"/>
                      <a:pt x="2463" y="31"/>
                    </a:cubicBezTo>
                    <a:cubicBezTo>
                      <a:pt x="442" y="933"/>
                      <a:pt x="442" y="933"/>
                      <a:pt x="442" y="933"/>
                    </a:cubicBezTo>
                    <a:cubicBezTo>
                      <a:pt x="173" y="1052"/>
                      <a:pt x="0" y="1319"/>
                      <a:pt x="0" y="1614"/>
                    </a:cubicBezTo>
                    <a:cubicBezTo>
                      <a:pt x="0" y="4836"/>
                      <a:pt x="0" y="4836"/>
                      <a:pt x="0" y="4836"/>
                    </a:cubicBezTo>
                    <a:cubicBezTo>
                      <a:pt x="0" y="5039"/>
                      <a:pt x="208" y="5174"/>
                      <a:pt x="393" y="5091"/>
                    </a:cubicBezTo>
                    <a:cubicBezTo>
                      <a:pt x="481" y="5052"/>
                      <a:pt x="481" y="5052"/>
                      <a:pt x="481" y="5052"/>
                    </a:cubicBezTo>
                    <a:cubicBezTo>
                      <a:pt x="2453" y="4173"/>
                      <a:pt x="2453" y="4173"/>
                      <a:pt x="2453" y="4173"/>
                    </a:cubicBezTo>
                    <a:cubicBezTo>
                      <a:pt x="2765" y="4033"/>
                      <a:pt x="2966" y="3723"/>
                      <a:pt x="2966" y="3381"/>
                    </a:cubicBezTo>
                    <a:cubicBezTo>
                      <a:pt x="2966" y="358"/>
                      <a:pt x="2966" y="358"/>
                      <a:pt x="2966" y="358"/>
                    </a:cubicBezTo>
                    <a:cubicBezTo>
                      <a:pt x="2966" y="161"/>
                      <a:pt x="2812" y="14"/>
                      <a:pt x="2634" y="1"/>
                    </a:cubicBezTo>
                    <a:close/>
                  </a:path>
                </a:pathLst>
              </a:custGeom>
              <a:solidFill>
                <a:srgbClr val="7BA0FF">
                  <a:lumMod val="60000"/>
                  <a:lumOff val="40000"/>
                </a:srgbClr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523" name="Freeform: Shape 433">
                <a:extLst>
                  <a:ext uri="{FF2B5EF4-FFF2-40B4-BE49-F238E27FC236}">
                    <a16:creationId xmlns:a16="http://schemas.microsoft.com/office/drawing/2014/main" id="{AA4A95AD-9E8F-8465-F822-2763D0FBBD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7165" y="-804052"/>
                <a:ext cx="245883" cy="435173"/>
              </a:xfrm>
              <a:custGeom>
                <a:avLst/>
                <a:gdLst>
                  <a:gd name="connsiteX0" fmla="*/ 211574 w 1687513"/>
                  <a:gd name="connsiteY0" fmla="*/ 2542497 h 2986617"/>
                  <a:gd name="connsiteX1" fmla="*/ 249196 w 1687513"/>
                  <a:gd name="connsiteY1" fmla="*/ 2557503 h 2986617"/>
                  <a:gd name="connsiteX2" fmla="*/ 255159 w 1687513"/>
                  <a:gd name="connsiteY2" fmla="*/ 2563970 h 2986617"/>
                  <a:gd name="connsiteX3" fmla="*/ 260032 w 1687513"/>
                  <a:gd name="connsiteY3" fmla="*/ 2566371 h 2986617"/>
                  <a:gd name="connsiteX4" fmla="*/ 265460 w 1687513"/>
                  <a:gd name="connsiteY4" fmla="*/ 2575142 h 2986617"/>
                  <a:gd name="connsiteX5" fmla="*/ 278681 w 1687513"/>
                  <a:gd name="connsiteY5" fmla="*/ 2589480 h 2986617"/>
                  <a:gd name="connsiteX6" fmla="*/ 287157 w 1687513"/>
                  <a:gd name="connsiteY6" fmla="*/ 2610204 h 2986617"/>
                  <a:gd name="connsiteX7" fmla="*/ 292774 w 1687513"/>
                  <a:gd name="connsiteY7" fmla="*/ 2619282 h 2986617"/>
                  <a:gd name="connsiteX8" fmla="*/ 293941 w 1687513"/>
                  <a:gd name="connsiteY8" fmla="*/ 2626790 h 2986617"/>
                  <a:gd name="connsiteX9" fmla="*/ 297918 w 1687513"/>
                  <a:gd name="connsiteY9" fmla="*/ 2636515 h 2986617"/>
                  <a:gd name="connsiteX10" fmla="*/ 304800 w 1687513"/>
                  <a:gd name="connsiteY10" fmla="*/ 2696693 h 2986617"/>
                  <a:gd name="connsiteX11" fmla="*/ 152400 w 1687513"/>
                  <a:gd name="connsiteY11" fmla="*/ 2976005 h 2986617"/>
                  <a:gd name="connsiteX12" fmla="*/ 0 w 1687513"/>
                  <a:gd name="connsiteY12" fmla="*/ 2832201 h 2986617"/>
                  <a:gd name="connsiteX13" fmla="*/ 152400 w 1687513"/>
                  <a:gd name="connsiteY13" fmla="*/ 2552198 h 2986617"/>
                  <a:gd name="connsiteX14" fmla="*/ 211574 w 1687513"/>
                  <a:gd name="connsiteY14" fmla="*/ 2542497 h 2986617"/>
                  <a:gd name="connsiteX15" fmla="*/ 672241 w 1687513"/>
                  <a:gd name="connsiteY15" fmla="*/ 2337769 h 2986617"/>
                  <a:gd name="connsiteX16" fmla="*/ 709859 w 1687513"/>
                  <a:gd name="connsiteY16" fmla="*/ 2352880 h 2986617"/>
                  <a:gd name="connsiteX17" fmla="*/ 715809 w 1687513"/>
                  <a:gd name="connsiteY17" fmla="*/ 2359363 h 2986617"/>
                  <a:gd name="connsiteX18" fmla="*/ 720667 w 1687513"/>
                  <a:gd name="connsiteY18" fmla="*/ 2361772 h 2986617"/>
                  <a:gd name="connsiteX19" fmla="*/ 726081 w 1687513"/>
                  <a:gd name="connsiteY19" fmla="*/ 2370556 h 2986617"/>
                  <a:gd name="connsiteX20" fmla="*/ 739239 w 1687513"/>
                  <a:gd name="connsiteY20" fmla="*/ 2384893 h 2986617"/>
                  <a:gd name="connsiteX21" fmla="*/ 747670 w 1687513"/>
                  <a:gd name="connsiteY21" fmla="*/ 2405591 h 2986617"/>
                  <a:gd name="connsiteX22" fmla="*/ 753247 w 1687513"/>
                  <a:gd name="connsiteY22" fmla="*/ 2414642 h 2986617"/>
                  <a:gd name="connsiteX23" fmla="*/ 754407 w 1687513"/>
                  <a:gd name="connsiteY23" fmla="*/ 2422129 h 2986617"/>
                  <a:gd name="connsiteX24" fmla="*/ 758353 w 1687513"/>
                  <a:gd name="connsiteY24" fmla="*/ 2431816 h 2986617"/>
                  <a:gd name="connsiteX25" fmla="*/ 765175 w 1687513"/>
                  <a:gd name="connsiteY25" fmla="*/ 2491655 h 2986617"/>
                  <a:gd name="connsiteX26" fmla="*/ 612775 w 1687513"/>
                  <a:gd name="connsiteY26" fmla="*/ 2771270 h 2986617"/>
                  <a:gd name="connsiteX27" fmla="*/ 460375 w 1687513"/>
                  <a:gd name="connsiteY27" fmla="*/ 2626975 h 2986617"/>
                  <a:gd name="connsiteX28" fmla="*/ 612775 w 1687513"/>
                  <a:gd name="connsiteY28" fmla="*/ 2347359 h 2986617"/>
                  <a:gd name="connsiteX29" fmla="*/ 672241 w 1687513"/>
                  <a:gd name="connsiteY29" fmla="*/ 2337769 h 2986617"/>
                  <a:gd name="connsiteX30" fmla="*/ 1133802 w 1687513"/>
                  <a:gd name="connsiteY30" fmla="*/ 2133272 h 2986617"/>
                  <a:gd name="connsiteX31" fmla="*/ 1133804 w 1687513"/>
                  <a:gd name="connsiteY31" fmla="*/ 2133273 h 2986617"/>
                  <a:gd name="connsiteX32" fmla="*/ 1171531 w 1687513"/>
                  <a:gd name="connsiteY32" fmla="*/ 2148215 h 2986617"/>
                  <a:gd name="connsiteX33" fmla="*/ 1177509 w 1687513"/>
                  <a:gd name="connsiteY33" fmla="*/ 2154682 h 2986617"/>
                  <a:gd name="connsiteX34" fmla="*/ 1182384 w 1687513"/>
                  <a:gd name="connsiteY34" fmla="*/ 2157070 h 2986617"/>
                  <a:gd name="connsiteX35" fmla="*/ 1187825 w 1687513"/>
                  <a:gd name="connsiteY35" fmla="*/ 2165842 h 2986617"/>
                  <a:gd name="connsiteX36" fmla="*/ 1201044 w 1687513"/>
                  <a:gd name="connsiteY36" fmla="*/ 2180142 h 2986617"/>
                  <a:gd name="connsiteX37" fmla="*/ 1209523 w 1687513"/>
                  <a:gd name="connsiteY37" fmla="*/ 2200822 h 2986617"/>
                  <a:gd name="connsiteX38" fmla="*/ 1215132 w 1687513"/>
                  <a:gd name="connsiteY38" fmla="*/ 2209864 h 2986617"/>
                  <a:gd name="connsiteX39" fmla="*/ 1216299 w 1687513"/>
                  <a:gd name="connsiteY39" fmla="*/ 2217347 h 2986617"/>
                  <a:gd name="connsiteX40" fmla="*/ 1220270 w 1687513"/>
                  <a:gd name="connsiteY40" fmla="*/ 2227032 h 2986617"/>
                  <a:gd name="connsiteX41" fmla="*/ 1227138 w 1687513"/>
                  <a:gd name="connsiteY41" fmla="*/ 2286866 h 2986617"/>
                  <a:gd name="connsiteX42" fmla="*/ 1074293 w 1687513"/>
                  <a:gd name="connsiteY42" fmla="*/ 2566482 h 2986617"/>
                  <a:gd name="connsiteX43" fmla="*/ 920750 w 1687513"/>
                  <a:gd name="connsiteY43" fmla="*/ 2422187 h 2986617"/>
                  <a:gd name="connsiteX44" fmla="*/ 1074293 w 1687513"/>
                  <a:gd name="connsiteY44" fmla="*/ 2143261 h 2986617"/>
                  <a:gd name="connsiteX45" fmla="*/ 1133802 w 1687513"/>
                  <a:gd name="connsiteY45" fmla="*/ 2133272 h 2986617"/>
                  <a:gd name="connsiteX46" fmla="*/ 1594287 w 1687513"/>
                  <a:gd name="connsiteY46" fmla="*/ 1928124 h 2986617"/>
                  <a:gd name="connsiteX47" fmla="*/ 1594288 w 1687513"/>
                  <a:gd name="connsiteY47" fmla="*/ 1928124 h 2986617"/>
                  <a:gd name="connsiteX48" fmla="*/ 1631909 w 1687513"/>
                  <a:gd name="connsiteY48" fmla="*/ 1943083 h 2986617"/>
                  <a:gd name="connsiteX49" fmla="*/ 1637874 w 1687513"/>
                  <a:gd name="connsiteY49" fmla="*/ 1949530 h 2986617"/>
                  <a:gd name="connsiteX50" fmla="*/ 1642746 w 1687513"/>
                  <a:gd name="connsiteY50" fmla="*/ 1951922 h 2986617"/>
                  <a:gd name="connsiteX51" fmla="*/ 1648176 w 1687513"/>
                  <a:gd name="connsiteY51" fmla="*/ 1960664 h 2986617"/>
                  <a:gd name="connsiteX52" fmla="*/ 1661394 w 1687513"/>
                  <a:gd name="connsiteY52" fmla="*/ 1974949 h 2986617"/>
                  <a:gd name="connsiteX53" fmla="*/ 1669872 w 1687513"/>
                  <a:gd name="connsiteY53" fmla="*/ 1995587 h 2986617"/>
                  <a:gd name="connsiteX54" fmla="*/ 1675488 w 1687513"/>
                  <a:gd name="connsiteY54" fmla="*/ 2004628 h 2986617"/>
                  <a:gd name="connsiteX55" fmla="*/ 1676655 w 1687513"/>
                  <a:gd name="connsiteY55" fmla="*/ 2012100 h 2986617"/>
                  <a:gd name="connsiteX56" fmla="*/ 1680632 w 1687513"/>
                  <a:gd name="connsiteY56" fmla="*/ 2021782 h 2986617"/>
                  <a:gd name="connsiteX57" fmla="*/ 1687513 w 1687513"/>
                  <a:gd name="connsiteY57" fmla="*/ 2081640 h 2986617"/>
                  <a:gd name="connsiteX58" fmla="*/ 1535113 w 1687513"/>
                  <a:gd name="connsiteY58" fmla="*/ 2361643 h 2986617"/>
                  <a:gd name="connsiteX59" fmla="*/ 1382713 w 1687513"/>
                  <a:gd name="connsiteY59" fmla="*/ 2217148 h 2986617"/>
                  <a:gd name="connsiteX60" fmla="*/ 1535113 w 1687513"/>
                  <a:gd name="connsiteY60" fmla="*/ 1937836 h 2986617"/>
                  <a:gd name="connsiteX61" fmla="*/ 1594287 w 1687513"/>
                  <a:gd name="connsiteY61" fmla="*/ 1928124 h 2986617"/>
                  <a:gd name="connsiteX62" fmla="*/ 211574 w 1687513"/>
                  <a:gd name="connsiteY62" fmla="*/ 1899999 h 2986617"/>
                  <a:gd name="connsiteX63" fmla="*/ 249196 w 1687513"/>
                  <a:gd name="connsiteY63" fmla="*/ 1914989 h 2986617"/>
                  <a:gd name="connsiteX64" fmla="*/ 255167 w 1687513"/>
                  <a:gd name="connsiteY64" fmla="*/ 1921476 h 2986617"/>
                  <a:gd name="connsiteX65" fmla="*/ 260032 w 1687513"/>
                  <a:gd name="connsiteY65" fmla="*/ 1923873 h 2986617"/>
                  <a:gd name="connsiteX66" fmla="*/ 265469 w 1687513"/>
                  <a:gd name="connsiteY66" fmla="*/ 1932666 h 2986617"/>
                  <a:gd name="connsiteX67" fmla="*/ 278681 w 1687513"/>
                  <a:gd name="connsiteY67" fmla="*/ 1947018 h 2986617"/>
                  <a:gd name="connsiteX68" fmla="*/ 287162 w 1687513"/>
                  <a:gd name="connsiteY68" fmla="*/ 1967757 h 2986617"/>
                  <a:gd name="connsiteX69" fmla="*/ 292774 w 1687513"/>
                  <a:gd name="connsiteY69" fmla="*/ 1976835 h 2986617"/>
                  <a:gd name="connsiteX70" fmla="*/ 293942 w 1687513"/>
                  <a:gd name="connsiteY70" fmla="*/ 1984335 h 2986617"/>
                  <a:gd name="connsiteX71" fmla="*/ 297918 w 1687513"/>
                  <a:gd name="connsiteY71" fmla="*/ 1994058 h 2986617"/>
                  <a:gd name="connsiteX72" fmla="*/ 304800 w 1687513"/>
                  <a:gd name="connsiteY72" fmla="*/ 2054083 h 2986617"/>
                  <a:gd name="connsiteX73" fmla="*/ 152400 w 1687513"/>
                  <a:gd name="connsiteY73" fmla="*/ 2334589 h 2986617"/>
                  <a:gd name="connsiteX74" fmla="*/ 0 w 1687513"/>
                  <a:gd name="connsiteY74" fmla="*/ 2189834 h 2986617"/>
                  <a:gd name="connsiteX75" fmla="*/ 152400 w 1687513"/>
                  <a:gd name="connsiteY75" fmla="*/ 1910020 h 2986617"/>
                  <a:gd name="connsiteX76" fmla="*/ 211574 w 1687513"/>
                  <a:gd name="connsiteY76" fmla="*/ 1899999 h 2986617"/>
                  <a:gd name="connsiteX77" fmla="*/ 672241 w 1687513"/>
                  <a:gd name="connsiteY77" fmla="*/ 1694849 h 2986617"/>
                  <a:gd name="connsiteX78" fmla="*/ 672243 w 1687513"/>
                  <a:gd name="connsiteY78" fmla="*/ 1694850 h 2986617"/>
                  <a:gd name="connsiteX79" fmla="*/ 709859 w 1687513"/>
                  <a:gd name="connsiteY79" fmla="*/ 1709856 h 2986617"/>
                  <a:gd name="connsiteX80" fmla="*/ 715806 w 1687513"/>
                  <a:gd name="connsiteY80" fmla="*/ 1716326 h 2986617"/>
                  <a:gd name="connsiteX81" fmla="*/ 720667 w 1687513"/>
                  <a:gd name="connsiteY81" fmla="*/ 1718723 h 2986617"/>
                  <a:gd name="connsiteX82" fmla="*/ 726077 w 1687513"/>
                  <a:gd name="connsiteY82" fmla="*/ 1727503 h 2986617"/>
                  <a:gd name="connsiteX83" fmla="*/ 739239 w 1687513"/>
                  <a:gd name="connsiteY83" fmla="*/ 1741824 h 2986617"/>
                  <a:gd name="connsiteX84" fmla="*/ 747668 w 1687513"/>
                  <a:gd name="connsiteY84" fmla="*/ 1762542 h 2986617"/>
                  <a:gd name="connsiteX85" fmla="*/ 753247 w 1687513"/>
                  <a:gd name="connsiteY85" fmla="*/ 1771597 h 2986617"/>
                  <a:gd name="connsiteX86" fmla="*/ 754407 w 1687513"/>
                  <a:gd name="connsiteY86" fmla="*/ 1779105 h 2986617"/>
                  <a:gd name="connsiteX87" fmla="*/ 758353 w 1687513"/>
                  <a:gd name="connsiteY87" fmla="*/ 1788806 h 2986617"/>
                  <a:gd name="connsiteX88" fmla="*/ 765175 w 1687513"/>
                  <a:gd name="connsiteY88" fmla="*/ 1848854 h 2986617"/>
                  <a:gd name="connsiteX89" fmla="*/ 612775 w 1687513"/>
                  <a:gd name="connsiteY89" fmla="*/ 2129749 h 2986617"/>
                  <a:gd name="connsiteX90" fmla="*/ 460375 w 1687513"/>
                  <a:gd name="connsiteY90" fmla="*/ 1984793 h 2986617"/>
                  <a:gd name="connsiteX91" fmla="*/ 612775 w 1687513"/>
                  <a:gd name="connsiteY91" fmla="*/ 1704592 h 2986617"/>
                  <a:gd name="connsiteX92" fmla="*/ 672241 w 1687513"/>
                  <a:gd name="connsiteY92" fmla="*/ 1694849 h 2986617"/>
                  <a:gd name="connsiteX93" fmla="*/ 1133802 w 1687513"/>
                  <a:gd name="connsiteY93" fmla="*/ 1489974 h 2986617"/>
                  <a:gd name="connsiteX94" fmla="*/ 1133804 w 1687513"/>
                  <a:gd name="connsiteY94" fmla="*/ 1489975 h 2986617"/>
                  <a:gd name="connsiteX95" fmla="*/ 1171531 w 1687513"/>
                  <a:gd name="connsiteY95" fmla="*/ 1504933 h 2986617"/>
                  <a:gd name="connsiteX96" fmla="*/ 1177503 w 1687513"/>
                  <a:gd name="connsiteY96" fmla="*/ 1511382 h 2986617"/>
                  <a:gd name="connsiteX97" fmla="*/ 1182384 w 1687513"/>
                  <a:gd name="connsiteY97" fmla="*/ 1513772 h 2986617"/>
                  <a:gd name="connsiteX98" fmla="*/ 1187819 w 1687513"/>
                  <a:gd name="connsiteY98" fmla="*/ 1522520 h 2986617"/>
                  <a:gd name="connsiteX99" fmla="*/ 1201044 w 1687513"/>
                  <a:gd name="connsiteY99" fmla="*/ 1536799 h 2986617"/>
                  <a:gd name="connsiteX100" fmla="*/ 1209519 w 1687513"/>
                  <a:gd name="connsiteY100" fmla="*/ 1557445 h 2986617"/>
                  <a:gd name="connsiteX101" fmla="*/ 1215132 w 1687513"/>
                  <a:gd name="connsiteY101" fmla="*/ 1566478 h 2986617"/>
                  <a:gd name="connsiteX102" fmla="*/ 1216298 w 1687513"/>
                  <a:gd name="connsiteY102" fmla="*/ 1573957 h 2986617"/>
                  <a:gd name="connsiteX103" fmla="*/ 1220270 w 1687513"/>
                  <a:gd name="connsiteY103" fmla="*/ 1583632 h 2986617"/>
                  <a:gd name="connsiteX104" fmla="*/ 1227138 w 1687513"/>
                  <a:gd name="connsiteY104" fmla="*/ 1643490 h 2986617"/>
                  <a:gd name="connsiteX105" fmla="*/ 1074293 w 1687513"/>
                  <a:gd name="connsiteY105" fmla="*/ 1923493 h 2986617"/>
                  <a:gd name="connsiteX106" fmla="*/ 920750 w 1687513"/>
                  <a:gd name="connsiteY106" fmla="*/ 1778998 h 2986617"/>
                  <a:gd name="connsiteX107" fmla="*/ 1074293 w 1687513"/>
                  <a:gd name="connsiteY107" fmla="*/ 1499686 h 2986617"/>
                  <a:gd name="connsiteX108" fmla="*/ 1133802 w 1687513"/>
                  <a:gd name="connsiteY108" fmla="*/ 1489974 h 2986617"/>
                  <a:gd name="connsiteX109" fmla="*/ 1594287 w 1687513"/>
                  <a:gd name="connsiteY109" fmla="*/ 1285197 h 2986617"/>
                  <a:gd name="connsiteX110" fmla="*/ 1594288 w 1687513"/>
                  <a:gd name="connsiteY110" fmla="*/ 1285197 h 2986617"/>
                  <a:gd name="connsiteX111" fmla="*/ 1631909 w 1687513"/>
                  <a:gd name="connsiteY111" fmla="*/ 1300203 h 2986617"/>
                  <a:gd name="connsiteX112" fmla="*/ 1637872 w 1687513"/>
                  <a:gd name="connsiteY112" fmla="*/ 1306670 h 2986617"/>
                  <a:gd name="connsiteX113" fmla="*/ 1642746 w 1687513"/>
                  <a:gd name="connsiteY113" fmla="*/ 1309071 h 2986617"/>
                  <a:gd name="connsiteX114" fmla="*/ 1648174 w 1687513"/>
                  <a:gd name="connsiteY114" fmla="*/ 1317842 h 2986617"/>
                  <a:gd name="connsiteX115" fmla="*/ 1661394 w 1687513"/>
                  <a:gd name="connsiteY115" fmla="*/ 1332180 h 2986617"/>
                  <a:gd name="connsiteX116" fmla="*/ 1669870 w 1687513"/>
                  <a:gd name="connsiteY116" fmla="*/ 1352903 h 2986617"/>
                  <a:gd name="connsiteX117" fmla="*/ 1675488 w 1687513"/>
                  <a:gd name="connsiteY117" fmla="*/ 1361982 h 2986617"/>
                  <a:gd name="connsiteX118" fmla="*/ 1676654 w 1687513"/>
                  <a:gd name="connsiteY118" fmla="*/ 1369491 h 2986617"/>
                  <a:gd name="connsiteX119" fmla="*/ 1680632 w 1687513"/>
                  <a:gd name="connsiteY119" fmla="*/ 1379215 h 2986617"/>
                  <a:gd name="connsiteX120" fmla="*/ 1687513 w 1687513"/>
                  <a:gd name="connsiteY120" fmla="*/ 1439393 h 2986617"/>
                  <a:gd name="connsiteX121" fmla="*/ 1687513 w 1687513"/>
                  <a:gd name="connsiteY121" fmla="*/ 1439393 h 2986617"/>
                  <a:gd name="connsiteX122" fmla="*/ 1687513 w 1687513"/>
                  <a:gd name="connsiteY122" fmla="*/ 1439393 h 2986617"/>
                  <a:gd name="connsiteX123" fmla="*/ 1535113 w 1687513"/>
                  <a:gd name="connsiteY123" fmla="*/ 1718705 h 2986617"/>
                  <a:gd name="connsiteX124" fmla="*/ 1382713 w 1687513"/>
                  <a:gd name="connsiteY124" fmla="*/ 1574901 h 2986617"/>
                  <a:gd name="connsiteX125" fmla="*/ 1535113 w 1687513"/>
                  <a:gd name="connsiteY125" fmla="*/ 1294898 h 2986617"/>
                  <a:gd name="connsiteX126" fmla="*/ 1594287 w 1687513"/>
                  <a:gd name="connsiteY126" fmla="*/ 1285197 h 2986617"/>
                  <a:gd name="connsiteX127" fmla="*/ 211574 w 1687513"/>
                  <a:gd name="connsiteY127" fmla="*/ 1256699 h 2986617"/>
                  <a:gd name="connsiteX128" fmla="*/ 211574 w 1687513"/>
                  <a:gd name="connsiteY128" fmla="*/ 1256699 h 2986617"/>
                  <a:gd name="connsiteX129" fmla="*/ 249196 w 1687513"/>
                  <a:gd name="connsiteY129" fmla="*/ 1271706 h 2986617"/>
                  <a:gd name="connsiteX130" fmla="*/ 255161 w 1687513"/>
                  <a:gd name="connsiteY130" fmla="*/ 1278173 h 2986617"/>
                  <a:gd name="connsiteX131" fmla="*/ 260032 w 1687513"/>
                  <a:gd name="connsiteY131" fmla="*/ 1280573 h 2986617"/>
                  <a:gd name="connsiteX132" fmla="*/ 265463 w 1687513"/>
                  <a:gd name="connsiteY132" fmla="*/ 1289343 h 2986617"/>
                  <a:gd name="connsiteX133" fmla="*/ 278681 w 1687513"/>
                  <a:gd name="connsiteY133" fmla="*/ 1303674 h 2986617"/>
                  <a:gd name="connsiteX134" fmla="*/ 287158 w 1687513"/>
                  <a:gd name="connsiteY134" fmla="*/ 1324378 h 2986617"/>
                  <a:gd name="connsiteX135" fmla="*/ 292774 w 1687513"/>
                  <a:gd name="connsiteY135" fmla="*/ 1333447 h 2986617"/>
                  <a:gd name="connsiteX136" fmla="*/ 293941 w 1687513"/>
                  <a:gd name="connsiteY136" fmla="*/ 1340943 h 2986617"/>
                  <a:gd name="connsiteX137" fmla="*/ 297918 w 1687513"/>
                  <a:gd name="connsiteY137" fmla="*/ 1350656 h 2986617"/>
                  <a:gd name="connsiteX138" fmla="*/ 304800 w 1687513"/>
                  <a:gd name="connsiteY138" fmla="*/ 1410704 h 2986617"/>
                  <a:gd name="connsiteX139" fmla="*/ 152400 w 1687513"/>
                  <a:gd name="connsiteY139" fmla="*/ 1691599 h 2986617"/>
                  <a:gd name="connsiteX140" fmla="*/ 0 w 1687513"/>
                  <a:gd name="connsiteY140" fmla="*/ 1547337 h 2986617"/>
                  <a:gd name="connsiteX141" fmla="*/ 44508 w 1687513"/>
                  <a:gd name="connsiteY141" fmla="*/ 1376719 h 2986617"/>
                  <a:gd name="connsiteX142" fmla="*/ 152400 w 1687513"/>
                  <a:gd name="connsiteY142" fmla="*/ 1266442 h 2986617"/>
                  <a:gd name="connsiteX143" fmla="*/ 208118 w 1687513"/>
                  <a:gd name="connsiteY143" fmla="*/ 1257268 h 2986617"/>
                  <a:gd name="connsiteX144" fmla="*/ 672241 w 1687513"/>
                  <a:gd name="connsiteY144" fmla="*/ 1051923 h 2986617"/>
                  <a:gd name="connsiteX145" fmla="*/ 672244 w 1687513"/>
                  <a:gd name="connsiteY145" fmla="*/ 1051925 h 2986617"/>
                  <a:gd name="connsiteX146" fmla="*/ 709859 w 1687513"/>
                  <a:gd name="connsiteY146" fmla="*/ 1066977 h 2986617"/>
                  <a:gd name="connsiteX147" fmla="*/ 715803 w 1687513"/>
                  <a:gd name="connsiteY147" fmla="*/ 1073467 h 2986617"/>
                  <a:gd name="connsiteX148" fmla="*/ 720667 w 1687513"/>
                  <a:gd name="connsiteY148" fmla="*/ 1075873 h 2986617"/>
                  <a:gd name="connsiteX149" fmla="*/ 726075 w 1687513"/>
                  <a:gd name="connsiteY149" fmla="*/ 1084683 h 2986617"/>
                  <a:gd name="connsiteX150" fmla="*/ 739239 w 1687513"/>
                  <a:gd name="connsiteY150" fmla="*/ 1099056 h 2986617"/>
                  <a:gd name="connsiteX151" fmla="*/ 747666 w 1687513"/>
                  <a:gd name="connsiteY151" fmla="*/ 1119860 h 2986617"/>
                  <a:gd name="connsiteX152" fmla="*/ 753247 w 1687513"/>
                  <a:gd name="connsiteY152" fmla="*/ 1128953 h 2986617"/>
                  <a:gd name="connsiteX153" fmla="*/ 754406 w 1687513"/>
                  <a:gd name="connsiteY153" fmla="*/ 1136498 h 2986617"/>
                  <a:gd name="connsiteX154" fmla="*/ 758353 w 1687513"/>
                  <a:gd name="connsiteY154" fmla="*/ 1146241 h 2986617"/>
                  <a:gd name="connsiteX155" fmla="*/ 765175 w 1687513"/>
                  <a:gd name="connsiteY155" fmla="*/ 1206610 h 2986617"/>
                  <a:gd name="connsiteX156" fmla="*/ 765175 w 1687513"/>
                  <a:gd name="connsiteY156" fmla="*/ 1206611 h 2986617"/>
                  <a:gd name="connsiteX157" fmla="*/ 765175 w 1687513"/>
                  <a:gd name="connsiteY157" fmla="*/ 1206611 h 2986617"/>
                  <a:gd name="connsiteX158" fmla="*/ 612775 w 1687513"/>
                  <a:gd name="connsiteY158" fmla="*/ 1486812 h 2986617"/>
                  <a:gd name="connsiteX159" fmla="*/ 460375 w 1687513"/>
                  <a:gd name="connsiteY159" fmla="*/ 1342550 h 2986617"/>
                  <a:gd name="connsiteX160" fmla="*/ 612775 w 1687513"/>
                  <a:gd name="connsiteY160" fmla="*/ 1061655 h 2986617"/>
                  <a:gd name="connsiteX161" fmla="*/ 672241 w 1687513"/>
                  <a:gd name="connsiteY161" fmla="*/ 1051923 h 2986617"/>
                  <a:gd name="connsiteX162" fmla="*/ 1133802 w 1687513"/>
                  <a:gd name="connsiteY162" fmla="*/ 847135 h 2986617"/>
                  <a:gd name="connsiteX163" fmla="*/ 1133803 w 1687513"/>
                  <a:gd name="connsiteY163" fmla="*/ 847136 h 2986617"/>
                  <a:gd name="connsiteX164" fmla="*/ 1171531 w 1687513"/>
                  <a:gd name="connsiteY164" fmla="*/ 862189 h 2986617"/>
                  <a:gd name="connsiteX165" fmla="*/ 1177501 w 1687513"/>
                  <a:gd name="connsiteY165" fmla="*/ 868678 h 2986617"/>
                  <a:gd name="connsiteX166" fmla="*/ 1182384 w 1687513"/>
                  <a:gd name="connsiteY166" fmla="*/ 871085 h 2986617"/>
                  <a:gd name="connsiteX167" fmla="*/ 1187817 w 1687513"/>
                  <a:gd name="connsiteY167" fmla="*/ 879891 h 2986617"/>
                  <a:gd name="connsiteX168" fmla="*/ 1201044 w 1687513"/>
                  <a:gd name="connsiteY168" fmla="*/ 894268 h 2986617"/>
                  <a:gd name="connsiteX169" fmla="*/ 1209518 w 1687513"/>
                  <a:gd name="connsiteY169" fmla="*/ 915065 h 2986617"/>
                  <a:gd name="connsiteX170" fmla="*/ 1215132 w 1687513"/>
                  <a:gd name="connsiteY170" fmla="*/ 924165 h 2986617"/>
                  <a:gd name="connsiteX171" fmla="*/ 1216297 w 1687513"/>
                  <a:gd name="connsiteY171" fmla="*/ 931704 h 2986617"/>
                  <a:gd name="connsiteX172" fmla="*/ 1220270 w 1687513"/>
                  <a:gd name="connsiteY172" fmla="*/ 941453 h 2986617"/>
                  <a:gd name="connsiteX173" fmla="*/ 1227138 w 1687513"/>
                  <a:gd name="connsiteY173" fmla="*/ 1001822 h 2986617"/>
                  <a:gd name="connsiteX174" fmla="*/ 1227138 w 1687513"/>
                  <a:gd name="connsiteY174" fmla="*/ 1001823 h 2986617"/>
                  <a:gd name="connsiteX175" fmla="*/ 1227138 w 1687513"/>
                  <a:gd name="connsiteY175" fmla="*/ 1001823 h 2986617"/>
                  <a:gd name="connsiteX176" fmla="*/ 1074293 w 1687513"/>
                  <a:gd name="connsiteY176" fmla="*/ 1282024 h 2986617"/>
                  <a:gd name="connsiteX177" fmla="*/ 920750 w 1687513"/>
                  <a:gd name="connsiteY177" fmla="*/ 1137762 h 2986617"/>
                  <a:gd name="connsiteX178" fmla="*/ 1074293 w 1687513"/>
                  <a:gd name="connsiteY178" fmla="*/ 856867 h 2986617"/>
                  <a:gd name="connsiteX179" fmla="*/ 1114997 w 1687513"/>
                  <a:gd name="connsiteY179" fmla="*/ 850210 h 2986617"/>
                  <a:gd name="connsiteX180" fmla="*/ 1594287 w 1687513"/>
                  <a:gd name="connsiteY180" fmla="*/ 642407 h 2986617"/>
                  <a:gd name="connsiteX181" fmla="*/ 1594292 w 1687513"/>
                  <a:gd name="connsiteY181" fmla="*/ 642410 h 2986617"/>
                  <a:gd name="connsiteX182" fmla="*/ 1631909 w 1687513"/>
                  <a:gd name="connsiteY182" fmla="*/ 657567 h 2986617"/>
                  <a:gd name="connsiteX183" fmla="*/ 1637877 w 1687513"/>
                  <a:gd name="connsiteY183" fmla="*/ 664067 h 2986617"/>
                  <a:gd name="connsiteX184" fmla="*/ 1642746 w 1687513"/>
                  <a:gd name="connsiteY184" fmla="*/ 666487 h 2986617"/>
                  <a:gd name="connsiteX185" fmla="*/ 1648180 w 1687513"/>
                  <a:gd name="connsiteY185" fmla="*/ 675289 h 2986617"/>
                  <a:gd name="connsiteX186" fmla="*/ 1661394 w 1687513"/>
                  <a:gd name="connsiteY186" fmla="*/ 689682 h 2986617"/>
                  <a:gd name="connsiteX187" fmla="*/ 1669873 w 1687513"/>
                  <a:gd name="connsiteY187" fmla="*/ 710430 h 2986617"/>
                  <a:gd name="connsiteX188" fmla="*/ 1675488 w 1687513"/>
                  <a:gd name="connsiteY188" fmla="*/ 719525 h 2986617"/>
                  <a:gd name="connsiteX189" fmla="*/ 1676655 w 1687513"/>
                  <a:gd name="connsiteY189" fmla="*/ 727024 h 2986617"/>
                  <a:gd name="connsiteX190" fmla="*/ 1680632 w 1687513"/>
                  <a:gd name="connsiteY190" fmla="*/ 736754 h 2986617"/>
                  <a:gd name="connsiteX191" fmla="*/ 1687513 w 1687513"/>
                  <a:gd name="connsiteY191" fmla="*/ 796782 h 2986617"/>
                  <a:gd name="connsiteX192" fmla="*/ 1687513 w 1687513"/>
                  <a:gd name="connsiteY192" fmla="*/ 796783 h 2986617"/>
                  <a:gd name="connsiteX193" fmla="*/ 1687513 w 1687513"/>
                  <a:gd name="connsiteY193" fmla="*/ 796783 h 2986617"/>
                  <a:gd name="connsiteX194" fmla="*/ 1535113 w 1687513"/>
                  <a:gd name="connsiteY194" fmla="*/ 1076597 h 2986617"/>
                  <a:gd name="connsiteX195" fmla="*/ 1382713 w 1687513"/>
                  <a:gd name="connsiteY195" fmla="*/ 932534 h 2986617"/>
                  <a:gd name="connsiteX196" fmla="*/ 1535113 w 1687513"/>
                  <a:gd name="connsiteY196" fmla="*/ 652028 h 2986617"/>
                  <a:gd name="connsiteX197" fmla="*/ 1594287 w 1687513"/>
                  <a:gd name="connsiteY197" fmla="*/ 642407 h 2986617"/>
                  <a:gd name="connsiteX198" fmla="*/ 211574 w 1687513"/>
                  <a:gd name="connsiteY198" fmla="*/ 613736 h 2986617"/>
                  <a:gd name="connsiteX199" fmla="*/ 211582 w 1687513"/>
                  <a:gd name="connsiteY199" fmla="*/ 613739 h 2986617"/>
                  <a:gd name="connsiteX200" fmla="*/ 249196 w 1687513"/>
                  <a:gd name="connsiteY200" fmla="*/ 628769 h 2986617"/>
                  <a:gd name="connsiteX201" fmla="*/ 255157 w 1687513"/>
                  <a:gd name="connsiteY201" fmla="*/ 635246 h 2986617"/>
                  <a:gd name="connsiteX202" fmla="*/ 260032 w 1687513"/>
                  <a:gd name="connsiteY202" fmla="*/ 637652 h 2986617"/>
                  <a:gd name="connsiteX203" fmla="*/ 265461 w 1687513"/>
                  <a:gd name="connsiteY203" fmla="*/ 646441 h 2986617"/>
                  <a:gd name="connsiteX204" fmla="*/ 278681 w 1687513"/>
                  <a:gd name="connsiteY204" fmla="*/ 660803 h 2986617"/>
                  <a:gd name="connsiteX205" fmla="*/ 287156 w 1687513"/>
                  <a:gd name="connsiteY205" fmla="*/ 681562 h 2986617"/>
                  <a:gd name="connsiteX206" fmla="*/ 292774 w 1687513"/>
                  <a:gd name="connsiteY206" fmla="*/ 690658 h 2986617"/>
                  <a:gd name="connsiteX207" fmla="*/ 293941 w 1687513"/>
                  <a:gd name="connsiteY207" fmla="*/ 698181 h 2986617"/>
                  <a:gd name="connsiteX208" fmla="*/ 297918 w 1687513"/>
                  <a:gd name="connsiteY208" fmla="*/ 707923 h 2986617"/>
                  <a:gd name="connsiteX209" fmla="*/ 304800 w 1687513"/>
                  <a:gd name="connsiteY209" fmla="*/ 768207 h 2986617"/>
                  <a:gd name="connsiteX210" fmla="*/ 304800 w 1687513"/>
                  <a:gd name="connsiteY210" fmla="*/ 768209 h 2986617"/>
                  <a:gd name="connsiteX211" fmla="*/ 304800 w 1687513"/>
                  <a:gd name="connsiteY211" fmla="*/ 768209 h 2986617"/>
                  <a:gd name="connsiteX212" fmla="*/ 304800 w 1687513"/>
                  <a:gd name="connsiteY212" fmla="*/ 768209 h 2986617"/>
                  <a:gd name="connsiteX213" fmla="*/ 152400 w 1687513"/>
                  <a:gd name="connsiteY213" fmla="*/ 1048021 h 2986617"/>
                  <a:gd name="connsiteX214" fmla="*/ 0 w 1687513"/>
                  <a:gd name="connsiteY214" fmla="*/ 903959 h 2986617"/>
                  <a:gd name="connsiteX215" fmla="*/ 152400 w 1687513"/>
                  <a:gd name="connsiteY215" fmla="*/ 623454 h 2986617"/>
                  <a:gd name="connsiteX216" fmla="*/ 211574 w 1687513"/>
                  <a:gd name="connsiteY216" fmla="*/ 613736 h 2986617"/>
                  <a:gd name="connsiteX217" fmla="*/ 672241 w 1687513"/>
                  <a:gd name="connsiteY217" fmla="*/ 409045 h 2986617"/>
                  <a:gd name="connsiteX218" fmla="*/ 672248 w 1687513"/>
                  <a:gd name="connsiteY218" fmla="*/ 409048 h 2986617"/>
                  <a:gd name="connsiteX219" fmla="*/ 709859 w 1687513"/>
                  <a:gd name="connsiteY219" fmla="*/ 424204 h 2986617"/>
                  <a:gd name="connsiteX220" fmla="*/ 715808 w 1687513"/>
                  <a:gd name="connsiteY220" fmla="*/ 430707 h 2986617"/>
                  <a:gd name="connsiteX221" fmla="*/ 720667 w 1687513"/>
                  <a:gd name="connsiteY221" fmla="*/ 433124 h 2986617"/>
                  <a:gd name="connsiteX222" fmla="*/ 726082 w 1687513"/>
                  <a:gd name="connsiteY222" fmla="*/ 441938 h 2986617"/>
                  <a:gd name="connsiteX223" fmla="*/ 739239 w 1687513"/>
                  <a:gd name="connsiteY223" fmla="*/ 456320 h 2986617"/>
                  <a:gd name="connsiteX224" fmla="*/ 747669 w 1687513"/>
                  <a:gd name="connsiteY224" fmla="*/ 477081 h 2986617"/>
                  <a:gd name="connsiteX225" fmla="*/ 753247 w 1687513"/>
                  <a:gd name="connsiteY225" fmla="*/ 486162 h 2986617"/>
                  <a:gd name="connsiteX226" fmla="*/ 754407 w 1687513"/>
                  <a:gd name="connsiteY226" fmla="*/ 493674 h 2986617"/>
                  <a:gd name="connsiteX227" fmla="*/ 758353 w 1687513"/>
                  <a:gd name="connsiteY227" fmla="*/ 503392 h 2986617"/>
                  <a:gd name="connsiteX228" fmla="*/ 765175 w 1687513"/>
                  <a:gd name="connsiteY228" fmla="*/ 563419 h 2986617"/>
                  <a:gd name="connsiteX229" fmla="*/ 765175 w 1687513"/>
                  <a:gd name="connsiteY229" fmla="*/ 563421 h 2986617"/>
                  <a:gd name="connsiteX230" fmla="*/ 765175 w 1687513"/>
                  <a:gd name="connsiteY230" fmla="*/ 563421 h 2986617"/>
                  <a:gd name="connsiteX231" fmla="*/ 765175 w 1687513"/>
                  <a:gd name="connsiteY231" fmla="*/ 563421 h 2986617"/>
                  <a:gd name="connsiteX232" fmla="*/ 612775 w 1687513"/>
                  <a:gd name="connsiteY232" fmla="*/ 843926 h 2986617"/>
                  <a:gd name="connsiteX233" fmla="*/ 460375 w 1687513"/>
                  <a:gd name="connsiteY233" fmla="*/ 699172 h 2986617"/>
                  <a:gd name="connsiteX234" fmla="*/ 460375 w 1687513"/>
                  <a:gd name="connsiteY234" fmla="*/ 699172 h 2986617"/>
                  <a:gd name="connsiteX235" fmla="*/ 460375 w 1687513"/>
                  <a:gd name="connsiteY235" fmla="*/ 699172 h 2986617"/>
                  <a:gd name="connsiteX236" fmla="*/ 612775 w 1687513"/>
                  <a:gd name="connsiteY236" fmla="*/ 418665 h 2986617"/>
                  <a:gd name="connsiteX237" fmla="*/ 672241 w 1687513"/>
                  <a:gd name="connsiteY237" fmla="*/ 409045 h 2986617"/>
                  <a:gd name="connsiteX238" fmla="*/ 1133802 w 1687513"/>
                  <a:gd name="connsiteY238" fmla="*/ 204550 h 2986617"/>
                  <a:gd name="connsiteX239" fmla="*/ 1133805 w 1687513"/>
                  <a:gd name="connsiteY239" fmla="*/ 204551 h 2986617"/>
                  <a:gd name="connsiteX240" fmla="*/ 1171531 w 1687513"/>
                  <a:gd name="connsiteY240" fmla="*/ 219540 h 2986617"/>
                  <a:gd name="connsiteX241" fmla="*/ 1177509 w 1687513"/>
                  <a:gd name="connsiteY241" fmla="*/ 226027 h 2986617"/>
                  <a:gd name="connsiteX242" fmla="*/ 1182384 w 1687513"/>
                  <a:gd name="connsiteY242" fmla="*/ 228423 h 2986617"/>
                  <a:gd name="connsiteX243" fmla="*/ 1187826 w 1687513"/>
                  <a:gd name="connsiteY243" fmla="*/ 237224 h 2986617"/>
                  <a:gd name="connsiteX244" fmla="*/ 1201044 w 1687513"/>
                  <a:gd name="connsiteY244" fmla="*/ 251569 h 2986617"/>
                  <a:gd name="connsiteX245" fmla="*/ 1209523 w 1687513"/>
                  <a:gd name="connsiteY245" fmla="*/ 272315 h 2986617"/>
                  <a:gd name="connsiteX246" fmla="*/ 1215132 w 1687513"/>
                  <a:gd name="connsiteY246" fmla="*/ 281386 h 2986617"/>
                  <a:gd name="connsiteX247" fmla="*/ 1216299 w 1687513"/>
                  <a:gd name="connsiteY247" fmla="*/ 288893 h 2986617"/>
                  <a:gd name="connsiteX248" fmla="*/ 1220270 w 1687513"/>
                  <a:gd name="connsiteY248" fmla="*/ 298609 h 2986617"/>
                  <a:gd name="connsiteX249" fmla="*/ 1227138 w 1687513"/>
                  <a:gd name="connsiteY249" fmla="*/ 358633 h 2986617"/>
                  <a:gd name="connsiteX250" fmla="*/ 1227138 w 1687513"/>
                  <a:gd name="connsiteY250" fmla="*/ 358633 h 2986617"/>
                  <a:gd name="connsiteX251" fmla="*/ 1227138 w 1687513"/>
                  <a:gd name="connsiteY251" fmla="*/ 358634 h 2986617"/>
                  <a:gd name="connsiteX252" fmla="*/ 1227138 w 1687513"/>
                  <a:gd name="connsiteY252" fmla="*/ 358634 h 2986617"/>
                  <a:gd name="connsiteX253" fmla="*/ 1074293 w 1687513"/>
                  <a:gd name="connsiteY253" fmla="*/ 639140 h 2986617"/>
                  <a:gd name="connsiteX254" fmla="*/ 920750 w 1687513"/>
                  <a:gd name="connsiteY254" fmla="*/ 494385 h 2986617"/>
                  <a:gd name="connsiteX255" fmla="*/ 920750 w 1687513"/>
                  <a:gd name="connsiteY255" fmla="*/ 494385 h 2986617"/>
                  <a:gd name="connsiteX256" fmla="*/ 920750 w 1687513"/>
                  <a:gd name="connsiteY256" fmla="*/ 494385 h 2986617"/>
                  <a:gd name="connsiteX257" fmla="*/ 1074293 w 1687513"/>
                  <a:gd name="connsiteY257" fmla="*/ 214571 h 2986617"/>
                  <a:gd name="connsiteX258" fmla="*/ 1133802 w 1687513"/>
                  <a:gd name="connsiteY258" fmla="*/ 204550 h 2986617"/>
                  <a:gd name="connsiteX259" fmla="*/ 1594287 w 1687513"/>
                  <a:gd name="connsiteY259" fmla="*/ 900 h 2986617"/>
                  <a:gd name="connsiteX260" fmla="*/ 1594289 w 1687513"/>
                  <a:gd name="connsiteY260" fmla="*/ 900 h 2986617"/>
                  <a:gd name="connsiteX261" fmla="*/ 1631909 w 1687513"/>
                  <a:gd name="connsiteY261" fmla="*/ 15859 h 2986617"/>
                  <a:gd name="connsiteX262" fmla="*/ 1637874 w 1687513"/>
                  <a:gd name="connsiteY262" fmla="*/ 22306 h 2986617"/>
                  <a:gd name="connsiteX263" fmla="*/ 1642746 w 1687513"/>
                  <a:gd name="connsiteY263" fmla="*/ 24698 h 2986617"/>
                  <a:gd name="connsiteX264" fmla="*/ 1648176 w 1687513"/>
                  <a:gd name="connsiteY264" fmla="*/ 33440 h 2986617"/>
                  <a:gd name="connsiteX265" fmla="*/ 1661394 w 1687513"/>
                  <a:gd name="connsiteY265" fmla="*/ 47725 h 2986617"/>
                  <a:gd name="connsiteX266" fmla="*/ 1669872 w 1687513"/>
                  <a:gd name="connsiteY266" fmla="*/ 68363 h 2986617"/>
                  <a:gd name="connsiteX267" fmla="*/ 1675488 w 1687513"/>
                  <a:gd name="connsiteY267" fmla="*/ 77404 h 2986617"/>
                  <a:gd name="connsiteX268" fmla="*/ 1676655 w 1687513"/>
                  <a:gd name="connsiteY268" fmla="*/ 84876 h 2986617"/>
                  <a:gd name="connsiteX269" fmla="*/ 1680632 w 1687513"/>
                  <a:gd name="connsiteY269" fmla="*/ 94558 h 2986617"/>
                  <a:gd name="connsiteX270" fmla="*/ 1687513 w 1687513"/>
                  <a:gd name="connsiteY270" fmla="*/ 154415 h 2986617"/>
                  <a:gd name="connsiteX271" fmla="*/ 1687513 w 1687513"/>
                  <a:gd name="connsiteY271" fmla="*/ 154415 h 2986617"/>
                  <a:gd name="connsiteX272" fmla="*/ 1687513 w 1687513"/>
                  <a:gd name="connsiteY272" fmla="*/ 154416 h 2986617"/>
                  <a:gd name="connsiteX273" fmla="*/ 1687513 w 1687513"/>
                  <a:gd name="connsiteY273" fmla="*/ 154416 h 2986617"/>
                  <a:gd name="connsiteX274" fmla="*/ 1535113 w 1687513"/>
                  <a:gd name="connsiteY274" fmla="*/ 434419 h 2986617"/>
                  <a:gd name="connsiteX275" fmla="*/ 1382713 w 1687513"/>
                  <a:gd name="connsiteY275" fmla="*/ 289923 h 2986617"/>
                  <a:gd name="connsiteX276" fmla="*/ 1382713 w 1687513"/>
                  <a:gd name="connsiteY276" fmla="*/ 289923 h 2986617"/>
                  <a:gd name="connsiteX277" fmla="*/ 1535113 w 1687513"/>
                  <a:gd name="connsiteY277" fmla="*/ 10611 h 2986617"/>
                  <a:gd name="connsiteX278" fmla="*/ 1594287 w 1687513"/>
                  <a:gd name="connsiteY278" fmla="*/ 900 h 2986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</a:cxnLst>
                <a:rect l="l" t="t" r="r" b="b"/>
                <a:pathLst>
                  <a:path w="1687513" h="2986617">
                    <a:moveTo>
                      <a:pt x="211574" y="2542497"/>
                    </a:moveTo>
                    <a:cubicBezTo>
                      <a:pt x="225236" y="2544458"/>
                      <a:pt x="237894" y="2549566"/>
                      <a:pt x="249196" y="2557503"/>
                    </a:cubicBezTo>
                    <a:lnTo>
                      <a:pt x="255159" y="2563970"/>
                    </a:lnTo>
                    <a:lnTo>
                      <a:pt x="260032" y="2566371"/>
                    </a:lnTo>
                    <a:lnTo>
                      <a:pt x="265460" y="2575142"/>
                    </a:lnTo>
                    <a:lnTo>
                      <a:pt x="278681" y="2589480"/>
                    </a:lnTo>
                    <a:lnTo>
                      <a:pt x="287157" y="2610204"/>
                    </a:lnTo>
                    <a:lnTo>
                      <a:pt x="292774" y="2619282"/>
                    </a:lnTo>
                    <a:lnTo>
                      <a:pt x="293941" y="2626790"/>
                    </a:lnTo>
                    <a:lnTo>
                      <a:pt x="297918" y="2636515"/>
                    </a:lnTo>
                    <a:cubicBezTo>
                      <a:pt x="302389" y="2654490"/>
                      <a:pt x="304800" y="2674656"/>
                      <a:pt x="304800" y="2696693"/>
                    </a:cubicBezTo>
                    <a:cubicBezTo>
                      <a:pt x="304800" y="2813534"/>
                      <a:pt x="236220" y="2938672"/>
                      <a:pt x="152400" y="2976005"/>
                    </a:cubicBezTo>
                    <a:cubicBezTo>
                      <a:pt x="67887" y="3013339"/>
                      <a:pt x="0" y="2949042"/>
                      <a:pt x="0" y="2832201"/>
                    </a:cubicBezTo>
                    <a:cubicBezTo>
                      <a:pt x="0" y="2715360"/>
                      <a:pt x="67887" y="2589532"/>
                      <a:pt x="152400" y="2552198"/>
                    </a:cubicBezTo>
                    <a:cubicBezTo>
                      <a:pt x="173355" y="2542864"/>
                      <a:pt x="193357" y="2539883"/>
                      <a:pt x="211574" y="2542497"/>
                    </a:cubicBezTo>
                    <a:close/>
                    <a:moveTo>
                      <a:pt x="672241" y="2337769"/>
                    </a:moveTo>
                    <a:cubicBezTo>
                      <a:pt x="685928" y="2339767"/>
                      <a:pt x="698580" y="2344915"/>
                      <a:pt x="709859" y="2352880"/>
                    </a:cubicBezTo>
                    <a:lnTo>
                      <a:pt x="715809" y="2359363"/>
                    </a:lnTo>
                    <a:lnTo>
                      <a:pt x="720667" y="2361772"/>
                    </a:lnTo>
                    <a:lnTo>
                      <a:pt x="726081" y="2370556"/>
                    </a:lnTo>
                    <a:lnTo>
                      <a:pt x="739239" y="2384893"/>
                    </a:lnTo>
                    <a:lnTo>
                      <a:pt x="747670" y="2405591"/>
                    </a:lnTo>
                    <a:lnTo>
                      <a:pt x="753247" y="2414642"/>
                    </a:lnTo>
                    <a:lnTo>
                      <a:pt x="754407" y="2422129"/>
                    </a:lnTo>
                    <a:lnTo>
                      <a:pt x="758353" y="2431816"/>
                    </a:lnTo>
                    <a:cubicBezTo>
                      <a:pt x="762789" y="2449720"/>
                      <a:pt x="765175" y="2469777"/>
                      <a:pt x="765175" y="2491655"/>
                    </a:cubicBezTo>
                    <a:cubicBezTo>
                      <a:pt x="765175" y="2608334"/>
                      <a:pt x="697288" y="2733298"/>
                      <a:pt x="612775" y="2771270"/>
                    </a:cubicBezTo>
                    <a:cubicBezTo>
                      <a:pt x="528955" y="2808552"/>
                      <a:pt x="460375" y="2743654"/>
                      <a:pt x="460375" y="2626975"/>
                    </a:cubicBezTo>
                    <a:cubicBezTo>
                      <a:pt x="460375" y="2510296"/>
                      <a:pt x="528955" y="2385332"/>
                      <a:pt x="612775" y="2347359"/>
                    </a:cubicBezTo>
                    <a:cubicBezTo>
                      <a:pt x="633903" y="2338039"/>
                      <a:pt x="653992" y="2335104"/>
                      <a:pt x="672241" y="2337769"/>
                    </a:cubicBezTo>
                    <a:close/>
                    <a:moveTo>
                      <a:pt x="1133802" y="2133272"/>
                    </a:moveTo>
                    <a:lnTo>
                      <a:pt x="1133804" y="2133273"/>
                    </a:lnTo>
                    <a:lnTo>
                      <a:pt x="1171531" y="2148215"/>
                    </a:lnTo>
                    <a:lnTo>
                      <a:pt x="1177509" y="2154682"/>
                    </a:lnTo>
                    <a:lnTo>
                      <a:pt x="1182384" y="2157070"/>
                    </a:lnTo>
                    <a:lnTo>
                      <a:pt x="1187825" y="2165842"/>
                    </a:lnTo>
                    <a:lnTo>
                      <a:pt x="1201044" y="2180142"/>
                    </a:lnTo>
                    <a:lnTo>
                      <a:pt x="1209523" y="2200822"/>
                    </a:lnTo>
                    <a:lnTo>
                      <a:pt x="1215132" y="2209864"/>
                    </a:lnTo>
                    <a:lnTo>
                      <a:pt x="1216299" y="2217347"/>
                    </a:lnTo>
                    <a:lnTo>
                      <a:pt x="1220270" y="2227032"/>
                    </a:lnTo>
                    <a:cubicBezTo>
                      <a:pt x="1224734" y="2244932"/>
                      <a:pt x="1227138" y="2264989"/>
                      <a:pt x="1227138" y="2286866"/>
                    </a:cubicBezTo>
                    <a:cubicBezTo>
                      <a:pt x="1227138" y="2403546"/>
                      <a:pt x="1158742" y="2529200"/>
                      <a:pt x="1074293" y="2566482"/>
                    </a:cubicBezTo>
                    <a:cubicBezTo>
                      <a:pt x="989147" y="2603764"/>
                      <a:pt x="920750" y="2538866"/>
                      <a:pt x="920750" y="2422187"/>
                    </a:cubicBezTo>
                    <a:cubicBezTo>
                      <a:pt x="920750" y="2305507"/>
                      <a:pt x="989147" y="2180543"/>
                      <a:pt x="1074293" y="2143261"/>
                    </a:cubicBezTo>
                    <a:cubicBezTo>
                      <a:pt x="1095405" y="2133768"/>
                      <a:pt x="1115514" y="2130705"/>
                      <a:pt x="1133802" y="2133272"/>
                    </a:cubicBezTo>
                    <a:close/>
                    <a:moveTo>
                      <a:pt x="1594287" y="1928124"/>
                    </a:moveTo>
                    <a:lnTo>
                      <a:pt x="1594288" y="1928124"/>
                    </a:lnTo>
                    <a:lnTo>
                      <a:pt x="1631909" y="1943083"/>
                    </a:lnTo>
                    <a:lnTo>
                      <a:pt x="1637874" y="1949530"/>
                    </a:lnTo>
                    <a:lnTo>
                      <a:pt x="1642746" y="1951922"/>
                    </a:lnTo>
                    <a:lnTo>
                      <a:pt x="1648176" y="1960664"/>
                    </a:lnTo>
                    <a:lnTo>
                      <a:pt x="1661394" y="1974949"/>
                    </a:lnTo>
                    <a:lnTo>
                      <a:pt x="1669872" y="1995587"/>
                    </a:lnTo>
                    <a:lnTo>
                      <a:pt x="1675488" y="2004628"/>
                    </a:lnTo>
                    <a:lnTo>
                      <a:pt x="1676655" y="2012100"/>
                    </a:lnTo>
                    <a:lnTo>
                      <a:pt x="1680632" y="2021782"/>
                    </a:lnTo>
                    <a:cubicBezTo>
                      <a:pt x="1685102" y="2039672"/>
                      <a:pt x="1687513" y="2059732"/>
                      <a:pt x="1687513" y="2081640"/>
                    </a:cubicBezTo>
                    <a:cubicBezTo>
                      <a:pt x="1687513" y="2199172"/>
                      <a:pt x="1618933" y="2324310"/>
                      <a:pt x="1535113" y="2361643"/>
                    </a:cubicBezTo>
                    <a:cubicBezTo>
                      <a:pt x="1450601" y="2398977"/>
                      <a:pt x="1382713" y="2334680"/>
                      <a:pt x="1382713" y="2217148"/>
                    </a:cubicBezTo>
                    <a:cubicBezTo>
                      <a:pt x="1382713" y="2100307"/>
                      <a:pt x="1450601" y="1975169"/>
                      <a:pt x="1535113" y="1937836"/>
                    </a:cubicBezTo>
                    <a:cubicBezTo>
                      <a:pt x="1556068" y="1928502"/>
                      <a:pt x="1576071" y="1925521"/>
                      <a:pt x="1594287" y="1928124"/>
                    </a:cubicBezTo>
                    <a:close/>
                    <a:moveTo>
                      <a:pt x="211574" y="1899999"/>
                    </a:moveTo>
                    <a:cubicBezTo>
                      <a:pt x="225236" y="1901931"/>
                      <a:pt x="237894" y="1907040"/>
                      <a:pt x="249196" y="1914989"/>
                    </a:cubicBezTo>
                    <a:lnTo>
                      <a:pt x="255167" y="1921476"/>
                    </a:lnTo>
                    <a:lnTo>
                      <a:pt x="260032" y="1923873"/>
                    </a:lnTo>
                    <a:lnTo>
                      <a:pt x="265469" y="1932666"/>
                    </a:lnTo>
                    <a:lnTo>
                      <a:pt x="278681" y="1947018"/>
                    </a:lnTo>
                    <a:lnTo>
                      <a:pt x="287162" y="1967757"/>
                    </a:lnTo>
                    <a:lnTo>
                      <a:pt x="292774" y="1976835"/>
                    </a:lnTo>
                    <a:lnTo>
                      <a:pt x="293942" y="1984335"/>
                    </a:lnTo>
                    <a:lnTo>
                      <a:pt x="297918" y="1994058"/>
                    </a:lnTo>
                    <a:cubicBezTo>
                      <a:pt x="302389" y="2012015"/>
                      <a:pt x="304800" y="2032136"/>
                      <a:pt x="304800" y="2054083"/>
                    </a:cubicBezTo>
                    <a:cubicBezTo>
                      <a:pt x="304800" y="2171134"/>
                      <a:pt x="236220" y="2297188"/>
                      <a:pt x="152400" y="2334589"/>
                    </a:cubicBezTo>
                    <a:cubicBezTo>
                      <a:pt x="67887" y="2371990"/>
                      <a:pt x="0" y="2306885"/>
                      <a:pt x="0" y="2189834"/>
                    </a:cubicBezTo>
                    <a:cubicBezTo>
                      <a:pt x="0" y="2072783"/>
                      <a:pt x="67887" y="1947421"/>
                      <a:pt x="152400" y="1910020"/>
                    </a:cubicBezTo>
                    <a:cubicBezTo>
                      <a:pt x="173355" y="1900497"/>
                      <a:pt x="193357" y="1897424"/>
                      <a:pt x="211574" y="1899999"/>
                    </a:cubicBezTo>
                    <a:close/>
                    <a:moveTo>
                      <a:pt x="672241" y="1694849"/>
                    </a:moveTo>
                    <a:lnTo>
                      <a:pt x="672243" y="1694850"/>
                    </a:lnTo>
                    <a:lnTo>
                      <a:pt x="709859" y="1709856"/>
                    </a:lnTo>
                    <a:lnTo>
                      <a:pt x="715806" y="1716326"/>
                    </a:lnTo>
                    <a:lnTo>
                      <a:pt x="720667" y="1718723"/>
                    </a:lnTo>
                    <a:lnTo>
                      <a:pt x="726077" y="1727503"/>
                    </a:lnTo>
                    <a:lnTo>
                      <a:pt x="739239" y="1741824"/>
                    </a:lnTo>
                    <a:lnTo>
                      <a:pt x="747668" y="1762542"/>
                    </a:lnTo>
                    <a:lnTo>
                      <a:pt x="753247" y="1771597"/>
                    </a:lnTo>
                    <a:lnTo>
                      <a:pt x="754407" y="1779105"/>
                    </a:lnTo>
                    <a:lnTo>
                      <a:pt x="758353" y="1788806"/>
                    </a:lnTo>
                    <a:cubicBezTo>
                      <a:pt x="762789" y="1806752"/>
                      <a:pt x="765175" y="1826876"/>
                      <a:pt x="765175" y="1848854"/>
                    </a:cubicBezTo>
                    <a:cubicBezTo>
                      <a:pt x="765175" y="1966761"/>
                      <a:pt x="697288" y="2092296"/>
                      <a:pt x="612775" y="2129749"/>
                    </a:cubicBezTo>
                    <a:cubicBezTo>
                      <a:pt x="528955" y="2167202"/>
                      <a:pt x="460375" y="2102700"/>
                      <a:pt x="460375" y="1984793"/>
                    </a:cubicBezTo>
                    <a:cubicBezTo>
                      <a:pt x="460375" y="1867580"/>
                      <a:pt x="528955" y="1742044"/>
                      <a:pt x="612775" y="1704592"/>
                    </a:cubicBezTo>
                    <a:cubicBezTo>
                      <a:pt x="633903" y="1695228"/>
                      <a:pt x="653992" y="1692237"/>
                      <a:pt x="672241" y="1694849"/>
                    </a:cubicBezTo>
                    <a:close/>
                    <a:moveTo>
                      <a:pt x="1133802" y="1489974"/>
                    </a:moveTo>
                    <a:lnTo>
                      <a:pt x="1133804" y="1489975"/>
                    </a:lnTo>
                    <a:lnTo>
                      <a:pt x="1171531" y="1504933"/>
                    </a:lnTo>
                    <a:lnTo>
                      <a:pt x="1177503" y="1511382"/>
                    </a:lnTo>
                    <a:lnTo>
                      <a:pt x="1182384" y="1513772"/>
                    </a:lnTo>
                    <a:lnTo>
                      <a:pt x="1187819" y="1522520"/>
                    </a:lnTo>
                    <a:lnTo>
                      <a:pt x="1201044" y="1536799"/>
                    </a:lnTo>
                    <a:lnTo>
                      <a:pt x="1209519" y="1557445"/>
                    </a:lnTo>
                    <a:lnTo>
                      <a:pt x="1215132" y="1566478"/>
                    </a:lnTo>
                    <a:lnTo>
                      <a:pt x="1216298" y="1573957"/>
                    </a:lnTo>
                    <a:lnTo>
                      <a:pt x="1220270" y="1583632"/>
                    </a:lnTo>
                    <a:cubicBezTo>
                      <a:pt x="1224734" y="1601522"/>
                      <a:pt x="1227138" y="1621582"/>
                      <a:pt x="1227138" y="1643490"/>
                    </a:cubicBezTo>
                    <a:cubicBezTo>
                      <a:pt x="1227138" y="1761022"/>
                      <a:pt x="1158742" y="1886159"/>
                      <a:pt x="1074293" y="1923493"/>
                    </a:cubicBezTo>
                    <a:cubicBezTo>
                      <a:pt x="989147" y="1960827"/>
                      <a:pt x="920750" y="1896530"/>
                      <a:pt x="920750" y="1778998"/>
                    </a:cubicBezTo>
                    <a:cubicBezTo>
                      <a:pt x="920750" y="1662157"/>
                      <a:pt x="989147" y="1537019"/>
                      <a:pt x="1074293" y="1499686"/>
                    </a:cubicBezTo>
                    <a:cubicBezTo>
                      <a:pt x="1095405" y="1490352"/>
                      <a:pt x="1115514" y="1487371"/>
                      <a:pt x="1133802" y="1489974"/>
                    </a:cubicBezTo>
                    <a:close/>
                    <a:moveTo>
                      <a:pt x="1594287" y="1285197"/>
                    </a:moveTo>
                    <a:lnTo>
                      <a:pt x="1594288" y="1285197"/>
                    </a:lnTo>
                    <a:lnTo>
                      <a:pt x="1631909" y="1300203"/>
                    </a:lnTo>
                    <a:lnTo>
                      <a:pt x="1637872" y="1306670"/>
                    </a:lnTo>
                    <a:lnTo>
                      <a:pt x="1642746" y="1309071"/>
                    </a:lnTo>
                    <a:lnTo>
                      <a:pt x="1648174" y="1317842"/>
                    </a:lnTo>
                    <a:lnTo>
                      <a:pt x="1661394" y="1332180"/>
                    </a:lnTo>
                    <a:lnTo>
                      <a:pt x="1669870" y="1352903"/>
                    </a:lnTo>
                    <a:lnTo>
                      <a:pt x="1675488" y="1361982"/>
                    </a:lnTo>
                    <a:lnTo>
                      <a:pt x="1676654" y="1369491"/>
                    </a:lnTo>
                    <a:lnTo>
                      <a:pt x="1680632" y="1379215"/>
                    </a:lnTo>
                    <a:lnTo>
                      <a:pt x="1687513" y="1439393"/>
                    </a:lnTo>
                    <a:lnTo>
                      <a:pt x="1687513" y="1439393"/>
                    </a:lnTo>
                    <a:lnTo>
                      <a:pt x="1687513" y="1439393"/>
                    </a:lnTo>
                    <a:cubicBezTo>
                      <a:pt x="1687513" y="1556234"/>
                      <a:pt x="1618933" y="1681371"/>
                      <a:pt x="1535113" y="1718705"/>
                    </a:cubicBezTo>
                    <a:cubicBezTo>
                      <a:pt x="1450601" y="1756039"/>
                      <a:pt x="1382713" y="1691742"/>
                      <a:pt x="1382713" y="1574901"/>
                    </a:cubicBezTo>
                    <a:cubicBezTo>
                      <a:pt x="1382713" y="1457369"/>
                      <a:pt x="1450601" y="1332231"/>
                      <a:pt x="1535113" y="1294898"/>
                    </a:cubicBezTo>
                    <a:cubicBezTo>
                      <a:pt x="1556068" y="1285564"/>
                      <a:pt x="1576071" y="1282583"/>
                      <a:pt x="1594287" y="1285197"/>
                    </a:cubicBezTo>
                    <a:close/>
                    <a:moveTo>
                      <a:pt x="211574" y="1256699"/>
                    </a:moveTo>
                    <a:lnTo>
                      <a:pt x="211574" y="1256699"/>
                    </a:lnTo>
                    <a:lnTo>
                      <a:pt x="249196" y="1271706"/>
                    </a:lnTo>
                    <a:lnTo>
                      <a:pt x="255161" y="1278173"/>
                    </a:lnTo>
                    <a:lnTo>
                      <a:pt x="260032" y="1280573"/>
                    </a:lnTo>
                    <a:lnTo>
                      <a:pt x="265463" y="1289343"/>
                    </a:lnTo>
                    <a:lnTo>
                      <a:pt x="278681" y="1303674"/>
                    </a:lnTo>
                    <a:lnTo>
                      <a:pt x="287158" y="1324378"/>
                    </a:lnTo>
                    <a:lnTo>
                      <a:pt x="292774" y="1333447"/>
                    </a:lnTo>
                    <a:lnTo>
                      <a:pt x="293941" y="1340943"/>
                    </a:lnTo>
                    <a:lnTo>
                      <a:pt x="297918" y="1350656"/>
                    </a:lnTo>
                    <a:cubicBezTo>
                      <a:pt x="302389" y="1368602"/>
                      <a:pt x="304800" y="1388727"/>
                      <a:pt x="304800" y="1410704"/>
                    </a:cubicBezTo>
                    <a:cubicBezTo>
                      <a:pt x="304800" y="1528611"/>
                      <a:pt x="236220" y="1654147"/>
                      <a:pt x="152400" y="1691599"/>
                    </a:cubicBezTo>
                    <a:cubicBezTo>
                      <a:pt x="67887" y="1729052"/>
                      <a:pt x="0" y="1664550"/>
                      <a:pt x="0" y="1547337"/>
                    </a:cubicBezTo>
                    <a:cubicBezTo>
                      <a:pt x="0" y="1488384"/>
                      <a:pt x="16972" y="1427523"/>
                      <a:pt x="44508" y="1376719"/>
                    </a:cubicBezTo>
                    <a:cubicBezTo>
                      <a:pt x="72044" y="1325915"/>
                      <a:pt x="110144" y="1285168"/>
                      <a:pt x="152400" y="1266442"/>
                    </a:cubicBezTo>
                    <a:lnTo>
                      <a:pt x="208118" y="1257268"/>
                    </a:lnTo>
                    <a:close/>
                    <a:moveTo>
                      <a:pt x="672241" y="1051923"/>
                    </a:moveTo>
                    <a:lnTo>
                      <a:pt x="672244" y="1051925"/>
                    </a:lnTo>
                    <a:lnTo>
                      <a:pt x="709859" y="1066977"/>
                    </a:lnTo>
                    <a:lnTo>
                      <a:pt x="715803" y="1073467"/>
                    </a:lnTo>
                    <a:lnTo>
                      <a:pt x="720667" y="1075873"/>
                    </a:lnTo>
                    <a:lnTo>
                      <a:pt x="726075" y="1084683"/>
                    </a:lnTo>
                    <a:lnTo>
                      <a:pt x="739239" y="1099056"/>
                    </a:lnTo>
                    <a:lnTo>
                      <a:pt x="747666" y="1119860"/>
                    </a:lnTo>
                    <a:lnTo>
                      <a:pt x="753247" y="1128953"/>
                    </a:lnTo>
                    <a:lnTo>
                      <a:pt x="754406" y="1136498"/>
                    </a:lnTo>
                    <a:lnTo>
                      <a:pt x="758353" y="1146241"/>
                    </a:lnTo>
                    <a:lnTo>
                      <a:pt x="765175" y="1206610"/>
                    </a:lnTo>
                    <a:lnTo>
                      <a:pt x="765175" y="1206611"/>
                    </a:lnTo>
                    <a:lnTo>
                      <a:pt x="765175" y="1206611"/>
                    </a:lnTo>
                    <a:cubicBezTo>
                      <a:pt x="765175" y="1323824"/>
                      <a:pt x="697288" y="1449360"/>
                      <a:pt x="612775" y="1486812"/>
                    </a:cubicBezTo>
                    <a:cubicBezTo>
                      <a:pt x="528955" y="1524265"/>
                      <a:pt x="460375" y="1459763"/>
                      <a:pt x="460375" y="1342550"/>
                    </a:cubicBezTo>
                    <a:cubicBezTo>
                      <a:pt x="460375" y="1224643"/>
                      <a:pt x="528955" y="1099107"/>
                      <a:pt x="612775" y="1061655"/>
                    </a:cubicBezTo>
                    <a:cubicBezTo>
                      <a:pt x="633903" y="1052292"/>
                      <a:pt x="653992" y="1049301"/>
                      <a:pt x="672241" y="1051923"/>
                    </a:cubicBezTo>
                    <a:close/>
                    <a:moveTo>
                      <a:pt x="1133802" y="847135"/>
                    </a:moveTo>
                    <a:lnTo>
                      <a:pt x="1133803" y="847136"/>
                    </a:lnTo>
                    <a:lnTo>
                      <a:pt x="1171531" y="862189"/>
                    </a:lnTo>
                    <a:lnTo>
                      <a:pt x="1177501" y="868678"/>
                    </a:lnTo>
                    <a:lnTo>
                      <a:pt x="1182384" y="871085"/>
                    </a:lnTo>
                    <a:lnTo>
                      <a:pt x="1187817" y="879891"/>
                    </a:lnTo>
                    <a:lnTo>
                      <a:pt x="1201044" y="894268"/>
                    </a:lnTo>
                    <a:lnTo>
                      <a:pt x="1209518" y="915065"/>
                    </a:lnTo>
                    <a:lnTo>
                      <a:pt x="1215132" y="924165"/>
                    </a:lnTo>
                    <a:lnTo>
                      <a:pt x="1216297" y="931704"/>
                    </a:lnTo>
                    <a:lnTo>
                      <a:pt x="1220270" y="941453"/>
                    </a:lnTo>
                    <a:lnTo>
                      <a:pt x="1227138" y="1001822"/>
                    </a:lnTo>
                    <a:lnTo>
                      <a:pt x="1227138" y="1001823"/>
                    </a:lnTo>
                    <a:lnTo>
                      <a:pt x="1227138" y="1001823"/>
                    </a:lnTo>
                    <a:cubicBezTo>
                      <a:pt x="1227138" y="1119036"/>
                      <a:pt x="1158742" y="1244572"/>
                      <a:pt x="1074293" y="1282024"/>
                    </a:cubicBezTo>
                    <a:cubicBezTo>
                      <a:pt x="989147" y="1319477"/>
                      <a:pt x="920750" y="1254975"/>
                      <a:pt x="920750" y="1137762"/>
                    </a:cubicBezTo>
                    <a:cubicBezTo>
                      <a:pt x="920750" y="1020549"/>
                      <a:pt x="989147" y="894319"/>
                      <a:pt x="1074293" y="856867"/>
                    </a:cubicBezTo>
                    <a:lnTo>
                      <a:pt x="1114997" y="850210"/>
                    </a:lnTo>
                    <a:close/>
                    <a:moveTo>
                      <a:pt x="1594287" y="642407"/>
                    </a:moveTo>
                    <a:lnTo>
                      <a:pt x="1594292" y="642410"/>
                    </a:lnTo>
                    <a:lnTo>
                      <a:pt x="1631909" y="657567"/>
                    </a:lnTo>
                    <a:lnTo>
                      <a:pt x="1637877" y="664067"/>
                    </a:lnTo>
                    <a:lnTo>
                      <a:pt x="1642746" y="666487"/>
                    </a:lnTo>
                    <a:lnTo>
                      <a:pt x="1648180" y="675289"/>
                    </a:lnTo>
                    <a:lnTo>
                      <a:pt x="1661394" y="689682"/>
                    </a:lnTo>
                    <a:lnTo>
                      <a:pt x="1669873" y="710430"/>
                    </a:lnTo>
                    <a:lnTo>
                      <a:pt x="1675488" y="719525"/>
                    </a:lnTo>
                    <a:lnTo>
                      <a:pt x="1676655" y="727024"/>
                    </a:lnTo>
                    <a:lnTo>
                      <a:pt x="1680632" y="736754"/>
                    </a:lnTo>
                    <a:lnTo>
                      <a:pt x="1687513" y="796782"/>
                    </a:lnTo>
                    <a:lnTo>
                      <a:pt x="1687513" y="796783"/>
                    </a:lnTo>
                    <a:lnTo>
                      <a:pt x="1687513" y="796783"/>
                    </a:lnTo>
                    <a:cubicBezTo>
                      <a:pt x="1687513" y="913834"/>
                      <a:pt x="1618933" y="1039196"/>
                      <a:pt x="1535113" y="1076597"/>
                    </a:cubicBezTo>
                    <a:cubicBezTo>
                      <a:pt x="1450601" y="1114690"/>
                      <a:pt x="1382713" y="1049585"/>
                      <a:pt x="1382713" y="932534"/>
                    </a:cubicBezTo>
                    <a:cubicBezTo>
                      <a:pt x="1382713" y="815483"/>
                      <a:pt x="1450601" y="690122"/>
                      <a:pt x="1535113" y="652028"/>
                    </a:cubicBezTo>
                    <a:cubicBezTo>
                      <a:pt x="1556068" y="642678"/>
                      <a:pt x="1576071" y="639734"/>
                      <a:pt x="1594287" y="642407"/>
                    </a:cubicBezTo>
                    <a:close/>
                    <a:moveTo>
                      <a:pt x="211574" y="613736"/>
                    </a:moveTo>
                    <a:lnTo>
                      <a:pt x="211582" y="613739"/>
                    </a:lnTo>
                    <a:lnTo>
                      <a:pt x="249196" y="628769"/>
                    </a:lnTo>
                    <a:lnTo>
                      <a:pt x="255157" y="635246"/>
                    </a:lnTo>
                    <a:lnTo>
                      <a:pt x="260032" y="637652"/>
                    </a:lnTo>
                    <a:lnTo>
                      <a:pt x="265461" y="646441"/>
                    </a:lnTo>
                    <a:lnTo>
                      <a:pt x="278681" y="660803"/>
                    </a:lnTo>
                    <a:lnTo>
                      <a:pt x="287156" y="681562"/>
                    </a:lnTo>
                    <a:lnTo>
                      <a:pt x="292774" y="690658"/>
                    </a:lnTo>
                    <a:lnTo>
                      <a:pt x="293941" y="698181"/>
                    </a:lnTo>
                    <a:lnTo>
                      <a:pt x="297918" y="707923"/>
                    </a:lnTo>
                    <a:lnTo>
                      <a:pt x="304800" y="768207"/>
                    </a:lnTo>
                    <a:lnTo>
                      <a:pt x="304800" y="768209"/>
                    </a:lnTo>
                    <a:lnTo>
                      <a:pt x="304800" y="768209"/>
                    </a:lnTo>
                    <a:lnTo>
                      <a:pt x="304800" y="768209"/>
                    </a:lnTo>
                    <a:cubicBezTo>
                      <a:pt x="304800" y="885259"/>
                      <a:pt x="236220" y="1010621"/>
                      <a:pt x="152400" y="1048021"/>
                    </a:cubicBezTo>
                    <a:cubicBezTo>
                      <a:pt x="67887" y="1086115"/>
                      <a:pt x="0" y="1021010"/>
                      <a:pt x="0" y="903959"/>
                    </a:cubicBezTo>
                    <a:cubicBezTo>
                      <a:pt x="0" y="786909"/>
                      <a:pt x="67887" y="660854"/>
                      <a:pt x="152400" y="623454"/>
                    </a:cubicBezTo>
                    <a:cubicBezTo>
                      <a:pt x="173355" y="614103"/>
                      <a:pt x="193357" y="611116"/>
                      <a:pt x="211574" y="613736"/>
                    </a:cubicBezTo>
                    <a:close/>
                    <a:moveTo>
                      <a:pt x="672241" y="409045"/>
                    </a:moveTo>
                    <a:lnTo>
                      <a:pt x="672248" y="409048"/>
                    </a:lnTo>
                    <a:lnTo>
                      <a:pt x="709859" y="424204"/>
                    </a:lnTo>
                    <a:lnTo>
                      <a:pt x="715808" y="430707"/>
                    </a:lnTo>
                    <a:lnTo>
                      <a:pt x="720667" y="433124"/>
                    </a:lnTo>
                    <a:lnTo>
                      <a:pt x="726082" y="441938"/>
                    </a:lnTo>
                    <a:lnTo>
                      <a:pt x="739239" y="456320"/>
                    </a:lnTo>
                    <a:lnTo>
                      <a:pt x="747669" y="477081"/>
                    </a:lnTo>
                    <a:lnTo>
                      <a:pt x="753247" y="486162"/>
                    </a:lnTo>
                    <a:lnTo>
                      <a:pt x="754407" y="493674"/>
                    </a:lnTo>
                    <a:lnTo>
                      <a:pt x="758353" y="503392"/>
                    </a:lnTo>
                    <a:lnTo>
                      <a:pt x="765175" y="563419"/>
                    </a:lnTo>
                    <a:lnTo>
                      <a:pt x="765175" y="563421"/>
                    </a:lnTo>
                    <a:lnTo>
                      <a:pt x="765175" y="563421"/>
                    </a:lnTo>
                    <a:lnTo>
                      <a:pt x="765175" y="563421"/>
                    </a:lnTo>
                    <a:cubicBezTo>
                      <a:pt x="765175" y="680472"/>
                      <a:pt x="697288" y="805833"/>
                      <a:pt x="612775" y="843926"/>
                    </a:cubicBezTo>
                    <a:cubicBezTo>
                      <a:pt x="528955" y="881327"/>
                      <a:pt x="460375" y="816222"/>
                      <a:pt x="460375" y="699172"/>
                    </a:cubicBezTo>
                    <a:lnTo>
                      <a:pt x="460375" y="699172"/>
                    </a:lnTo>
                    <a:lnTo>
                      <a:pt x="460375" y="699172"/>
                    </a:lnTo>
                    <a:cubicBezTo>
                      <a:pt x="460375" y="582121"/>
                      <a:pt x="528955" y="456759"/>
                      <a:pt x="612775" y="418665"/>
                    </a:cubicBezTo>
                    <a:cubicBezTo>
                      <a:pt x="633903" y="409315"/>
                      <a:pt x="653992" y="406372"/>
                      <a:pt x="672241" y="409045"/>
                    </a:cubicBezTo>
                    <a:close/>
                    <a:moveTo>
                      <a:pt x="1133802" y="204550"/>
                    </a:moveTo>
                    <a:lnTo>
                      <a:pt x="1133805" y="204551"/>
                    </a:lnTo>
                    <a:lnTo>
                      <a:pt x="1171531" y="219540"/>
                    </a:lnTo>
                    <a:lnTo>
                      <a:pt x="1177509" y="226027"/>
                    </a:lnTo>
                    <a:lnTo>
                      <a:pt x="1182384" y="228423"/>
                    </a:lnTo>
                    <a:lnTo>
                      <a:pt x="1187826" y="237224"/>
                    </a:lnTo>
                    <a:lnTo>
                      <a:pt x="1201044" y="251569"/>
                    </a:lnTo>
                    <a:lnTo>
                      <a:pt x="1209523" y="272315"/>
                    </a:lnTo>
                    <a:lnTo>
                      <a:pt x="1215132" y="281386"/>
                    </a:lnTo>
                    <a:lnTo>
                      <a:pt x="1216299" y="288893"/>
                    </a:lnTo>
                    <a:lnTo>
                      <a:pt x="1220270" y="298609"/>
                    </a:lnTo>
                    <a:lnTo>
                      <a:pt x="1227138" y="358633"/>
                    </a:lnTo>
                    <a:lnTo>
                      <a:pt x="1227138" y="358633"/>
                    </a:lnTo>
                    <a:lnTo>
                      <a:pt x="1227138" y="358634"/>
                    </a:lnTo>
                    <a:lnTo>
                      <a:pt x="1227138" y="358634"/>
                    </a:lnTo>
                    <a:cubicBezTo>
                      <a:pt x="1227138" y="475685"/>
                      <a:pt x="1158742" y="601739"/>
                      <a:pt x="1074293" y="639140"/>
                    </a:cubicBezTo>
                    <a:cubicBezTo>
                      <a:pt x="989147" y="676541"/>
                      <a:pt x="920750" y="611436"/>
                      <a:pt x="920750" y="494385"/>
                    </a:cubicBezTo>
                    <a:lnTo>
                      <a:pt x="920750" y="494385"/>
                    </a:lnTo>
                    <a:lnTo>
                      <a:pt x="920750" y="494385"/>
                    </a:lnTo>
                    <a:cubicBezTo>
                      <a:pt x="920750" y="377334"/>
                      <a:pt x="989147" y="251972"/>
                      <a:pt x="1074293" y="214571"/>
                    </a:cubicBezTo>
                    <a:cubicBezTo>
                      <a:pt x="1095405" y="205048"/>
                      <a:pt x="1115514" y="201974"/>
                      <a:pt x="1133802" y="204550"/>
                    </a:cubicBezTo>
                    <a:close/>
                    <a:moveTo>
                      <a:pt x="1594287" y="900"/>
                    </a:moveTo>
                    <a:lnTo>
                      <a:pt x="1594289" y="900"/>
                    </a:lnTo>
                    <a:lnTo>
                      <a:pt x="1631909" y="15859"/>
                    </a:lnTo>
                    <a:lnTo>
                      <a:pt x="1637874" y="22306"/>
                    </a:lnTo>
                    <a:lnTo>
                      <a:pt x="1642746" y="24698"/>
                    </a:lnTo>
                    <a:lnTo>
                      <a:pt x="1648176" y="33440"/>
                    </a:lnTo>
                    <a:lnTo>
                      <a:pt x="1661394" y="47725"/>
                    </a:lnTo>
                    <a:lnTo>
                      <a:pt x="1669872" y="68363"/>
                    </a:lnTo>
                    <a:lnTo>
                      <a:pt x="1675488" y="77404"/>
                    </a:lnTo>
                    <a:lnTo>
                      <a:pt x="1676655" y="84876"/>
                    </a:lnTo>
                    <a:lnTo>
                      <a:pt x="1680632" y="94558"/>
                    </a:lnTo>
                    <a:lnTo>
                      <a:pt x="1687513" y="154415"/>
                    </a:lnTo>
                    <a:lnTo>
                      <a:pt x="1687513" y="154415"/>
                    </a:lnTo>
                    <a:lnTo>
                      <a:pt x="1687513" y="154416"/>
                    </a:lnTo>
                    <a:lnTo>
                      <a:pt x="1687513" y="154416"/>
                    </a:lnTo>
                    <a:cubicBezTo>
                      <a:pt x="1687513" y="271948"/>
                      <a:pt x="1618933" y="397085"/>
                      <a:pt x="1535113" y="434419"/>
                    </a:cubicBezTo>
                    <a:cubicBezTo>
                      <a:pt x="1450601" y="471753"/>
                      <a:pt x="1382713" y="407456"/>
                      <a:pt x="1382713" y="289923"/>
                    </a:cubicBezTo>
                    <a:lnTo>
                      <a:pt x="1382713" y="289923"/>
                    </a:lnTo>
                    <a:cubicBezTo>
                      <a:pt x="1382713" y="173082"/>
                      <a:pt x="1450601" y="47945"/>
                      <a:pt x="1535113" y="10611"/>
                    </a:cubicBezTo>
                    <a:cubicBezTo>
                      <a:pt x="1556068" y="1278"/>
                      <a:pt x="1576071" y="-1704"/>
                      <a:pt x="1594287" y="900"/>
                    </a:cubicBezTo>
                    <a:close/>
                  </a:path>
                </a:pathLst>
              </a:custGeom>
              <a:solidFill>
                <a:srgbClr val="7BA0FF"/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524" name="Freeform: Shape 434">
                <a:extLst>
                  <a:ext uri="{FF2B5EF4-FFF2-40B4-BE49-F238E27FC236}">
                    <a16:creationId xmlns:a16="http://schemas.microsoft.com/office/drawing/2014/main" id="{B9D28DA6-CA8E-5DFC-3D47-262DA92640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5767" y="-804052"/>
                <a:ext cx="245883" cy="435173"/>
              </a:xfrm>
              <a:custGeom>
                <a:avLst/>
                <a:gdLst>
                  <a:gd name="connsiteX0" fmla="*/ 1475938 w 1687512"/>
                  <a:gd name="connsiteY0" fmla="*/ 2542497 h 2986617"/>
                  <a:gd name="connsiteX1" fmla="*/ 1535112 w 1687512"/>
                  <a:gd name="connsiteY1" fmla="*/ 2552198 h 2986617"/>
                  <a:gd name="connsiteX2" fmla="*/ 1687512 w 1687512"/>
                  <a:gd name="connsiteY2" fmla="*/ 2832201 h 2986617"/>
                  <a:gd name="connsiteX3" fmla="*/ 1535112 w 1687512"/>
                  <a:gd name="connsiteY3" fmla="*/ 2976005 h 2986617"/>
                  <a:gd name="connsiteX4" fmla="*/ 1382712 w 1687512"/>
                  <a:gd name="connsiteY4" fmla="*/ 2696693 h 2986617"/>
                  <a:gd name="connsiteX5" fmla="*/ 1389594 w 1687512"/>
                  <a:gd name="connsiteY5" fmla="*/ 2636515 h 2986617"/>
                  <a:gd name="connsiteX6" fmla="*/ 1393571 w 1687512"/>
                  <a:gd name="connsiteY6" fmla="*/ 2626791 h 2986617"/>
                  <a:gd name="connsiteX7" fmla="*/ 1394738 w 1687512"/>
                  <a:gd name="connsiteY7" fmla="*/ 2619282 h 2986617"/>
                  <a:gd name="connsiteX8" fmla="*/ 1400356 w 1687512"/>
                  <a:gd name="connsiteY8" fmla="*/ 2610203 h 2986617"/>
                  <a:gd name="connsiteX9" fmla="*/ 1408832 w 1687512"/>
                  <a:gd name="connsiteY9" fmla="*/ 2589480 h 2986617"/>
                  <a:gd name="connsiteX10" fmla="*/ 1422052 w 1687512"/>
                  <a:gd name="connsiteY10" fmla="*/ 2575143 h 2986617"/>
                  <a:gd name="connsiteX11" fmla="*/ 1427480 w 1687512"/>
                  <a:gd name="connsiteY11" fmla="*/ 2566371 h 2986617"/>
                  <a:gd name="connsiteX12" fmla="*/ 1432354 w 1687512"/>
                  <a:gd name="connsiteY12" fmla="*/ 2563970 h 2986617"/>
                  <a:gd name="connsiteX13" fmla="*/ 1438316 w 1687512"/>
                  <a:gd name="connsiteY13" fmla="*/ 2557503 h 2986617"/>
                  <a:gd name="connsiteX14" fmla="*/ 1475938 w 1687512"/>
                  <a:gd name="connsiteY14" fmla="*/ 2542497 h 2986617"/>
                  <a:gd name="connsiteX15" fmla="*/ 1015271 w 1687512"/>
                  <a:gd name="connsiteY15" fmla="*/ 2337769 h 2986617"/>
                  <a:gd name="connsiteX16" fmla="*/ 1074737 w 1687512"/>
                  <a:gd name="connsiteY16" fmla="*/ 2347359 h 2986617"/>
                  <a:gd name="connsiteX17" fmla="*/ 1227137 w 1687512"/>
                  <a:gd name="connsiteY17" fmla="*/ 2626975 h 2986617"/>
                  <a:gd name="connsiteX18" fmla="*/ 1074737 w 1687512"/>
                  <a:gd name="connsiteY18" fmla="*/ 2771270 h 2986617"/>
                  <a:gd name="connsiteX19" fmla="*/ 922337 w 1687512"/>
                  <a:gd name="connsiteY19" fmla="*/ 2491655 h 2986617"/>
                  <a:gd name="connsiteX20" fmla="*/ 929159 w 1687512"/>
                  <a:gd name="connsiteY20" fmla="*/ 2431816 h 2986617"/>
                  <a:gd name="connsiteX21" fmla="*/ 933106 w 1687512"/>
                  <a:gd name="connsiteY21" fmla="*/ 2422129 h 2986617"/>
                  <a:gd name="connsiteX22" fmla="*/ 934265 w 1687512"/>
                  <a:gd name="connsiteY22" fmla="*/ 2414642 h 2986617"/>
                  <a:gd name="connsiteX23" fmla="*/ 939843 w 1687512"/>
                  <a:gd name="connsiteY23" fmla="*/ 2405591 h 2986617"/>
                  <a:gd name="connsiteX24" fmla="*/ 948274 w 1687512"/>
                  <a:gd name="connsiteY24" fmla="*/ 2384893 h 2986617"/>
                  <a:gd name="connsiteX25" fmla="*/ 961432 w 1687512"/>
                  <a:gd name="connsiteY25" fmla="*/ 2370556 h 2986617"/>
                  <a:gd name="connsiteX26" fmla="*/ 966845 w 1687512"/>
                  <a:gd name="connsiteY26" fmla="*/ 2361772 h 2986617"/>
                  <a:gd name="connsiteX27" fmla="*/ 971704 w 1687512"/>
                  <a:gd name="connsiteY27" fmla="*/ 2359363 h 2986617"/>
                  <a:gd name="connsiteX28" fmla="*/ 977654 w 1687512"/>
                  <a:gd name="connsiteY28" fmla="*/ 2352880 h 2986617"/>
                  <a:gd name="connsiteX29" fmla="*/ 1015271 w 1687512"/>
                  <a:gd name="connsiteY29" fmla="*/ 2337769 h 2986617"/>
                  <a:gd name="connsiteX30" fmla="*/ 554814 w 1687512"/>
                  <a:gd name="connsiteY30" fmla="*/ 2133272 h 2986617"/>
                  <a:gd name="connsiteX31" fmla="*/ 614015 w 1687512"/>
                  <a:gd name="connsiteY31" fmla="*/ 2143261 h 2986617"/>
                  <a:gd name="connsiteX32" fmla="*/ 766762 w 1687512"/>
                  <a:gd name="connsiteY32" fmla="*/ 2422187 h 2986617"/>
                  <a:gd name="connsiteX33" fmla="*/ 614015 w 1687512"/>
                  <a:gd name="connsiteY33" fmla="*/ 2566482 h 2986617"/>
                  <a:gd name="connsiteX34" fmla="*/ 461962 w 1687512"/>
                  <a:gd name="connsiteY34" fmla="*/ 2286866 h 2986617"/>
                  <a:gd name="connsiteX35" fmla="*/ 468795 w 1687512"/>
                  <a:gd name="connsiteY35" fmla="*/ 2227032 h 2986617"/>
                  <a:gd name="connsiteX36" fmla="*/ 472745 w 1687512"/>
                  <a:gd name="connsiteY36" fmla="*/ 2217347 h 2986617"/>
                  <a:gd name="connsiteX37" fmla="*/ 473906 w 1687512"/>
                  <a:gd name="connsiteY37" fmla="*/ 2209864 h 2986617"/>
                  <a:gd name="connsiteX38" fmla="*/ 479486 w 1687512"/>
                  <a:gd name="connsiteY38" fmla="*/ 2200822 h 2986617"/>
                  <a:gd name="connsiteX39" fmla="*/ 487921 w 1687512"/>
                  <a:gd name="connsiteY39" fmla="*/ 2180142 h 2986617"/>
                  <a:gd name="connsiteX40" fmla="*/ 501071 w 1687512"/>
                  <a:gd name="connsiteY40" fmla="*/ 2165841 h 2986617"/>
                  <a:gd name="connsiteX41" fmla="*/ 506484 w 1687512"/>
                  <a:gd name="connsiteY41" fmla="*/ 2157070 h 2986617"/>
                  <a:gd name="connsiteX42" fmla="*/ 511333 w 1687512"/>
                  <a:gd name="connsiteY42" fmla="*/ 2154682 h 2986617"/>
                  <a:gd name="connsiteX43" fmla="*/ 517281 w 1687512"/>
                  <a:gd name="connsiteY43" fmla="*/ 2148215 h 2986617"/>
                  <a:gd name="connsiteX44" fmla="*/ 554814 w 1687512"/>
                  <a:gd name="connsiteY44" fmla="*/ 2133272 h 2986617"/>
                  <a:gd name="connsiteX45" fmla="*/ 93712 w 1687512"/>
                  <a:gd name="connsiteY45" fmla="*/ 1928124 h 2986617"/>
                  <a:gd name="connsiteX46" fmla="*/ 153194 w 1687512"/>
                  <a:gd name="connsiteY46" fmla="*/ 1937836 h 2986617"/>
                  <a:gd name="connsiteX47" fmla="*/ 306388 w 1687512"/>
                  <a:gd name="connsiteY47" fmla="*/ 2217148 h 2986617"/>
                  <a:gd name="connsiteX48" fmla="*/ 153194 w 1687512"/>
                  <a:gd name="connsiteY48" fmla="*/ 2361643 h 2986617"/>
                  <a:gd name="connsiteX49" fmla="*/ 0 w 1687512"/>
                  <a:gd name="connsiteY49" fmla="*/ 2081640 h 2986617"/>
                  <a:gd name="connsiteX50" fmla="*/ 6917 w 1687512"/>
                  <a:gd name="connsiteY50" fmla="*/ 2021782 h 2986617"/>
                  <a:gd name="connsiteX51" fmla="*/ 10915 w 1687512"/>
                  <a:gd name="connsiteY51" fmla="*/ 2012100 h 2986617"/>
                  <a:gd name="connsiteX52" fmla="*/ 12088 w 1687512"/>
                  <a:gd name="connsiteY52" fmla="*/ 2004628 h 2986617"/>
                  <a:gd name="connsiteX53" fmla="*/ 17734 w 1687512"/>
                  <a:gd name="connsiteY53" fmla="*/ 1995587 h 2986617"/>
                  <a:gd name="connsiteX54" fmla="*/ 26255 w 1687512"/>
                  <a:gd name="connsiteY54" fmla="*/ 1974949 h 2986617"/>
                  <a:gd name="connsiteX55" fmla="*/ 39541 w 1687512"/>
                  <a:gd name="connsiteY55" fmla="*/ 1960665 h 2986617"/>
                  <a:gd name="connsiteX56" fmla="*/ 45001 w 1687512"/>
                  <a:gd name="connsiteY56" fmla="*/ 1951922 h 2986617"/>
                  <a:gd name="connsiteX57" fmla="*/ 49898 w 1687512"/>
                  <a:gd name="connsiteY57" fmla="*/ 1949530 h 2986617"/>
                  <a:gd name="connsiteX58" fmla="*/ 55894 w 1687512"/>
                  <a:gd name="connsiteY58" fmla="*/ 1943083 h 2986617"/>
                  <a:gd name="connsiteX59" fmla="*/ 93710 w 1687512"/>
                  <a:gd name="connsiteY59" fmla="*/ 1928125 h 2986617"/>
                  <a:gd name="connsiteX60" fmla="*/ 1475938 w 1687512"/>
                  <a:gd name="connsiteY60" fmla="*/ 1899999 h 2986617"/>
                  <a:gd name="connsiteX61" fmla="*/ 1535112 w 1687512"/>
                  <a:gd name="connsiteY61" fmla="*/ 1910020 h 2986617"/>
                  <a:gd name="connsiteX62" fmla="*/ 1687512 w 1687512"/>
                  <a:gd name="connsiteY62" fmla="*/ 2189834 h 2986617"/>
                  <a:gd name="connsiteX63" fmla="*/ 1535112 w 1687512"/>
                  <a:gd name="connsiteY63" fmla="*/ 2334589 h 2986617"/>
                  <a:gd name="connsiteX64" fmla="*/ 1382712 w 1687512"/>
                  <a:gd name="connsiteY64" fmla="*/ 2054083 h 2986617"/>
                  <a:gd name="connsiteX65" fmla="*/ 1389594 w 1687512"/>
                  <a:gd name="connsiteY65" fmla="*/ 1994058 h 2986617"/>
                  <a:gd name="connsiteX66" fmla="*/ 1393570 w 1687512"/>
                  <a:gd name="connsiteY66" fmla="*/ 1984336 h 2986617"/>
                  <a:gd name="connsiteX67" fmla="*/ 1394738 w 1687512"/>
                  <a:gd name="connsiteY67" fmla="*/ 1976835 h 2986617"/>
                  <a:gd name="connsiteX68" fmla="*/ 1400351 w 1687512"/>
                  <a:gd name="connsiteY68" fmla="*/ 1967756 h 2986617"/>
                  <a:gd name="connsiteX69" fmla="*/ 1408832 w 1687512"/>
                  <a:gd name="connsiteY69" fmla="*/ 1947018 h 2986617"/>
                  <a:gd name="connsiteX70" fmla="*/ 1422043 w 1687512"/>
                  <a:gd name="connsiteY70" fmla="*/ 1932667 h 2986617"/>
                  <a:gd name="connsiteX71" fmla="*/ 1427480 w 1687512"/>
                  <a:gd name="connsiteY71" fmla="*/ 1923873 h 2986617"/>
                  <a:gd name="connsiteX72" fmla="*/ 1432346 w 1687512"/>
                  <a:gd name="connsiteY72" fmla="*/ 1921475 h 2986617"/>
                  <a:gd name="connsiteX73" fmla="*/ 1438316 w 1687512"/>
                  <a:gd name="connsiteY73" fmla="*/ 1914989 h 2986617"/>
                  <a:gd name="connsiteX74" fmla="*/ 1475938 w 1687512"/>
                  <a:gd name="connsiteY74" fmla="*/ 1899999 h 2986617"/>
                  <a:gd name="connsiteX75" fmla="*/ 1015271 w 1687512"/>
                  <a:gd name="connsiteY75" fmla="*/ 1694849 h 2986617"/>
                  <a:gd name="connsiteX76" fmla="*/ 1074737 w 1687512"/>
                  <a:gd name="connsiteY76" fmla="*/ 1704592 h 2986617"/>
                  <a:gd name="connsiteX77" fmla="*/ 1227137 w 1687512"/>
                  <a:gd name="connsiteY77" fmla="*/ 1984793 h 2986617"/>
                  <a:gd name="connsiteX78" fmla="*/ 1074737 w 1687512"/>
                  <a:gd name="connsiteY78" fmla="*/ 2129749 h 2986617"/>
                  <a:gd name="connsiteX79" fmla="*/ 922337 w 1687512"/>
                  <a:gd name="connsiteY79" fmla="*/ 1848854 h 2986617"/>
                  <a:gd name="connsiteX80" fmla="*/ 929159 w 1687512"/>
                  <a:gd name="connsiteY80" fmla="*/ 1788806 h 2986617"/>
                  <a:gd name="connsiteX81" fmla="*/ 933106 w 1687512"/>
                  <a:gd name="connsiteY81" fmla="*/ 1779105 h 2986617"/>
                  <a:gd name="connsiteX82" fmla="*/ 934265 w 1687512"/>
                  <a:gd name="connsiteY82" fmla="*/ 1771597 h 2986617"/>
                  <a:gd name="connsiteX83" fmla="*/ 939845 w 1687512"/>
                  <a:gd name="connsiteY83" fmla="*/ 1762542 h 2986617"/>
                  <a:gd name="connsiteX84" fmla="*/ 948274 w 1687512"/>
                  <a:gd name="connsiteY84" fmla="*/ 1741824 h 2986617"/>
                  <a:gd name="connsiteX85" fmla="*/ 961435 w 1687512"/>
                  <a:gd name="connsiteY85" fmla="*/ 1727503 h 2986617"/>
                  <a:gd name="connsiteX86" fmla="*/ 966845 w 1687512"/>
                  <a:gd name="connsiteY86" fmla="*/ 1718723 h 2986617"/>
                  <a:gd name="connsiteX87" fmla="*/ 971707 w 1687512"/>
                  <a:gd name="connsiteY87" fmla="*/ 1716326 h 2986617"/>
                  <a:gd name="connsiteX88" fmla="*/ 977654 w 1687512"/>
                  <a:gd name="connsiteY88" fmla="*/ 1709856 h 2986617"/>
                  <a:gd name="connsiteX89" fmla="*/ 1015270 w 1687512"/>
                  <a:gd name="connsiteY89" fmla="*/ 1694850 h 2986617"/>
                  <a:gd name="connsiteX90" fmla="*/ 554814 w 1687512"/>
                  <a:gd name="connsiteY90" fmla="*/ 1489974 h 2986617"/>
                  <a:gd name="connsiteX91" fmla="*/ 614015 w 1687512"/>
                  <a:gd name="connsiteY91" fmla="*/ 1499686 h 2986617"/>
                  <a:gd name="connsiteX92" fmla="*/ 766762 w 1687512"/>
                  <a:gd name="connsiteY92" fmla="*/ 1778998 h 2986617"/>
                  <a:gd name="connsiteX93" fmla="*/ 614015 w 1687512"/>
                  <a:gd name="connsiteY93" fmla="*/ 1923493 h 2986617"/>
                  <a:gd name="connsiteX94" fmla="*/ 461962 w 1687512"/>
                  <a:gd name="connsiteY94" fmla="*/ 1643490 h 2986617"/>
                  <a:gd name="connsiteX95" fmla="*/ 468795 w 1687512"/>
                  <a:gd name="connsiteY95" fmla="*/ 1583632 h 2986617"/>
                  <a:gd name="connsiteX96" fmla="*/ 472746 w 1687512"/>
                  <a:gd name="connsiteY96" fmla="*/ 1573957 h 2986617"/>
                  <a:gd name="connsiteX97" fmla="*/ 473906 w 1687512"/>
                  <a:gd name="connsiteY97" fmla="*/ 1566478 h 2986617"/>
                  <a:gd name="connsiteX98" fmla="*/ 479489 w 1687512"/>
                  <a:gd name="connsiteY98" fmla="*/ 1557445 h 2986617"/>
                  <a:gd name="connsiteX99" fmla="*/ 487921 w 1687512"/>
                  <a:gd name="connsiteY99" fmla="*/ 1536799 h 2986617"/>
                  <a:gd name="connsiteX100" fmla="*/ 501077 w 1687512"/>
                  <a:gd name="connsiteY100" fmla="*/ 1522520 h 2986617"/>
                  <a:gd name="connsiteX101" fmla="*/ 506484 w 1687512"/>
                  <a:gd name="connsiteY101" fmla="*/ 1513772 h 2986617"/>
                  <a:gd name="connsiteX102" fmla="*/ 511339 w 1687512"/>
                  <a:gd name="connsiteY102" fmla="*/ 1511382 h 2986617"/>
                  <a:gd name="connsiteX103" fmla="*/ 517281 w 1687512"/>
                  <a:gd name="connsiteY103" fmla="*/ 1504933 h 2986617"/>
                  <a:gd name="connsiteX104" fmla="*/ 554814 w 1687512"/>
                  <a:gd name="connsiteY104" fmla="*/ 1489974 h 2986617"/>
                  <a:gd name="connsiteX105" fmla="*/ 93712 w 1687512"/>
                  <a:gd name="connsiteY105" fmla="*/ 1285197 h 2986617"/>
                  <a:gd name="connsiteX106" fmla="*/ 153194 w 1687512"/>
                  <a:gd name="connsiteY106" fmla="*/ 1294898 h 2986617"/>
                  <a:gd name="connsiteX107" fmla="*/ 306388 w 1687512"/>
                  <a:gd name="connsiteY107" fmla="*/ 1574901 h 2986617"/>
                  <a:gd name="connsiteX108" fmla="*/ 153194 w 1687512"/>
                  <a:gd name="connsiteY108" fmla="*/ 1718705 h 2986617"/>
                  <a:gd name="connsiteX109" fmla="*/ 0 w 1687512"/>
                  <a:gd name="connsiteY109" fmla="*/ 1439393 h 2986617"/>
                  <a:gd name="connsiteX110" fmla="*/ 0 w 1687512"/>
                  <a:gd name="connsiteY110" fmla="*/ 1439393 h 2986617"/>
                  <a:gd name="connsiteX111" fmla="*/ 0 w 1687512"/>
                  <a:gd name="connsiteY111" fmla="*/ 1439393 h 2986617"/>
                  <a:gd name="connsiteX112" fmla="*/ 6917 w 1687512"/>
                  <a:gd name="connsiteY112" fmla="*/ 1379215 h 2986617"/>
                  <a:gd name="connsiteX113" fmla="*/ 10915 w 1687512"/>
                  <a:gd name="connsiteY113" fmla="*/ 1369491 h 2986617"/>
                  <a:gd name="connsiteX114" fmla="*/ 12088 w 1687512"/>
                  <a:gd name="connsiteY114" fmla="*/ 1361982 h 2986617"/>
                  <a:gd name="connsiteX115" fmla="*/ 17736 w 1687512"/>
                  <a:gd name="connsiteY115" fmla="*/ 1352902 h 2986617"/>
                  <a:gd name="connsiteX116" fmla="*/ 26255 w 1687512"/>
                  <a:gd name="connsiteY116" fmla="*/ 1332180 h 2986617"/>
                  <a:gd name="connsiteX117" fmla="*/ 39543 w 1687512"/>
                  <a:gd name="connsiteY117" fmla="*/ 1317844 h 2986617"/>
                  <a:gd name="connsiteX118" fmla="*/ 45001 w 1687512"/>
                  <a:gd name="connsiteY118" fmla="*/ 1309071 h 2986617"/>
                  <a:gd name="connsiteX119" fmla="*/ 49901 w 1687512"/>
                  <a:gd name="connsiteY119" fmla="*/ 1306669 h 2986617"/>
                  <a:gd name="connsiteX120" fmla="*/ 55894 w 1687512"/>
                  <a:gd name="connsiteY120" fmla="*/ 1300203 h 2986617"/>
                  <a:gd name="connsiteX121" fmla="*/ 93709 w 1687512"/>
                  <a:gd name="connsiteY121" fmla="*/ 1285198 h 2986617"/>
                  <a:gd name="connsiteX122" fmla="*/ 1475938 w 1687512"/>
                  <a:gd name="connsiteY122" fmla="*/ 1256699 h 2986617"/>
                  <a:gd name="connsiteX123" fmla="*/ 1479394 w 1687512"/>
                  <a:gd name="connsiteY123" fmla="*/ 1257268 h 2986617"/>
                  <a:gd name="connsiteX124" fmla="*/ 1535112 w 1687512"/>
                  <a:gd name="connsiteY124" fmla="*/ 1266442 h 2986617"/>
                  <a:gd name="connsiteX125" fmla="*/ 1643004 w 1687512"/>
                  <a:gd name="connsiteY125" fmla="*/ 1376719 h 2986617"/>
                  <a:gd name="connsiteX126" fmla="*/ 1687512 w 1687512"/>
                  <a:gd name="connsiteY126" fmla="*/ 1547337 h 2986617"/>
                  <a:gd name="connsiteX127" fmla="*/ 1535112 w 1687512"/>
                  <a:gd name="connsiteY127" fmla="*/ 1691599 h 2986617"/>
                  <a:gd name="connsiteX128" fmla="*/ 1382712 w 1687512"/>
                  <a:gd name="connsiteY128" fmla="*/ 1410704 h 2986617"/>
                  <a:gd name="connsiteX129" fmla="*/ 1389594 w 1687512"/>
                  <a:gd name="connsiteY129" fmla="*/ 1350656 h 2986617"/>
                  <a:gd name="connsiteX130" fmla="*/ 1393571 w 1687512"/>
                  <a:gd name="connsiteY130" fmla="*/ 1340943 h 2986617"/>
                  <a:gd name="connsiteX131" fmla="*/ 1394738 w 1687512"/>
                  <a:gd name="connsiteY131" fmla="*/ 1333447 h 2986617"/>
                  <a:gd name="connsiteX132" fmla="*/ 1400354 w 1687512"/>
                  <a:gd name="connsiteY132" fmla="*/ 1324377 h 2986617"/>
                  <a:gd name="connsiteX133" fmla="*/ 1408832 w 1687512"/>
                  <a:gd name="connsiteY133" fmla="*/ 1303674 h 2986617"/>
                  <a:gd name="connsiteX134" fmla="*/ 1422049 w 1687512"/>
                  <a:gd name="connsiteY134" fmla="*/ 1289344 h 2986617"/>
                  <a:gd name="connsiteX135" fmla="*/ 1427480 w 1687512"/>
                  <a:gd name="connsiteY135" fmla="*/ 1280573 h 2986617"/>
                  <a:gd name="connsiteX136" fmla="*/ 1432351 w 1687512"/>
                  <a:gd name="connsiteY136" fmla="*/ 1278173 h 2986617"/>
                  <a:gd name="connsiteX137" fmla="*/ 1438316 w 1687512"/>
                  <a:gd name="connsiteY137" fmla="*/ 1271706 h 2986617"/>
                  <a:gd name="connsiteX138" fmla="*/ 1475938 w 1687512"/>
                  <a:gd name="connsiteY138" fmla="*/ 1256699 h 2986617"/>
                  <a:gd name="connsiteX139" fmla="*/ 1015271 w 1687512"/>
                  <a:gd name="connsiteY139" fmla="*/ 1051923 h 2986617"/>
                  <a:gd name="connsiteX140" fmla="*/ 1074737 w 1687512"/>
                  <a:gd name="connsiteY140" fmla="*/ 1061655 h 2986617"/>
                  <a:gd name="connsiteX141" fmla="*/ 1227137 w 1687512"/>
                  <a:gd name="connsiteY141" fmla="*/ 1342550 h 2986617"/>
                  <a:gd name="connsiteX142" fmla="*/ 1074737 w 1687512"/>
                  <a:gd name="connsiteY142" fmla="*/ 1486812 h 2986617"/>
                  <a:gd name="connsiteX143" fmla="*/ 922337 w 1687512"/>
                  <a:gd name="connsiteY143" fmla="*/ 1206611 h 2986617"/>
                  <a:gd name="connsiteX144" fmla="*/ 922337 w 1687512"/>
                  <a:gd name="connsiteY144" fmla="*/ 1206611 h 2986617"/>
                  <a:gd name="connsiteX145" fmla="*/ 922337 w 1687512"/>
                  <a:gd name="connsiteY145" fmla="*/ 1206610 h 2986617"/>
                  <a:gd name="connsiteX146" fmla="*/ 929159 w 1687512"/>
                  <a:gd name="connsiteY146" fmla="*/ 1146241 h 2986617"/>
                  <a:gd name="connsiteX147" fmla="*/ 933106 w 1687512"/>
                  <a:gd name="connsiteY147" fmla="*/ 1136498 h 2986617"/>
                  <a:gd name="connsiteX148" fmla="*/ 934265 w 1687512"/>
                  <a:gd name="connsiteY148" fmla="*/ 1128953 h 2986617"/>
                  <a:gd name="connsiteX149" fmla="*/ 939846 w 1687512"/>
                  <a:gd name="connsiteY149" fmla="*/ 1119859 h 2986617"/>
                  <a:gd name="connsiteX150" fmla="*/ 948274 w 1687512"/>
                  <a:gd name="connsiteY150" fmla="*/ 1099056 h 2986617"/>
                  <a:gd name="connsiteX151" fmla="*/ 961437 w 1687512"/>
                  <a:gd name="connsiteY151" fmla="*/ 1084683 h 2986617"/>
                  <a:gd name="connsiteX152" fmla="*/ 966845 w 1687512"/>
                  <a:gd name="connsiteY152" fmla="*/ 1075873 h 2986617"/>
                  <a:gd name="connsiteX153" fmla="*/ 971710 w 1687512"/>
                  <a:gd name="connsiteY153" fmla="*/ 1073467 h 2986617"/>
                  <a:gd name="connsiteX154" fmla="*/ 977654 w 1687512"/>
                  <a:gd name="connsiteY154" fmla="*/ 1066977 h 2986617"/>
                  <a:gd name="connsiteX155" fmla="*/ 1015268 w 1687512"/>
                  <a:gd name="connsiteY155" fmla="*/ 1051925 h 2986617"/>
                  <a:gd name="connsiteX156" fmla="*/ 554814 w 1687512"/>
                  <a:gd name="connsiteY156" fmla="*/ 847135 h 2986617"/>
                  <a:gd name="connsiteX157" fmla="*/ 614015 w 1687512"/>
                  <a:gd name="connsiteY157" fmla="*/ 856867 h 2986617"/>
                  <a:gd name="connsiteX158" fmla="*/ 766762 w 1687512"/>
                  <a:gd name="connsiteY158" fmla="*/ 1137762 h 2986617"/>
                  <a:gd name="connsiteX159" fmla="*/ 614015 w 1687512"/>
                  <a:gd name="connsiteY159" fmla="*/ 1282024 h 2986617"/>
                  <a:gd name="connsiteX160" fmla="*/ 461962 w 1687512"/>
                  <a:gd name="connsiteY160" fmla="*/ 1001823 h 2986617"/>
                  <a:gd name="connsiteX161" fmla="*/ 461962 w 1687512"/>
                  <a:gd name="connsiteY161" fmla="*/ 1001823 h 2986617"/>
                  <a:gd name="connsiteX162" fmla="*/ 461962 w 1687512"/>
                  <a:gd name="connsiteY162" fmla="*/ 1001822 h 2986617"/>
                  <a:gd name="connsiteX163" fmla="*/ 468795 w 1687512"/>
                  <a:gd name="connsiteY163" fmla="*/ 941453 h 2986617"/>
                  <a:gd name="connsiteX164" fmla="*/ 472746 w 1687512"/>
                  <a:gd name="connsiteY164" fmla="*/ 931704 h 2986617"/>
                  <a:gd name="connsiteX165" fmla="*/ 473906 w 1687512"/>
                  <a:gd name="connsiteY165" fmla="*/ 924165 h 2986617"/>
                  <a:gd name="connsiteX166" fmla="*/ 479491 w 1687512"/>
                  <a:gd name="connsiteY166" fmla="*/ 915065 h 2986617"/>
                  <a:gd name="connsiteX167" fmla="*/ 487921 w 1687512"/>
                  <a:gd name="connsiteY167" fmla="*/ 894268 h 2986617"/>
                  <a:gd name="connsiteX168" fmla="*/ 501080 w 1687512"/>
                  <a:gd name="connsiteY168" fmla="*/ 879891 h 2986617"/>
                  <a:gd name="connsiteX169" fmla="*/ 506484 w 1687512"/>
                  <a:gd name="connsiteY169" fmla="*/ 871085 h 2986617"/>
                  <a:gd name="connsiteX170" fmla="*/ 511342 w 1687512"/>
                  <a:gd name="connsiteY170" fmla="*/ 868678 h 2986617"/>
                  <a:gd name="connsiteX171" fmla="*/ 517281 w 1687512"/>
                  <a:gd name="connsiteY171" fmla="*/ 862189 h 2986617"/>
                  <a:gd name="connsiteX172" fmla="*/ 554814 w 1687512"/>
                  <a:gd name="connsiteY172" fmla="*/ 847135 h 2986617"/>
                  <a:gd name="connsiteX173" fmla="*/ 93712 w 1687512"/>
                  <a:gd name="connsiteY173" fmla="*/ 642407 h 2986617"/>
                  <a:gd name="connsiteX174" fmla="*/ 153194 w 1687512"/>
                  <a:gd name="connsiteY174" fmla="*/ 652028 h 2986617"/>
                  <a:gd name="connsiteX175" fmla="*/ 306388 w 1687512"/>
                  <a:gd name="connsiteY175" fmla="*/ 932534 h 2986617"/>
                  <a:gd name="connsiteX176" fmla="*/ 306388 w 1687512"/>
                  <a:gd name="connsiteY176" fmla="*/ 932534 h 2986617"/>
                  <a:gd name="connsiteX177" fmla="*/ 153194 w 1687512"/>
                  <a:gd name="connsiteY177" fmla="*/ 1076597 h 2986617"/>
                  <a:gd name="connsiteX178" fmla="*/ 0 w 1687512"/>
                  <a:gd name="connsiteY178" fmla="*/ 796783 h 2986617"/>
                  <a:gd name="connsiteX179" fmla="*/ 0 w 1687512"/>
                  <a:gd name="connsiteY179" fmla="*/ 796783 h 2986617"/>
                  <a:gd name="connsiteX180" fmla="*/ 0 w 1687512"/>
                  <a:gd name="connsiteY180" fmla="*/ 796782 h 2986617"/>
                  <a:gd name="connsiteX181" fmla="*/ 6917 w 1687512"/>
                  <a:gd name="connsiteY181" fmla="*/ 736755 h 2986617"/>
                  <a:gd name="connsiteX182" fmla="*/ 10914 w 1687512"/>
                  <a:gd name="connsiteY182" fmla="*/ 727025 h 2986617"/>
                  <a:gd name="connsiteX183" fmla="*/ 12088 w 1687512"/>
                  <a:gd name="connsiteY183" fmla="*/ 719525 h 2986617"/>
                  <a:gd name="connsiteX184" fmla="*/ 17732 w 1687512"/>
                  <a:gd name="connsiteY184" fmla="*/ 710429 h 2986617"/>
                  <a:gd name="connsiteX185" fmla="*/ 26255 w 1687512"/>
                  <a:gd name="connsiteY185" fmla="*/ 689683 h 2986617"/>
                  <a:gd name="connsiteX186" fmla="*/ 39537 w 1687512"/>
                  <a:gd name="connsiteY186" fmla="*/ 675291 h 2986617"/>
                  <a:gd name="connsiteX187" fmla="*/ 45001 w 1687512"/>
                  <a:gd name="connsiteY187" fmla="*/ 666487 h 2986617"/>
                  <a:gd name="connsiteX188" fmla="*/ 49896 w 1687512"/>
                  <a:gd name="connsiteY188" fmla="*/ 664067 h 2986617"/>
                  <a:gd name="connsiteX189" fmla="*/ 55894 w 1687512"/>
                  <a:gd name="connsiteY189" fmla="*/ 657567 h 2986617"/>
                  <a:gd name="connsiteX190" fmla="*/ 93702 w 1687512"/>
                  <a:gd name="connsiteY190" fmla="*/ 642412 h 2986617"/>
                  <a:gd name="connsiteX191" fmla="*/ 1475938 w 1687512"/>
                  <a:gd name="connsiteY191" fmla="*/ 613736 h 2986617"/>
                  <a:gd name="connsiteX192" fmla="*/ 1535112 w 1687512"/>
                  <a:gd name="connsiteY192" fmla="*/ 623454 h 2986617"/>
                  <a:gd name="connsiteX193" fmla="*/ 1687512 w 1687512"/>
                  <a:gd name="connsiteY193" fmla="*/ 903959 h 2986617"/>
                  <a:gd name="connsiteX194" fmla="*/ 1535112 w 1687512"/>
                  <a:gd name="connsiteY194" fmla="*/ 1048021 h 2986617"/>
                  <a:gd name="connsiteX195" fmla="*/ 1382712 w 1687512"/>
                  <a:gd name="connsiteY195" fmla="*/ 768209 h 2986617"/>
                  <a:gd name="connsiteX196" fmla="*/ 1382712 w 1687512"/>
                  <a:gd name="connsiteY196" fmla="*/ 768209 h 2986617"/>
                  <a:gd name="connsiteX197" fmla="*/ 1382712 w 1687512"/>
                  <a:gd name="connsiteY197" fmla="*/ 768208 h 2986617"/>
                  <a:gd name="connsiteX198" fmla="*/ 1382713 w 1687512"/>
                  <a:gd name="connsiteY198" fmla="*/ 768206 h 2986617"/>
                  <a:gd name="connsiteX199" fmla="*/ 1389594 w 1687512"/>
                  <a:gd name="connsiteY199" fmla="*/ 707923 h 2986617"/>
                  <a:gd name="connsiteX200" fmla="*/ 1393571 w 1687512"/>
                  <a:gd name="connsiteY200" fmla="*/ 698181 h 2986617"/>
                  <a:gd name="connsiteX201" fmla="*/ 1394738 w 1687512"/>
                  <a:gd name="connsiteY201" fmla="*/ 690658 h 2986617"/>
                  <a:gd name="connsiteX202" fmla="*/ 1400357 w 1687512"/>
                  <a:gd name="connsiteY202" fmla="*/ 681561 h 2986617"/>
                  <a:gd name="connsiteX203" fmla="*/ 1408832 w 1687512"/>
                  <a:gd name="connsiteY203" fmla="*/ 660803 h 2986617"/>
                  <a:gd name="connsiteX204" fmla="*/ 1422050 w 1687512"/>
                  <a:gd name="connsiteY204" fmla="*/ 646442 h 2986617"/>
                  <a:gd name="connsiteX205" fmla="*/ 1427480 w 1687512"/>
                  <a:gd name="connsiteY205" fmla="*/ 637652 h 2986617"/>
                  <a:gd name="connsiteX206" fmla="*/ 1432355 w 1687512"/>
                  <a:gd name="connsiteY206" fmla="*/ 635246 h 2986617"/>
                  <a:gd name="connsiteX207" fmla="*/ 1438316 w 1687512"/>
                  <a:gd name="connsiteY207" fmla="*/ 628769 h 2986617"/>
                  <a:gd name="connsiteX208" fmla="*/ 1475931 w 1687512"/>
                  <a:gd name="connsiteY208" fmla="*/ 613739 h 2986617"/>
                  <a:gd name="connsiteX209" fmla="*/ 1015271 w 1687512"/>
                  <a:gd name="connsiteY209" fmla="*/ 409045 h 2986617"/>
                  <a:gd name="connsiteX210" fmla="*/ 1074737 w 1687512"/>
                  <a:gd name="connsiteY210" fmla="*/ 418665 h 2986617"/>
                  <a:gd name="connsiteX211" fmla="*/ 1227137 w 1687512"/>
                  <a:gd name="connsiteY211" fmla="*/ 699172 h 2986617"/>
                  <a:gd name="connsiteX212" fmla="*/ 1227137 w 1687512"/>
                  <a:gd name="connsiteY212" fmla="*/ 699172 h 2986617"/>
                  <a:gd name="connsiteX213" fmla="*/ 1074737 w 1687512"/>
                  <a:gd name="connsiteY213" fmla="*/ 843926 h 2986617"/>
                  <a:gd name="connsiteX214" fmla="*/ 922337 w 1687512"/>
                  <a:gd name="connsiteY214" fmla="*/ 563421 h 2986617"/>
                  <a:gd name="connsiteX215" fmla="*/ 922337 w 1687512"/>
                  <a:gd name="connsiteY215" fmla="*/ 563421 h 2986617"/>
                  <a:gd name="connsiteX216" fmla="*/ 922337 w 1687512"/>
                  <a:gd name="connsiteY216" fmla="*/ 563421 h 2986617"/>
                  <a:gd name="connsiteX217" fmla="*/ 922337 w 1687512"/>
                  <a:gd name="connsiteY217" fmla="*/ 563420 h 2986617"/>
                  <a:gd name="connsiteX218" fmla="*/ 929159 w 1687512"/>
                  <a:gd name="connsiteY218" fmla="*/ 503392 h 2986617"/>
                  <a:gd name="connsiteX219" fmla="*/ 933105 w 1687512"/>
                  <a:gd name="connsiteY219" fmla="*/ 493674 h 2986617"/>
                  <a:gd name="connsiteX220" fmla="*/ 934265 w 1687512"/>
                  <a:gd name="connsiteY220" fmla="*/ 486162 h 2986617"/>
                  <a:gd name="connsiteX221" fmla="*/ 939843 w 1687512"/>
                  <a:gd name="connsiteY221" fmla="*/ 477082 h 2986617"/>
                  <a:gd name="connsiteX222" fmla="*/ 948274 w 1687512"/>
                  <a:gd name="connsiteY222" fmla="*/ 456320 h 2986617"/>
                  <a:gd name="connsiteX223" fmla="*/ 961431 w 1687512"/>
                  <a:gd name="connsiteY223" fmla="*/ 441937 h 2986617"/>
                  <a:gd name="connsiteX224" fmla="*/ 966845 w 1687512"/>
                  <a:gd name="connsiteY224" fmla="*/ 433124 h 2986617"/>
                  <a:gd name="connsiteX225" fmla="*/ 971704 w 1687512"/>
                  <a:gd name="connsiteY225" fmla="*/ 430707 h 2986617"/>
                  <a:gd name="connsiteX226" fmla="*/ 977654 w 1687512"/>
                  <a:gd name="connsiteY226" fmla="*/ 424204 h 2986617"/>
                  <a:gd name="connsiteX227" fmla="*/ 1015266 w 1687512"/>
                  <a:gd name="connsiteY227" fmla="*/ 409047 h 2986617"/>
                  <a:gd name="connsiteX228" fmla="*/ 554814 w 1687512"/>
                  <a:gd name="connsiteY228" fmla="*/ 204550 h 2986617"/>
                  <a:gd name="connsiteX229" fmla="*/ 614015 w 1687512"/>
                  <a:gd name="connsiteY229" fmla="*/ 214571 h 2986617"/>
                  <a:gd name="connsiteX230" fmla="*/ 766762 w 1687512"/>
                  <a:gd name="connsiteY230" fmla="*/ 494385 h 2986617"/>
                  <a:gd name="connsiteX231" fmla="*/ 766762 w 1687512"/>
                  <a:gd name="connsiteY231" fmla="*/ 494385 h 2986617"/>
                  <a:gd name="connsiteX232" fmla="*/ 766762 w 1687512"/>
                  <a:gd name="connsiteY232" fmla="*/ 494385 h 2986617"/>
                  <a:gd name="connsiteX233" fmla="*/ 614015 w 1687512"/>
                  <a:gd name="connsiteY233" fmla="*/ 639140 h 2986617"/>
                  <a:gd name="connsiteX234" fmla="*/ 461962 w 1687512"/>
                  <a:gd name="connsiteY234" fmla="*/ 358634 h 2986617"/>
                  <a:gd name="connsiteX235" fmla="*/ 461962 w 1687512"/>
                  <a:gd name="connsiteY235" fmla="*/ 358634 h 2986617"/>
                  <a:gd name="connsiteX236" fmla="*/ 461962 w 1687512"/>
                  <a:gd name="connsiteY236" fmla="*/ 358633 h 2986617"/>
                  <a:gd name="connsiteX237" fmla="*/ 461962 w 1687512"/>
                  <a:gd name="connsiteY237" fmla="*/ 358632 h 2986617"/>
                  <a:gd name="connsiteX238" fmla="*/ 468795 w 1687512"/>
                  <a:gd name="connsiteY238" fmla="*/ 298609 h 2986617"/>
                  <a:gd name="connsiteX239" fmla="*/ 472745 w 1687512"/>
                  <a:gd name="connsiteY239" fmla="*/ 288894 h 2986617"/>
                  <a:gd name="connsiteX240" fmla="*/ 473906 w 1687512"/>
                  <a:gd name="connsiteY240" fmla="*/ 281386 h 2986617"/>
                  <a:gd name="connsiteX241" fmla="*/ 479486 w 1687512"/>
                  <a:gd name="connsiteY241" fmla="*/ 272314 h 2986617"/>
                  <a:gd name="connsiteX242" fmla="*/ 487921 w 1687512"/>
                  <a:gd name="connsiteY242" fmla="*/ 251569 h 2986617"/>
                  <a:gd name="connsiteX243" fmla="*/ 501071 w 1687512"/>
                  <a:gd name="connsiteY243" fmla="*/ 237224 h 2986617"/>
                  <a:gd name="connsiteX244" fmla="*/ 506484 w 1687512"/>
                  <a:gd name="connsiteY244" fmla="*/ 228423 h 2986617"/>
                  <a:gd name="connsiteX245" fmla="*/ 511334 w 1687512"/>
                  <a:gd name="connsiteY245" fmla="*/ 226027 h 2986617"/>
                  <a:gd name="connsiteX246" fmla="*/ 517281 w 1687512"/>
                  <a:gd name="connsiteY246" fmla="*/ 219540 h 2986617"/>
                  <a:gd name="connsiteX247" fmla="*/ 554811 w 1687512"/>
                  <a:gd name="connsiteY247" fmla="*/ 204551 h 2986617"/>
                  <a:gd name="connsiteX248" fmla="*/ 93712 w 1687512"/>
                  <a:gd name="connsiteY248" fmla="*/ 900 h 2986617"/>
                  <a:gd name="connsiteX249" fmla="*/ 153194 w 1687512"/>
                  <a:gd name="connsiteY249" fmla="*/ 10611 h 2986617"/>
                  <a:gd name="connsiteX250" fmla="*/ 306388 w 1687512"/>
                  <a:gd name="connsiteY250" fmla="*/ 289923 h 2986617"/>
                  <a:gd name="connsiteX251" fmla="*/ 306388 w 1687512"/>
                  <a:gd name="connsiteY251" fmla="*/ 289924 h 2986617"/>
                  <a:gd name="connsiteX252" fmla="*/ 306388 w 1687512"/>
                  <a:gd name="connsiteY252" fmla="*/ 289924 h 2986617"/>
                  <a:gd name="connsiteX253" fmla="*/ 153194 w 1687512"/>
                  <a:gd name="connsiteY253" fmla="*/ 434420 h 2986617"/>
                  <a:gd name="connsiteX254" fmla="*/ 0 w 1687512"/>
                  <a:gd name="connsiteY254" fmla="*/ 154416 h 2986617"/>
                  <a:gd name="connsiteX255" fmla="*/ 0 w 1687512"/>
                  <a:gd name="connsiteY255" fmla="*/ 154416 h 2986617"/>
                  <a:gd name="connsiteX256" fmla="*/ 0 w 1687512"/>
                  <a:gd name="connsiteY256" fmla="*/ 154415 h 2986617"/>
                  <a:gd name="connsiteX257" fmla="*/ 0 w 1687512"/>
                  <a:gd name="connsiteY257" fmla="*/ 154414 h 2986617"/>
                  <a:gd name="connsiteX258" fmla="*/ 6917 w 1687512"/>
                  <a:gd name="connsiteY258" fmla="*/ 94558 h 2986617"/>
                  <a:gd name="connsiteX259" fmla="*/ 10915 w 1687512"/>
                  <a:gd name="connsiteY259" fmla="*/ 84877 h 2986617"/>
                  <a:gd name="connsiteX260" fmla="*/ 12088 w 1687512"/>
                  <a:gd name="connsiteY260" fmla="*/ 77404 h 2986617"/>
                  <a:gd name="connsiteX261" fmla="*/ 17734 w 1687512"/>
                  <a:gd name="connsiteY261" fmla="*/ 68362 h 2986617"/>
                  <a:gd name="connsiteX262" fmla="*/ 26255 w 1687512"/>
                  <a:gd name="connsiteY262" fmla="*/ 47726 h 2986617"/>
                  <a:gd name="connsiteX263" fmla="*/ 39540 w 1687512"/>
                  <a:gd name="connsiteY263" fmla="*/ 33442 h 2986617"/>
                  <a:gd name="connsiteX264" fmla="*/ 45001 w 1687512"/>
                  <a:gd name="connsiteY264" fmla="*/ 24698 h 2986617"/>
                  <a:gd name="connsiteX265" fmla="*/ 49898 w 1687512"/>
                  <a:gd name="connsiteY265" fmla="*/ 22305 h 2986617"/>
                  <a:gd name="connsiteX266" fmla="*/ 55894 w 1687512"/>
                  <a:gd name="connsiteY266" fmla="*/ 15859 h 2986617"/>
                  <a:gd name="connsiteX267" fmla="*/ 93705 w 1687512"/>
                  <a:gd name="connsiteY267" fmla="*/ 903 h 2986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1687512" h="2986617">
                    <a:moveTo>
                      <a:pt x="1475938" y="2542497"/>
                    </a:moveTo>
                    <a:cubicBezTo>
                      <a:pt x="1494155" y="2539883"/>
                      <a:pt x="1514157" y="2542864"/>
                      <a:pt x="1535112" y="2552198"/>
                    </a:cubicBezTo>
                    <a:cubicBezTo>
                      <a:pt x="1619625" y="2589532"/>
                      <a:pt x="1687512" y="2715360"/>
                      <a:pt x="1687512" y="2832201"/>
                    </a:cubicBezTo>
                    <a:cubicBezTo>
                      <a:pt x="1687512" y="2949042"/>
                      <a:pt x="1619625" y="3013339"/>
                      <a:pt x="1535112" y="2976005"/>
                    </a:cubicBezTo>
                    <a:cubicBezTo>
                      <a:pt x="1451292" y="2938672"/>
                      <a:pt x="1382712" y="2813534"/>
                      <a:pt x="1382712" y="2696693"/>
                    </a:cubicBezTo>
                    <a:cubicBezTo>
                      <a:pt x="1382712" y="2674656"/>
                      <a:pt x="1385123" y="2654490"/>
                      <a:pt x="1389594" y="2636515"/>
                    </a:cubicBezTo>
                    <a:lnTo>
                      <a:pt x="1393571" y="2626791"/>
                    </a:lnTo>
                    <a:lnTo>
                      <a:pt x="1394738" y="2619282"/>
                    </a:lnTo>
                    <a:lnTo>
                      <a:pt x="1400356" y="2610203"/>
                    </a:lnTo>
                    <a:lnTo>
                      <a:pt x="1408832" y="2589480"/>
                    </a:lnTo>
                    <a:lnTo>
                      <a:pt x="1422052" y="2575143"/>
                    </a:lnTo>
                    <a:lnTo>
                      <a:pt x="1427480" y="2566371"/>
                    </a:lnTo>
                    <a:lnTo>
                      <a:pt x="1432354" y="2563970"/>
                    </a:lnTo>
                    <a:lnTo>
                      <a:pt x="1438316" y="2557503"/>
                    </a:lnTo>
                    <a:cubicBezTo>
                      <a:pt x="1449618" y="2549566"/>
                      <a:pt x="1462276" y="2544458"/>
                      <a:pt x="1475938" y="2542497"/>
                    </a:cubicBezTo>
                    <a:close/>
                    <a:moveTo>
                      <a:pt x="1015271" y="2337769"/>
                    </a:moveTo>
                    <a:cubicBezTo>
                      <a:pt x="1033520" y="2335104"/>
                      <a:pt x="1053609" y="2338039"/>
                      <a:pt x="1074737" y="2347359"/>
                    </a:cubicBezTo>
                    <a:cubicBezTo>
                      <a:pt x="1158557" y="2385332"/>
                      <a:pt x="1227137" y="2510296"/>
                      <a:pt x="1227137" y="2626975"/>
                    </a:cubicBezTo>
                    <a:cubicBezTo>
                      <a:pt x="1227137" y="2743654"/>
                      <a:pt x="1158557" y="2808552"/>
                      <a:pt x="1074737" y="2771270"/>
                    </a:cubicBezTo>
                    <a:cubicBezTo>
                      <a:pt x="990225" y="2733298"/>
                      <a:pt x="922337" y="2608334"/>
                      <a:pt x="922337" y="2491655"/>
                    </a:cubicBezTo>
                    <a:cubicBezTo>
                      <a:pt x="922337" y="2469777"/>
                      <a:pt x="924724" y="2449720"/>
                      <a:pt x="929159" y="2431816"/>
                    </a:cubicBezTo>
                    <a:lnTo>
                      <a:pt x="933106" y="2422129"/>
                    </a:lnTo>
                    <a:lnTo>
                      <a:pt x="934265" y="2414642"/>
                    </a:lnTo>
                    <a:lnTo>
                      <a:pt x="939843" y="2405591"/>
                    </a:lnTo>
                    <a:lnTo>
                      <a:pt x="948274" y="2384893"/>
                    </a:lnTo>
                    <a:lnTo>
                      <a:pt x="961432" y="2370556"/>
                    </a:lnTo>
                    <a:lnTo>
                      <a:pt x="966845" y="2361772"/>
                    </a:lnTo>
                    <a:lnTo>
                      <a:pt x="971704" y="2359363"/>
                    </a:lnTo>
                    <a:lnTo>
                      <a:pt x="977654" y="2352880"/>
                    </a:lnTo>
                    <a:lnTo>
                      <a:pt x="1015271" y="2337769"/>
                    </a:lnTo>
                    <a:close/>
                    <a:moveTo>
                      <a:pt x="554814" y="2133272"/>
                    </a:moveTo>
                    <a:cubicBezTo>
                      <a:pt x="573007" y="2130705"/>
                      <a:pt x="593012" y="2133768"/>
                      <a:pt x="614015" y="2143261"/>
                    </a:cubicBezTo>
                    <a:cubicBezTo>
                      <a:pt x="698720" y="2180543"/>
                      <a:pt x="766762" y="2305507"/>
                      <a:pt x="766762" y="2422187"/>
                    </a:cubicBezTo>
                    <a:cubicBezTo>
                      <a:pt x="766762" y="2538866"/>
                      <a:pt x="698720" y="2603764"/>
                      <a:pt x="614015" y="2566482"/>
                    </a:cubicBezTo>
                    <a:cubicBezTo>
                      <a:pt x="530004" y="2529200"/>
                      <a:pt x="461962" y="2403546"/>
                      <a:pt x="461962" y="2286866"/>
                    </a:cubicBezTo>
                    <a:cubicBezTo>
                      <a:pt x="461962" y="2264989"/>
                      <a:pt x="464354" y="2244932"/>
                      <a:pt x="468795" y="2227032"/>
                    </a:cubicBezTo>
                    <a:lnTo>
                      <a:pt x="472745" y="2217347"/>
                    </a:lnTo>
                    <a:lnTo>
                      <a:pt x="473906" y="2209864"/>
                    </a:lnTo>
                    <a:lnTo>
                      <a:pt x="479486" y="2200822"/>
                    </a:lnTo>
                    <a:lnTo>
                      <a:pt x="487921" y="2180142"/>
                    </a:lnTo>
                    <a:lnTo>
                      <a:pt x="501071" y="2165841"/>
                    </a:lnTo>
                    <a:lnTo>
                      <a:pt x="506484" y="2157070"/>
                    </a:lnTo>
                    <a:lnTo>
                      <a:pt x="511333" y="2154682"/>
                    </a:lnTo>
                    <a:lnTo>
                      <a:pt x="517281" y="2148215"/>
                    </a:lnTo>
                    <a:lnTo>
                      <a:pt x="554814" y="2133272"/>
                    </a:lnTo>
                    <a:close/>
                    <a:moveTo>
                      <a:pt x="93712" y="1928124"/>
                    </a:moveTo>
                    <a:cubicBezTo>
                      <a:pt x="112023" y="1925521"/>
                      <a:pt x="132130" y="1928502"/>
                      <a:pt x="153194" y="1937836"/>
                    </a:cubicBezTo>
                    <a:cubicBezTo>
                      <a:pt x="238147" y="1975169"/>
                      <a:pt x="306388" y="2100307"/>
                      <a:pt x="306388" y="2217148"/>
                    </a:cubicBezTo>
                    <a:cubicBezTo>
                      <a:pt x="306388" y="2334680"/>
                      <a:pt x="238147" y="2398977"/>
                      <a:pt x="153194" y="2361643"/>
                    </a:cubicBezTo>
                    <a:cubicBezTo>
                      <a:pt x="68937" y="2324310"/>
                      <a:pt x="0" y="2199172"/>
                      <a:pt x="0" y="2081640"/>
                    </a:cubicBezTo>
                    <a:cubicBezTo>
                      <a:pt x="0" y="2059732"/>
                      <a:pt x="2423" y="2039672"/>
                      <a:pt x="6917" y="2021782"/>
                    </a:cubicBezTo>
                    <a:lnTo>
                      <a:pt x="10915" y="2012100"/>
                    </a:lnTo>
                    <a:lnTo>
                      <a:pt x="12088" y="2004628"/>
                    </a:lnTo>
                    <a:lnTo>
                      <a:pt x="17734" y="1995587"/>
                    </a:lnTo>
                    <a:lnTo>
                      <a:pt x="26255" y="1974949"/>
                    </a:lnTo>
                    <a:lnTo>
                      <a:pt x="39541" y="1960665"/>
                    </a:lnTo>
                    <a:lnTo>
                      <a:pt x="45001" y="1951922"/>
                    </a:lnTo>
                    <a:lnTo>
                      <a:pt x="49898" y="1949530"/>
                    </a:lnTo>
                    <a:lnTo>
                      <a:pt x="55894" y="1943083"/>
                    </a:lnTo>
                    <a:lnTo>
                      <a:pt x="93710" y="1928125"/>
                    </a:lnTo>
                    <a:close/>
                    <a:moveTo>
                      <a:pt x="1475938" y="1899999"/>
                    </a:moveTo>
                    <a:cubicBezTo>
                      <a:pt x="1494155" y="1897424"/>
                      <a:pt x="1514157" y="1900497"/>
                      <a:pt x="1535112" y="1910020"/>
                    </a:cubicBezTo>
                    <a:cubicBezTo>
                      <a:pt x="1619625" y="1947421"/>
                      <a:pt x="1687512" y="2072783"/>
                      <a:pt x="1687512" y="2189834"/>
                    </a:cubicBezTo>
                    <a:cubicBezTo>
                      <a:pt x="1687512" y="2306885"/>
                      <a:pt x="1619625" y="2371990"/>
                      <a:pt x="1535112" y="2334589"/>
                    </a:cubicBezTo>
                    <a:cubicBezTo>
                      <a:pt x="1451292" y="2297188"/>
                      <a:pt x="1382712" y="2171134"/>
                      <a:pt x="1382712" y="2054083"/>
                    </a:cubicBezTo>
                    <a:cubicBezTo>
                      <a:pt x="1382712" y="2032136"/>
                      <a:pt x="1385123" y="2012015"/>
                      <a:pt x="1389594" y="1994058"/>
                    </a:cubicBezTo>
                    <a:lnTo>
                      <a:pt x="1393570" y="1984336"/>
                    </a:lnTo>
                    <a:lnTo>
                      <a:pt x="1394738" y="1976835"/>
                    </a:lnTo>
                    <a:lnTo>
                      <a:pt x="1400351" y="1967756"/>
                    </a:lnTo>
                    <a:lnTo>
                      <a:pt x="1408832" y="1947018"/>
                    </a:lnTo>
                    <a:lnTo>
                      <a:pt x="1422043" y="1932667"/>
                    </a:lnTo>
                    <a:lnTo>
                      <a:pt x="1427480" y="1923873"/>
                    </a:lnTo>
                    <a:lnTo>
                      <a:pt x="1432346" y="1921475"/>
                    </a:lnTo>
                    <a:lnTo>
                      <a:pt x="1438316" y="1914989"/>
                    </a:lnTo>
                    <a:cubicBezTo>
                      <a:pt x="1449618" y="1907040"/>
                      <a:pt x="1462276" y="1901931"/>
                      <a:pt x="1475938" y="1899999"/>
                    </a:cubicBezTo>
                    <a:close/>
                    <a:moveTo>
                      <a:pt x="1015271" y="1694849"/>
                    </a:moveTo>
                    <a:cubicBezTo>
                      <a:pt x="1033520" y="1692237"/>
                      <a:pt x="1053609" y="1695228"/>
                      <a:pt x="1074737" y="1704592"/>
                    </a:cubicBezTo>
                    <a:cubicBezTo>
                      <a:pt x="1158557" y="1742044"/>
                      <a:pt x="1227137" y="1867580"/>
                      <a:pt x="1227137" y="1984793"/>
                    </a:cubicBezTo>
                    <a:cubicBezTo>
                      <a:pt x="1227137" y="2102700"/>
                      <a:pt x="1158557" y="2167202"/>
                      <a:pt x="1074737" y="2129749"/>
                    </a:cubicBezTo>
                    <a:cubicBezTo>
                      <a:pt x="990225" y="2092296"/>
                      <a:pt x="922337" y="1966761"/>
                      <a:pt x="922337" y="1848854"/>
                    </a:cubicBezTo>
                    <a:cubicBezTo>
                      <a:pt x="922337" y="1826876"/>
                      <a:pt x="924724" y="1806752"/>
                      <a:pt x="929159" y="1788806"/>
                    </a:cubicBezTo>
                    <a:lnTo>
                      <a:pt x="933106" y="1779105"/>
                    </a:lnTo>
                    <a:lnTo>
                      <a:pt x="934265" y="1771597"/>
                    </a:lnTo>
                    <a:lnTo>
                      <a:pt x="939845" y="1762542"/>
                    </a:lnTo>
                    <a:lnTo>
                      <a:pt x="948274" y="1741824"/>
                    </a:lnTo>
                    <a:lnTo>
                      <a:pt x="961435" y="1727503"/>
                    </a:lnTo>
                    <a:lnTo>
                      <a:pt x="966845" y="1718723"/>
                    </a:lnTo>
                    <a:lnTo>
                      <a:pt x="971707" y="1716326"/>
                    </a:lnTo>
                    <a:lnTo>
                      <a:pt x="977654" y="1709856"/>
                    </a:lnTo>
                    <a:lnTo>
                      <a:pt x="1015270" y="1694850"/>
                    </a:lnTo>
                    <a:close/>
                    <a:moveTo>
                      <a:pt x="554814" y="1489974"/>
                    </a:moveTo>
                    <a:cubicBezTo>
                      <a:pt x="573007" y="1487371"/>
                      <a:pt x="593012" y="1490352"/>
                      <a:pt x="614015" y="1499686"/>
                    </a:cubicBezTo>
                    <a:cubicBezTo>
                      <a:pt x="698720" y="1537019"/>
                      <a:pt x="766762" y="1662157"/>
                      <a:pt x="766762" y="1778998"/>
                    </a:cubicBezTo>
                    <a:cubicBezTo>
                      <a:pt x="766762" y="1896530"/>
                      <a:pt x="698720" y="1960827"/>
                      <a:pt x="614015" y="1923493"/>
                    </a:cubicBezTo>
                    <a:cubicBezTo>
                      <a:pt x="530004" y="1886159"/>
                      <a:pt x="461962" y="1761022"/>
                      <a:pt x="461962" y="1643490"/>
                    </a:cubicBezTo>
                    <a:cubicBezTo>
                      <a:pt x="461962" y="1621582"/>
                      <a:pt x="464354" y="1601522"/>
                      <a:pt x="468795" y="1583632"/>
                    </a:cubicBezTo>
                    <a:lnTo>
                      <a:pt x="472746" y="1573957"/>
                    </a:lnTo>
                    <a:lnTo>
                      <a:pt x="473906" y="1566478"/>
                    </a:lnTo>
                    <a:lnTo>
                      <a:pt x="479489" y="1557445"/>
                    </a:lnTo>
                    <a:lnTo>
                      <a:pt x="487921" y="1536799"/>
                    </a:lnTo>
                    <a:lnTo>
                      <a:pt x="501077" y="1522520"/>
                    </a:lnTo>
                    <a:lnTo>
                      <a:pt x="506484" y="1513772"/>
                    </a:lnTo>
                    <a:lnTo>
                      <a:pt x="511339" y="1511382"/>
                    </a:lnTo>
                    <a:lnTo>
                      <a:pt x="517281" y="1504933"/>
                    </a:lnTo>
                    <a:lnTo>
                      <a:pt x="554814" y="1489974"/>
                    </a:lnTo>
                    <a:close/>
                    <a:moveTo>
                      <a:pt x="93712" y="1285197"/>
                    </a:moveTo>
                    <a:cubicBezTo>
                      <a:pt x="112023" y="1282583"/>
                      <a:pt x="132130" y="1285564"/>
                      <a:pt x="153194" y="1294898"/>
                    </a:cubicBezTo>
                    <a:cubicBezTo>
                      <a:pt x="238147" y="1332231"/>
                      <a:pt x="306388" y="1457369"/>
                      <a:pt x="306388" y="1574901"/>
                    </a:cubicBezTo>
                    <a:cubicBezTo>
                      <a:pt x="306388" y="1691742"/>
                      <a:pt x="238147" y="1756039"/>
                      <a:pt x="153194" y="1718705"/>
                    </a:cubicBezTo>
                    <a:cubicBezTo>
                      <a:pt x="68937" y="1681371"/>
                      <a:pt x="0" y="1556234"/>
                      <a:pt x="0" y="1439393"/>
                    </a:cubicBezTo>
                    <a:lnTo>
                      <a:pt x="0" y="1439393"/>
                    </a:lnTo>
                    <a:lnTo>
                      <a:pt x="0" y="1439393"/>
                    </a:lnTo>
                    <a:lnTo>
                      <a:pt x="6917" y="1379215"/>
                    </a:lnTo>
                    <a:lnTo>
                      <a:pt x="10915" y="1369491"/>
                    </a:lnTo>
                    <a:lnTo>
                      <a:pt x="12088" y="1361982"/>
                    </a:lnTo>
                    <a:lnTo>
                      <a:pt x="17736" y="1352902"/>
                    </a:lnTo>
                    <a:lnTo>
                      <a:pt x="26255" y="1332180"/>
                    </a:lnTo>
                    <a:lnTo>
                      <a:pt x="39543" y="1317844"/>
                    </a:lnTo>
                    <a:lnTo>
                      <a:pt x="45001" y="1309071"/>
                    </a:lnTo>
                    <a:lnTo>
                      <a:pt x="49901" y="1306669"/>
                    </a:lnTo>
                    <a:lnTo>
                      <a:pt x="55894" y="1300203"/>
                    </a:lnTo>
                    <a:lnTo>
                      <a:pt x="93709" y="1285198"/>
                    </a:lnTo>
                    <a:close/>
                    <a:moveTo>
                      <a:pt x="1475938" y="1256699"/>
                    </a:moveTo>
                    <a:lnTo>
                      <a:pt x="1479394" y="1257268"/>
                    </a:lnTo>
                    <a:lnTo>
                      <a:pt x="1535112" y="1266442"/>
                    </a:lnTo>
                    <a:cubicBezTo>
                      <a:pt x="1577368" y="1285168"/>
                      <a:pt x="1615468" y="1325915"/>
                      <a:pt x="1643004" y="1376719"/>
                    </a:cubicBezTo>
                    <a:cubicBezTo>
                      <a:pt x="1670540" y="1427523"/>
                      <a:pt x="1687512" y="1488384"/>
                      <a:pt x="1687512" y="1547337"/>
                    </a:cubicBezTo>
                    <a:cubicBezTo>
                      <a:pt x="1687512" y="1664550"/>
                      <a:pt x="1619625" y="1729052"/>
                      <a:pt x="1535112" y="1691599"/>
                    </a:cubicBezTo>
                    <a:cubicBezTo>
                      <a:pt x="1451292" y="1654147"/>
                      <a:pt x="1382712" y="1528611"/>
                      <a:pt x="1382712" y="1410704"/>
                    </a:cubicBezTo>
                    <a:cubicBezTo>
                      <a:pt x="1382712" y="1388727"/>
                      <a:pt x="1385123" y="1368602"/>
                      <a:pt x="1389594" y="1350656"/>
                    </a:cubicBezTo>
                    <a:lnTo>
                      <a:pt x="1393571" y="1340943"/>
                    </a:lnTo>
                    <a:lnTo>
                      <a:pt x="1394738" y="1333447"/>
                    </a:lnTo>
                    <a:lnTo>
                      <a:pt x="1400354" y="1324377"/>
                    </a:lnTo>
                    <a:lnTo>
                      <a:pt x="1408832" y="1303674"/>
                    </a:lnTo>
                    <a:lnTo>
                      <a:pt x="1422049" y="1289344"/>
                    </a:lnTo>
                    <a:lnTo>
                      <a:pt x="1427480" y="1280573"/>
                    </a:lnTo>
                    <a:lnTo>
                      <a:pt x="1432351" y="1278173"/>
                    </a:lnTo>
                    <a:lnTo>
                      <a:pt x="1438316" y="1271706"/>
                    </a:lnTo>
                    <a:lnTo>
                      <a:pt x="1475938" y="1256699"/>
                    </a:lnTo>
                    <a:close/>
                    <a:moveTo>
                      <a:pt x="1015271" y="1051923"/>
                    </a:moveTo>
                    <a:cubicBezTo>
                      <a:pt x="1033520" y="1049301"/>
                      <a:pt x="1053609" y="1052292"/>
                      <a:pt x="1074737" y="1061655"/>
                    </a:cubicBezTo>
                    <a:cubicBezTo>
                      <a:pt x="1158557" y="1099107"/>
                      <a:pt x="1227137" y="1224643"/>
                      <a:pt x="1227137" y="1342550"/>
                    </a:cubicBezTo>
                    <a:cubicBezTo>
                      <a:pt x="1227137" y="1459763"/>
                      <a:pt x="1158557" y="1524265"/>
                      <a:pt x="1074737" y="1486812"/>
                    </a:cubicBezTo>
                    <a:cubicBezTo>
                      <a:pt x="990225" y="1449360"/>
                      <a:pt x="922337" y="1323824"/>
                      <a:pt x="922337" y="1206611"/>
                    </a:cubicBezTo>
                    <a:lnTo>
                      <a:pt x="922337" y="1206611"/>
                    </a:lnTo>
                    <a:lnTo>
                      <a:pt x="922337" y="1206610"/>
                    </a:lnTo>
                    <a:lnTo>
                      <a:pt x="929159" y="1146241"/>
                    </a:lnTo>
                    <a:lnTo>
                      <a:pt x="933106" y="1136498"/>
                    </a:lnTo>
                    <a:lnTo>
                      <a:pt x="934265" y="1128953"/>
                    </a:lnTo>
                    <a:lnTo>
                      <a:pt x="939846" y="1119859"/>
                    </a:lnTo>
                    <a:lnTo>
                      <a:pt x="948274" y="1099056"/>
                    </a:lnTo>
                    <a:lnTo>
                      <a:pt x="961437" y="1084683"/>
                    </a:lnTo>
                    <a:lnTo>
                      <a:pt x="966845" y="1075873"/>
                    </a:lnTo>
                    <a:lnTo>
                      <a:pt x="971710" y="1073467"/>
                    </a:lnTo>
                    <a:lnTo>
                      <a:pt x="977654" y="1066977"/>
                    </a:lnTo>
                    <a:lnTo>
                      <a:pt x="1015268" y="1051925"/>
                    </a:lnTo>
                    <a:close/>
                    <a:moveTo>
                      <a:pt x="554814" y="847135"/>
                    </a:moveTo>
                    <a:cubicBezTo>
                      <a:pt x="573007" y="844513"/>
                      <a:pt x="593012" y="847504"/>
                      <a:pt x="614015" y="856867"/>
                    </a:cubicBezTo>
                    <a:cubicBezTo>
                      <a:pt x="698720" y="894319"/>
                      <a:pt x="766762" y="1020549"/>
                      <a:pt x="766762" y="1137762"/>
                    </a:cubicBezTo>
                    <a:cubicBezTo>
                      <a:pt x="766762" y="1254975"/>
                      <a:pt x="698720" y="1319477"/>
                      <a:pt x="614015" y="1282024"/>
                    </a:cubicBezTo>
                    <a:cubicBezTo>
                      <a:pt x="530004" y="1244572"/>
                      <a:pt x="461962" y="1119036"/>
                      <a:pt x="461962" y="1001823"/>
                    </a:cubicBezTo>
                    <a:lnTo>
                      <a:pt x="461962" y="1001823"/>
                    </a:lnTo>
                    <a:lnTo>
                      <a:pt x="461962" y="1001822"/>
                    </a:lnTo>
                    <a:lnTo>
                      <a:pt x="468795" y="941453"/>
                    </a:lnTo>
                    <a:lnTo>
                      <a:pt x="472746" y="931704"/>
                    </a:lnTo>
                    <a:lnTo>
                      <a:pt x="473906" y="924165"/>
                    </a:lnTo>
                    <a:lnTo>
                      <a:pt x="479491" y="915065"/>
                    </a:lnTo>
                    <a:lnTo>
                      <a:pt x="487921" y="894268"/>
                    </a:lnTo>
                    <a:lnTo>
                      <a:pt x="501080" y="879891"/>
                    </a:lnTo>
                    <a:lnTo>
                      <a:pt x="506484" y="871085"/>
                    </a:lnTo>
                    <a:lnTo>
                      <a:pt x="511342" y="868678"/>
                    </a:lnTo>
                    <a:lnTo>
                      <a:pt x="517281" y="862189"/>
                    </a:lnTo>
                    <a:cubicBezTo>
                      <a:pt x="528544" y="854227"/>
                      <a:pt x="541170" y="849102"/>
                      <a:pt x="554814" y="847135"/>
                    </a:cubicBezTo>
                    <a:close/>
                    <a:moveTo>
                      <a:pt x="93712" y="642407"/>
                    </a:moveTo>
                    <a:cubicBezTo>
                      <a:pt x="112023" y="639734"/>
                      <a:pt x="132130" y="642678"/>
                      <a:pt x="153194" y="652028"/>
                    </a:cubicBezTo>
                    <a:cubicBezTo>
                      <a:pt x="238147" y="690122"/>
                      <a:pt x="306388" y="815483"/>
                      <a:pt x="306388" y="932534"/>
                    </a:cubicBezTo>
                    <a:lnTo>
                      <a:pt x="306388" y="932534"/>
                    </a:lnTo>
                    <a:cubicBezTo>
                      <a:pt x="306388" y="1049585"/>
                      <a:pt x="238147" y="1114690"/>
                      <a:pt x="153194" y="1076597"/>
                    </a:cubicBezTo>
                    <a:cubicBezTo>
                      <a:pt x="68937" y="1039196"/>
                      <a:pt x="0" y="913834"/>
                      <a:pt x="0" y="796783"/>
                    </a:cubicBezTo>
                    <a:lnTo>
                      <a:pt x="0" y="796783"/>
                    </a:lnTo>
                    <a:lnTo>
                      <a:pt x="0" y="796782"/>
                    </a:lnTo>
                    <a:lnTo>
                      <a:pt x="6917" y="736755"/>
                    </a:lnTo>
                    <a:lnTo>
                      <a:pt x="10914" y="727025"/>
                    </a:lnTo>
                    <a:lnTo>
                      <a:pt x="12088" y="719525"/>
                    </a:lnTo>
                    <a:lnTo>
                      <a:pt x="17732" y="710429"/>
                    </a:lnTo>
                    <a:lnTo>
                      <a:pt x="26255" y="689683"/>
                    </a:lnTo>
                    <a:lnTo>
                      <a:pt x="39537" y="675291"/>
                    </a:lnTo>
                    <a:lnTo>
                      <a:pt x="45001" y="666487"/>
                    </a:lnTo>
                    <a:lnTo>
                      <a:pt x="49896" y="664067"/>
                    </a:lnTo>
                    <a:lnTo>
                      <a:pt x="55894" y="657567"/>
                    </a:lnTo>
                    <a:lnTo>
                      <a:pt x="93702" y="642412"/>
                    </a:lnTo>
                    <a:close/>
                    <a:moveTo>
                      <a:pt x="1475938" y="613736"/>
                    </a:moveTo>
                    <a:cubicBezTo>
                      <a:pt x="1494155" y="611116"/>
                      <a:pt x="1514157" y="614103"/>
                      <a:pt x="1535112" y="623454"/>
                    </a:cubicBezTo>
                    <a:cubicBezTo>
                      <a:pt x="1619625" y="660854"/>
                      <a:pt x="1687512" y="786909"/>
                      <a:pt x="1687512" y="903959"/>
                    </a:cubicBezTo>
                    <a:cubicBezTo>
                      <a:pt x="1687512" y="1021010"/>
                      <a:pt x="1619625" y="1086115"/>
                      <a:pt x="1535112" y="1048021"/>
                    </a:cubicBezTo>
                    <a:cubicBezTo>
                      <a:pt x="1451292" y="1010621"/>
                      <a:pt x="1382712" y="885259"/>
                      <a:pt x="1382712" y="768209"/>
                    </a:cubicBezTo>
                    <a:lnTo>
                      <a:pt x="1382712" y="768209"/>
                    </a:lnTo>
                    <a:lnTo>
                      <a:pt x="1382712" y="768208"/>
                    </a:lnTo>
                    <a:lnTo>
                      <a:pt x="1382713" y="768206"/>
                    </a:lnTo>
                    <a:lnTo>
                      <a:pt x="1389594" y="707923"/>
                    </a:lnTo>
                    <a:lnTo>
                      <a:pt x="1393571" y="698181"/>
                    </a:lnTo>
                    <a:lnTo>
                      <a:pt x="1394738" y="690658"/>
                    </a:lnTo>
                    <a:lnTo>
                      <a:pt x="1400357" y="681561"/>
                    </a:lnTo>
                    <a:lnTo>
                      <a:pt x="1408832" y="660803"/>
                    </a:lnTo>
                    <a:lnTo>
                      <a:pt x="1422050" y="646442"/>
                    </a:lnTo>
                    <a:lnTo>
                      <a:pt x="1427480" y="637652"/>
                    </a:lnTo>
                    <a:lnTo>
                      <a:pt x="1432355" y="635246"/>
                    </a:lnTo>
                    <a:lnTo>
                      <a:pt x="1438316" y="628769"/>
                    </a:lnTo>
                    <a:lnTo>
                      <a:pt x="1475931" y="613739"/>
                    </a:lnTo>
                    <a:close/>
                    <a:moveTo>
                      <a:pt x="1015271" y="409045"/>
                    </a:moveTo>
                    <a:cubicBezTo>
                      <a:pt x="1033520" y="406372"/>
                      <a:pt x="1053609" y="409315"/>
                      <a:pt x="1074737" y="418665"/>
                    </a:cubicBezTo>
                    <a:cubicBezTo>
                      <a:pt x="1158557" y="456759"/>
                      <a:pt x="1227137" y="582121"/>
                      <a:pt x="1227137" y="699172"/>
                    </a:cubicBezTo>
                    <a:lnTo>
                      <a:pt x="1227137" y="699172"/>
                    </a:lnTo>
                    <a:cubicBezTo>
                      <a:pt x="1227137" y="816222"/>
                      <a:pt x="1158557" y="881327"/>
                      <a:pt x="1074737" y="843926"/>
                    </a:cubicBezTo>
                    <a:cubicBezTo>
                      <a:pt x="990225" y="805833"/>
                      <a:pt x="922337" y="680471"/>
                      <a:pt x="922337" y="563421"/>
                    </a:cubicBezTo>
                    <a:lnTo>
                      <a:pt x="922337" y="563421"/>
                    </a:lnTo>
                    <a:lnTo>
                      <a:pt x="922337" y="563421"/>
                    </a:lnTo>
                    <a:lnTo>
                      <a:pt x="922337" y="563420"/>
                    </a:lnTo>
                    <a:lnTo>
                      <a:pt x="929159" y="503392"/>
                    </a:lnTo>
                    <a:lnTo>
                      <a:pt x="933105" y="493674"/>
                    </a:lnTo>
                    <a:lnTo>
                      <a:pt x="934265" y="486162"/>
                    </a:lnTo>
                    <a:lnTo>
                      <a:pt x="939843" y="477082"/>
                    </a:lnTo>
                    <a:lnTo>
                      <a:pt x="948274" y="456320"/>
                    </a:lnTo>
                    <a:lnTo>
                      <a:pt x="961431" y="441937"/>
                    </a:lnTo>
                    <a:lnTo>
                      <a:pt x="966845" y="433124"/>
                    </a:lnTo>
                    <a:lnTo>
                      <a:pt x="971704" y="430707"/>
                    </a:lnTo>
                    <a:lnTo>
                      <a:pt x="977654" y="424204"/>
                    </a:lnTo>
                    <a:lnTo>
                      <a:pt x="1015266" y="409047"/>
                    </a:lnTo>
                    <a:close/>
                    <a:moveTo>
                      <a:pt x="554814" y="204550"/>
                    </a:moveTo>
                    <a:cubicBezTo>
                      <a:pt x="573007" y="201974"/>
                      <a:pt x="593012" y="205048"/>
                      <a:pt x="614015" y="214571"/>
                    </a:cubicBezTo>
                    <a:cubicBezTo>
                      <a:pt x="698720" y="251972"/>
                      <a:pt x="766762" y="377334"/>
                      <a:pt x="766762" y="494385"/>
                    </a:cubicBezTo>
                    <a:lnTo>
                      <a:pt x="766762" y="494385"/>
                    </a:lnTo>
                    <a:lnTo>
                      <a:pt x="766762" y="494385"/>
                    </a:lnTo>
                    <a:cubicBezTo>
                      <a:pt x="766762" y="611436"/>
                      <a:pt x="698720" y="676541"/>
                      <a:pt x="614015" y="639140"/>
                    </a:cubicBezTo>
                    <a:cubicBezTo>
                      <a:pt x="530004" y="601739"/>
                      <a:pt x="461962" y="475685"/>
                      <a:pt x="461962" y="358634"/>
                    </a:cubicBezTo>
                    <a:lnTo>
                      <a:pt x="461962" y="358634"/>
                    </a:lnTo>
                    <a:lnTo>
                      <a:pt x="461962" y="358633"/>
                    </a:lnTo>
                    <a:lnTo>
                      <a:pt x="461962" y="358632"/>
                    </a:lnTo>
                    <a:lnTo>
                      <a:pt x="468795" y="298609"/>
                    </a:lnTo>
                    <a:lnTo>
                      <a:pt x="472745" y="288894"/>
                    </a:lnTo>
                    <a:lnTo>
                      <a:pt x="473906" y="281386"/>
                    </a:lnTo>
                    <a:lnTo>
                      <a:pt x="479486" y="272314"/>
                    </a:lnTo>
                    <a:lnTo>
                      <a:pt x="487921" y="251569"/>
                    </a:lnTo>
                    <a:lnTo>
                      <a:pt x="501071" y="237224"/>
                    </a:lnTo>
                    <a:lnTo>
                      <a:pt x="506484" y="228423"/>
                    </a:lnTo>
                    <a:lnTo>
                      <a:pt x="511334" y="226027"/>
                    </a:lnTo>
                    <a:lnTo>
                      <a:pt x="517281" y="219540"/>
                    </a:lnTo>
                    <a:lnTo>
                      <a:pt x="554811" y="204551"/>
                    </a:lnTo>
                    <a:close/>
                    <a:moveTo>
                      <a:pt x="93712" y="900"/>
                    </a:moveTo>
                    <a:cubicBezTo>
                      <a:pt x="112023" y="-1704"/>
                      <a:pt x="132130" y="1278"/>
                      <a:pt x="153194" y="10611"/>
                    </a:cubicBezTo>
                    <a:cubicBezTo>
                      <a:pt x="238147" y="47945"/>
                      <a:pt x="306388" y="173082"/>
                      <a:pt x="306388" y="289923"/>
                    </a:cubicBezTo>
                    <a:lnTo>
                      <a:pt x="306388" y="289924"/>
                    </a:lnTo>
                    <a:lnTo>
                      <a:pt x="306388" y="289924"/>
                    </a:lnTo>
                    <a:cubicBezTo>
                      <a:pt x="306388" y="407456"/>
                      <a:pt x="238147" y="471753"/>
                      <a:pt x="153194" y="434420"/>
                    </a:cubicBezTo>
                    <a:cubicBezTo>
                      <a:pt x="68937" y="397086"/>
                      <a:pt x="0" y="271948"/>
                      <a:pt x="0" y="154416"/>
                    </a:cubicBezTo>
                    <a:lnTo>
                      <a:pt x="0" y="154416"/>
                    </a:lnTo>
                    <a:lnTo>
                      <a:pt x="0" y="154415"/>
                    </a:lnTo>
                    <a:lnTo>
                      <a:pt x="0" y="154414"/>
                    </a:lnTo>
                    <a:lnTo>
                      <a:pt x="6917" y="94558"/>
                    </a:lnTo>
                    <a:lnTo>
                      <a:pt x="10915" y="84877"/>
                    </a:lnTo>
                    <a:lnTo>
                      <a:pt x="12088" y="77404"/>
                    </a:lnTo>
                    <a:lnTo>
                      <a:pt x="17734" y="68362"/>
                    </a:lnTo>
                    <a:lnTo>
                      <a:pt x="26255" y="47726"/>
                    </a:lnTo>
                    <a:lnTo>
                      <a:pt x="39540" y="33442"/>
                    </a:lnTo>
                    <a:lnTo>
                      <a:pt x="45001" y="24698"/>
                    </a:lnTo>
                    <a:lnTo>
                      <a:pt x="49898" y="22305"/>
                    </a:lnTo>
                    <a:lnTo>
                      <a:pt x="55894" y="15859"/>
                    </a:lnTo>
                    <a:lnTo>
                      <a:pt x="93705" y="903"/>
                    </a:lnTo>
                    <a:close/>
                  </a:path>
                </a:pathLst>
              </a:custGeom>
              <a:solidFill>
                <a:srgbClr val="7BA0FF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513" name="Group 512">
              <a:extLst>
                <a:ext uri="{FF2B5EF4-FFF2-40B4-BE49-F238E27FC236}">
                  <a16:creationId xmlns:a16="http://schemas.microsoft.com/office/drawing/2014/main" id="{E9F3D754-8DF0-B413-394C-5CBA253591F2}"/>
                </a:ext>
              </a:extLst>
            </p:cNvPr>
            <p:cNvGrpSpPr/>
            <p:nvPr/>
          </p:nvGrpSpPr>
          <p:grpSpPr>
            <a:xfrm>
              <a:off x="1144742" y="3078100"/>
              <a:ext cx="391781" cy="568843"/>
              <a:chOff x="4319166" y="-841949"/>
              <a:chExt cx="600483" cy="871866"/>
            </a:xfrm>
          </p:grpSpPr>
          <p:sp>
            <p:nvSpPr>
              <p:cNvPr id="517" name="Freeform: Shape 431">
                <a:extLst>
                  <a:ext uri="{FF2B5EF4-FFF2-40B4-BE49-F238E27FC236}">
                    <a16:creationId xmlns:a16="http://schemas.microsoft.com/office/drawing/2014/main" id="{4EEB2991-CC0A-40B1-2AB7-0F5925421EEA}"/>
                  </a:ext>
                </a:extLst>
              </p:cNvPr>
              <p:cNvSpPr/>
              <p:nvPr/>
            </p:nvSpPr>
            <p:spPr>
              <a:xfrm>
                <a:off x="4319166" y="-841949"/>
                <a:ext cx="600482" cy="871866"/>
              </a:xfrm>
              <a:custGeom>
                <a:avLst/>
                <a:gdLst>
                  <a:gd name="connsiteX0" fmla="*/ 195096 w 3278506"/>
                  <a:gd name="connsiteY0" fmla="*/ 0 h 4760204"/>
                  <a:gd name="connsiteX1" fmla="*/ 3066829 w 3278506"/>
                  <a:gd name="connsiteY1" fmla="*/ 550 h 4760204"/>
                  <a:gd name="connsiteX2" fmla="*/ 3095016 w 3278506"/>
                  <a:gd name="connsiteY2" fmla="*/ 550 h 4760204"/>
                  <a:gd name="connsiteX3" fmla="*/ 3278506 w 3278506"/>
                  <a:gd name="connsiteY3" fmla="*/ 197050 h 4760204"/>
                  <a:gd name="connsiteX4" fmla="*/ 3278506 w 3278506"/>
                  <a:gd name="connsiteY4" fmla="*/ 1860969 h 4760204"/>
                  <a:gd name="connsiteX5" fmla="*/ 2994980 w 3278506"/>
                  <a:gd name="connsiteY5" fmla="*/ 2296902 h 4760204"/>
                  <a:gd name="connsiteX6" fmla="*/ 1905093 w 3278506"/>
                  <a:gd name="connsiteY6" fmla="*/ 2780720 h 4760204"/>
                  <a:gd name="connsiteX7" fmla="*/ 1905093 w 3278506"/>
                  <a:gd name="connsiteY7" fmla="*/ 3111143 h 4760204"/>
                  <a:gd name="connsiteX8" fmla="*/ 1905093 w 3278506"/>
                  <a:gd name="connsiteY8" fmla="*/ 3133079 h 4760204"/>
                  <a:gd name="connsiteX9" fmla="*/ 1905093 w 3278506"/>
                  <a:gd name="connsiteY9" fmla="*/ 3209700 h 4760204"/>
                  <a:gd name="connsiteX10" fmla="*/ 1905093 w 3278506"/>
                  <a:gd name="connsiteY10" fmla="*/ 3234479 h 4760204"/>
                  <a:gd name="connsiteX11" fmla="*/ 1905093 w 3278506"/>
                  <a:gd name="connsiteY11" fmla="*/ 3326130 h 4760204"/>
                  <a:gd name="connsiteX12" fmla="*/ 1905093 w 3278506"/>
                  <a:gd name="connsiteY12" fmla="*/ 3461923 h 4760204"/>
                  <a:gd name="connsiteX13" fmla="*/ 1905093 w 3278506"/>
                  <a:gd name="connsiteY13" fmla="*/ 3493124 h 4760204"/>
                  <a:gd name="connsiteX14" fmla="*/ 1905093 w 3278506"/>
                  <a:gd name="connsiteY14" fmla="*/ 3618570 h 4760204"/>
                  <a:gd name="connsiteX15" fmla="*/ 1905093 w 3278506"/>
                  <a:gd name="connsiteY15" fmla="*/ 3787925 h 4760204"/>
                  <a:gd name="connsiteX16" fmla="*/ 1905093 w 3278506"/>
                  <a:gd name="connsiteY16" fmla="*/ 3797560 h 4760204"/>
                  <a:gd name="connsiteX17" fmla="*/ 1905093 w 3278506"/>
                  <a:gd name="connsiteY17" fmla="*/ 3828635 h 4760204"/>
                  <a:gd name="connsiteX18" fmla="*/ 1905093 w 3278506"/>
                  <a:gd name="connsiteY18" fmla="*/ 4121246 h 4760204"/>
                  <a:gd name="connsiteX19" fmla="*/ 1905093 w 3278506"/>
                  <a:gd name="connsiteY19" fmla="*/ 4495452 h 4760204"/>
                  <a:gd name="connsiteX20" fmla="*/ 1639253 w 3278506"/>
                  <a:gd name="connsiteY20" fmla="*/ 4760204 h 4760204"/>
                  <a:gd name="connsiteX21" fmla="*/ 1373413 w 3278506"/>
                  <a:gd name="connsiteY21" fmla="*/ 4495452 h 4760204"/>
                  <a:gd name="connsiteX22" fmla="*/ 1373413 w 3278506"/>
                  <a:gd name="connsiteY22" fmla="*/ 3950042 h 4760204"/>
                  <a:gd name="connsiteX23" fmla="*/ 1373413 w 3278506"/>
                  <a:gd name="connsiteY23" fmla="*/ 3828635 h 4760204"/>
                  <a:gd name="connsiteX24" fmla="*/ 1373413 w 3278506"/>
                  <a:gd name="connsiteY24" fmla="*/ 3802012 h 4760204"/>
                  <a:gd name="connsiteX25" fmla="*/ 1373413 w 3278506"/>
                  <a:gd name="connsiteY25" fmla="*/ 3743202 h 4760204"/>
                  <a:gd name="connsiteX26" fmla="*/ 1373413 w 3278506"/>
                  <a:gd name="connsiteY26" fmla="*/ 3629362 h 4760204"/>
                  <a:gd name="connsiteX27" fmla="*/ 1373413 w 3278506"/>
                  <a:gd name="connsiteY27" fmla="*/ 3532665 h 4760204"/>
                  <a:gd name="connsiteX28" fmla="*/ 1373413 w 3278506"/>
                  <a:gd name="connsiteY28" fmla="*/ 3430199 h 4760204"/>
                  <a:gd name="connsiteX29" fmla="*/ 1373413 w 3278506"/>
                  <a:gd name="connsiteY29" fmla="*/ 3302647 h 4760204"/>
                  <a:gd name="connsiteX30" fmla="*/ 1373413 w 3278506"/>
                  <a:gd name="connsiteY30" fmla="*/ 3202629 h 4760204"/>
                  <a:gd name="connsiteX31" fmla="*/ 1373413 w 3278506"/>
                  <a:gd name="connsiteY31" fmla="*/ 3133079 h 4760204"/>
                  <a:gd name="connsiteX32" fmla="*/ 1373413 w 3278506"/>
                  <a:gd name="connsiteY32" fmla="*/ 3052286 h 4760204"/>
                  <a:gd name="connsiteX33" fmla="*/ 1373413 w 3278506"/>
                  <a:gd name="connsiteY33" fmla="*/ 2780720 h 4760204"/>
                  <a:gd name="connsiteX34" fmla="*/ 283525 w 3278506"/>
                  <a:gd name="connsiteY34" fmla="*/ 2296902 h 4760204"/>
                  <a:gd name="connsiteX35" fmla="*/ 0 w 3278506"/>
                  <a:gd name="connsiteY35" fmla="*/ 1860969 h 4760204"/>
                  <a:gd name="connsiteX36" fmla="*/ 0 w 3278506"/>
                  <a:gd name="connsiteY36" fmla="*/ 197050 h 4760204"/>
                  <a:gd name="connsiteX37" fmla="*/ 195096 w 3278506"/>
                  <a:gd name="connsiteY37" fmla="*/ 0 h 4760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3278506" h="4760204">
                    <a:moveTo>
                      <a:pt x="195096" y="0"/>
                    </a:moveTo>
                    <a:cubicBezTo>
                      <a:pt x="195096" y="0"/>
                      <a:pt x="195096" y="0"/>
                      <a:pt x="3066829" y="550"/>
                    </a:cubicBezTo>
                    <a:cubicBezTo>
                      <a:pt x="3076224" y="0"/>
                      <a:pt x="3085620" y="0"/>
                      <a:pt x="3095016" y="550"/>
                    </a:cubicBezTo>
                    <a:cubicBezTo>
                      <a:pt x="3193393" y="7706"/>
                      <a:pt x="3278506" y="88618"/>
                      <a:pt x="3278506" y="197050"/>
                    </a:cubicBezTo>
                    <a:cubicBezTo>
                      <a:pt x="3278506" y="197050"/>
                      <a:pt x="3278506" y="197050"/>
                      <a:pt x="3278506" y="1860969"/>
                    </a:cubicBezTo>
                    <a:cubicBezTo>
                      <a:pt x="3278506" y="2049213"/>
                      <a:pt x="3167417" y="2219843"/>
                      <a:pt x="2994980" y="2296902"/>
                    </a:cubicBezTo>
                    <a:cubicBezTo>
                      <a:pt x="2994980" y="2296902"/>
                      <a:pt x="2994980" y="2296902"/>
                      <a:pt x="1905093" y="2780720"/>
                    </a:cubicBezTo>
                    <a:cubicBezTo>
                      <a:pt x="1905093" y="2780720"/>
                      <a:pt x="1905093" y="2780720"/>
                      <a:pt x="1905093" y="3111143"/>
                    </a:cubicBezTo>
                    <a:lnTo>
                      <a:pt x="1905093" y="3133079"/>
                    </a:lnTo>
                    <a:lnTo>
                      <a:pt x="1905093" y="3209700"/>
                    </a:lnTo>
                    <a:lnTo>
                      <a:pt x="1905093" y="3234479"/>
                    </a:lnTo>
                    <a:lnTo>
                      <a:pt x="1905093" y="3326130"/>
                    </a:lnTo>
                    <a:lnTo>
                      <a:pt x="1905093" y="3461923"/>
                    </a:lnTo>
                    <a:lnTo>
                      <a:pt x="1905093" y="3493124"/>
                    </a:lnTo>
                    <a:lnTo>
                      <a:pt x="1905093" y="3618570"/>
                    </a:lnTo>
                    <a:lnTo>
                      <a:pt x="1905093" y="3787925"/>
                    </a:lnTo>
                    <a:lnTo>
                      <a:pt x="1905093" y="3797560"/>
                    </a:lnTo>
                    <a:lnTo>
                      <a:pt x="1905093" y="3828635"/>
                    </a:lnTo>
                    <a:lnTo>
                      <a:pt x="1905093" y="4121246"/>
                    </a:lnTo>
                    <a:cubicBezTo>
                      <a:pt x="1905093" y="4239036"/>
                      <a:pt x="1905093" y="4363640"/>
                      <a:pt x="1905093" y="4495452"/>
                    </a:cubicBezTo>
                    <a:cubicBezTo>
                      <a:pt x="1905093" y="4641864"/>
                      <a:pt x="1786266" y="4760204"/>
                      <a:pt x="1639253" y="4760204"/>
                    </a:cubicBezTo>
                    <a:cubicBezTo>
                      <a:pt x="1492240" y="4760204"/>
                      <a:pt x="1373413" y="4641864"/>
                      <a:pt x="1373413" y="4495452"/>
                    </a:cubicBezTo>
                    <a:cubicBezTo>
                      <a:pt x="1373413" y="4495452"/>
                      <a:pt x="1373413" y="4495452"/>
                      <a:pt x="1373413" y="3950042"/>
                    </a:cubicBezTo>
                    <a:lnTo>
                      <a:pt x="1373413" y="3828635"/>
                    </a:lnTo>
                    <a:lnTo>
                      <a:pt x="1373413" y="3802012"/>
                    </a:lnTo>
                    <a:lnTo>
                      <a:pt x="1373413" y="3743202"/>
                    </a:lnTo>
                    <a:lnTo>
                      <a:pt x="1373413" y="3629362"/>
                    </a:lnTo>
                    <a:lnTo>
                      <a:pt x="1373413" y="3532665"/>
                    </a:lnTo>
                    <a:lnTo>
                      <a:pt x="1373413" y="3430199"/>
                    </a:lnTo>
                    <a:lnTo>
                      <a:pt x="1373413" y="3302647"/>
                    </a:lnTo>
                    <a:lnTo>
                      <a:pt x="1373413" y="3202629"/>
                    </a:lnTo>
                    <a:lnTo>
                      <a:pt x="1373413" y="3133079"/>
                    </a:lnTo>
                    <a:lnTo>
                      <a:pt x="1373413" y="3052286"/>
                    </a:lnTo>
                    <a:cubicBezTo>
                      <a:pt x="1373413" y="2965346"/>
                      <a:pt x="1373413" y="2874872"/>
                      <a:pt x="1373413" y="2780720"/>
                    </a:cubicBezTo>
                    <a:cubicBezTo>
                      <a:pt x="1373413" y="2780720"/>
                      <a:pt x="1373413" y="2780720"/>
                      <a:pt x="283525" y="2296902"/>
                    </a:cubicBezTo>
                    <a:cubicBezTo>
                      <a:pt x="111089" y="2219843"/>
                      <a:pt x="0" y="2049213"/>
                      <a:pt x="0" y="1860969"/>
                    </a:cubicBezTo>
                    <a:cubicBezTo>
                      <a:pt x="0" y="1860969"/>
                      <a:pt x="0" y="1860969"/>
                      <a:pt x="0" y="197050"/>
                    </a:cubicBezTo>
                    <a:cubicBezTo>
                      <a:pt x="0" y="84765"/>
                      <a:pt x="91745" y="1651"/>
                      <a:pt x="195096" y="0"/>
                    </a:cubicBezTo>
                    <a:close/>
                  </a:path>
                </a:pathLst>
              </a:custGeom>
              <a:solidFill>
                <a:srgbClr val="7BA0FF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743407">
                  <a:lnSpc>
                    <a:spcPct val="90000"/>
                  </a:lnSpc>
                  <a:defRPr/>
                </a:pPr>
                <a:endParaRPr lang="de-DE" sz="976" kern="0" err="1">
                  <a:solidFill>
                    <a:srgbClr val="F7F8FA"/>
                  </a:solidFill>
                  <a:latin typeface="Calibri"/>
                </a:endParaRPr>
              </a:p>
            </p:txBody>
          </p:sp>
          <p:sp>
            <p:nvSpPr>
              <p:cNvPr id="518" name="Freeform 6">
                <a:extLst>
                  <a:ext uri="{FF2B5EF4-FFF2-40B4-BE49-F238E27FC236}">
                    <a16:creationId xmlns:a16="http://schemas.microsoft.com/office/drawing/2014/main" id="{3833B3D2-ADF4-BA64-968B-8BDAEF0124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9408" y="-841949"/>
                <a:ext cx="300241" cy="521606"/>
              </a:xfrm>
              <a:custGeom>
                <a:avLst/>
                <a:gdLst>
                  <a:gd name="T0" fmla="*/ 2634 w 2966"/>
                  <a:gd name="T1" fmla="*/ 1 h 5174"/>
                  <a:gd name="T2" fmla="*/ 2634 w 2966"/>
                  <a:gd name="T3" fmla="*/ 1 h 5174"/>
                  <a:gd name="T4" fmla="*/ 2583 w 2966"/>
                  <a:gd name="T5" fmla="*/ 1 h 5174"/>
                  <a:gd name="T6" fmla="*/ 2463 w 2966"/>
                  <a:gd name="T7" fmla="*/ 31 h 5174"/>
                  <a:gd name="T8" fmla="*/ 442 w 2966"/>
                  <a:gd name="T9" fmla="*/ 933 h 5174"/>
                  <a:gd name="T10" fmla="*/ 0 w 2966"/>
                  <a:gd name="T11" fmla="*/ 1614 h 5174"/>
                  <a:gd name="T12" fmla="*/ 0 w 2966"/>
                  <a:gd name="T13" fmla="*/ 4836 h 5174"/>
                  <a:gd name="T14" fmla="*/ 393 w 2966"/>
                  <a:gd name="T15" fmla="*/ 5091 h 5174"/>
                  <a:gd name="T16" fmla="*/ 481 w 2966"/>
                  <a:gd name="T17" fmla="*/ 5052 h 5174"/>
                  <a:gd name="T18" fmla="*/ 2453 w 2966"/>
                  <a:gd name="T19" fmla="*/ 4173 h 5174"/>
                  <a:gd name="T20" fmla="*/ 2966 w 2966"/>
                  <a:gd name="T21" fmla="*/ 3381 h 5174"/>
                  <a:gd name="T22" fmla="*/ 2966 w 2966"/>
                  <a:gd name="T23" fmla="*/ 358 h 5174"/>
                  <a:gd name="T24" fmla="*/ 2634 w 2966"/>
                  <a:gd name="T25" fmla="*/ 1 h 5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66" h="5174">
                    <a:moveTo>
                      <a:pt x="2634" y="1"/>
                    </a:moveTo>
                    <a:cubicBezTo>
                      <a:pt x="2634" y="1"/>
                      <a:pt x="2634" y="1"/>
                      <a:pt x="2634" y="1"/>
                    </a:cubicBezTo>
                    <a:cubicBezTo>
                      <a:pt x="2617" y="0"/>
                      <a:pt x="2600" y="0"/>
                      <a:pt x="2583" y="1"/>
                    </a:cubicBezTo>
                    <a:cubicBezTo>
                      <a:pt x="2543" y="4"/>
                      <a:pt x="2502" y="14"/>
                      <a:pt x="2463" y="31"/>
                    </a:cubicBezTo>
                    <a:cubicBezTo>
                      <a:pt x="442" y="933"/>
                      <a:pt x="442" y="933"/>
                      <a:pt x="442" y="933"/>
                    </a:cubicBezTo>
                    <a:cubicBezTo>
                      <a:pt x="173" y="1052"/>
                      <a:pt x="0" y="1319"/>
                      <a:pt x="0" y="1614"/>
                    </a:cubicBezTo>
                    <a:cubicBezTo>
                      <a:pt x="0" y="4836"/>
                      <a:pt x="0" y="4836"/>
                      <a:pt x="0" y="4836"/>
                    </a:cubicBezTo>
                    <a:cubicBezTo>
                      <a:pt x="0" y="5039"/>
                      <a:pt x="208" y="5174"/>
                      <a:pt x="393" y="5091"/>
                    </a:cubicBezTo>
                    <a:cubicBezTo>
                      <a:pt x="481" y="5052"/>
                      <a:pt x="481" y="5052"/>
                      <a:pt x="481" y="5052"/>
                    </a:cubicBezTo>
                    <a:cubicBezTo>
                      <a:pt x="2453" y="4173"/>
                      <a:pt x="2453" y="4173"/>
                      <a:pt x="2453" y="4173"/>
                    </a:cubicBezTo>
                    <a:cubicBezTo>
                      <a:pt x="2765" y="4033"/>
                      <a:pt x="2966" y="3723"/>
                      <a:pt x="2966" y="3381"/>
                    </a:cubicBezTo>
                    <a:cubicBezTo>
                      <a:pt x="2966" y="358"/>
                      <a:pt x="2966" y="358"/>
                      <a:pt x="2966" y="358"/>
                    </a:cubicBezTo>
                    <a:cubicBezTo>
                      <a:pt x="2966" y="161"/>
                      <a:pt x="2812" y="14"/>
                      <a:pt x="2634" y="1"/>
                    </a:cubicBezTo>
                    <a:close/>
                  </a:path>
                </a:pathLst>
              </a:custGeom>
              <a:solidFill>
                <a:srgbClr val="7BA0FF">
                  <a:lumMod val="60000"/>
                  <a:lumOff val="40000"/>
                </a:srgbClr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519" name="Freeform: Shape 433">
                <a:extLst>
                  <a:ext uri="{FF2B5EF4-FFF2-40B4-BE49-F238E27FC236}">
                    <a16:creationId xmlns:a16="http://schemas.microsoft.com/office/drawing/2014/main" id="{97956E6D-A620-567E-981B-2B7D8C8B65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7165" y="-804052"/>
                <a:ext cx="245883" cy="435173"/>
              </a:xfrm>
              <a:custGeom>
                <a:avLst/>
                <a:gdLst>
                  <a:gd name="connsiteX0" fmla="*/ 211574 w 1687513"/>
                  <a:gd name="connsiteY0" fmla="*/ 2542497 h 2986617"/>
                  <a:gd name="connsiteX1" fmla="*/ 249196 w 1687513"/>
                  <a:gd name="connsiteY1" fmla="*/ 2557503 h 2986617"/>
                  <a:gd name="connsiteX2" fmla="*/ 255159 w 1687513"/>
                  <a:gd name="connsiteY2" fmla="*/ 2563970 h 2986617"/>
                  <a:gd name="connsiteX3" fmla="*/ 260032 w 1687513"/>
                  <a:gd name="connsiteY3" fmla="*/ 2566371 h 2986617"/>
                  <a:gd name="connsiteX4" fmla="*/ 265460 w 1687513"/>
                  <a:gd name="connsiteY4" fmla="*/ 2575142 h 2986617"/>
                  <a:gd name="connsiteX5" fmla="*/ 278681 w 1687513"/>
                  <a:gd name="connsiteY5" fmla="*/ 2589480 h 2986617"/>
                  <a:gd name="connsiteX6" fmla="*/ 287157 w 1687513"/>
                  <a:gd name="connsiteY6" fmla="*/ 2610204 h 2986617"/>
                  <a:gd name="connsiteX7" fmla="*/ 292774 w 1687513"/>
                  <a:gd name="connsiteY7" fmla="*/ 2619282 h 2986617"/>
                  <a:gd name="connsiteX8" fmla="*/ 293941 w 1687513"/>
                  <a:gd name="connsiteY8" fmla="*/ 2626790 h 2986617"/>
                  <a:gd name="connsiteX9" fmla="*/ 297918 w 1687513"/>
                  <a:gd name="connsiteY9" fmla="*/ 2636515 h 2986617"/>
                  <a:gd name="connsiteX10" fmla="*/ 304800 w 1687513"/>
                  <a:gd name="connsiteY10" fmla="*/ 2696693 h 2986617"/>
                  <a:gd name="connsiteX11" fmla="*/ 152400 w 1687513"/>
                  <a:gd name="connsiteY11" fmla="*/ 2976005 h 2986617"/>
                  <a:gd name="connsiteX12" fmla="*/ 0 w 1687513"/>
                  <a:gd name="connsiteY12" fmla="*/ 2832201 h 2986617"/>
                  <a:gd name="connsiteX13" fmla="*/ 152400 w 1687513"/>
                  <a:gd name="connsiteY13" fmla="*/ 2552198 h 2986617"/>
                  <a:gd name="connsiteX14" fmla="*/ 211574 w 1687513"/>
                  <a:gd name="connsiteY14" fmla="*/ 2542497 h 2986617"/>
                  <a:gd name="connsiteX15" fmla="*/ 672241 w 1687513"/>
                  <a:gd name="connsiteY15" fmla="*/ 2337769 h 2986617"/>
                  <a:gd name="connsiteX16" fmla="*/ 709859 w 1687513"/>
                  <a:gd name="connsiteY16" fmla="*/ 2352880 h 2986617"/>
                  <a:gd name="connsiteX17" fmla="*/ 715809 w 1687513"/>
                  <a:gd name="connsiteY17" fmla="*/ 2359363 h 2986617"/>
                  <a:gd name="connsiteX18" fmla="*/ 720667 w 1687513"/>
                  <a:gd name="connsiteY18" fmla="*/ 2361772 h 2986617"/>
                  <a:gd name="connsiteX19" fmla="*/ 726081 w 1687513"/>
                  <a:gd name="connsiteY19" fmla="*/ 2370556 h 2986617"/>
                  <a:gd name="connsiteX20" fmla="*/ 739239 w 1687513"/>
                  <a:gd name="connsiteY20" fmla="*/ 2384893 h 2986617"/>
                  <a:gd name="connsiteX21" fmla="*/ 747670 w 1687513"/>
                  <a:gd name="connsiteY21" fmla="*/ 2405591 h 2986617"/>
                  <a:gd name="connsiteX22" fmla="*/ 753247 w 1687513"/>
                  <a:gd name="connsiteY22" fmla="*/ 2414642 h 2986617"/>
                  <a:gd name="connsiteX23" fmla="*/ 754407 w 1687513"/>
                  <a:gd name="connsiteY23" fmla="*/ 2422129 h 2986617"/>
                  <a:gd name="connsiteX24" fmla="*/ 758353 w 1687513"/>
                  <a:gd name="connsiteY24" fmla="*/ 2431816 h 2986617"/>
                  <a:gd name="connsiteX25" fmla="*/ 765175 w 1687513"/>
                  <a:gd name="connsiteY25" fmla="*/ 2491655 h 2986617"/>
                  <a:gd name="connsiteX26" fmla="*/ 612775 w 1687513"/>
                  <a:gd name="connsiteY26" fmla="*/ 2771270 h 2986617"/>
                  <a:gd name="connsiteX27" fmla="*/ 460375 w 1687513"/>
                  <a:gd name="connsiteY27" fmla="*/ 2626975 h 2986617"/>
                  <a:gd name="connsiteX28" fmla="*/ 612775 w 1687513"/>
                  <a:gd name="connsiteY28" fmla="*/ 2347359 h 2986617"/>
                  <a:gd name="connsiteX29" fmla="*/ 672241 w 1687513"/>
                  <a:gd name="connsiteY29" fmla="*/ 2337769 h 2986617"/>
                  <a:gd name="connsiteX30" fmla="*/ 1133802 w 1687513"/>
                  <a:gd name="connsiteY30" fmla="*/ 2133272 h 2986617"/>
                  <a:gd name="connsiteX31" fmla="*/ 1133804 w 1687513"/>
                  <a:gd name="connsiteY31" fmla="*/ 2133273 h 2986617"/>
                  <a:gd name="connsiteX32" fmla="*/ 1171531 w 1687513"/>
                  <a:gd name="connsiteY32" fmla="*/ 2148215 h 2986617"/>
                  <a:gd name="connsiteX33" fmla="*/ 1177509 w 1687513"/>
                  <a:gd name="connsiteY33" fmla="*/ 2154682 h 2986617"/>
                  <a:gd name="connsiteX34" fmla="*/ 1182384 w 1687513"/>
                  <a:gd name="connsiteY34" fmla="*/ 2157070 h 2986617"/>
                  <a:gd name="connsiteX35" fmla="*/ 1187825 w 1687513"/>
                  <a:gd name="connsiteY35" fmla="*/ 2165842 h 2986617"/>
                  <a:gd name="connsiteX36" fmla="*/ 1201044 w 1687513"/>
                  <a:gd name="connsiteY36" fmla="*/ 2180142 h 2986617"/>
                  <a:gd name="connsiteX37" fmla="*/ 1209523 w 1687513"/>
                  <a:gd name="connsiteY37" fmla="*/ 2200822 h 2986617"/>
                  <a:gd name="connsiteX38" fmla="*/ 1215132 w 1687513"/>
                  <a:gd name="connsiteY38" fmla="*/ 2209864 h 2986617"/>
                  <a:gd name="connsiteX39" fmla="*/ 1216299 w 1687513"/>
                  <a:gd name="connsiteY39" fmla="*/ 2217347 h 2986617"/>
                  <a:gd name="connsiteX40" fmla="*/ 1220270 w 1687513"/>
                  <a:gd name="connsiteY40" fmla="*/ 2227032 h 2986617"/>
                  <a:gd name="connsiteX41" fmla="*/ 1227138 w 1687513"/>
                  <a:gd name="connsiteY41" fmla="*/ 2286866 h 2986617"/>
                  <a:gd name="connsiteX42" fmla="*/ 1074293 w 1687513"/>
                  <a:gd name="connsiteY42" fmla="*/ 2566482 h 2986617"/>
                  <a:gd name="connsiteX43" fmla="*/ 920750 w 1687513"/>
                  <a:gd name="connsiteY43" fmla="*/ 2422187 h 2986617"/>
                  <a:gd name="connsiteX44" fmla="*/ 1074293 w 1687513"/>
                  <a:gd name="connsiteY44" fmla="*/ 2143261 h 2986617"/>
                  <a:gd name="connsiteX45" fmla="*/ 1133802 w 1687513"/>
                  <a:gd name="connsiteY45" fmla="*/ 2133272 h 2986617"/>
                  <a:gd name="connsiteX46" fmla="*/ 1594287 w 1687513"/>
                  <a:gd name="connsiteY46" fmla="*/ 1928124 h 2986617"/>
                  <a:gd name="connsiteX47" fmla="*/ 1594288 w 1687513"/>
                  <a:gd name="connsiteY47" fmla="*/ 1928124 h 2986617"/>
                  <a:gd name="connsiteX48" fmla="*/ 1631909 w 1687513"/>
                  <a:gd name="connsiteY48" fmla="*/ 1943083 h 2986617"/>
                  <a:gd name="connsiteX49" fmla="*/ 1637874 w 1687513"/>
                  <a:gd name="connsiteY49" fmla="*/ 1949530 h 2986617"/>
                  <a:gd name="connsiteX50" fmla="*/ 1642746 w 1687513"/>
                  <a:gd name="connsiteY50" fmla="*/ 1951922 h 2986617"/>
                  <a:gd name="connsiteX51" fmla="*/ 1648176 w 1687513"/>
                  <a:gd name="connsiteY51" fmla="*/ 1960664 h 2986617"/>
                  <a:gd name="connsiteX52" fmla="*/ 1661394 w 1687513"/>
                  <a:gd name="connsiteY52" fmla="*/ 1974949 h 2986617"/>
                  <a:gd name="connsiteX53" fmla="*/ 1669872 w 1687513"/>
                  <a:gd name="connsiteY53" fmla="*/ 1995587 h 2986617"/>
                  <a:gd name="connsiteX54" fmla="*/ 1675488 w 1687513"/>
                  <a:gd name="connsiteY54" fmla="*/ 2004628 h 2986617"/>
                  <a:gd name="connsiteX55" fmla="*/ 1676655 w 1687513"/>
                  <a:gd name="connsiteY55" fmla="*/ 2012100 h 2986617"/>
                  <a:gd name="connsiteX56" fmla="*/ 1680632 w 1687513"/>
                  <a:gd name="connsiteY56" fmla="*/ 2021782 h 2986617"/>
                  <a:gd name="connsiteX57" fmla="*/ 1687513 w 1687513"/>
                  <a:gd name="connsiteY57" fmla="*/ 2081640 h 2986617"/>
                  <a:gd name="connsiteX58" fmla="*/ 1535113 w 1687513"/>
                  <a:gd name="connsiteY58" fmla="*/ 2361643 h 2986617"/>
                  <a:gd name="connsiteX59" fmla="*/ 1382713 w 1687513"/>
                  <a:gd name="connsiteY59" fmla="*/ 2217148 h 2986617"/>
                  <a:gd name="connsiteX60" fmla="*/ 1535113 w 1687513"/>
                  <a:gd name="connsiteY60" fmla="*/ 1937836 h 2986617"/>
                  <a:gd name="connsiteX61" fmla="*/ 1594287 w 1687513"/>
                  <a:gd name="connsiteY61" fmla="*/ 1928124 h 2986617"/>
                  <a:gd name="connsiteX62" fmla="*/ 211574 w 1687513"/>
                  <a:gd name="connsiteY62" fmla="*/ 1899999 h 2986617"/>
                  <a:gd name="connsiteX63" fmla="*/ 249196 w 1687513"/>
                  <a:gd name="connsiteY63" fmla="*/ 1914989 h 2986617"/>
                  <a:gd name="connsiteX64" fmla="*/ 255167 w 1687513"/>
                  <a:gd name="connsiteY64" fmla="*/ 1921476 h 2986617"/>
                  <a:gd name="connsiteX65" fmla="*/ 260032 w 1687513"/>
                  <a:gd name="connsiteY65" fmla="*/ 1923873 h 2986617"/>
                  <a:gd name="connsiteX66" fmla="*/ 265469 w 1687513"/>
                  <a:gd name="connsiteY66" fmla="*/ 1932666 h 2986617"/>
                  <a:gd name="connsiteX67" fmla="*/ 278681 w 1687513"/>
                  <a:gd name="connsiteY67" fmla="*/ 1947018 h 2986617"/>
                  <a:gd name="connsiteX68" fmla="*/ 287162 w 1687513"/>
                  <a:gd name="connsiteY68" fmla="*/ 1967757 h 2986617"/>
                  <a:gd name="connsiteX69" fmla="*/ 292774 w 1687513"/>
                  <a:gd name="connsiteY69" fmla="*/ 1976835 h 2986617"/>
                  <a:gd name="connsiteX70" fmla="*/ 293942 w 1687513"/>
                  <a:gd name="connsiteY70" fmla="*/ 1984335 h 2986617"/>
                  <a:gd name="connsiteX71" fmla="*/ 297918 w 1687513"/>
                  <a:gd name="connsiteY71" fmla="*/ 1994058 h 2986617"/>
                  <a:gd name="connsiteX72" fmla="*/ 304800 w 1687513"/>
                  <a:gd name="connsiteY72" fmla="*/ 2054083 h 2986617"/>
                  <a:gd name="connsiteX73" fmla="*/ 152400 w 1687513"/>
                  <a:gd name="connsiteY73" fmla="*/ 2334589 h 2986617"/>
                  <a:gd name="connsiteX74" fmla="*/ 0 w 1687513"/>
                  <a:gd name="connsiteY74" fmla="*/ 2189834 h 2986617"/>
                  <a:gd name="connsiteX75" fmla="*/ 152400 w 1687513"/>
                  <a:gd name="connsiteY75" fmla="*/ 1910020 h 2986617"/>
                  <a:gd name="connsiteX76" fmla="*/ 211574 w 1687513"/>
                  <a:gd name="connsiteY76" fmla="*/ 1899999 h 2986617"/>
                  <a:gd name="connsiteX77" fmla="*/ 672241 w 1687513"/>
                  <a:gd name="connsiteY77" fmla="*/ 1694849 h 2986617"/>
                  <a:gd name="connsiteX78" fmla="*/ 672243 w 1687513"/>
                  <a:gd name="connsiteY78" fmla="*/ 1694850 h 2986617"/>
                  <a:gd name="connsiteX79" fmla="*/ 709859 w 1687513"/>
                  <a:gd name="connsiteY79" fmla="*/ 1709856 h 2986617"/>
                  <a:gd name="connsiteX80" fmla="*/ 715806 w 1687513"/>
                  <a:gd name="connsiteY80" fmla="*/ 1716326 h 2986617"/>
                  <a:gd name="connsiteX81" fmla="*/ 720667 w 1687513"/>
                  <a:gd name="connsiteY81" fmla="*/ 1718723 h 2986617"/>
                  <a:gd name="connsiteX82" fmla="*/ 726077 w 1687513"/>
                  <a:gd name="connsiteY82" fmla="*/ 1727503 h 2986617"/>
                  <a:gd name="connsiteX83" fmla="*/ 739239 w 1687513"/>
                  <a:gd name="connsiteY83" fmla="*/ 1741824 h 2986617"/>
                  <a:gd name="connsiteX84" fmla="*/ 747668 w 1687513"/>
                  <a:gd name="connsiteY84" fmla="*/ 1762542 h 2986617"/>
                  <a:gd name="connsiteX85" fmla="*/ 753247 w 1687513"/>
                  <a:gd name="connsiteY85" fmla="*/ 1771597 h 2986617"/>
                  <a:gd name="connsiteX86" fmla="*/ 754407 w 1687513"/>
                  <a:gd name="connsiteY86" fmla="*/ 1779105 h 2986617"/>
                  <a:gd name="connsiteX87" fmla="*/ 758353 w 1687513"/>
                  <a:gd name="connsiteY87" fmla="*/ 1788806 h 2986617"/>
                  <a:gd name="connsiteX88" fmla="*/ 765175 w 1687513"/>
                  <a:gd name="connsiteY88" fmla="*/ 1848854 h 2986617"/>
                  <a:gd name="connsiteX89" fmla="*/ 612775 w 1687513"/>
                  <a:gd name="connsiteY89" fmla="*/ 2129749 h 2986617"/>
                  <a:gd name="connsiteX90" fmla="*/ 460375 w 1687513"/>
                  <a:gd name="connsiteY90" fmla="*/ 1984793 h 2986617"/>
                  <a:gd name="connsiteX91" fmla="*/ 612775 w 1687513"/>
                  <a:gd name="connsiteY91" fmla="*/ 1704592 h 2986617"/>
                  <a:gd name="connsiteX92" fmla="*/ 672241 w 1687513"/>
                  <a:gd name="connsiteY92" fmla="*/ 1694849 h 2986617"/>
                  <a:gd name="connsiteX93" fmla="*/ 1133802 w 1687513"/>
                  <a:gd name="connsiteY93" fmla="*/ 1489974 h 2986617"/>
                  <a:gd name="connsiteX94" fmla="*/ 1133804 w 1687513"/>
                  <a:gd name="connsiteY94" fmla="*/ 1489975 h 2986617"/>
                  <a:gd name="connsiteX95" fmla="*/ 1171531 w 1687513"/>
                  <a:gd name="connsiteY95" fmla="*/ 1504933 h 2986617"/>
                  <a:gd name="connsiteX96" fmla="*/ 1177503 w 1687513"/>
                  <a:gd name="connsiteY96" fmla="*/ 1511382 h 2986617"/>
                  <a:gd name="connsiteX97" fmla="*/ 1182384 w 1687513"/>
                  <a:gd name="connsiteY97" fmla="*/ 1513772 h 2986617"/>
                  <a:gd name="connsiteX98" fmla="*/ 1187819 w 1687513"/>
                  <a:gd name="connsiteY98" fmla="*/ 1522520 h 2986617"/>
                  <a:gd name="connsiteX99" fmla="*/ 1201044 w 1687513"/>
                  <a:gd name="connsiteY99" fmla="*/ 1536799 h 2986617"/>
                  <a:gd name="connsiteX100" fmla="*/ 1209519 w 1687513"/>
                  <a:gd name="connsiteY100" fmla="*/ 1557445 h 2986617"/>
                  <a:gd name="connsiteX101" fmla="*/ 1215132 w 1687513"/>
                  <a:gd name="connsiteY101" fmla="*/ 1566478 h 2986617"/>
                  <a:gd name="connsiteX102" fmla="*/ 1216298 w 1687513"/>
                  <a:gd name="connsiteY102" fmla="*/ 1573957 h 2986617"/>
                  <a:gd name="connsiteX103" fmla="*/ 1220270 w 1687513"/>
                  <a:gd name="connsiteY103" fmla="*/ 1583632 h 2986617"/>
                  <a:gd name="connsiteX104" fmla="*/ 1227138 w 1687513"/>
                  <a:gd name="connsiteY104" fmla="*/ 1643490 h 2986617"/>
                  <a:gd name="connsiteX105" fmla="*/ 1074293 w 1687513"/>
                  <a:gd name="connsiteY105" fmla="*/ 1923493 h 2986617"/>
                  <a:gd name="connsiteX106" fmla="*/ 920750 w 1687513"/>
                  <a:gd name="connsiteY106" fmla="*/ 1778998 h 2986617"/>
                  <a:gd name="connsiteX107" fmla="*/ 1074293 w 1687513"/>
                  <a:gd name="connsiteY107" fmla="*/ 1499686 h 2986617"/>
                  <a:gd name="connsiteX108" fmla="*/ 1133802 w 1687513"/>
                  <a:gd name="connsiteY108" fmla="*/ 1489974 h 2986617"/>
                  <a:gd name="connsiteX109" fmla="*/ 1594287 w 1687513"/>
                  <a:gd name="connsiteY109" fmla="*/ 1285197 h 2986617"/>
                  <a:gd name="connsiteX110" fmla="*/ 1594288 w 1687513"/>
                  <a:gd name="connsiteY110" fmla="*/ 1285197 h 2986617"/>
                  <a:gd name="connsiteX111" fmla="*/ 1631909 w 1687513"/>
                  <a:gd name="connsiteY111" fmla="*/ 1300203 h 2986617"/>
                  <a:gd name="connsiteX112" fmla="*/ 1637872 w 1687513"/>
                  <a:gd name="connsiteY112" fmla="*/ 1306670 h 2986617"/>
                  <a:gd name="connsiteX113" fmla="*/ 1642746 w 1687513"/>
                  <a:gd name="connsiteY113" fmla="*/ 1309071 h 2986617"/>
                  <a:gd name="connsiteX114" fmla="*/ 1648174 w 1687513"/>
                  <a:gd name="connsiteY114" fmla="*/ 1317842 h 2986617"/>
                  <a:gd name="connsiteX115" fmla="*/ 1661394 w 1687513"/>
                  <a:gd name="connsiteY115" fmla="*/ 1332180 h 2986617"/>
                  <a:gd name="connsiteX116" fmla="*/ 1669870 w 1687513"/>
                  <a:gd name="connsiteY116" fmla="*/ 1352903 h 2986617"/>
                  <a:gd name="connsiteX117" fmla="*/ 1675488 w 1687513"/>
                  <a:gd name="connsiteY117" fmla="*/ 1361982 h 2986617"/>
                  <a:gd name="connsiteX118" fmla="*/ 1676654 w 1687513"/>
                  <a:gd name="connsiteY118" fmla="*/ 1369491 h 2986617"/>
                  <a:gd name="connsiteX119" fmla="*/ 1680632 w 1687513"/>
                  <a:gd name="connsiteY119" fmla="*/ 1379215 h 2986617"/>
                  <a:gd name="connsiteX120" fmla="*/ 1687513 w 1687513"/>
                  <a:gd name="connsiteY120" fmla="*/ 1439393 h 2986617"/>
                  <a:gd name="connsiteX121" fmla="*/ 1687513 w 1687513"/>
                  <a:gd name="connsiteY121" fmla="*/ 1439393 h 2986617"/>
                  <a:gd name="connsiteX122" fmla="*/ 1687513 w 1687513"/>
                  <a:gd name="connsiteY122" fmla="*/ 1439393 h 2986617"/>
                  <a:gd name="connsiteX123" fmla="*/ 1535113 w 1687513"/>
                  <a:gd name="connsiteY123" fmla="*/ 1718705 h 2986617"/>
                  <a:gd name="connsiteX124" fmla="*/ 1382713 w 1687513"/>
                  <a:gd name="connsiteY124" fmla="*/ 1574901 h 2986617"/>
                  <a:gd name="connsiteX125" fmla="*/ 1535113 w 1687513"/>
                  <a:gd name="connsiteY125" fmla="*/ 1294898 h 2986617"/>
                  <a:gd name="connsiteX126" fmla="*/ 1594287 w 1687513"/>
                  <a:gd name="connsiteY126" fmla="*/ 1285197 h 2986617"/>
                  <a:gd name="connsiteX127" fmla="*/ 211574 w 1687513"/>
                  <a:gd name="connsiteY127" fmla="*/ 1256699 h 2986617"/>
                  <a:gd name="connsiteX128" fmla="*/ 211574 w 1687513"/>
                  <a:gd name="connsiteY128" fmla="*/ 1256699 h 2986617"/>
                  <a:gd name="connsiteX129" fmla="*/ 249196 w 1687513"/>
                  <a:gd name="connsiteY129" fmla="*/ 1271706 h 2986617"/>
                  <a:gd name="connsiteX130" fmla="*/ 255161 w 1687513"/>
                  <a:gd name="connsiteY130" fmla="*/ 1278173 h 2986617"/>
                  <a:gd name="connsiteX131" fmla="*/ 260032 w 1687513"/>
                  <a:gd name="connsiteY131" fmla="*/ 1280573 h 2986617"/>
                  <a:gd name="connsiteX132" fmla="*/ 265463 w 1687513"/>
                  <a:gd name="connsiteY132" fmla="*/ 1289343 h 2986617"/>
                  <a:gd name="connsiteX133" fmla="*/ 278681 w 1687513"/>
                  <a:gd name="connsiteY133" fmla="*/ 1303674 h 2986617"/>
                  <a:gd name="connsiteX134" fmla="*/ 287158 w 1687513"/>
                  <a:gd name="connsiteY134" fmla="*/ 1324378 h 2986617"/>
                  <a:gd name="connsiteX135" fmla="*/ 292774 w 1687513"/>
                  <a:gd name="connsiteY135" fmla="*/ 1333447 h 2986617"/>
                  <a:gd name="connsiteX136" fmla="*/ 293941 w 1687513"/>
                  <a:gd name="connsiteY136" fmla="*/ 1340943 h 2986617"/>
                  <a:gd name="connsiteX137" fmla="*/ 297918 w 1687513"/>
                  <a:gd name="connsiteY137" fmla="*/ 1350656 h 2986617"/>
                  <a:gd name="connsiteX138" fmla="*/ 304800 w 1687513"/>
                  <a:gd name="connsiteY138" fmla="*/ 1410704 h 2986617"/>
                  <a:gd name="connsiteX139" fmla="*/ 152400 w 1687513"/>
                  <a:gd name="connsiteY139" fmla="*/ 1691599 h 2986617"/>
                  <a:gd name="connsiteX140" fmla="*/ 0 w 1687513"/>
                  <a:gd name="connsiteY140" fmla="*/ 1547337 h 2986617"/>
                  <a:gd name="connsiteX141" fmla="*/ 44508 w 1687513"/>
                  <a:gd name="connsiteY141" fmla="*/ 1376719 h 2986617"/>
                  <a:gd name="connsiteX142" fmla="*/ 152400 w 1687513"/>
                  <a:gd name="connsiteY142" fmla="*/ 1266442 h 2986617"/>
                  <a:gd name="connsiteX143" fmla="*/ 208118 w 1687513"/>
                  <a:gd name="connsiteY143" fmla="*/ 1257268 h 2986617"/>
                  <a:gd name="connsiteX144" fmla="*/ 672241 w 1687513"/>
                  <a:gd name="connsiteY144" fmla="*/ 1051923 h 2986617"/>
                  <a:gd name="connsiteX145" fmla="*/ 672244 w 1687513"/>
                  <a:gd name="connsiteY145" fmla="*/ 1051925 h 2986617"/>
                  <a:gd name="connsiteX146" fmla="*/ 709859 w 1687513"/>
                  <a:gd name="connsiteY146" fmla="*/ 1066977 h 2986617"/>
                  <a:gd name="connsiteX147" fmla="*/ 715803 w 1687513"/>
                  <a:gd name="connsiteY147" fmla="*/ 1073467 h 2986617"/>
                  <a:gd name="connsiteX148" fmla="*/ 720667 w 1687513"/>
                  <a:gd name="connsiteY148" fmla="*/ 1075873 h 2986617"/>
                  <a:gd name="connsiteX149" fmla="*/ 726075 w 1687513"/>
                  <a:gd name="connsiteY149" fmla="*/ 1084683 h 2986617"/>
                  <a:gd name="connsiteX150" fmla="*/ 739239 w 1687513"/>
                  <a:gd name="connsiteY150" fmla="*/ 1099056 h 2986617"/>
                  <a:gd name="connsiteX151" fmla="*/ 747666 w 1687513"/>
                  <a:gd name="connsiteY151" fmla="*/ 1119860 h 2986617"/>
                  <a:gd name="connsiteX152" fmla="*/ 753247 w 1687513"/>
                  <a:gd name="connsiteY152" fmla="*/ 1128953 h 2986617"/>
                  <a:gd name="connsiteX153" fmla="*/ 754406 w 1687513"/>
                  <a:gd name="connsiteY153" fmla="*/ 1136498 h 2986617"/>
                  <a:gd name="connsiteX154" fmla="*/ 758353 w 1687513"/>
                  <a:gd name="connsiteY154" fmla="*/ 1146241 h 2986617"/>
                  <a:gd name="connsiteX155" fmla="*/ 765175 w 1687513"/>
                  <a:gd name="connsiteY155" fmla="*/ 1206610 h 2986617"/>
                  <a:gd name="connsiteX156" fmla="*/ 765175 w 1687513"/>
                  <a:gd name="connsiteY156" fmla="*/ 1206611 h 2986617"/>
                  <a:gd name="connsiteX157" fmla="*/ 765175 w 1687513"/>
                  <a:gd name="connsiteY157" fmla="*/ 1206611 h 2986617"/>
                  <a:gd name="connsiteX158" fmla="*/ 612775 w 1687513"/>
                  <a:gd name="connsiteY158" fmla="*/ 1486812 h 2986617"/>
                  <a:gd name="connsiteX159" fmla="*/ 460375 w 1687513"/>
                  <a:gd name="connsiteY159" fmla="*/ 1342550 h 2986617"/>
                  <a:gd name="connsiteX160" fmla="*/ 612775 w 1687513"/>
                  <a:gd name="connsiteY160" fmla="*/ 1061655 h 2986617"/>
                  <a:gd name="connsiteX161" fmla="*/ 672241 w 1687513"/>
                  <a:gd name="connsiteY161" fmla="*/ 1051923 h 2986617"/>
                  <a:gd name="connsiteX162" fmla="*/ 1133802 w 1687513"/>
                  <a:gd name="connsiteY162" fmla="*/ 847135 h 2986617"/>
                  <a:gd name="connsiteX163" fmla="*/ 1133803 w 1687513"/>
                  <a:gd name="connsiteY163" fmla="*/ 847136 h 2986617"/>
                  <a:gd name="connsiteX164" fmla="*/ 1171531 w 1687513"/>
                  <a:gd name="connsiteY164" fmla="*/ 862189 h 2986617"/>
                  <a:gd name="connsiteX165" fmla="*/ 1177501 w 1687513"/>
                  <a:gd name="connsiteY165" fmla="*/ 868678 h 2986617"/>
                  <a:gd name="connsiteX166" fmla="*/ 1182384 w 1687513"/>
                  <a:gd name="connsiteY166" fmla="*/ 871085 h 2986617"/>
                  <a:gd name="connsiteX167" fmla="*/ 1187817 w 1687513"/>
                  <a:gd name="connsiteY167" fmla="*/ 879891 h 2986617"/>
                  <a:gd name="connsiteX168" fmla="*/ 1201044 w 1687513"/>
                  <a:gd name="connsiteY168" fmla="*/ 894268 h 2986617"/>
                  <a:gd name="connsiteX169" fmla="*/ 1209518 w 1687513"/>
                  <a:gd name="connsiteY169" fmla="*/ 915065 h 2986617"/>
                  <a:gd name="connsiteX170" fmla="*/ 1215132 w 1687513"/>
                  <a:gd name="connsiteY170" fmla="*/ 924165 h 2986617"/>
                  <a:gd name="connsiteX171" fmla="*/ 1216297 w 1687513"/>
                  <a:gd name="connsiteY171" fmla="*/ 931704 h 2986617"/>
                  <a:gd name="connsiteX172" fmla="*/ 1220270 w 1687513"/>
                  <a:gd name="connsiteY172" fmla="*/ 941453 h 2986617"/>
                  <a:gd name="connsiteX173" fmla="*/ 1227138 w 1687513"/>
                  <a:gd name="connsiteY173" fmla="*/ 1001822 h 2986617"/>
                  <a:gd name="connsiteX174" fmla="*/ 1227138 w 1687513"/>
                  <a:gd name="connsiteY174" fmla="*/ 1001823 h 2986617"/>
                  <a:gd name="connsiteX175" fmla="*/ 1227138 w 1687513"/>
                  <a:gd name="connsiteY175" fmla="*/ 1001823 h 2986617"/>
                  <a:gd name="connsiteX176" fmla="*/ 1074293 w 1687513"/>
                  <a:gd name="connsiteY176" fmla="*/ 1282024 h 2986617"/>
                  <a:gd name="connsiteX177" fmla="*/ 920750 w 1687513"/>
                  <a:gd name="connsiteY177" fmla="*/ 1137762 h 2986617"/>
                  <a:gd name="connsiteX178" fmla="*/ 1074293 w 1687513"/>
                  <a:gd name="connsiteY178" fmla="*/ 856867 h 2986617"/>
                  <a:gd name="connsiteX179" fmla="*/ 1114997 w 1687513"/>
                  <a:gd name="connsiteY179" fmla="*/ 850210 h 2986617"/>
                  <a:gd name="connsiteX180" fmla="*/ 1594287 w 1687513"/>
                  <a:gd name="connsiteY180" fmla="*/ 642407 h 2986617"/>
                  <a:gd name="connsiteX181" fmla="*/ 1594292 w 1687513"/>
                  <a:gd name="connsiteY181" fmla="*/ 642410 h 2986617"/>
                  <a:gd name="connsiteX182" fmla="*/ 1631909 w 1687513"/>
                  <a:gd name="connsiteY182" fmla="*/ 657567 h 2986617"/>
                  <a:gd name="connsiteX183" fmla="*/ 1637877 w 1687513"/>
                  <a:gd name="connsiteY183" fmla="*/ 664067 h 2986617"/>
                  <a:gd name="connsiteX184" fmla="*/ 1642746 w 1687513"/>
                  <a:gd name="connsiteY184" fmla="*/ 666487 h 2986617"/>
                  <a:gd name="connsiteX185" fmla="*/ 1648180 w 1687513"/>
                  <a:gd name="connsiteY185" fmla="*/ 675289 h 2986617"/>
                  <a:gd name="connsiteX186" fmla="*/ 1661394 w 1687513"/>
                  <a:gd name="connsiteY186" fmla="*/ 689682 h 2986617"/>
                  <a:gd name="connsiteX187" fmla="*/ 1669873 w 1687513"/>
                  <a:gd name="connsiteY187" fmla="*/ 710430 h 2986617"/>
                  <a:gd name="connsiteX188" fmla="*/ 1675488 w 1687513"/>
                  <a:gd name="connsiteY188" fmla="*/ 719525 h 2986617"/>
                  <a:gd name="connsiteX189" fmla="*/ 1676655 w 1687513"/>
                  <a:gd name="connsiteY189" fmla="*/ 727024 h 2986617"/>
                  <a:gd name="connsiteX190" fmla="*/ 1680632 w 1687513"/>
                  <a:gd name="connsiteY190" fmla="*/ 736754 h 2986617"/>
                  <a:gd name="connsiteX191" fmla="*/ 1687513 w 1687513"/>
                  <a:gd name="connsiteY191" fmla="*/ 796782 h 2986617"/>
                  <a:gd name="connsiteX192" fmla="*/ 1687513 w 1687513"/>
                  <a:gd name="connsiteY192" fmla="*/ 796783 h 2986617"/>
                  <a:gd name="connsiteX193" fmla="*/ 1687513 w 1687513"/>
                  <a:gd name="connsiteY193" fmla="*/ 796783 h 2986617"/>
                  <a:gd name="connsiteX194" fmla="*/ 1535113 w 1687513"/>
                  <a:gd name="connsiteY194" fmla="*/ 1076597 h 2986617"/>
                  <a:gd name="connsiteX195" fmla="*/ 1382713 w 1687513"/>
                  <a:gd name="connsiteY195" fmla="*/ 932534 h 2986617"/>
                  <a:gd name="connsiteX196" fmla="*/ 1535113 w 1687513"/>
                  <a:gd name="connsiteY196" fmla="*/ 652028 h 2986617"/>
                  <a:gd name="connsiteX197" fmla="*/ 1594287 w 1687513"/>
                  <a:gd name="connsiteY197" fmla="*/ 642407 h 2986617"/>
                  <a:gd name="connsiteX198" fmla="*/ 211574 w 1687513"/>
                  <a:gd name="connsiteY198" fmla="*/ 613736 h 2986617"/>
                  <a:gd name="connsiteX199" fmla="*/ 211582 w 1687513"/>
                  <a:gd name="connsiteY199" fmla="*/ 613739 h 2986617"/>
                  <a:gd name="connsiteX200" fmla="*/ 249196 w 1687513"/>
                  <a:gd name="connsiteY200" fmla="*/ 628769 h 2986617"/>
                  <a:gd name="connsiteX201" fmla="*/ 255157 w 1687513"/>
                  <a:gd name="connsiteY201" fmla="*/ 635246 h 2986617"/>
                  <a:gd name="connsiteX202" fmla="*/ 260032 w 1687513"/>
                  <a:gd name="connsiteY202" fmla="*/ 637652 h 2986617"/>
                  <a:gd name="connsiteX203" fmla="*/ 265461 w 1687513"/>
                  <a:gd name="connsiteY203" fmla="*/ 646441 h 2986617"/>
                  <a:gd name="connsiteX204" fmla="*/ 278681 w 1687513"/>
                  <a:gd name="connsiteY204" fmla="*/ 660803 h 2986617"/>
                  <a:gd name="connsiteX205" fmla="*/ 287156 w 1687513"/>
                  <a:gd name="connsiteY205" fmla="*/ 681562 h 2986617"/>
                  <a:gd name="connsiteX206" fmla="*/ 292774 w 1687513"/>
                  <a:gd name="connsiteY206" fmla="*/ 690658 h 2986617"/>
                  <a:gd name="connsiteX207" fmla="*/ 293941 w 1687513"/>
                  <a:gd name="connsiteY207" fmla="*/ 698181 h 2986617"/>
                  <a:gd name="connsiteX208" fmla="*/ 297918 w 1687513"/>
                  <a:gd name="connsiteY208" fmla="*/ 707923 h 2986617"/>
                  <a:gd name="connsiteX209" fmla="*/ 304800 w 1687513"/>
                  <a:gd name="connsiteY209" fmla="*/ 768207 h 2986617"/>
                  <a:gd name="connsiteX210" fmla="*/ 304800 w 1687513"/>
                  <a:gd name="connsiteY210" fmla="*/ 768209 h 2986617"/>
                  <a:gd name="connsiteX211" fmla="*/ 304800 w 1687513"/>
                  <a:gd name="connsiteY211" fmla="*/ 768209 h 2986617"/>
                  <a:gd name="connsiteX212" fmla="*/ 304800 w 1687513"/>
                  <a:gd name="connsiteY212" fmla="*/ 768209 h 2986617"/>
                  <a:gd name="connsiteX213" fmla="*/ 152400 w 1687513"/>
                  <a:gd name="connsiteY213" fmla="*/ 1048021 h 2986617"/>
                  <a:gd name="connsiteX214" fmla="*/ 0 w 1687513"/>
                  <a:gd name="connsiteY214" fmla="*/ 903959 h 2986617"/>
                  <a:gd name="connsiteX215" fmla="*/ 152400 w 1687513"/>
                  <a:gd name="connsiteY215" fmla="*/ 623454 h 2986617"/>
                  <a:gd name="connsiteX216" fmla="*/ 211574 w 1687513"/>
                  <a:gd name="connsiteY216" fmla="*/ 613736 h 2986617"/>
                  <a:gd name="connsiteX217" fmla="*/ 672241 w 1687513"/>
                  <a:gd name="connsiteY217" fmla="*/ 409045 h 2986617"/>
                  <a:gd name="connsiteX218" fmla="*/ 672248 w 1687513"/>
                  <a:gd name="connsiteY218" fmla="*/ 409048 h 2986617"/>
                  <a:gd name="connsiteX219" fmla="*/ 709859 w 1687513"/>
                  <a:gd name="connsiteY219" fmla="*/ 424204 h 2986617"/>
                  <a:gd name="connsiteX220" fmla="*/ 715808 w 1687513"/>
                  <a:gd name="connsiteY220" fmla="*/ 430707 h 2986617"/>
                  <a:gd name="connsiteX221" fmla="*/ 720667 w 1687513"/>
                  <a:gd name="connsiteY221" fmla="*/ 433124 h 2986617"/>
                  <a:gd name="connsiteX222" fmla="*/ 726082 w 1687513"/>
                  <a:gd name="connsiteY222" fmla="*/ 441938 h 2986617"/>
                  <a:gd name="connsiteX223" fmla="*/ 739239 w 1687513"/>
                  <a:gd name="connsiteY223" fmla="*/ 456320 h 2986617"/>
                  <a:gd name="connsiteX224" fmla="*/ 747669 w 1687513"/>
                  <a:gd name="connsiteY224" fmla="*/ 477081 h 2986617"/>
                  <a:gd name="connsiteX225" fmla="*/ 753247 w 1687513"/>
                  <a:gd name="connsiteY225" fmla="*/ 486162 h 2986617"/>
                  <a:gd name="connsiteX226" fmla="*/ 754407 w 1687513"/>
                  <a:gd name="connsiteY226" fmla="*/ 493674 h 2986617"/>
                  <a:gd name="connsiteX227" fmla="*/ 758353 w 1687513"/>
                  <a:gd name="connsiteY227" fmla="*/ 503392 h 2986617"/>
                  <a:gd name="connsiteX228" fmla="*/ 765175 w 1687513"/>
                  <a:gd name="connsiteY228" fmla="*/ 563419 h 2986617"/>
                  <a:gd name="connsiteX229" fmla="*/ 765175 w 1687513"/>
                  <a:gd name="connsiteY229" fmla="*/ 563421 h 2986617"/>
                  <a:gd name="connsiteX230" fmla="*/ 765175 w 1687513"/>
                  <a:gd name="connsiteY230" fmla="*/ 563421 h 2986617"/>
                  <a:gd name="connsiteX231" fmla="*/ 765175 w 1687513"/>
                  <a:gd name="connsiteY231" fmla="*/ 563421 h 2986617"/>
                  <a:gd name="connsiteX232" fmla="*/ 612775 w 1687513"/>
                  <a:gd name="connsiteY232" fmla="*/ 843926 h 2986617"/>
                  <a:gd name="connsiteX233" fmla="*/ 460375 w 1687513"/>
                  <a:gd name="connsiteY233" fmla="*/ 699172 h 2986617"/>
                  <a:gd name="connsiteX234" fmla="*/ 460375 w 1687513"/>
                  <a:gd name="connsiteY234" fmla="*/ 699172 h 2986617"/>
                  <a:gd name="connsiteX235" fmla="*/ 460375 w 1687513"/>
                  <a:gd name="connsiteY235" fmla="*/ 699172 h 2986617"/>
                  <a:gd name="connsiteX236" fmla="*/ 612775 w 1687513"/>
                  <a:gd name="connsiteY236" fmla="*/ 418665 h 2986617"/>
                  <a:gd name="connsiteX237" fmla="*/ 672241 w 1687513"/>
                  <a:gd name="connsiteY237" fmla="*/ 409045 h 2986617"/>
                  <a:gd name="connsiteX238" fmla="*/ 1133802 w 1687513"/>
                  <a:gd name="connsiteY238" fmla="*/ 204550 h 2986617"/>
                  <a:gd name="connsiteX239" fmla="*/ 1133805 w 1687513"/>
                  <a:gd name="connsiteY239" fmla="*/ 204551 h 2986617"/>
                  <a:gd name="connsiteX240" fmla="*/ 1171531 w 1687513"/>
                  <a:gd name="connsiteY240" fmla="*/ 219540 h 2986617"/>
                  <a:gd name="connsiteX241" fmla="*/ 1177509 w 1687513"/>
                  <a:gd name="connsiteY241" fmla="*/ 226027 h 2986617"/>
                  <a:gd name="connsiteX242" fmla="*/ 1182384 w 1687513"/>
                  <a:gd name="connsiteY242" fmla="*/ 228423 h 2986617"/>
                  <a:gd name="connsiteX243" fmla="*/ 1187826 w 1687513"/>
                  <a:gd name="connsiteY243" fmla="*/ 237224 h 2986617"/>
                  <a:gd name="connsiteX244" fmla="*/ 1201044 w 1687513"/>
                  <a:gd name="connsiteY244" fmla="*/ 251569 h 2986617"/>
                  <a:gd name="connsiteX245" fmla="*/ 1209523 w 1687513"/>
                  <a:gd name="connsiteY245" fmla="*/ 272315 h 2986617"/>
                  <a:gd name="connsiteX246" fmla="*/ 1215132 w 1687513"/>
                  <a:gd name="connsiteY246" fmla="*/ 281386 h 2986617"/>
                  <a:gd name="connsiteX247" fmla="*/ 1216299 w 1687513"/>
                  <a:gd name="connsiteY247" fmla="*/ 288893 h 2986617"/>
                  <a:gd name="connsiteX248" fmla="*/ 1220270 w 1687513"/>
                  <a:gd name="connsiteY248" fmla="*/ 298609 h 2986617"/>
                  <a:gd name="connsiteX249" fmla="*/ 1227138 w 1687513"/>
                  <a:gd name="connsiteY249" fmla="*/ 358633 h 2986617"/>
                  <a:gd name="connsiteX250" fmla="*/ 1227138 w 1687513"/>
                  <a:gd name="connsiteY250" fmla="*/ 358633 h 2986617"/>
                  <a:gd name="connsiteX251" fmla="*/ 1227138 w 1687513"/>
                  <a:gd name="connsiteY251" fmla="*/ 358634 h 2986617"/>
                  <a:gd name="connsiteX252" fmla="*/ 1227138 w 1687513"/>
                  <a:gd name="connsiteY252" fmla="*/ 358634 h 2986617"/>
                  <a:gd name="connsiteX253" fmla="*/ 1074293 w 1687513"/>
                  <a:gd name="connsiteY253" fmla="*/ 639140 h 2986617"/>
                  <a:gd name="connsiteX254" fmla="*/ 920750 w 1687513"/>
                  <a:gd name="connsiteY254" fmla="*/ 494385 h 2986617"/>
                  <a:gd name="connsiteX255" fmla="*/ 920750 w 1687513"/>
                  <a:gd name="connsiteY255" fmla="*/ 494385 h 2986617"/>
                  <a:gd name="connsiteX256" fmla="*/ 920750 w 1687513"/>
                  <a:gd name="connsiteY256" fmla="*/ 494385 h 2986617"/>
                  <a:gd name="connsiteX257" fmla="*/ 1074293 w 1687513"/>
                  <a:gd name="connsiteY257" fmla="*/ 214571 h 2986617"/>
                  <a:gd name="connsiteX258" fmla="*/ 1133802 w 1687513"/>
                  <a:gd name="connsiteY258" fmla="*/ 204550 h 2986617"/>
                  <a:gd name="connsiteX259" fmla="*/ 1594287 w 1687513"/>
                  <a:gd name="connsiteY259" fmla="*/ 900 h 2986617"/>
                  <a:gd name="connsiteX260" fmla="*/ 1594289 w 1687513"/>
                  <a:gd name="connsiteY260" fmla="*/ 900 h 2986617"/>
                  <a:gd name="connsiteX261" fmla="*/ 1631909 w 1687513"/>
                  <a:gd name="connsiteY261" fmla="*/ 15859 h 2986617"/>
                  <a:gd name="connsiteX262" fmla="*/ 1637874 w 1687513"/>
                  <a:gd name="connsiteY262" fmla="*/ 22306 h 2986617"/>
                  <a:gd name="connsiteX263" fmla="*/ 1642746 w 1687513"/>
                  <a:gd name="connsiteY263" fmla="*/ 24698 h 2986617"/>
                  <a:gd name="connsiteX264" fmla="*/ 1648176 w 1687513"/>
                  <a:gd name="connsiteY264" fmla="*/ 33440 h 2986617"/>
                  <a:gd name="connsiteX265" fmla="*/ 1661394 w 1687513"/>
                  <a:gd name="connsiteY265" fmla="*/ 47725 h 2986617"/>
                  <a:gd name="connsiteX266" fmla="*/ 1669872 w 1687513"/>
                  <a:gd name="connsiteY266" fmla="*/ 68363 h 2986617"/>
                  <a:gd name="connsiteX267" fmla="*/ 1675488 w 1687513"/>
                  <a:gd name="connsiteY267" fmla="*/ 77404 h 2986617"/>
                  <a:gd name="connsiteX268" fmla="*/ 1676655 w 1687513"/>
                  <a:gd name="connsiteY268" fmla="*/ 84876 h 2986617"/>
                  <a:gd name="connsiteX269" fmla="*/ 1680632 w 1687513"/>
                  <a:gd name="connsiteY269" fmla="*/ 94558 h 2986617"/>
                  <a:gd name="connsiteX270" fmla="*/ 1687513 w 1687513"/>
                  <a:gd name="connsiteY270" fmla="*/ 154415 h 2986617"/>
                  <a:gd name="connsiteX271" fmla="*/ 1687513 w 1687513"/>
                  <a:gd name="connsiteY271" fmla="*/ 154415 h 2986617"/>
                  <a:gd name="connsiteX272" fmla="*/ 1687513 w 1687513"/>
                  <a:gd name="connsiteY272" fmla="*/ 154416 h 2986617"/>
                  <a:gd name="connsiteX273" fmla="*/ 1687513 w 1687513"/>
                  <a:gd name="connsiteY273" fmla="*/ 154416 h 2986617"/>
                  <a:gd name="connsiteX274" fmla="*/ 1535113 w 1687513"/>
                  <a:gd name="connsiteY274" fmla="*/ 434419 h 2986617"/>
                  <a:gd name="connsiteX275" fmla="*/ 1382713 w 1687513"/>
                  <a:gd name="connsiteY275" fmla="*/ 289923 h 2986617"/>
                  <a:gd name="connsiteX276" fmla="*/ 1382713 w 1687513"/>
                  <a:gd name="connsiteY276" fmla="*/ 289923 h 2986617"/>
                  <a:gd name="connsiteX277" fmla="*/ 1535113 w 1687513"/>
                  <a:gd name="connsiteY277" fmla="*/ 10611 h 2986617"/>
                  <a:gd name="connsiteX278" fmla="*/ 1594287 w 1687513"/>
                  <a:gd name="connsiteY278" fmla="*/ 900 h 2986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</a:cxnLst>
                <a:rect l="l" t="t" r="r" b="b"/>
                <a:pathLst>
                  <a:path w="1687513" h="2986617">
                    <a:moveTo>
                      <a:pt x="211574" y="2542497"/>
                    </a:moveTo>
                    <a:cubicBezTo>
                      <a:pt x="225236" y="2544458"/>
                      <a:pt x="237894" y="2549566"/>
                      <a:pt x="249196" y="2557503"/>
                    </a:cubicBezTo>
                    <a:lnTo>
                      <a:pt x="255159" y="2563970"/>
                    </a:lnTo>
                    <a:lnTo>
                      <a:pt x="260032" y="2566371"/>
                    </a:lnTo>
                    <a:lnTo>
                      <a:pt x="265460" y="2575142"/>
                    </a:lnTo>
                    <a:lnTo>
                      <a:pt x="278681" y="2589480"/>
                    </a:lnTo>
                    <a:lnTo>
                      <a:pt x="287157" y="2610204"/>
                    </a:lnTo>
                    <a:lnTo>
                      <a:pt x="292774" y="2619282"/>
                    </a:lnTo>
                    <a:lnTo>
                      <a:pt x="293941" y="2626790"/>
                    </a:lnTo>
                    <a:lnTo>
                      <a:pt x="297918" y="2636515"/>
                    </a:lnTo>
                    <a:cubicBezTo>
                      <a:pt x="302389" y="2654490"/>
                      <a:pt x="304800" y="2674656"/>
                      <a:pt x="304800" y="2696693"/>
                    </a:cubicBezTo>
                    <a:cubicBezTo>
                      <a:pt x="304800" y="2813534"/>
                      <a:pt x="236220" y="2938672"/>
                      <a:pt x="152400" y="2976005"/>
                    </a:cubicBezTo>
                    <a:cubicBezTo>
                      <a:pt x="67887" y="3013339"/>
                      <a:pt x="0" y="2949042"/>
                      <a:pt x="0" y="2832201"/>
                    </a:cubicBezTo>
                    <a:cubicBezTo>
                      <a:pt x="0" y="2715360"/>
                      <a:pt x="67887" y="2589532"/>
                      <a:pt x="152400" y="2552198"/>
                    </a:cubicBezTo>
                    <a:cubicBezTo>
                      <a:pt x="173355" y="2542864"/>
                      <a:pt x="193357" y="2539883"/>
                      <a:pt x="211574" y="2542497"/>
                    </a:cubicBezTo>
                    <a:close/>
                    <a:moveTo>
                      <a:pt x="672241" y="2337769"/>
                    </a:moveTo>
                    <a:cubicBezTo>
                      <a:pt x="685928" y="2339767"/>
                      <a:pt x="698580" y="2344915"/>
                      <a:pt x="709859" y="2352880"/>
                    </a:cubicBezTo>
                    <a:lnTo>
                      <a:pt x="715809" y="2359363"/>
                    </a:lnTo>
                    <a:lnTo>
                      <a:pt x="720667" y="2361772"/>
                    </a:lnTo>
                    <a:lnTo>
                      <a:pt x="726081" y="2370556"/>
                    </a:lnTo>
                    <a:lnTo>
                      <a:pt x="739239" y="2384893"/>
                    </a:lnTo>
                    <a:lnTo>
                      <a:pt x="747670" y="2405591"/>
                    </a:lnTo>
                    <a:lnTo>
                      <a:pt x="753247" y="2414642"/>
                    </a:lnTo>
                    <a:lnTo>
                      <a:pt x="754407" y="2422129"/>
                    </a:lnTo>
                    <a:lnTo>
                      <a:pt x="758353" y="2431816"/>
                    </a:lnTo>
                    <a:cubicBezTo>
                      <a:pt x="762789" y="2449720"/>
                      <a:pt x="765175" y="2469777"/>
                      <a:pt x="765175" y="2491655"/>
                    </a:cubicBezTo>
                    <a:cubicBezTo>
                      <a:pt x="765175" y="2608334"/>
                      <a:pt x="697288" y="2733298"/>
                      <a:pt x="612775" y="2771270"/>
                    </a:cubicBezTo>
                    <a:cubicBezTo>
                      <a:pt x="528955" y="2808552"/>
                      <a:pt x="460375" y="2743654"/>
                      <a:pt x="460375" y="2626975"/>
                    </a:cubicBezTo>
                    <a:cubicBezTo>
                      <a:pt x="460375" y="2510296"/>
                      <a:pt x="528955" y="2385332"/>
                      <a:pt x="612775" y="2347359"/>
                    </a:cubicBezTo>
                    <a:cubicBezTo>
                      <a:pt x="633903" y="2338039"/>
                      <a:pt x="653992" y="2335104"/>
                      <a:pt x="672241" y="2337769"/>
                    </a:cubicBezTo>
                    <a:close/>
                    <a:moveTo>
                      <a:pt x="1133802" y="2133272"/>
                    </a:moveTo>
                    <a:lnTo>
                      <a:pt x="1133804" y="2133273"/>
                    </a:lnTo>
                    <a:lnTo>
                      <a:pt x="1171531" y="2148215"/>
                    </a:lnTo>
                    <a:lnTo>
                      <a:pt x="1177509" y="2154682"/>
                    </a:lnTo>
                    <a:lnTo>
                      <a:pt x="1182384" y="2157070"/>
                    </a:lnTo>
                    <a:lnTo>
                      <a:pt x="1187825" y="2165842"/>
                    </a:lnTo>
                    <a:lnTo>
                      <a:pt x="1201044" y="2180142"/>
                    </a:lnTo>
                    <a:lnTo>
                      <a:pt x="1209523" y="2200822"/>
                    </a:lnTo>
                    <a:lnTo>
                      <a:pt x="1215132" y="2209864"/>
                    </a:lnTo>
                    <a:lnTo>
                      <a:pt x="1216299" y="2217347"/>
                    </a:lnTo>
                    <a:lnTo>
                      <a:pt x="1220270" y="2227032"/>
                    </a:lnTo>
                    <a:cubicBezTo>
                      <a:pt x="1224734" y="2244932"/>
                      <a:pt x="1227138" y="2264989"/>
                      <a:pt x="1227138" y="2286866"/>
                    </a:cubicBezTo>
                    <a:cubicBezTo>
                      <a:pt x="1227138" y="2403546"/>
                      <a:pt x="1158742" y="2529200"/>
                      <a:pt x="1074293" y="2566482"/>
                    </a:cubicBezTo>
                    <a:cubicBezTo>
                      <a:pt x="989147" y="2603764"/>
                      <a:pt x="920750" y="2538866"/>
                      <a:pt x="920750" y="2422187"/>
                    </a:cubicBezTo>
                    <a:cubicBezTo>
                      <a:pt x="920750" y="2305507"/>
                      <a:pt x="989147" y="2180543"/>
                      <a:pt x="1074293" y="2143261"/>
                    </a:cubicBezTo>
                    <a:cubicBezTo>
                      <a:pt x="1095405" y="2133768"/>
                      <a:pt x="1115514" y="2130705"/>
                      <a:pt x="1133802" y="2133272"/>
                    </a:cubicBezTo>
                    <a:close/>
                    <a:moveTo>
                      <a:pt x="1594287" y="1928124"/>
                    </a:moveTo>
                    <a:lnTo>
                      <a:pt x="1594288" y="1928124"/>
                    </a:lnTo>
                    <a:lnTo>
                      <a:pt x="1631909" y="1943083"/>
                    </a:lnTo>
                    <a:lnTo>
                      <a:pt x="1637874" y="1949530"/>
                    </a:lnTo>
                    <a:lnTo>
                      <a:pt x="1642746" y="1951922"/>
                    </a:lnTo>
                    <a:lnTo>
                      <a:pt x="1648176" y="1960664"/>
                    </a:lnTo>
                    <a:lnTo>
                      <a:pt x="1661394" y="1974949"/>
                    </a:lnTo>
                    <a:lnTo>
                      <a:pt x="1669872" y="1995587"/>
                    </a:lnTo>
                    <a:lnTo>
                      <a:pt x="1675488" y="2004628"/>
                    </a:lnTo>
                    <a:lnTo>
                      <a:pt x="1676655" y="2012100"/>
                    </a:lnTo>
                    <a:lnTo>
                      <a:pt x="1680632" y="2021782"/>
                    </a:lnTo>
                    <a:cubicBezTo>
                      <a:pt x="1685102" y="2039672"/>
                      <a:pt x="1687513" y="2059732"/>
                      <a:pt x="1687513" y="2081640"/>
                    </a:cubicBezTo>
                    <a:cubicBezTo>
                      <a:pt x="1687513" y="2199172"/>
                      <a:pt x="1618933" y="2324310"/>
                      <a:pt x="1535113" y="2361643"/>
                    </a:cubicBezTo>
                    <a:cubicBezTo>
                      <a:pt x="1450601" y="2398977"/>
                      <a:pt x="1382713" y="2334680"/>
                      <a:pt x="1382713" y="2217148"/>
                    </a:cubicBezTo>
                    <a:cubicBezTo>
                      <a:pt x="1382713" y="2100307"/>
                      <a:pt x="1450601" y="1975169"/>
                      <a:pt x="1535113" y="1937836"/>
                    </a:cubicBezTo>
                    <a:cubicBezTo>
                      <a:pt x="1556068" y="1928502"/>
                      <a:pt x="1576071" y="1925521"/>
                      <a:pt x="1594287" y="1928124"/>
                    </a:cubicBezTo>
                    <a:close/>
                    <a:moveTo>
                      <a:pt x="211574" y="1899999"/>
                    </a:moveTo>
                    <a:cubicBezTo>
                      <a:pt x="225236" y="1901931"/>
                      <a:pt x="237894" y="1907040"/>
                      <a:pt x="249196" y="1914989"/>
                    </a:cubicBezTo>
                    <a:lnTo>
                      <a:pt x="255167" y="1921476"/>
                    </a:lnTo>
                    <a:lnTo>
                      <a:pt x="260032" y="1923873"/>
                    </a:lnTo>
                    <a:lnTo>
                      <a:pt x="265469" y="1932666"/>
                    </a:lnTo>
                    <a:lnTo>
                      <a:pt x="278681" y="1947018"/>
                    </a:lnTo>
                    <a:lnTo>
                      <a:pt x="287162" y="1967757"/>
                    </a:lnTo>
                    <a:lnTo>
                      <a:pt x="292774" y="1976835"/>
                    </a:lnTo>
                    <a:lnTo>
                      <a:pt x="293942" y="1984335"/>
                    </a:lnTo>
                    <a:lnTo>
                      <a:pt x="297918" y="1994058"/>
                    </a:lnTo>
                    <a:cubicBezTo>
                      <a:pt x="302389" y="2012015"/>
                      <a:pt x="304800" y="2032136"/>
                      <a:pt x="304800" y="2054083"/>
                    </a:cubicBezTo>
                    <a:cubicBezTo>
                      <a:pt x="304800" y="2171134"/>
                      <a:pt x="236220" y="2297188"/>
                      <a:pt x="152400" y="2334589"/>
                    </a:cubicBezTo>
                    <a:cubicBezTo>
                      <a:pt x="67887" y="2371990"/>
                      <a:pt x="0" y="2306885"/>
                      <a:pt x="0" y="2189834"/>
                    </a:cubicBezTo>
                    <a:cubicBezTo>
                      <a:pt x="0" y="2072783"/>
                      <a:pt x="67887" y="1947421"/>
                      <a:pt x="152400" y="1910020"/>
                    </a:cubicBezTo>
                    <a:cubicBezTo>
                      <a:pt x="173355" y="1900497"/>
                      <a:pt x="193357" y="1897424"/>
                      <a:pt x="211574" y="1899999"/>
                    </a:cubicBezTo>
                    <a:close/>
                    <a:moveTo>
                      <a:pt x="672241" y="1694849"/>
                    </a:moveTo>
                    <a:lnTo>
                      <a:pt x="672243" y="1694850"/>
                    </a:lnTo>
                    <a:lnTo>
                      <a:pt x="709859" y="1709856"/>
                    </a:lnTo>
                    <a:lnTo>
                      <a:pt x="715806" y="1716326"/>
                    </a:lnTo>
                    <a:lnTo>
                      <a:pt x="720667" y="1718723"/>
                    </a:lnTo>
                    <a:lnTo>
                      <a:pt x="726077" y="1727503"/>
                    </a:lnTo>
                    <a:lnTo>
                      <a:pt x="739239" y="1741824"/>
                    </a:lnTo>
                    <a:lnTo>
                      <a:pt x="747668" y="1762542"/>
                    </a:lnTo>
                    <a:lnTo>
                      <a:pt x="753247" y="1771597"/>
                    </a:lnTo>
                    <a:lnTo>
                      <a:pt x="754407" y="1779105"/>
                    </a:lnTo>
                    <a:lnTo>
                      <a:pt x="758353" y="1788806"/>
                    </a:lnTo>
                    <a:cubicBezTo>
                      <a:pt x="762789" y="1806752"/>
                      <a:pt x="765175" y="1826876"/>
                      <a:pt x="765175" y="1848854"/>
                    </a:cubicBezTo>
                    <a:cubicBezTo>
                      <a:pt x="765175" y="1966761"/>
                      <a:pt x="697288" y="2092296"/>
                      <a:pt x="612775" y="2129749"/>
                    </a:cubicBezTo>
                    <a:cubicBezTo>
                      <a:pt x="528955" y="2167202"/>
                      <a:pt x="460375" y="2102700"/>
                      <a:pt x="460375" y="1984793"/>
                    </a:cubicBezTo>
                    <a:cubicBezTo>
                      <a:pt x="460375" y="1867580"/>
                      <a:pt x="528955" y="1742044"/>
                      <a:pt x="612775" y="1704592"/>
                    </a:cubicBezTo>
                    <a:cubicBezTo>
                      <a:pt x="633903" y="1695228"/>
                      <a:pt x="653992" y="1692237"/>
                      <a:pt x="672241" y="1694849"/>
                    </a:cubicBezTo>
                    <a:close/>
                    <a:moveTo>
                      <a:pt x="1133802" y="1489974"/>
                    </a:moveTo>
                    <a:lnTo>
                      <a:pt x="1133804" y="1489975"/>
                    </a:lnTo>
                    <a:lnTo>
                      <a:pt x="1171531" y="1504933"/>
                    </a:lnTo>
                    <a:lnTo>
                      <a:pt x="1177503" y="1511382"/>
                    </a:lnTo>
                    <a:lnTo>
                      <a:pt x="1182384" y="1513772"/>
                    </a:lnTo>
                    <a:lnTo>
                      <a:pt x="1187819" y="1522520"/>
                    </a:lnTo>
                    <a:lnTo>
                      <a:pt x="1201044" y="1536799"/>
                    </a:lnTo>
                    <a:lnTo>
                      <a:pt x="1209519" y="1557445"/>
                    </a:lnTo>
                    <a:lnTo>
                      <a:pt x="1215132" y="1566478"/>
                    </a:lnTo>
                    <a:lnTo>
                      <a:pt x="1216298" y="1573957"/>
                    </a:lnTo>
                    <a:lnTo>
                      <a:pt x="1220270" y="1583632"/>
                    </a:lnTo>
                    <a:cubicBezTo>
                      <a:pt x="1224734" y="1601522"/>
                      <a:pt x="1227138" y="1621582"/>
                      <a:pt x="1227138" y="1643490"/>
                    </a:cubicBezTo>
                    <a:cubicBezTo>
                      <a:pt x="1227138" y="1761022"/>
                      <a:pt x="1158742" y="1886159"/>
                      <a:pt x="1074293" y="1923493"/>
                    </a:cubicBezTo>
                    <a:cubicBezTo>
                      <a:pt x="989147" y="1960827"/>
                      <a:pt x="920750" y="1896530"/>
                      <a:pt x="920750" y="1778998"/>
                    </a:cubicBezTo>
                    <a:cubicBezTo>
                      <a:pt x="920750" y="1662157"/>
                      <a:pt x="989147" y="1537019"/>
                      <a:pt x="1074293" y="1499686"/>
                    </a:cubicBezTo>
                    <a:cubicBezTo>
                      <a:pt x="1095405" y="1490352"/>
                      <a:pt x="1115514" y="1487371"/>
                      <a:pt x="1133802" y="1489974"/>
                    </a:cubicBezTo>
                    <a:close/>
                    <a:moveTo>
                      <a:pt x="1594287" y="1285197"/>
                    </a:moveTo>
                    <a:lnTo>
                      <a:pt x="1594288" y="1285197"/>
                    </a:lnTo>
                    <a:lnTo>
                      <a:pt x="1631909" y="1300203"/>
                    </a:lnTo>
                    <a:lnTo>
                      <a:pt x="1637872" y="1306670"/>
                    </a:lnTo>
                    <a:lnTo>
                      <a:pt x="1642746" y="1309071"/>
                    </a:lnTo>
                    <a:lnTo>
                      <a:pt x="1648174" y="1317842"/>
                    </a:lnTo>
                    <a:lnTo>
                      <a:pt x="1661394" y="1332180"/>
                    </a:lnTo>
                    <a:lnTo>
                      <a:pt x="1669870" y="1352903"/>
                    </a:lnTo>
                    <a:lnTo>
                      <a:pt x="1675488" y="1361982"/>
                    </a:lnTo>
                    <a:lnTo>
                      <a:pt x="1676654" y="1369491"/>
                    </a:lnTo>
                    <a:lnTo>
                      <a:pt x="1680632" y="1379215"/>
                    </a:lnTo>
                    <a:lnTo>
                      <a:pt x="1687513" y="1439393"/>
                    </a:lnTo>
                    <a:lnTo>
                      <a:pt x="1687513" y="1439393"/>
                    </a:lnTo>
                    <a:lnTo>
                      <a:pt x="1687513" y="1439393"/>
                    </a:lnTo>
                    <a:cubicBezTo>
                      <a:pt x="1687513" y="1556234"/>
                      <a:pt x="1618933" y="1681371"/>
                      <a:pt x="1535113" y="1718705"/>
                    </a:cubicBezTo>
                    <a:cubicBezTo>
                      <a:pt x="1450601" y="1756039"/>
                      <a:pt x="1382713" y="1691742"/>
                      <a:pt x="1382713" y="1574901"/>
                    </a:cubicBezTo>
                    <a:cubicBezTo>
                      <a:pt x="1382713" y="1457369"/>
                      <a:pt x="1450601" y="1332231"/>
                      <a:pt x="1535113" y="1294898"/>
                    </a:cubicBezTo>
                    <a:cubicBezTo>
                      <a:pt x="1556068" y="1285564"/>
                      <a:pt x="1576071" y="1282583"/>
                      <a:pt x="1594287" y="1285197"/>
                    </a:cubicBezTo>
                    <a:close/>
                    <a:moveTo>
                      <a:pt x="211574" y="1256699"/>
                    </a:moveTo>
                    <a:lnTo>
                      <a:pt x="211574" y="1256699"/>
                    </a:lnTo>
                    <a:lnTo>
                      <a:pt x="249196" y="1271706"/>
                    </a:lnTo>
                    <a:lnTo>
                      <a:pt x="255161" y="1278173"/>
                    </a:lnTo>
                    <a:lnTo>
                      <a:pt x="260032" y="1280573"/>
                    </a:lnTo>
                    <a:lnTo>
                      <a:pt x="265463" y="1289343"/>
                    </a:lnTo>
                    <a:lnTo>
                      <a:pt x="278681" y="1303674"/>
                    </a:lnTo>
                    <a:lnTo>
                      <a:pt x="287158" y="1324378"/>
                    </a:lnTo>
                    <a:lnTo>
                      <a:pt x="292774" y="1333447"/>
                    </a:lnTo>
                    <a:lnTo>
                      <a:pt x="293941" y="1340943"/>
                    </a:lnTo>
                    <a:lnTo>
                      <a:pt x="297918" y="1350656"/>
                    </a:lnTo>
                    <a:cubicBezTo>
                      <a:pt x="302389" y="1368602"/>
                      <a:pt x="304800" y="1388727"/>
                      <a:pt x="304800" y="1410704"/>
                    </a:cubicBezTo>
                    <a:cubicBezTo>
                      <a:pt x="304800" y="1528611"/>
                      <a:pt x="236220" y="1654147"/>
                      <a:pt x="152400" y="1691599"/>
                    </a:cubicBezTo>
                    <a:cubicBezTo>
                      <a:pt x="67887" y="1729052"/>
                      <a:pt x="0" y="1664550"/>
                      <a:pt x="0" y="1547337"/>
                    </a:cubicBezTo>
                    <a:cubicBezTo>
                      <a:pt x="0" y="1488384"/>
                      <a:pt x="16972" y="1427523"/>
                      <a:pt x="44508" y="1376719"/>
                    </a:cubicBezTo>
                    <a:cubicBezTo>
                      <a:pt x="72044" y="1325915"/>
                      <a:pt x="110144" y="1285168"/>
                      <a:pt x="152400" y="1266442"/>
                    </a:cubicBezTo>
                    <a:lnTo>
                      <a:pt x="208118" y="1257268"/>
                    </a:lnTo>
                    <a:close/>
                    <a:moveTo>
                      <a:pt x="672241" y="1051923"/>
                    </a:moveTo>
                    <a:lnTo>
                      <a:pt x="672244" y="1051925"/>
                    </a:lnTo>
                    <a:lnTo>
                      <a:pt x="709859" y="1066977"/>
                    </a:lnTo>
                    <a:lnTo>
                      <a:pt x="715803" y="1073467"/>
                    </a:lnTo>
                    <a:lnTo>
                      <a:pt x="720667" y="1075873"/>
                    </a:lnTo>
                    <a:lnTo>
                      <a:pt x="726075" y="1084683"/>
                    </a:lnTo>
                    <a:lnTo>
                      <a:pt x="739239" y="1099056"/>
                    </a:lnTo>
                    <a:lnTo>
                      <a:pt x="747666" y="1119860"/>
                    </a:lnTo>
                    <a:lnTo>
                      <a:pt x="753247" y="1128953"/>
                    </a:lnTo>
                    <a:lnTo>
                      <a:pt x="754406" y="1136498"/>
                    </a:lnTo>
                    <a:lnTo>
                      <a:pt x="758353" y="1146241"/>
                    </a:lnTo>
                    <a:lnTo>
                      <a:pt x="765175" y="1206610"/>
                    </a:lnTo>
                    <a:lnTo>
                      <a:pt x="765175" y="1206611"/>
                    </a:lnTo>
                    <a:lnTo>
                      <a:pt x="765175" y="1206611"/>
                    </a:lnTo>
                    <a:cubicBezTo>
                      <a:pt x="765175" y="1323824"/>
                      <a:pt x="697288" y="1449360"/>
                      <a:pt x="612775" y="1486812"/>
                    </a:cubicBezTo>
                    <a:cubicBezTo>
                      <a:pt x="528955" y="1524265"/>
                      <a:pt x="460375" y="1459763"/>
                      <a:pt x="460375" y="1342550"/>
                    </a:cubicBezTo>
                    <a:cubicBezTo>
                      <a:pt x="460375" y="1224643"/>
                      <a:pt x="528955" y="1099107"/>
                      <a:pt x="612775" y="1061655"/>
                    </a:cubicBezTo>
                    <a:cubicBezTo>
                      <a:pt x="633903" y="1052292"/>
                      <a:pt x="653992" y="1049301"/>
                      <a:pt x="672241" y="1051923"/>
                    </a:cubicBezTo>
                    <a:close/>
                    <a:moveTo>
                      <a:pt x="1133802" y="847135"/>
                    </a:moveTo>
                    <a:lnTo>
                      <a:pt x="1133803" y="847136"/>
                    </a:lnTo>
                    <a:lnTo>
                      <a:pt x="1171531" y="862189"/>
                    </a:lnTo>
                    <a:lnTo>
                      <a:pt x="1177501" y="868678"/>
                    </a:lnTo>
                    <a:lnTo>
                      <a:pt x="1182384" y="871085"/>
                    </a:lnTo>
                    <a:lnTo>
                      <a:pt x="1187817" y="879891"/>
                    </a:lnTo>
                    <a:lnTo>
                      <a:pt x="1201044" y="894268"/>
                    </a:lnTo>
                    <a:lnTo>
                      <a:pt x="1209518" y="915065"/>
                    </a:lnTo>
                    <a:lnTo>
                      <a:pt x="1215132" y="924165"/>
                    </a:lnTo>
                    <a:lnTo>
                      <a:pt x="1216297" y="931704"/>
                    </a:lnTo>
                    <a:lnTo>
                      <a:pt x="1220270" y="941453"/>
                    </a:lnTo>
                    <a:lnTo>
                      <a:pt x="1227138" y="1001822"/>
                    </a:lnTo>
                    <a:lnTo>
                      <a:pt x="1227138" y="1001823"/>
                    </a:lnTo>
                    <a:lnTo>
                      <a:pt x="1227138" y="1001823"/>
                    </a:lnTo>
                    <a:cubicBezTo>
                      <a:pt x="1227138" y="1119036"/>
                      <a:pt x="1158742" y="1244572"/>
                      <a:pt x="1074293" y="1282024"/>
                    </a:cubicBezTo>
                    <a:cubicBezTo>
                      <a:pt x="989147" y="1319477"/>
                      <a:pt x="920750" y="1254975"/>
                      <a:pt x="920750" y="1137762"/>
                    </a:cubicBezTo>
                    <a:cubicBezTo>
                      <a:pt x="920750" y="1020549"/>
                      <a:pt x="989147" y="894319"/>
                      <a:pt x="1074293" y="856867"/>
                    </a:cubicBezTo>
                    <a:lnTo>
                      <a:pt x="1114997" y="850210"/>
                    </a:lnTo>
                    <a:close/>
                    <a:moveTo>
                      <a:pt x="1594287" y="642407"/>
                    </a:moveTo>
                    <a:lnTo>
                      <a:pt x="1594292" y="642410"/>
                    </a:lnTo>
                    <a:lnTo>
                      <a:pt x="1631909" y="657567"/>
                    </a:lnTo>
                    <a:lnTo>
                      <a:pt x="1637877" y="664067"/>
                    </a:lnTo>
                    <a:lnTo>
                      <a:pt x="1642746" y="666487"/>
                    </a:lnTo>
                    <a:lnTo>
                      <a:pt x="1648180" y="675289"/>
                    </a:lnTo>
                    <a:lnTo>
                      <a:pt x="1661394" y="689682"/>
                    </a:lnTo>
                    <a:lnTo>
                      <a:pt x="1669873" y="710430"/>
                    </a:lnTo>
                    <a:lnTo>
                      <a:pt x="1675488" y="719525"/>
                    </a:lnTo>
                    <a:lnTo>
                      <a:pt x="1676655" y="727024"/>
                    </a:lnTo>
                    <a:lnTo>
                      <a:pt x="1680632" y="736754"/>
                    </a:lnTo>
                    <a:lnTo>
                      <a:pt x="1687513" y="796782"/>
                    </a:lnTo>
                    <a:lnTo>
                      <a:pt x="1687513" y="796783"/>
                    </a:lnTo>
                    <a:lnTo>
                      <a:pt x="1687513" y="796783"/>
                    </a:lnTo>
                    <a:cubicBezTo>
                      <a:pt x="1687513" y="913834"/>
                      <a:pt x="1618933" y="1039196"/>
                      <a:pt x="1535113" y="1076597"/>
                    </a:cubicBezTo>
                    <a:cubicBezTo>
                      <a:pt x="1450601" y="1114690"/>
                      <a:pt x="1382713" y="1049585"/>
                      <a:pt x="1382713" y="932534"/>
                    </a:cubicBezTo>
                    <a:cubicBezTo>
                      <a:pt x="1382713" y="815483"/>
                      <a:pt x="1450601" y="690122"/>
                      <a:pt x="1535113" y="652028"/>
                    </a:cubicBezTo>
                    <a:cubicBezTo>
                      <a:pt x="1556068" y="642678"/>
                      <a:pt x="1576071" y="639734"/>
                      <a:pt x="1594287" y="642407"/>
                    </a:cubicBezTo>
                    <a:close/>
                    <a:moveTo>
                      <a:pt x="211574" y="613736"/>
                    </a:moveTo>
                    <a:lnTo>
                      <a:pt x="211582" y="613739"/>
                    </a:lnTo>
                    <a:lnTo>
                      <a:pt x="249196" y="628769"/>
                    </a:lnTo>
                    <a:lnTo>
                      <a:pt x="255157" y="635246"/>
                    </a:lnTo>
                    <a:lnTo>
                      <a:pt x="260032" y="637652"/>
                    </a:lnTo>
                    <a:lnTo>
                      <a:pt x="265461" y="646441"/>
                    </a:lnTo>
                    <a:lnTo>
                      <a:pt x="278681" y="660803"/>
                    </a:lnTo>
                    <a:lnTo>
                      <a:pt x="287156" y="681562"/>
                    </a:lnTo>
                    <a:lnTo>
                      <a:pt x="292774" y="690658"/>
                    </a:lnTo>
                    <a:lnTo>
                      <a:pt x="293941" y="698181"/>
                    </a:lnTo>
                    <a:lnTo>
                      <a:pt x="297918" y="707923"/>
                    </a:lnTo>
                    <a:lnTo>
                      <a:pt x="304800" y="768207"/>
                    </a:lnTo>
                    <a:lnTo>
                      <a:pt x="304800" y="768209"/>
                    </a:lnTo>
                    <a:lnTo>
                      <a:pt x="304800" y="768209"/>
                    </a:lnTo>
                    <a:lnTo>
                      <a:pt x="304800" y="768209"/>
                    </a:lnTo>
                    <a:cubicBezTo>
                      <a:pt x="304800" y="885259"/>
                      <a:pt x="236220" y="1010621"/>
                      <a:pt x="152400" y="1048021"/>
                    </a:cubicBezTo>
                    <a:cubicBezTo>
                      <a:pt x="67887" y="1086115"/>
                      <a:pt x="0" y="1021010"/>
                      <a:pt x="0" y="903959"/>
                    </a:cubicBezTo>
                    <a:cubicBezTo>
                      <a:pt x="0" y="786909"/>
                      <a:pt x="67887" y="660854"/>
                      <a:pt x="152400" y="623454"/>
                    </a:cubicBezTo>
                    <a:cubicBezTo>
                      <a:pt x="173355" y="614103"/>
                      <a:pt x="193357" y="611116"/>
                      <a:pt x="211574" y="613736"/>
                    </a:cubicBezTo>
                    <a:close/>
                    <a:moveTo>
                      <a:pt x="672241" y="409045"/>
                    </a:moveTo>
                    <a:lnTo>
                      <a:pt x="672248" y="409048"/>
                    </a:lnTo>
                    <a:lnTo>
                      <a:pt x="709859" y="424204"/>
                    </a:lnTo>
                    <a:lnTo>
                      <a:pt x="715808" y="430707"/>
                    </a:lnTo>
                    <a:lnTo>
                      <a:pt x="720667" y="433124"/>
                    </a:lnTo>
                    <a:lnTo>
                      <a:pt x="726082" y="441938"/>
                    </a:lnTo>
                    <a:lnTo>
                      <a:pt x="739239" y="456320"/>
                    </a:lnTo>
                    <a:lnTo>
                      <a:pt x="747669" y="477081"/>
                    </a:lnTo>
                    <a:lnTo>
                      <a:pt x="753247" y="486162"/>
                    </a:lnTo>
                    <a:lnTo>
                      <a:pt x="754407" y="493674"/>
                    </a:lnTo>
                    <a:lnTo>
                      <a:pt x="758353" y="503392"/>
                    </a:lnTo>
                    <a:lnTo>
                      <a:pt x="765175" y="563419"/>
                    </a:lnTo>
                    <a:lnTo>
                      <a:pt x="765175" y="563421"/>
                    </a:lnTo>
                    <a:lnTo>
                      <a:pt x="765175" y="563421"/>
                    </a:lnTo>
                    <a:lnTo>
                      <a:pt x="765175" y="563421"/>
                    </a:lnTo>
                    <a:cubicBezTo>
                      <a:pt x="765175" y="680472"/>
                      <a:pt x="697288" y="805833"/>
                      <a:pt x="612775" y="843926"/>
                    </a:cubicBezTo>
                    <a:cubicBezTo>
                      <a:pt x="528955" y="881327"/>
                      <a:pt x="460375" y="816222"/>
                      <a:pt x="460375" y="699172"/>
                    </a:cubicBezTo>
                    <a:lnTo>
                      <a:pt x="460375" y="699172"/>
                    </a:lnTo>
                    <a:lnTo>
                      <a:pt x="460375" y="699172"/>
                    </a:lnTo>
                    <a:cubicBezTo>
                      <a:pt x="460375" y="582121"/>
                      <a:pt x="528955" y="456759"/>
                      <a:pt x="612775" y="418665"/>
                    </a:cubicBezTo>
                    <a:cubicBezTo>
                      <a:pt x="633903" y="409315"/>
                      <a:pt x="653992" y="406372"/>
                      <a:pt x="672241" y="409045"/>
                    </a:cubicBezTo>
                    <a:close/>
                    <a:moveTo>
                      <a:pt x="1133802" y="204550"/>
                    </a:moveTo>
                    <a:lnTo>
                      <a:pt x="1133805" y="204551"/>
                    </a:lnTo>
                    <a:lnTo>
                      <a:pt x="1171531" y="219540"/>
                    </a:lnTo>
                    <a:lnTo>
                      <a:pt x="1177509" y="226027"/>
                    </a:lnTo>
                    <a:lnTo>
                      <a:pt x="1182384" y="228423"/>
                    </a:lnTo>
                    <a:lnTo>
                      <a:pt x="1187826" y="237224"/>
                    </a:lnTo>
                    <a:lnTo>
                      <a:pt x="1201044" y="251569"/>
                    </a:lnTo>
                    <a:lnTo>
                      <a:pt x="1209523" y="272315"/>
                    </a:lnTo>
                    <a:lnTo>
                      <a:pt x="1215132" y="281386"/>
                    </a:lnTo>
                    <a:lnTo>
                      <a:pt x="1216299" y="288893"/>
                    </a:lnTo>
                    <a:lnTo>
                      <a:pt x="1220270" y="298609"/>
                    </a:lnTo>
                    <a:lnTo>
                      <a:pt x="1227138" y="358633"/>
                    </a:lnTo>
                    <a:lnTo>
                      <a:pt x="1227138" y="358633"/>
                    </a:lnTo>
                    <a:lnTo>
                      <a:pt x="1227138" y="358634"/>
                    </a:lnTo>
                    <a:lnTo>
                      <a:pt x="1227138" y="358634"/>
                    </a:lnTo>
                    <a:cubicBezTo>
                      <a:pt x="1227138" y="475685"/>
                      <a:pt x="1158742" y="601739"/>
                      <a:pt x="1074293" y="639140"/>
                    </a:cubicBezTo>
                    <a:cubicBezTo>
                      <a:pt x="989147" y="676541"/>
                      <a:pt x="920750" y="611436"/>
                      <a:pt x="920750" y="494385"/>
                    </a:cubicBezTo>
                    <a:lnTo>
                      <a:pt x="920750" y="494385"/>
                    </a:lnTo>
                    <a:lnTo>
                      <a:pt x="920750" y="494385"/>
                    </a:lnTo>
                    <a:cubicBezTo>
                      <a:pt x="920750" y="377334"/>
                      <a:pt x="989147" y="251972"/>
                      <a:pt x="1074293" y="214571"/>
                    </a:cubicBezTo>
                    <a:cubicBezTo>
                      <a:pt x="1095405" y="205048"/>
                      <a:pt x="1115514" y="201974"/>
                      <a:pt x="1133802" y="204550"/>
                    </a:cubicBezTo>
                    <a:close/>
                    <a:moveTo>
                      <a:pt x="1594287" y="900"/>
                    </a:moveTo>
                    <a:lnTo>
                      <a:pt x="1594289" y="900"/>
                    </a:lnTo>
                    <a:lnTo>
                      <a:pt x="1631909" y="15859"/>
                    </a:lnTo>
                    <a:lnTo>
                      <a:pt x="1637874" y="22306"/>
                    </a:lnTo>
                    <a:lnTo>
                      <a:pt x="1642746" y="24698"/>
                    </a:lnTo>
                    <a:lnTo>
                      <a:pt x="1648176" y="33440"/>
                    </a:lnTo>
                    <a:lnTo>
                      <a:pt x="1661394" y="47725"/>
                    </a:lnTo>
                    <a:lnTo>
                      <a:pt x="1669872" y="68363"/>
                    </a:lnTo>
                    <a:lnTo>
                      <a:pt x="1675488" y="77404"/>
                    </a:lnTo>
                    <a:lnTo>
                      <a:pt x="1676655" y="84876"/>
                    </a:lnTo>
                    <a:lnTo>
                      <a:pt x="1680632" y="94558"/>
                    </a:lnTo>
                    <a:lnTo>
                      <a:pt x="1687513" y="154415"/>
                    </a:lnTo>
                    <a:lnTo>
                      <a:pt x="1687513" y="154415"/>
                    </a:lnTo>
                    <a:lnTo>
                      <a:pt x="1687513" y="154416"/>
                    </a:lnTo>
                    <a:lnTo>
                      <a:pt x="1687513" y="154416"/>
                    </a:lnTo>
                    <a:cubicBezTo>
                      <a:pt x="1687513" y="271948"/>
                      <a:pt x="1618933" y="397085"/>
                      <a:pt x="1535113" y="434419"/>
                    </a:cubicBezTo>
                    <a:cubicBezTo>
                      <a:pt x="1450601" y="471753"/>
                      <a:pt x="1382713" y="407456"/>
                      <a:pt x="1382713" y="289923"/>
                    </a:cubicBezTo>
                    <a:lnTo>
                      <a:pt x="1382713" y="289923"/>
                    </a:lnTo>
                    <a:cubicBezTo>
                      <a:pt x="1382713" y="173082"/>
                      <a:pt x="1450601" y="47945"/>
                      <a:pt x="1535113" y="10611"/>
                    </a:cubicBezTo>
                    <a:cubicBezTo>
                      <a:pt x="1556068" y="1278"/>
                      <a:pt x="1576071" y="-1704"/>
                      <a:pt x="1594287" y="900"/>
                    </a:cubicBezTo>
                    <a:close/>
                  </a:path>
                </a:pathLst>
              </a:custGeom>
              <a:solidFill>
                <a:srgbClr val="7BA0FF"/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520" name="Freeform: Shape 434">
                <a:extLst>
                  <a:ext uri="{FF2B5EF4-FFF2-40B4-BE49-F238E27FC236}">
                    <a16:creationId xmlns:a16="http://schemas.microsoft.com/office/drawing/2014/main" id="{8C073B69-0AF5-A654-4BD9-7B00D492EF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5767" y="-804052"/>
                <a:ext cx="245883" cy="435173"/>
              </a:xfrm>
              <a:custGeom>
                <a:avLst/>
                <a:gdLst>
                  <a:gd name="connsiteX0" fmla="*/ 1475938 w 1687512"/>
                  <a:gd name="connsiteY0" fmla="*/ 2542497 h 2986617"/>
                  <a:gd name="connsiteX1" fmla="*/ 1535112 w 1687512"/>
                  <a:gd name="connsiteY1" fmla="*/ 2552198 h 2986617"/>
                  <a:gd name="connsiteX2" fmla="*/ 1687512 w 1687512"/>
                  <a:gd name="connsiteY2" fmla="*/ 2832201 h 2986617"/>
                  <a:gd name="connsiteX3" fmla="*/ 1535112 w 1687512"/>
                  <a:gd name="connsiteY3" fmla="*/ 2976005 h 2986617"/>
                  <a:gd name="connsiteX4" fmla="*/ 1382712 w 1687512"/>
                  <a:gd name="connsiteY4" fmla="*/ 2696693 h 2986617"/>
                  <a:gd name="connsiteX5" fmla="*/ 1389594 w 1687512"/>
                  <a:gd name="connsiteY5" fmla="*/ 2636515 h 2986617"/>
                  <a:gd name="connsiteX6" fmla="*/ 1393571 w 1687512"/>
                  <a:gd name="connsiteY6" fmla="*/ 2626791 h 2986617"/>
                  <a:gd name="connsiteX7" fmla="*/ 1394738 w 1687512"/>
                  <a:gd name="connsiteY7" fmla="*/ 2619282 h 2986617"/>
                  <a:gd name="connsiteX8" fmla="*/ 1400356 w 1687512"/>
                  <a:gd name="connsiteY8" fmla="*/ 2610203 h 2986617"/>
                  <a:gd name="connsiteX9" fmla="*/ 1408832 w 1687512"/>
                  <a:gd name="connsiteY9" fmla="*/ 2589480 h 2986617"/>
                  <a:gd name="connsiteX10" fmla="*/ 1422052 w 1687512"/>
                  <a:gd name="connsiteY10" fmla="*/ 2575143 h 2986617"/>
                  <a:gd name="connsiteX11" fmla="*/ 1427480 w 1687512"/>
                  <a:gd name="connsiteY11" fmla="*/ 2566371 h 2986617"/>
                  <a:gd name="connsiteX12" fmla="*/ 1432354 w 1687512"/>
                  <a:gd name="connsiteY12" fmla="*/ 2563970 h 2986617"/>
                  <a:gd name="connsiteX13" fmla="*/ 1438316 w 1687512"/>
                  <a:gd name="connsiteY13" fmla="*/ 2557503 h 2986617"/>
                  <a:gd name="connsiteX14" fmla="*/ 1475938 w 1687512"/>
                  <a:gd name="connsiteY14" fmla="*/ 2542497 h 2986617"/>
                  <a:gd name="connsiteX15" fmla="*/ 1015271 w 1687512"/>
                  <a:gd name="connsiteY15" fmla="*/ 2337769 h 2986617"/>
                  <a:gd name="connsiteX16" fmla="*/ 1074737 w 1687512"/>
                  <a:gd name="connsiteY16" fmla="*/ 2347359 h 2986617"/>
                  <a:gd name="connsiteX17" fmla="*/ 1227137 w 1687512"/>
                  <a:gd name="connsiteY17" fmla="*/ 2626975 h 2986617"/>
                  <a:gd name="connsiteX18" fmla="*/ 1074737 w 1687512"/>
                  <a:gd name="connsiteY18" fmla="*/ 2771270 h 2986617"/>
                  <a:gd name="connsiteX19" fmla="*/ 922337 w 1687512"/>
                  <a:gd name="connsiteY19" fmla="*/ 2491655 h 2986617"/>
                  <a:gd name="connsiteX20" fmla="*/ 929159 w 1687512"/>
                  <a:gd name="connsiteY20" fmla="*/ 2431816 h 2986617"/>
                  <a:gd name="connsiteX21" fmla="*/ 933106 w 1687512"/>
                  <a:gd name="connsiteY21" fmla="*/ 2422129 h 2986617"/>
                  <a:gd name="connsiteX22" fmla="*/ 934265 w 1687512"/>
                  <a:gd name="connsiteY22" fmla="*/ 2414642 h 2986617"/>
                  <a:gd name="connsiteX23" fmla="*/ 939843 w 1687512"/>
                  <a:gd name="connsiteY23" fmla="*/ 2405591 h 2986617"/>
                  <a:gd name="connsiteX24" fmla="*/ 948274 w 1687512"/>
                  <a:gd name="connsiteY24" fmla="*/ 2384893 h 2986617"/>
                  <a:gd name="connsiteX25" fmla="*/ 961432 w 1687512"/>
                  <a:gd name="connsiteY25" fmla="*/ 2370556 h 2986617"/>
                  <a:gd name="connsiteX26" fmla="*/ 966845 w 1687512"/>
                  <a:gd name="connsiteY26" fmla="*/ 2361772 h 2986617"/>
                  <a:gd name="connsiteX27" fmla="*/ 971704 w 1687512"/>
                  <a:gd name="connsiteY27" fmla="*/ 2359363 h 2986617"/>
                  <a:gd name="connsiteX28" fmla="*/ 977654 w 1687512"/>
                  <a:gd name="connsiteY28" fmla="*/ 2352880 h 2986617"/>
                  <a:gd name="connsiteX29" fmla="*/ 1015271 w 1687512"/>
                  <a:gd name="connsiteY29" fmla="*/ 2337769 h 2986617"/>
                  <a:gd name="connsiteX30" fmla="*/ 554814 w 1687512"/>
                  <a:gd name="connsiteY30" fmla="*/ 2133272 h 2986617"/>
                  <a:gd name="connsiteX31" fmla="*/ 614015 w 1687512"/>
                  <a:gd name="connsiteY31" fmla="*/ 2143261 h 2986617"/>
                  <a:gd name="connsiteX32" fmla="*/ 766762 w 1687512"/>
                  <a:gd name="connsiteY32" fmla="*/ 2422187 h 2986617"/>
                  <a:gd name="connsiteX33" fmla="*/ 614015 w 1687512"/>
                  <a:gd name="connsiteY33" fmla="*/ 2566482 h 2986617"/>
                  <a:gd name="connsiteX34" fmla="*/ 461962 w 1687512"/>
                  <a:gd name="connsiteY34" fmla="*/ 2286866 h 2986617"/>
                  <a:gd name="connsiteX35" fmla="*/ 468795 w 1687512"/>
                  <a:gd name="connsiteY35" fmla="*/ 2227032 h 2986617"/>
                  <a:gd name="connsiteX36" fmla="*/ 472745 w 1687512"/>
                  <a:gd name="connsiteY36" fmla="*/ 2217347 h 2986617"/>
                  <a:gd name="connsiteX37" fmla="*/ 473906 w 1687512"/>
                  <a:gd name="connsiteY37" fmla="*/ 2209864 h 2986617"/>
                  <a:gd name="connsiteX38" fmla="*/ 479486 w 1687512"/>
                  <a:gd name="connsiteY38" fmla="*/ 2200822 h 2986617"/>
                  <a:gd name="connsiteX39" fmla="*/ 487921 w 1687512"/>
                  <a:gd name="connsiteY39" fmla="*/ 2180142 h 2986617"/>
                  <a:gd name="connsiteX40" fmla="*/ 501071 w 1687512"/>
                  <a:gd name="connsiteY40" fmla="*/ 2165841 h 2986617"/>
                  <a:gd name="connsiteX41" fmla="*/ 506484 w 1687512"/>
                  <a:gd name="connsiteY41" fmla="*/ 2157070 h 2986617"/>
                  <a:gd name="connsiteX42" fmla="*/ 511333 w 1687512"/>
                  <a:gd name="connsiteY42" fmla="*/ 2154682 h 2986617"/>
                  <a:gd name="connsiteX43" fmla="*/ 517281 w 1687512"/>
                  <a:gd name="connsiteY43" fmla="*/ 2148215 h 2986617"/>
                  <a:gd name="connsiteX44" fmla="*/ 554814 w 1687512"/>
                  <a:gd name="connsiteY44" fmla="*/ 2133272 h 2986617"/>
                  <a:gd name="connsiteX45" fmla="*/ 93712 w 1687512"/>
                  <a:gd name="connsiteY45" fmla="*/ 1928124 h 2986617"/>
                  <a:gd name="connsiteX46" fmla="*/ 153194 w 1687512"/>
                  <a:gd name="connsiteY46" fmla="*/ 1937836 h 2986617"/>
                  <a:gd name="connsiteX47" fmla="*/ 306388 w 1687512"/>
                  <a:gd name="connsiteY47" fmla="*/ 2217148 h 2986617"/>
                  <a:gd name="connsiteX48" fmla="*/ 153194 w 1687512"/>
                  <a:gd name="connsiteY48" fmla="*/ 2361643 h 2986617"/>
                  <a:gd name="connsiteX49" fmla="*/ 0 w 1687512"/>
                  <a:gd name="connsiteY49" fmla="*/ 2081640 h 2986617"/>
                  <a:gd name="connsiteX50" fmla="*/ 6917 w 1687512"/>
                  <a:gd name="connsiteY50" fmla="*/ 2021782 h 2986617"/>
                  <a:gd name="connsiteX51" fmla="*/ 10915 w 1687512"/>
                  <a:gd name="connsiteY51" fmla="*/ 2012100 h 2986617"/>
                  <a:gd name="connsiteX52" fmla="*/ 12088 w 1687512"/>
                  <a:gd name="connsiteY52" fmla="*/ 2004628 h 2986617"/>
                  <a:gd name="connsiteX53" fmla="*/ 17734 w 1687512"/>
                  <a:gd name="connsiteY53" fmla="*/ 1995587 h 2986617"/>
                  <a:gd name="connsiteX54" fmla="*/ 26255 w 1687512"/>
                  <a:gd name="connsiteY54" fmla="*/ 1974949 h 2986617"/>
                  <a:gd name="connsiteX55" fmla="*/ 39541 w 1687512"/>
                  <a:gd name="connsiteY55" fmla="*/ 1960665 h 2986617"/>
                  <a:gd name="connsiteX56" fmla="*/ 45001 w 1687512"/>
                  <a:gd name="connsiteY56" fmla="*/ 1951922 h 2986617"/>
                  <a:gd name="connsiteX57" fmla="*/ 49898 w 1687512"/>
                  <a:gd name="connsiteY57" fmla="*/ 1949530 h 2986617"/>
                  <a:gd name="connsiteX58" fmla="*/ 55894 w 1687512"/>
                  <a:gd name="connsiteY58" fmla="*/ 1943083 h 2986617"/>
                  <a:gd name="connsiteX59" fmla="*/ 93710 w 1687512"/>
                  <a:gd name="connsiteY59" fmla="*/ 1928125 h 2986617"/>
                  <a:gd name="connsiteX60" fmla="*/ 1475938 w 1687512"/>
                  <a:gd name="connsiteY60" fmla="*/ 1899999 h 2986617"/>
                  <a:gd name="connsiteX61" fmla="*/ 1535112 w 1687512"/>
                  <a:gd name="connsiteY61" fmla="*/ 1910020 h 2986617"/>
                  <a:gd name="connsiteX62" fmla="*/ 1687512 w 1687512"/>
                  <a:gd name="connsiteY62" fmla="*/ 2189834 h 2986617"/>
                  <a:gd name="connsiteX63" fmla="*/ 1535112 w 1687512"/>
                  <a:gd name="connsiteY63" fmla="*/ 2334589 h 2986617"/>
                  <a:gd name="connsiteX64" fmla="*/ 1382712 w 1687512"/>
                  <a:gd name="connsiteY64" fmla="*/ 2054083 h 2986617"/>
                  <a:gd name="connsiteX65" fmla="*/ 1389594 w 1687512"/>
                  <a:gd name="connsiteY65" fmla="*/ 1994058 h 2986617"/>
                  <a:gd name="connsiteX66" fmla="*/ 1393570 w 1687512"/>
                  <a:gd name="connsiteY66" fmla="*/ 1984336 h 2986617"/>
                  <a:gd name="connsiteX67" fmla="*/ 1394738 w 1687512"/>
                  <a:gd name="connsiteY67" fmla="*/ 1976835 h 2986617"/>
                  <a:gd name="connsiteX68" fmla="*/ 1400351 w 1687512"/>
                  <a:gd name="connsiteY68" fmla="*/ 1967756 h 2986617"/>
                  <a:gd name="connsiteX69" fmla="*/ 1408832 w 1687512"/>
                  <a:gd name="connsiteY69" fmla="*/ 1947018 h 2986617"/>
                  <a:gd name="connsiteX70" fmla="*/ 1422043 w 1687512"/>
                  <a:gd name="connsiteY70" fmla="*/ 1932667 h 2986617"/>
                  <a:gd name="connsiteX71" fmla="*/ 1427480 w 1687512"/>
                  <a:gd name="connsiteY71" fmla="*/ 1923873 h 2986617"/>
                  <a:gd name="connsiteX72" fmla="*/ 1432346 w 1687512"/>
                  <a:gd name="connsiteY72" fmla="*/ 1921475 h 2986617"/>
                  <a:gd name="connsiteX73" fmla="*/ 1438316 w 1687512"/>
                  <a:gd name="connsiteY73" fmla="*/ 1914989 h 2986617"/>
                  <a:gd name="connsiteX74" fmla="*/ 1475938 w 1687512"/>
                  <a:gd name="connsiteY74" fmla="*/ 1899999 h 2986617"/>
                  <a:gd name="connsiteX75" fmla="*/ 1015271 w 1687512"/>
                  <a:gd name="connsiteY75" fmla="*/ 1694849 h 2986617"/>
                  <a:gd name="connsiteX76" fmla="*/ 1074737 w 1687512"/>
                  <a:gd name="connsiteY76" fmla="*/ 1704592 h 2986617"/>
                  <a:gd name="connsiteX77" fmla="*/ 1227137 w 1687512"/>
                  <a:gd name="connsiteY77" fmla="*/ 1984793 h 2986617"/>
                  <a:gd name="connsiteX78" fmla="*/ 1074737 w 1687512"/>
                  <a:gd name="connsiteY78" fmla="*/ 2129749 h 2986617"/>
                  <a:gd name="connsiteX79" fmla="*/ 922337 w 1687512"/>
                  <a:gd name="connsiteY79" fmla="*/ 1848854 h 2986617"/>
                  <a:gd name="connsiteX80" fmla="*/ 929159 w 1687512"/>
                  <a:gd name="connsiteY80" fmla="*/ 1788806 h 2986617"/>
                  <a:gd name="connsiteX81" fmla="*/ 933106 w 1687512"/>
                  <a:gd name="connsiteY81" fmla="*/ 1779105 h 2986617"/>
                  <a:gd name="connsiteX82" fmla="*/ 934265 w 1687512"/>
                  <a:gd name="connsiteY82" fmla="*/ 1771597 h 2986617"/>
                  <a:gd name="connsiteX83" fmla="*/ 939845 w 1687512"/>
                  <a:gd name="connsiteY83" fmla="*/ 1762542 h 2986617"/>
                  <a:gd name="connsiteX84" fmla="*/ 948274 w 1687512"/>
                  <a:gd name="connsiteY84" fmla="*/ 1741824 h 2986617"/>
                  <a:gd name="connsiteX85" fmla="*/ 961435 w 1687512"/>
                  <a:gd name="connsiteY85" fmla="*/ 1727503 h 2986617"/>
                  <a:gd name="connsiteX86" fmla="*/ 966845 w 1687512"/>
                  <a:gd name="connsiteY86" fmla="*/ 1718723 h 2986617"/>
                  <a:gd name="connsiteX87" fmla="*/ 971707 w 1687512"/>
                  <a:gd name="connsiteY87" fmla="*/ 1716326 h 2986617"/>
                  <a:gd name="connsiteX88" fmla="*/ 977654 w 1687512"/>
                  <a:gd name="connsiteY88" fmla="*/ 1709856 h 2986617"/>
                  <a:gd name="connsiteX89" fmla="*/ 1015270 w 1687512"/>
                  <a:gd name="connsiteY89" fmla="*/ 1694850 h 2986617"/>
                  <a:gd name="connsiteX90" fmla="*/ 554814 w 1687512"/>
                  <a:gd name="connsiteY90" fmla="*/ 1489974 h 2986617"/>
                  <a:gd name="connsiteX91" fmla="*/ 614015 w 1687512"/>
                  <a:gd name="connsiteY91" fmla="*/ 1499686 h 2986617"/>
                  <a:gd name="connsiteX92" fmla="*/ 766762 w 1687512"/>
                  <a:gd name="connsiteY92" fmla="*/ 1778998 h 2986617"/>
                  <a:gd name="connsiteX93" fmla="*/ 614015 w 1687512"/>
                  <a:gd name="connsiteY93" fmla="*/ 1923493 h 2986617"/>
                  <a:gd name="connsiteX94" fmla="*/ 461962 w 1687512"/>
                  <a:gd name="connsiteY94" fmla="*/ 1643490 h 2986617"/>
                  <a:gd name="connsiteX95" fmla="*/ 468795 w 1687512"/>
                  <a:gd name="connsiteY95" fmla="*/ 1583632 h 2986617"/>
                  <a:gd name="connsiteX96" fmla="*/ 472746 w 1687512"/>
                  <a:gd name="connsiteY96" fmla="*/ 1573957 h 2986617"/>
                  <a:gd name="connsiteX97" fmla="*/ 473906 w 1687512"/>
                  <a:gd name="connsiteY97" fmla="*/ 1566478 h 2986617"/>
                  <a:gd name="connsiteX98" fmla="*/ 479489 w 1687512"/>
                  <a:gd name="connsiteY98" fmla="*/ 1557445 h 2986617"/>
                  <a:gd name="connsiteX99" fmla="*/ 487921 w 1687512"/>
                  <a:gd name="connsiteY99" fmla="*/ 1536799 h 2986617"/>
                  <a:gd name="connsiteX100" fmla="*/ 501077 w 1687512"/>
                  <a:gd name="connsiteY100" fmla="*/ 1522520 h 2986617"/>
                  <a:gd name="connsiteX101" fmla="*/ 506484 w 1687512"/>
                  <a:gd name="connsiteY101" fmla="*/ 1513772 h 2986617"/>
                  <a:gd name="connsiteX102" fmla="*/ 511339 w 1687512"/>
                  <a:gd name="connsiteY102" fmla="*/ 1511382 h 2986617"/>
                  <a:gd name="connsiteX103" fmla="*/ 517281 w 1687512"/>
                  <a:gd name="connsiteY103" fmla="*/ 1504933 h 2986617"/>
                  <a:gd name="connsiteX104" fmla="*/ 554814 w 1687512"/>
                  <a:gd name="connsiteY104" fmla="*/ 1489974 h 2986617"/>
                  <a:gd name="connsiteX105" fmla="*/ 93712 w 1687512"/>
                  <a:gd name="connsiteY105" fmla="*/ 1285197 h 2986617"/>
                  <a:gd name="connsiteX106" fmla="*/ 153194 w 1687512"/>
                  <a:gd name="connsiteY106" fmla="*/ 1294898 h 2986617"/>
                  <a:gd name="connsiteX107" fmla="*/ 306388 w 1687512"/>
                  <a:gd name="connsiteY107" fmla="*/ 1574901 h 2986617"/>
                  <a:gd name="connsiteX108" fmla="*/ 153194 w 1687512"/>
                  <a:gd name="connsiteY108" fmla="*/ 1718705 h 2986617"/>
                  <a:gd name="connsiteX109" fmla="*/ 0 w 1687512"/>
                  <a:gd name="connsiteY109" fmla="*/ 1439393 h 2986617"/>
                  <a:gd name="connsiteX110" fmla="*/ 0 w 1687512"/>
                  <a:gd name="connsiteY110" fmla="*/ 1439393 h 2986617"/>
                  <a:gd name="connsiteX111" fmla="*/ 0 w 1687512"/>
                  <a:gd name="connsiteY111" fmla="*/ 1439393 h 2986617"/>
                  <a:gd name="connsiteX112" fmla="*/ 6917 w 1687512"/>
                  <a:gd name="connsiteY112" fmla="*/ 1379215 h 2986617"/>
                  <a:gd name="connsiteX113" fmla="*/ 10915 w 1687512"/>
                  <a:gd name="connsiteY113" fmla="*/ 1369491 h 2986617"/>
                  <a:gd name="connsiteX114" fmla="*/ 12088 w 1687512"/>
                  <a:gd name="connsiteY114" fmla="*/ 1361982 h 2986617"/>
                  <a:gd name="connsiteX115" fmla="*/ 17736 w 1687512"/>
                  <a:gd name="connsiteY115" fmla="*/ 1352902 h 2986617"/>
                  <a:gd name="connsiteX116" fmla="*/ 26255 w 1687512"/>
                  <a:gd name="connsiteY116" fmla="*/ 1332180 h 2986617"/>
                  <a:gd name="connsiteX117" fmla="*/ 39543 w 1687512"/>
                  <a:gd name="connsiteY117" fmla="*/ 1317844 h 2986617"/>
                  <a:gd name="connsiteX118" fmla="*/ 45001 w 1687512"/>
                  <a:gd name="connsiteY118" fmla="*/ 1309071 h 2986617"/>
                  <a:gd name="connsiteX119" fmla="*/ 49901 w 1687512"/>
                  <a:gd name="connsiteY119" fmla="*/ 1306669 h 2986617"/>
                  <a:gd name="connsiteX120" fmla="*/ 55894 w 1687512"/>
                  <a:gd name="connsiteY120" fmla="*/ 1300203 h 2986617"/>
                  <a:gd name="connsiteX121" fmla="*/ 93709 w 1687512"/>
                  <a:gd name="connsiteY121" fmla="*/ 1285198 h 2986617"/>
                  <a:gd name="connsiteX122" fmla="*/ 1475938 w 1687512"/>
                  <a:gd name="connsiteY122" fmla="*/ 1256699 h 2986617"/>
                  <a:gd name="connsiteX123" fmla="*/ 1479394 w 1687512"/>
                  <a:gd name="connsiteY123" fmla="*/ 1257268 h 2986617"/>
                  <a:gd name="connsiteX124" fmla="*/ 1535112 w 1687512"/>
                  <a:gd name="connsiteY124" fmla="*/ 1266442 h 2986617"/>
                  <a:gd name="connsiteX125" fmla="*/ 1643004 w 1687512"/>
                  <a:gd name="connsiteY125" fmla="*/ 1376719 h 2986617"/>
                  <a:gd name="connsiteX126" fmla="*/ 1687512 w 1687512"/>
                  <a:gd name="connsiteY126" fmla="*/ 1547337 h 2986617"/>
                  <a:gd name="connsiteX127" fmla="*/ 1535112 w 1687512"/>
                  <a:gd name="connsiteY127" fmla="*/ 1691599 h 2986617"/>
                  <a:gd name="connsiteX128" fmla="*/ 1382712 w 1687512"/>
                  <a:gd name="connsiteY128" fmla="*/ 1410704 h 2986617"/>
                  <a:gd name="connsiteX129" fmla="*/ 1389594 w 1687512"/>
                  <a:gd name="connsiteY129" fmla="*/ 1350656 h 2986617"/>
                  <a:gd name="connsiteX130" fmla="*/ 1393571 w 1687512"/>
                  <a:gd name="connsiteY130" fmla="*/ 1340943 h 2986617"/>
                  <a:gd name="connsiteX131" fmla="*/ 1394738 w 1687512"/>
                  <a:gd name="connsiteY131" fmla="*/ 1333447 h 2986617"/>
                  <a:gd name="connsiteX132" fmla="*/ 1400354 w 1687512"/>
                  <a:gd name="connsiteY132" fmla="*/ 1324377 h 2986617"/>
                  <a:gd name="connsiteX133" fmla="*/ 1408832 w 1687512"/>
                  <a:gd name="connsiteY133" fmla="*/ 1303674 h 2986617"/>
                  <a:gd name="connsiteX134" fmla="*/ 1422049 w 1687512"/>
                  <a:gd name="connsiteY134" fmla="*/ 1289344 h 2986617"/>
                  <a:gd name="connsiteX135" fmla="*/ 1427480 w 1687512"/>
                  <a:gd name="connsiteY135" fmla="*/ 1280573 h 2986617"/>
                  <a:gd name="connsiteX136" fmla="*/ 1432351 w 1687512"/>
                  <a:gd name="connsiteY136" fmla="*/ 1278173 h 2986617"/>
                  <a:gd name="connsiteX137" fmla="*/ 1438316 w 1687512"/>
                  <a:gd name="connsiteY137" fmla="*/ 1271706 h 2986617"/>
                  <a:gd name="connsiteX138" fmla="*/ 1475938 w 1687512"/>
                  <a:gd name="connsiteY138" fmla="*/ 1256699 h 2986617"/>
                  <a:gd name="connsiteX139" fmla="*/ 1015271 w 1687512"/>
                  <a:gd name="connsiteY139" fmla="*/ 1051923 h 2986617"/>
                  <a:gd name="connsiteX140" fmla="*/ 1074737 w 1687512"/>
                  <a:gd name="connsiteY140" fmla="*/ 1061655 h 2986617"/>
                  <a:gd name="connsiteX141" fmla="*/ 1227137 w 1687512"/>
                  <a:gd name="connsiteY141" fmla="*/ 1342550 h 2986617"/>
                  <a:gd name="connsiteX142" fmla="*/ 1074737 w 1687512"/>
                  <a:gd name="connsiteY142" fmla="*/ 1486812 h 2986617"/>
                  <a:gd name="connsiteX143" fmla="*/ 922337 w 1687512"/>
                  <a:gd name="connsiteY143" fmla="*/ 1206611 h 2986617"/>
                  <a:gd name="connsiteX144" fmla="*/ 922337 w 1687512"/>
                  <a:gd name="connsiteY144" fmla="*/ 1206611 h 2986617"/>
                  <a:gd name="connsiteX145" fmla="*/ 922337 w 1687512"/>
                  <a:gd name="connsiteY145" fmla="*/ 1206610 h 2986617"/>
                  <a:gd name="connsiteX146" fmla="*/ 929159 w 1687512"/>
                  <a:gd name="connsiteY146" fmla="*/ 1146241 h 2986617"/>
                  <a:gd name="connsiteX147" fmla="*/ 933106 w 1687512"/>
                  <a:gd name="connsiteY147" fmla="*/ 1136498 h 2986617"/>
                  <a:gd name="connsiteX148" fmla="*/ 934265 w 1687512"/>
                  <a:gd name="connsiteY148" fmla="*/ 1128953 h 2986617"/>
                  <a:gd name="connsiteX149" fmla="*/ 939846 w 1687512"/>
                  <a:gd name="connsiteY149" fmla="*/ 1119859 h 2986617"/>
                  <a:gd name="connsiteX150" fmla="*/ 948274 w 1687512"/>
                  <a:gd name="connsiteY150" fmla="*/ 1099056 h 2986617"/>
                  <a:gd name="connsiteX151" fmla="*/ 961437 w 1687512"/>
                  <a:gd name="connsiteY151" fmla="*/ 1084683 h 2986617"/>
                  <a:gd name="connsiteX152" fmla="*/ 966845 w 1687512"/>
                  <a:gd name="connsiteY152" fmla="*/ 1075873 h 2986617"/>
                  <a:gd name="connsiteX153" fmla="*/ 971710 w 1687512"/>
                  <a:gd name="connsiteY153" fmla="*/ 1073467 h 2986617"/>
                  <a:gd name="connsiteX154" fmla="*/ 977654 w 1687512"/>
                  <a:gd name="connsiteY154" fmla="*/ 1066977 h 2986617"/>
                  <a:gd name="connsiteX155" fmla="*/ 1015268 w 1687512"/>
                  <a:gd name="connsiteY155" fmla="*/ 1051925 h 2986617"/>
                  <a:gd name="connsiteX156" fmla="*/ 554814 w 1687512"/>
                  <a:gd name="connsiteY156" fmla="*/ 847135 h 2986617"/>
                  <a:gd name="connsiteX157" fmla="*/ 614015 w 1687512"/>
                  <a:gd name="connsiteY157" fmla="*/ 856867 h 2986617"/>
                  <a:gd name="connsiteX158" fmla="*/ 766762 w 1687512"/>
                  <a:gd name="connsiteY158" fmla="*/ 1137762 h 2986617"/>
                  <a:gd name="connsiteX159" fmla="*/ 614015 w 1687512"/>
                  <a:gd name="connsiteY159" fmla="*/ 1282024 h 2986617"/>
                  <a:gd name="connsiteX160" fmla="*/ 461962 w 1687512"/>
                  <a:gd name="connsiteY160" fmla="*/ 1001823 h 2986617"/>
                  <a:gd name="connsiteX161" fmla="*/ 461962 w 1687512"/>
                  <a:gd name="connsiteY161" fmla="*/ 1001823 h 2986617"/>
                  <a:gd name="connsiteX162" fmla="*/ 461962 w 1687512"/>
                  <a:gd name="connsiteY162" fmla="*/ 1001822 h 2986617"/>
                  <a:gd name="connsiteX163" fmla="*/ 468795 w 1687512"/>
                  <a:gd name="connsiteY163" fmla="*/ 941453 h 2986617"/>
                  <a:gd name="connsiteX164" fmla="*/ 472746 w 1687512"/>
                  <a:gd name="connsiteY164" fmla="*/ 931704 h 2986617"/>
                  <a:gd name="connsiteX165" fmla="*/ 473906 w 1687512"/>
                  <a:gd name="connsiteY165" fmla="*/ 924165 h 2986617"/>
                  <a:gd name="connsiteX166" fmla="*/ 479491 w 1687512"/>
                  <a:gd name="connsiteY166" fmla="*/ 915065 h 2986617"/>
                  <a:gd name="connsiteX167" fmla="*/ 487921 w 1687512"/>
                  <a:gd name="connsiteY167" fmla="*/ 894268 h 2986617"/>
                  <a:gd name="connsiteX168" fmla="*/ 501080 w 1687512"/>
                  <a:gd name="connsiteY168" fmla="*/ 879891 h 2986617"/>
                  <a:gd name="connsiteX169" fmla="*/ 506484 w 1687512"/>
                  <a:gd name="connsiteY169" fmla="*/ 871085 h 2986617"/>
                  <a:gd name="connsiteX170" fmla="*/ 511342 w 1687512"/>
                  <a:gd name="connsiteY170" fmla="*/ 868678 h 2986617"/>
                  <a:gd name="connsiteX171" fmla="*/ 517281 w 1687512"/>
                  <a:gd name="connsiteY171" fmla="*/ 862189 h 2986617"/>
                  <a:gd name="connsiteX172" fmla="*/ 554814 w 1687512"/>
                  <a:gd name="connsiteY172" fmla="*/ 847135 h 2986617"/>
                  <a:gd name="connsiteX173" fmla="*/ 93712 w 1687512"/>
                  <a:gd name="connsiteY173" fmla="*/ 642407 h 2986617"/>
                  <a:gd name="connsiteX174" fmla="*/ 153194 w 1687512"/>
                  <a:gd name="connsiteY174" fmla="*/ 652028 h 2986617"/>
                  <a:gd name="connsiteX175" fmla="*/ 306388 w 1687512"/>
                  <a:gd name="connsiteY175" fmla="*/ 932534 h 2986617"/>
                  <a:gd name="connsiteX176" fmla="*/ 306388 w 1687512"/>
                  <a:gd name="connsiteY176" fmla="*/ 932534 h 2986617"/>
                  <a:gd name="connsiteX177" fmla="*/ 153194 w 1687512"/>
                  <a:gd name="connsiteY177" fmla="*/ 1076597 h 2986617"/>
                  <a:gd name="connsiteX178" fmla="*/ 0 w 1687512"/>
                  <a:gd name="connsiteY178" fmla="*/ 796783 h 2986617"/>
                  <a:gd name="connsiteX179" fmla="*/ 0 w 1687512"/>
                  <a:gd name="connsiteY179" fmla="*/ 796783 h 2986617"/>
                  <a:gd name="connsiteX180" fmla="*/ 0 w 1687512"/>
                  <a:gd name="connsiteY180" fmla="*/ 796782 h 2986617"/>
                  <a:gd name="connsiteX181" fmla="*/ 6917 w 1687512"/>
                  <a:gd name="connsiteY181" fmla="*/ 736755 h 2986617"/>
                  <a:gd name="connsiteX182" fmla="*/ 10914 w 1687512"/>
                  <a:gd name="connsiteY182" fmla="*/ 727025 h 2986617"/>
                  <a:gd name="connsiteX183" fmla="*/ 12088 w 1687512"/>
                  <a:gd name="connsiteY183" fmla="*/ 719525 h 2986617"/>
                  <a:gd name="connsiteX184" fmla="*/ 17732 w 1687512"/>
                  <a:gd name="connsiteY184" fmla="*/ 710429 h 2986617"/>
                  <a:gd name="connsiteX185" fmla="*/ 26255 w 1687512"/>
                  <a:gd name="connsiteY185" fmla="*/ 689683 h 2986617"/>
                  <a:gd name="connsiteX186" fmla="*/ 39537 w 1687512"/>
                  <a:gd name="connsiteY186" fmla="*/ 675291 h 2986617"/>
                  <a:gd name="connsiteX187" fmla="*/ 45001 w 1687512"/>
                  <a:gd name="connsiteY187" fmla="*/ 666487 h 2986617"/>
                  <a:gd name="connsiteX188" fmla="*/ 49896 w 1687512"/>
                  <a:gd name="connsiteY188" fmla="*/ 664067 h 2986617"/>
                  <a:gd name="connsiteX189" fmla="*/ 55894 w 1687512"/>
                  <a:gd name="connsiteY189" fmla="*/ 657567 h 2986617"/>
                  <a:gd name="connsiteX190" fmla="*/ 93702 w 1687512"/>
                  <a:gd name="connsiteY190" fmla="*/ 642412 h 2986617"/>
                  <a:gd name="connsiteX191" fmla="*/ 1475938 w 1687512"/>
                  <a:gd name="connsiteY191" fmla="*/ 613736 h 2986617"/>
                  <a:gd name="connsiteX192" fmla="*/ 1535112 w 1687512"/>
                  <a:gd name="connsiteY192" fmla="*/ 623454 h 2986617"/>
                  <a:gd name="connsiteX193" fmla="*/ 1687512 w 1687512"/>
                  <a:gd name="connsiteY193" fmla="*/ 903959 h 2986617"/>
                  <a:gd name="connsiteX194" fmla="*/ 1535112 w 1687512"/>
                  <a:gd name="connsiteY194" fmla="*/ 1048021 h 2986617"/>
                  <a:gd name="connsiteX195" fmla="*/ 1382712 w 1687512"/>
                  <a:gd name="connsiteY195" fmla="*/ 768209 h 2986617"/>
                  <a:gd name="connsiteX196" fmla="*/ 1382712 w 1687512"/>
                  <a:gd name="connsiteY196" fmla="*/ 768209 h 2986617"/>
                  <a:gd name="connsiteX197" fmla="*/ 1382712 w 1687512"/>
                  <a:gd name="connsiteY197" fmla="*/ 768208 h 2986617"/>
                  <a:gd name="connsiteX198" fmla="*/ 1382713 w 1687512"/>
                  <a:gd name="connsiteY198" fmla="*/ 768206 h 2986617"/>
                  <a:gd name="connsiteX199" fmla="*/ 1389594 w 1687512"/>
                  <a:gd name="connsiteY199" fmla="*/ 707923 h 2986617"/>
                  <a:gd name="connsiteX200" fmla="*/ 1393571 w 1687512"/>
                  <a:gd name="connsiteY200" fmla="*/ 698181 h 2986617"/>
                  <a:gd name="connsiteX201" fmla="*/ 1394738 w 1687512"/>
                  <a:gd name="connsiteY201" fmla="*/ 690658 h 2986617"/>
                  <a:gd name="connsiteX202" fmla="*/ 1400357 w 1687512"/>
                  <a:gd name="connsiteY202" fmla="*/ 681561 h 2986617"/>
                  <a:gd name="connsiteX203" fmla="*/ 1408832 w 1687512"/>
                  <a:gd name="connsiteY203" fmla="*/ 660803 h 2986617"/>
                  <a:gd name="connsiteX204" fmla="*/ 1422050 w 1687512"/>
                  <a:gd name="connsiteY204" fmla="*/ 646442 h 2986617"/>
                  <a:gd name="connsiteX205" fmla="*/ 1427480 w 1687512"/>
                  <a:gd name="connsiteY205" fmla="*/ 637652 h 2986617"/>
                  <a:gd name="connsiteX206" fmla="*/ 1432355 w 1687512"/>
                  <a:gd name="connsiteY206" fmla="*/ 635246 h 2986617"/>
                  <a:gd name="connsiteX207" fmla="*/ 1438316 w 1687512"/>
                  <a:gd name="connsiteY207" fmla="*/ 628769 h 2986617"/>
                  <a:gd name="connsiteX208" fmla="*/ 1475931 w 1687512"/>
                  <a:gd name="connsiteY208" fmla="*/ 613739 h 2986617"/>
                  <a:gd name="connsiteX209" fmla="*/ 1015271 w 1687512"/>
                  <a:gd name="connsiteY209" fmla="*/ 409045 h 2986617"/>
                  <a:gd name="connsiteX210" fmla="*/ 1074737 w 1687512"/>
                  <a:gd name="connsiteY210" fmla="*/ 418665 h 2986617"/>
                  <a:gd name="connsiteX211" fmla="*/ 1227137 w 1687512"/>
                  <a:gd name="connsiteY211" fmla="*/ 699172 h 2986617"/>
                  <a:gd name="connsiteX212" fmla="*/ 1227137 w 1687512"/>
                  <a:gd name="connsiteY212" fmla="*/ 699172 h 2986617"/>
                  <a:gd name="connsiteX213" fmla="*/ 1074737 w 1687512"/>
                  <a:gd name="connsiteY213" fmla="*/ 843926 h 2986617"/>
                  <a:gd name="connsiteX214" fmla="*/ 922337 w 1687512"/>
                  <a:gd name="connsiteY214" fmla="*/ 563421 h 2986617"/>
                  <a:gd name="connsiteX215" fmla="*/ 922337 w 1687512"/>
                  <a:gd name="connsiteY215" fmla="*/ 563421 h 2986617"/>
                  <a:gd name="connsiteX216" fmla="*/ 922337 w 1687512"/>
                  <a:gd name="connsiteY216" fmla="*/ 563421 h 2986617"/>
                  <a:gd name="connsiteX217" fmla="*/ 922337 w 1687512"/>
                  <a:gd name="connsiteY217" fmla="*/ 563420 h 2986617"/>
                  <a:gd name="connsiteX218" fmla="*/ 929159 w 1687512"/>
                  <a:gd name="connsiteY218" fmla="*/ 503392 h 2986617"/>
                  <a:gd name="connsiteX219" fmla="*/ 933105 w 1687512"/>
                  <a:gd name="connsiteY219" fmla="*/ 493674 h 2986617"/>
                  <a:gd name="connsiteX220" fmla="*/ 934265 w 1687512"/>
                  <a:gd name="connsiteY220" fmla="*/ 486162 h 2986617"/>
                  <a:gd name="connsiteX221" fmla="*/ 939843 w 1687512"/>
                  <a:gd name="connsiteY221" fmla="*/ 477082 h 2986617"/>
                  <a:gd name="connsiteX222" fmla="*/ 948274 w 1687512"/>
                  <a:gd name="connsiteY222" fmla="*/ 456320 h 2986617"/>
                  <a:gd name="connsiteX223" fmla="*/ 961431 w 1687512"/>
                  <a:gd name="connsiteY223" fmla="*/ 441937 h 2986617"/>
                  <a:gd name="connsiteX224" fmla="*/ 966845 w 1687512"/>
                  <a:gd name="connsiteY224" fmla="*/ 433124 h 2986617"/>
                  <a:gd name="connsiteX225" fmla="*/ 971704 w 1687512"/>
                  <a:gd name="connsiteY225" fmla="*/ 430707 h 2986617"/>
                  <a:gd name="connsiteX226" fmla="*/ 977654 w 1687512"/>
                  <a:gd name="connsiteY226" fmla="*/ 424204 h 2986617"/>
                  <a:gd name="connsiteX227" fmla="*/ 1015266 w 1687512"/>
                  <a:gd name="connsiteY227" fmla="*/ 409047 h 2986617"/>
                  <a:gd name="connsiteX228" fmla="*/ 554814 w 1687512"/>
                  <a:gd name="connsiteY228" fmla="*/ 204550 h 2986617"/>
                  <a:gd name="connsiteX229" fmla="*/ 614015 w 1687512"/>
                  <a:gd name="connsiteY229" fmla="*/ 214571 h 2986617"/>
                  <a:gd name="connsiteX230" fmla="*/ 766762 w 1687512"/>
                  <a:gd name="connsiteY230" fmla="*/ 494385 h 2986617"/>
                  <a:gd name="connsiteX231" fmla="*/ 766762 w 1687512"/>
                  <a:gd name="connsiteY231" fmla="*/ 494385 h 2986617"/>
                  <a:gd name="connsiteX232" fmla="*/ 766762 w 1687512"/>
                  <a:gd name="connsiteY232" fmla="*/ 494385 h 2986617"/>
                  <a:gd name="connsiteX233" fmla="*/ 614015 w 1687512"/>
                  <a:gd name="connsiteY233" fmla="*/ 639140 h 2986617"/>
                  <a:gd name="connsiteX234" fmla="*/ 461962 w 1687512"/>
                  <a:gd name="connsiteY234" fmla="*/ 358634 h 2986617"/>
                  <a:gd name="connsiteX235" fmla="*/ 461962 w 1687512"/>
                  <a:gd name="connsiteY235" fmla="*/ 358634 h 2986617"/>
                  <a:gd name="connsiteX236" fmla="*/ 461962 w 1687512"/>
                  <a:gd name="connsiteY236" fmla="*/ 358633 h 2986617"/>
                  <a:gd name="connsiteX237" fmla="*/ 461962 w 1687512"/>
                  <a:gd name="connsiteY237" fmla="*/ 358632 h 2986617"/>
                  <a:gd name="connsiteX238" fmla="*/ 468795 w 1687512"/>
                  <a:gd name="connsiteY238" fmla="*/ 298609 h 2986617"/>
                  <a:gd name="connsiteX239" fmla="*/ 472745 w 1687512"/>
                  <a:gd name="connsiteY239" fmla="*/ 288894 h 2986617"/>
                  <a:gd name="connsiteX240" fmla="*/ 473906 w 1687512"/>
                  <a:gd name="connsiteY240" fmla="*/ 281386 h 2986617"/>
                  <a:gd name="connsiteX241" fmla="*/ 479486 w 1687512"/>
                  <a:gd name="connsiteY241" fmla="*/ 272314 h 2986617"/>
                  <a:gd name="connsiteX242" fmla="*/ 487921 w 1687512"/>
                  <a:gd name="connsiteY242" fmla="*/ 251569 h 2986617"/>
                  <a:gd name="connsiteX243" fmla="*/ 501071 w 1687512"/>
                  <a:gd name="connsiteY243" fmla="*/ 237224 h 2986617"/>
                  <a:gd name="connsiteX244" fmla="*/ 506484 w 1687512"/>
                  <a:gd name="connsiteY244" fmla="*/ 228423 h 2986617"/>
                  <a:gd name="connsiteX245" fmla="*/ 511334 w 1687512"/>
                  <a:gd name="connsiteY245" fmla="*/ 226027 h 2986617"/>
                  <a:gd name="connsiteX246" fmla="*/ 517281 w 1687512"/>
                  <a:gd name="connsiteY246" fmla="*/ 219540 h 2986617"/>
                  <a:gd name="connsiteX247" fmla="*/ 554811 w 1687512"/>
                  <a:gd name="connsiteY247" fmla="*/ 204551 h 2986617"/>
                  <a:gd name="connsiteX248" fmla="*/ 93712 w 1687512"/>
                  <a:gd name="connsiteY248" fmla="*/ 900 h 2986617"/>
                  <a:gd name="connsiteX249" fmla="*/ 153194 w 1687512"/>
                  <a:gd name="connsiteY249" fmla="*/ 10611 h 2986617"/>
                  <a:gd name="connsiteX250" fmla="*/ 306388 w 1687512"/>
                  <a:gd name="connsiteY250" fmla="*/ 289923 h 2986617"/>
                  <a:gd name="connsiteX251" fmla="*/ 306388 w 1687512"/>
                  <a:gd name="connsiteY251" fmla="*/ 289924 h 2986617"/>
                  <a:gd name="connsiteX252" fmla="*/ 306388 w 1687512"/>
                  <a:gd name="connsiteY252" fmla="*/ 289924 h 2986617"/>
                  <a:gd name="connsiteX253" fmla="*/ 153194 w 1687512"/>
                  <a:gd name="connsiteY253" fmla="*/ 434420 h 2986617"/>
                  <a:gd name="connsiteX254" fmla="*/ 0 w 1687512"/>
                  <a:gd name="connsiteY254" fmla="*/ 154416 h 2986617"/>
                  <a:gd name="connsiteX255" fmla="*/ 0 w 1687512"/>
                  <a:gd name="connsiteY255" fmla="*/ 154416 h 2986617"/>
                  <a:gd name="connsiteX256" fmla="*/ 0 w 1687512"/>
                  <a:gd name="connsiteY256" fmla="*/ 154415 h 2986617"/>
                  <a:gd name="connsiteX257" fmla="*/ 0 w 1687512"/>
                  <a:gd name="connsiteY257" fmla="*/ 154414 h 2986617"/>
                  <a:gd name="connsiteX258" fmla="*/ 6917 w 1687512"/>
                  <a:gd name="connsiteY258" fmla="*/ 94558 h 2986617"/>
                  <a:gd name="connsiteX259" fmla="*/ 10915 w 1687512"/>
                  <a:gd name="connsiteY259" fmla="*/ 84877 h 2986617"/>
                  <a:gd name="connsiteX260" fmla="*/ 12088 w 1687512"/>
                  <a:gd name="connsiteY260" fmla="*/ 77404 h 2986617"/>
                  <a:gd name="connsiteX261" fmla="*/ 17734 w 1687512"/>
                  <a:gd name="connsiteY261" fmla="*/ 68362 h 2986617"/>
                  <a:gd name="connsiteX262" fmla="*/ 26255 w 1687512"/>
                  <a:gd name="connsiteY262" fmla="*/ 47726 h 2986617"/>
                  <a:gd name="connsiteX263" fmla="*/ 39540 w 1687512"/>
                  <a:gd name="connsiteY263" fmla="*/ 33442 h 2986617"/>
                  <a:gd name="connsiteX264" fmla="*/ 45001 w 1687512"/>
                  <a:gd name="connsiteY264" fmla="*/ 24698 h 2986617"/>
                  <a:gd name="connsiteX265" fmla="*/ 49898 w 1687512"/>
                  <a:gd name="connsiteY265" fmla="*/ 22305 h 2986617"/>
                  <a:gd name="connsiteX266" fmla="*/ 55894 w 1687512"/>
                  <a:gd name="connsiteY266" fmla="*/ 15859 h 2986617"/>
                  <a:gd name="connsiteX267" fmla="*/ 93705 w 1687512"/>
                  <a:gd name="connsiteY267" fmla="*/ 903 h 2986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1687512" h="2986617">
                    <a:moveTo>
                      <a:pt x="1475938" y="2542497"/>
                    </a:moveTo>
                    <a:cubicBezTo>
                      <a:pt x="1494155" y="2539883"/>
                      <a:pt x="1514157" y="2542864"/>
                      <a:pt x="1535112" y="2552198"/>
                    </a:cubicBezTo>
                    <a:cubicBezTo>
                      <a:pt x="1619625" y="2589532"/>
                      <a:pt x="1687512" y="2715360"/>
                      <a:pt x="1687512" y="2832201"/>
                    </a:cubicBezTo>
                    <a:cubicBezTo>
                      <a:pt x="1687512" y="2949042"/>
                      <a:pt x="1619625" y="3013339"/>
                      <a:pt x="1535112" y="2976005"/>
                    </a:cubicBezTo>
                    <a:cubicBezTo>
                      <a:pt x="1451292" y="2938672"/>
                      <a:pt x="1382712" y="2813534"/>
                      <a:pt x="1382712" y="2696693"/>
                    </a:cubicBezTo>
                    <a:cubicBezTo>
                      <a:pt x="1382712" y="2674656"/>
                      <a:pt x="1385123" y="2654490"/>
                      <a:pt x="1389594" y="2636515"/>
                    </a:cubicBezTo>
                    <a:lnTo>
                      <a:pt x="1393571" y="2626791"/>
                    </a:lnTo>
                    <a:lnTo>
                      <a:pt x="1394738" y="2619282"/>
                    </a:lnTo>
                    <a:lnTo>
                      <a:pt x="1400356" y="2610203"/>
                    </a:lnTo>
                    <a:lnTo>
                      <a:pt x="1408832" y="2589480"/>
                    </a:lnTo>
                    <a:lnTo>
                      <a:pt x="1422052" y="2575143"/>
                    </a:lnTo>
                    <a:lnTo>
                      <a:pt x="1427480" y="2566371"/>
                    </a:lnTo>
                    <a:lnTo>
                      <a:pt x="1432354" y="2563970"/>
                    </a:lnTo>
                    <a:lnTo>
                      <a:pt x="1438316" y="2557503"/>
                    </a:lnTo>
                    <a:cubicBezTo>
                      <a:pt x="1449618" y="2549566"/>
                      <a:pt x="1462276" y="2544458"/>
                      <a:pt x="1475938" y="2542497"/>
                    </a:cubicBezTo>
                    <a:close/>
                    <a:moveTo>
                      <a:pt x="1015271" y="2337769"/>
                    </a:moveTo>
                    <a:cubicBezTo>
                      <a:pt x="1033520" y="2335104"/>
                      <a:pt x="1053609" y="2338039"/>
                      <a:pt x="1074737" y="2347359"/>
                    </a:cubicBezTo>
                    <a:cubicBezTo>
                      <a:pt x="1158557" y="2385332"/>
                      <a:pt x="1227137" y="2510296"/>
                      <a:pt x="1227137" y="2626975"/>
                    </a:cubicBezTo>
                    <a:cubicBezTo>
                      <a:pt x="1227137" y="2743654"/>
                      <a:pt x="1158557" y="2808552"/>
                      <a:pt x="1074737" y="2771270"/>
                    </a:cubicBezTo>
                    <a:cubicBezTo>
                      <a:pt x="990225" y="2733298"/>
                      <a:pt x="922337" y="2608334"/>
                      <a:pt x="922337" y="2491655"/>
                    </a:cubicBezTo>
                    <a:cubicBezTo>
                      <a:pt x="922337" y="2469777"/>
                      <a:pt x="924724" y="2449720"/>
                      <a:pt x="929159" y="2431816"/>
                    </a:cubicBezTo>
                    <a:lnTo>
                      <a:pt x="933106" y="2422129"/>
                    </a:lnTo>
                    <a:lnTo>
                      <a:pt x="934265" y="2414642"/>
                    </a:lnTo>
                    <a:lnTo>
                      <a:pt x="939843" y="2405591"/>
                    </a:lnTo>
                    <a:lnTo>
                      <a:pt x="948274" y="2384893"/>
                    </a:lnTo>
                    <a:lnTo>
                      <a:pt x="961432" y="2370556"/>
                    </a:lnTo>
                    <a:lnTo>
                      <a:pt x="966845" y="2361772"/>
                    </a:lnTo>
                    <a:lnTo>
                      <a:pt x="971704" y="2359363"/>
                    </a:lnTo>
                    <a:lnTo>
                      <a:pt x="977654" y="2352880"/>
                    </a:lnTo>
                    <a:lnTo>
                      <a:pt x="1015271" y="2337769"/>
                    </a:lnTo>
                    <a:close/>
                    <a:moveTo>
                      <a:pt x="554814" y="2133272"/>
                    </a:moveTo>
                    <a:cubicBezTo>
                      <a:pt x="573007" y="2130705"/>
                      <a:pt x="593012" y="2133768"/>
                      <a:pt x="614015" y="2143261"/>
                    </a:cubicBezTo>
                    <a:cubicBezTo>
                      <a:pt x="698720" y="2180543"/>
                      <a:pt x="766762" y="2305507"/>
                      <a:pt x="766762" y="2422187"/>
                    </a:cubicBezTo>
                    <a:cubicBezTo>
                      <a:pt x="766762" y="2538866"/>
                      <a:pt x="698720" y="2603764"/>
                      <a:pt x="614015" y="2566482"/>
                    </a:cubicBezTo>
                    <a:cubicBezTo>
                      <a:pt x="530004" y="2529200"/>
                      <a:pt x="461962" y="2403546"/>
                      <a:pt x="461962" y="2286866"/>
                    </a:cubicBezTo>
                    <a:cubicBezTo>
                      <a:pt x="461962" y="2264989"/>
                      <a:pt x="464354" y="2244932"/>
                      <a:pt x="468795" y="2227032"/>
                    </a:cubicBezTo>
                    <a:lnTo>
                      <a:pt x="472745" y="2217347"/>
                    </a:lnTo>
                    <a:lnTo>
                      <a:pt x="473906" y="2209864"/>
                    </a:lnTo>
                    <a:lnTo>
                      <a:pt x="479486" y="2200822"/>
                    </a:lnTo>
                    <a:lnTo>
                      <a:pt x="487921" y="2180142"/>
                    </a:lnTo>
                    <a:lnTo>
                      <a:pt x="501071" y="2165841"/>
                    </a:lnTo>
                    <a:lnTo>
                      <a:pt x="506484" y="2157070"/>
                    </a:lnTo>
                    <a:lnTo>
                      <a:pt x="511333" y="2154682"/>
                    </a:lnTo>
                    <a:lnTo>
                      <a:pt x="517281" y="2148215"/>
                    </a:lnTo>
                    <a:lnTo>
                      <a:pt x="554814" y="2133272"/>
                    </a:lnTo>
                    <a:close/>
                    <a:moveTo>
                      <a:pt x="93712" y="1928124"/>
                    </a:moveTo>
                    <a:cubicBezTo>
                      <a:pt x="112023" y="1925521"/>
                      <a:pt x="132130" y="1928502"/>
                      <a:pt x="153194" y="1937836"/>
                    </a:cubicBezTo>
                    <a:cubicBezTo>
                      <a:pt x="238147" y="1975169"/>
                      <a:pt x="306388" y="2100307"/>
                      <a:pt x="306388" y="2217148"/>
                    </a:cubicBezTo>
                    <a:cubicBezTo>
                      <a:pt x="306388" y="2334680"/>
                      <a:pt x="238147" y="2398977"/>
                      <a:pt x="153194" y="2361643"/>
                    </a:cubicBezTo>
                    <a:cubicBezTo>
                      <a:pt x="68937" y="2324310"/>
                      <a:pt x="0" y="2199172"/>
                      <a:pt x="0" y="2081640"/>
                    </a:cubicBezTo>
                    <a:cubicBezTo>
                      <a:pt x="0" y="2059732"/>
                      <a:pt x="2423" y="2039672"/>
                      <a:pt x="6917" y="2021782"/>
                    </a:cubicBezTo>
                    <a:lnTo>
                      <a:pt x="10915" y="2012100"/>
                    </a:lnTo>
                    <a:lnTo>
                      <a:pt x="12088" y="2004628"/>
                    </a:lnTo>
                    <a:lnTo>
                      <a:pt x="17734" y="1995587"/>
                    </a:lnTo>
                    <a:lnTo>
                      <a:pt x="26255" y="1974949"/>
                    </a:lnTo>
                    <a:lnTo>
                      <a:pt x="39541" y="1960665"/>
                    </a:lnTo>
                    <a:lnTo>
                      <a:pt x="45001" y="1951922"/>
                    </a:lnTo>
                    <a:lnTo>
                      <a:pt x="49898" y="1949530"/>
                    </a:lnTo>
                    <a:lnTo>
                      <a:pt x="55894" y="1943083"/>
                    </a:lnTo>
                    <a:lnTo>
                      <a:pt x="93710" y="1928125"/>
                    </a:lnTo>
                    <a:close/>
                    <a:moveTo>
                      <a:pt x="1475938" y="1899999"/>
                    </a:moveTo>
                    <a:cubicBezTo>
                      <a:pt x="1494155" y="1897424"/>
                      <a:pt x="1514157" y="1900497"/>
                      <a:pt x="1535112" y="1910020"/>
                    </a:cubicBezTo>
                    <a:cubicBezTo>
                      <a:pt x="1619625" y="1947421"/>
                      <a:pt x="1687512" y="2072783"/>
                      <a:pt x="1687512" y="2189834"/>
                    </a:cubicBezTo>
                    <a:cubicBezTo>
                      <a:pt x="1687512" y="2306885"/>
                      <a:pt x="1619625" y="2371990"/>
                      <a:pt x="1535112" y="2334589"/>
                    </a:cubicBezTo>
                    <a:cubicBezTo>
                      <a:pt x="1451292" y="2297188"/>
                      <a:pt x="1382712" y="2171134"/>
                      <a:pt x="1382712" y="2054083"/>
                    </a:cubicBezTo>
                    <a:cubicBezTo>
                      <a:pt x="1382712" y="2032136"/>
                      <a:pt x="1385123" y="2012015"/>
                      <a:pt x="1389594" y="1994058"/>
                    </a:cubicBezTo>
                    <a:lnTo>
                      <a:pt x="1393570" y="1984336"/>
                    </a:lnTo>
                    <a:lnTo>
                      <a:pt x="1394738" y="1976835"/>
                    </a:lnTo>
                    <a:lnTo>
                      <a:pt x="1400351" y="1967756"/>
                    </a:lnTo>
                    <a:lnTo>
                      <a:pt x="1408832" y="1947018"/>
                    </a:lnTo>
                    <a:lnTo>
                      <a:pt x="1422043" y="1932667"/>
                    </a:lnTo>
                    <a:lnTo>
                      <a:pt x="1427480" y="1923873"/>
                    </a:lnTo>
                    <a:lnTo>
                      <a:pt x="1432346" y="1921475"/>
                    </a:lnTo>
                    <a:lnTo>
                      <a:pt x="1438316" y="1914989"/>
                    </a:lnTo>
                    <a:cubicBezTo>
                      <a:pt x="1449618" y="1907040"/>
                      <a:pt x="1462276" y="1901931"/>
                      <a:pt x="1475938" y="1899999"/>
                    </a:cubicBezTo>
                    <a:close/>
                    <a:moveTo>
                      <a:pt x="1015271" y="1694849"/>
                    </a:moveTo>
                    <a:cubicBezTo>
                      <a:pt x="1033520" y="1692237"/>
                      <a:pt x="1053609" y="1695228"/>
                      <a:pt x="1074737" y="1704592"/>
                    </a:cubicBezTo>
                    <a:cubicBezTo>
                      <a:pt x="1158557" y="1742044"/>
                      <a:pt x="1227137" y="1867580"/>
                      <a:pt x="1227137" y="1984793"/>
                    </a:cubicBezTo>
                    <a:cubicBezTo>
                      <a:pt x="1227137" y="2102700"/>
                      <a:pt x="1158557" y="2167202"/>
                      <a:pt x="1074737" y="2129749"/>
                    </a:cubicBezTo>
                    <a:cubicBezTo>
                      <a:pt x="990225" y="2092296"/>
                      <a:pt x="922337" y="1966761"/>
                      <a:pt x="922337" y="1848854"/>
                    </a:cubicBezTo>
                    <a:cubicBezTo>
                      <a:pt x="922337" y="1826876"/>
                      <a:pt x="924724" y="1806752"/>
                      <a:pt x="929159" y="1788806"/>
                    </a:cubicBezTo>
                    <a:lnTo>
                      <a:pt x="933106" y="1779105"/>
                    </a:lnTo>
                    <a:lnTo>
                      <a:pt x="934265" y="1771597"/>
                    </a:lnTo>
                    <a:lnTo>
                      <a:pt x="939845" y="1762542"/>
                    </a:lnTo>
                    <a:lnTo>
                      <a:pt x="948274" y="1741824"/>
                    </a:lnTo>
                    <a:lnTo>
                      <a:pt x="961435" y="1727503"/>
                    </a:lnTo>
                    <a:lnTo>
                      <a:pt x="966845" y="1718723"/>
                    </a:lnTo>
                    <a:lnTo>
                      <a:pt x="971707" y="1716326"/>
                    </a:lnTo>
                    <a:lnTo>
                      <a:pt x="977654" y="1709856"/>
                    </a:lnTo>
                    <a:lnTo>
                      <a:pt x="1015270" y="1694850"/>
                    </a:lnTo>
                    <a:close/>
                    <a:moveTo>
                      <a:pt x="554814" y="1489974"/>
                    </a:moveTo>
                    <a:cubicBezTo>
                      <a:pt x="573007" y="1487371"/>
                      <a:pt x="593012" y="1490352"/>
                      <a:pt x="614015" y="1499686"/>
                    </a:cubicBezTo>
                    <a:cubicBezTo>
                      <a:pt x="698720" y="1537019"/>
                      <a:pt x="766762" y="1662157"/>
                      <a:pt x="766762" y="1778998"/>
                    </a:cubicBezTo>
                    <a:cubicBezTo>
                      <a:pt x="766762" y="1896530"/>
                      <a:pt x="698720" y="1960827"/>
                      <a:pt x="614015" y="1923493"/>
                    </a:cubicBezTo>
                    <a:cubicBezTo>
                      <a:pt x="530004" y="1886159"/>
                      <a:pt x="461962" y="1761022"/>
                      <a:pt x="461962" y="1643490"/>
                    </a:cubicBezTo>
                    <a:cubicBezTo>
                      <a:pt x="461962" y="1621582"/>
                      <a:pt x="464354" y="1601522"/>
                      <a:pt x="468795" y="1583632"/>
                    </a:cubicBezTo>
                    <a:lnTo>
                      <a:pt x="472746" y="1573957"/>
                    </a:lnTo>
                    <a:lnTo>
                      <a:pt x="473906" y="1566478"/>
                    </a:lnTo>
                    <a:lnTo>
                      <a:pt x="479489" y="1557445"/>
                    </a:lnTo>
                    <a:lnTo>
                      <a:pt x="487921" y="1536799"/>
                    </a:lnTo>
                    <a:lnTo>
                      <a:pt x="501077" y="1522520"/>
                    </a:lnTo>
                    <a:lnTo>
                      <a:pt x="506484" y="1513772"/>
                    </a:lnTo>
                    <a:lnTo>
                      <a:pt x="511339" y="1511382"/>
                    </a:lnTo>
                    <a:lnTo>
                      <a:pt x="517281" y="1504933"/>
                    </a:lnTo>
                    <a:lnTo>
                      <a:pt x="554814" y="1489974"/>
                    </a:lnTo>
                    <a:close/>
                    <a:moveTo>
                      <a:pt x="93712" y="1285197"/>
                    </a:moveTo>
                    <a:cubicBezTo>
                      <a:pt x="112023" y="1282583"/>
                      <a:pt x="132130" y="1285564"/>
                      <a:pt x="153194" y="1294898"/>
                    </a:cubicBezTo>
                    <a:cubicBezTo>
                      <a:pt x="238147" y="1332231"/>
                      <a:pt x="306388" y="1457369"/>
                      <a:pt x="306388" y="1574901"/>
                    </a:cubicBezTo>
                    <a:cubicBezTo>
                      <a:pt x="306388" y="1691742"/>
                      <a:pt x="238147" y="1756039"/>
                      <a:pt x="153194" y="1718705"/>
                    </a:cubicBezTo>
                    <a:cubicBezTo>
                      <a:pt x="68937" y="1681371"/>
                      <a:pt x="0" y="1556234"/>
                      <a:pt x="0" y="1439393"/>
                    </a:cubicBezTo>
                    <a:lnTo>
                      <a:pt x="0" y="1439393"/>
                    </a:lnTo>
                    <a:lnTo>
                      <a:pt x="0" y="1439393"/>
                    </a:lnTo>
                    <a:lnTo>
                      <a:pt x="6917" y="1379215"/>
                    </a:lnTo>
                    <a:lnTo>
                      <a:pt x="10915" y="1369491"/>
                    </a:lnTo>
                    <a:lnTo>
                      <a:pt x="12088" y="1361982"/>
                    </a:lnTo>
                    <a:lnTo>
                      <a:pt x="17736" y="1352902"/>
                    </a:lnTo>
                    <a:lnTo>
                      <a:pt x="26255" y="1332180"/>
                    </a:lnTo>
                    <a:lnTo>
                      <a:pt x="39543" y="1317844"/>
                    </a:lnTo>
                    <a:lnTo>
                      <a:pt x="45001" y="1309071"/>
                    </a:lnTo>
                    <a:lnTo>
                      <a:pt x="49901" y="1306669"/>
                    </a:lnTo>
                    <a:lnTo>
                      <a:pt x="55894" y="1300203"/>
                    </a:lnTo>
                    <a:lnTo>
                      <a:pt x="93709" y="1285198"/>
                    </a:lnTo>
                    <a:close/>
                    <a:moveTo>
                      <a:pt x="1475938" y="1256699"/>
                    </a:moveTo>
                    <a:lnTo>
                      <a:pt x="1479394" y="1257268"/>
                    </a:lnTo>
                    <a:lnTo>
                      <a:pt x="1535112" y="1266442"/>
                    </a:lnTo>
                    <a:cubicBezTo>
                      <a:pt x="1577368" y="1285168"/>
                      <a:pt x="1615468" y="1325915"/>
                      <a:pt x="1643004" y="1376719"/>
                    </a:cubicBezTo>
                    <a:cubicBezTo>
                      <a:pt x="1670540" y="1427523"/>
                      <a:pt x="1687512" y="1488384"/>
                      <a:pt x="1687512" y="1547337"/>
                    </a:cubicBezTo>
                    <a:cubicBezTo>
                      <a:pt x="1687512" y="1664550"/>
                      <a:pt x="1619625" y="1729052"/>
                      <a:pt x="1535112" y="1691599"/>
                    </a:cubicBezTo>
                    <a:cubicBezTo>
                      <a:pt x="1451292" y="1654147"/>
                      <a:pt x="1382712" y="1528611"/>
                      <a:pt x="1382712" y="1410704"/>
                    </a:cubicBezTo>
                    <a:cubicBezTo>
                      <a:pt x="1382712" y="1388727"/>
                      <a:pt x="1385123" y="1368602"/>
                      <a:pt x="1389594" y="1350656"/>
                    </a:cubicBezTo>
                    <a:lnTo>
                      <a:pt x="1393571" y="1340943"/>
                    </a:lnTo>
                    <a:lnTo>
                      <a:pt x="1394738" y="1333447"/>
                    </a:lnTo>
                    <a:lnTo>
                      <a:pt x="1400354" y="1324377"/>
                    </a:lnTo>
                    <a:lnTo>
                      <a:pt x="1408832" y="1303674"/>
                    </a:lnTo>
                    <a:lnTo>
                      <a:pt x="1422049" y="1289344"/>
                    </a:lnTo>
                    <a:lnTo>
                      <a:pt x="1427480" y="1280573"/>
                    </a:lnTo>
                    <a:lnTo>
                      <a:pt x="1432351" y="1278173"/>
                    </a:lnTo>
                    <a:lnTo>
                      <a:pt x="1438316" y="1271706"/>
                    </a:lnTo>
                    <a:lnTo>
                      <a:pt x="1475938" y="1256699"/>
                    </a:lnTo>
                    <a:close/>
                    <a:moveTo>
                      <a:pt x="1015271" y="1051923"/>
                    </a:moveTo>
                    <a:cubicBezTo>
                      <a:pt x="1033520" y="1049301"/>
                      <a:pt x="1053609" y="1052292"/>
                      <a:pt x="1074737" y="1061655"/>
                    </a:cubicBezTo>
                    <a:cubicBezTo>
                      <a:pt x="1158557" y="1099107"/>
                      <a:pt x="1227137" y="1224643"/>
                      <a:pt x="1227137" y="1342550"/>
                    </a:cubicBezTo>
                    <a:cubicBezTo>
                      <a:pt x="1227137" y="1459763"/>
                      <a:pt x="1158557" y="1524265"/>
                      <a:pt x="1074737" y="1486812"/>
                    </a:cubicBezTo>
                    <a:cubicBezTo>
                      <a:pt x="990225" y="1449360"/>
                      <a:pt x="922337" y="1323824"/>
                      <a:pt x="922337" y="1206611"/>
                    </a:cubicBezTo>
                    <a:lnTo>
                      <a:pt x="922337" y="1206611"/>
                    </a:lnTo>
                    <a:lnTo>
                      <a:pt x="922337" y="1206610"/>
                    </a:lnTo>
                    <a:lnTo>
                      <a:pt x="929159" y="1146241"/>
                    </a:lnTo>
                    <a:lnTo>
                      <a:pt x="933106" y="1136498"/>
                    </a:lnTo>
                    <a:lnTo>
                      <a:pt x="934265" y="1128953"/>
                    </a:lnTo>
                    <a:lnTo>
                      <a:pt x="939846" y="1119859"/>
                    </a:lnTo>
                    <a:lnTo>
                      <a:pt x="948274" y="1099056"/>
                    </a:lnTo>
                    <a:lnTo>
                      <a:pt x="961437" y="1084683"/>
                    </a:lnTo>
                    <a:lnTo>
                      <a:pt x="966845" y="1075873"/>
                    </a:lnTo>
                    <a:lnTo>
                      <a:pt x="971710" y="1073467"/>
                    </a:lnTo>
                    <a:lnTo>
                      <a:pt x="977654" y="1066977"/>
                    </a:lnTo>
                    <a:lnTo>
                      <a:pt x="1015268" y="1051925"/>
                    </a:lnTo>
                    <a:close/>
                    <a:moveTo>
                      <a:pt x="554814" y="847135"/>
                    </a:moveTo>
                    <a:cubicBezTo>
                      <a:pt x="573007" y="844513"/>
                      <a:pt x="593012" y="847504"/>
                      <a:pt x="614015" y="856867"/>
                    </a:cubicBezTo>
                    <a:cubicBezTo>
                      <a:pt x="698720" y="894319"/>
                      <a:pt x="766762" y="1020549"/>
                      <a:pt x="766762" y="1137762"/>
                    </a:cubicBezTo>
                    <a:cubicBezTo>
                      <a:pt x="766762" y="1254975"/>
                      <a:pt x="698720" y="1319477"/>
                      <a:pt x="614015" y="1282024"/>
                    </a:cubicBezTo>
                    <a:cubicBezTo>
                      <a:pt x="530004" y="1244572"/>
                      <a:pt x="461962" y="1119036"/>
                      <a:pt x="461962" y="1001823"/>
                    </a:cubicBezTo>
                    <a:lnTo>
                      <a:pt x="461962" y="1001823"/>
                    </a:lnTo>
                    <a:lnTo>
                      <a:pt x="461962" y="1001822"/>
                    </a:lnTo>
                    <a:lnTo>
                      <a:pt x="468795" y="941453"/>
                    </a:lnTo>
                    <a:lnTo>
                      <a:pt x="472746" y="931704"/>
                    </a:lnTo>
                    <a:lnTo>
                      <a:pt x="473906" y="924165"/>
                    </a:lnTo>
                    <a:lnTo>
                      <a:pt x="479491" y="915065"/>
                    </a:lnTo>
                    <a:lnTo>
                      <a:pt x="487921" y="894268"/>
                    </a:lnTo>
                    <a:lnTo>
                      <a:pt x="501080" y="879891"/>
                    </a:lnTo>
                    <a:lnTo>
                      <a:pt x="506484" y="871085"/>
                    </a:lnTo>
                    <a:lnTo>
                      <a:pt x="511342" y="868678"/>
                    </a:lnTo>
                    <a:lnTo>
                      <a:pt x="517281" y="862189"/>
                    </a:lnTo>
                    <a:cubicBezTo>
                      <a:pt x="528544" y="854227"/>
                      <a:pt x="541170" y="849102"/>
                      <a:pt x="554814" y="847135"/>
                    </a:cubicBezTo>
                    <a:close/>
                    <a:moveTo>
                      <a:pt x="93712" y="642407"/>
                    </a:moveTo>
                    <a:cubicBezTo>
                      <a:pt x="112023" y="639734"/>
                      <a:pt x="132130" y="642678"/>
                      <a:pt x="153194" y="652028"/>
                    </a:cubicBezTo>
                    <a:cubicBezTo>
                      <a:pt x="238147" y="690122"/>
                      <a:pt x="306388" y="815483"/>
                      <a:pt x="306388" y="932534"/>
                    </a:cubicBezTo>
                    <a:lnTo>
                      <a:pt x="306388" y="932534"/>
                    </a:lnTo>
                    <a:cubicBezTo>
                      <a:pt x="306388" y="1049585"/>
                      <a:pt x="238147" y="1114690"/>
                      <a:pt x="153194" y="1076597"/>
                    </a:cubicBezTo>
                    <a:cubicBezTo>
                      <a:pt x="68937" y="1039196"/>
                      <a:pt x="0" y="913834"/>
                      <a:pt x="0" y="796783"/>
                    </a:cubicBezTo>
                    <a:lnTo>
                      <a:pt x="0" y="796783"/>
                    </a:lnTo>
                    <a:lnTo>
                      <a:pt x="0" y="796782"/>
                    </a:lnTo>
                    <a:lnTo>
                      <a:pt x="6917" y="736755"/>
                    </a:lnTo>
                    <a:lnTo>
                      <a:pt x="10914" y="727025"/>
                    </a:lnTo>
                    <a:lnTo>
                      <a:pt x="12088" y="719525"/>
                    </a:lnTo>
                    <a:lnTo>
                      <a:pt x="17732" y="710429"/>
                    </a:lnTo>
                    <a:lnTo>
                      <a:pt x="26255" y="689683"/>
                    </a:lnTo>
                    <a:lnTo>
                      <a:pt x="39537" y="675291"/>
                    </a:lnTo>
                    <a:lnTo>
                      <a:pt x="45001" y="666487"/>
                    </a:lnTo>
                    <a:lnTo>
                      <a:pt x="49896" y="664067"/>
                    </a:lnTo>
                    <a:lnTo>
                      <a:pt x="55894" y="657567"/>
                    </a:lnTo>
                    <a:lnTo>
                      <a:pt x="93702" y="642412"/>
                    </a:lnTo>
                    <a:close/>
                    <a:moveTo>
                      <a:pt x="1475938" y="613736"/>
                    </a:moveTo>
                    <a:cubicBezTo>
                      <a:pt x="1494155" y="611116"/>
                      <a:pt x="1514157" y="614103"/>
                      <a:pt x="1535112" y="623454"/>
                    </a:cubicBezTo>
                    <a:cubicBezTo>
                      <a:pt x="1619625" y="660854"/>
                      <a:pt x="1687512" y="786909"/>
                      <a:pt x="1687512" y="903959"/>
                    </a:cubicBezTo>
                    <a:cubicBezTo>
                      <a:pt x="1687512" y="1021010"/>
                      <a:pt x="1619625" y="1086115"/>
                      <a:pt x="1535112" y="1048021"/>
                    </a:cubicBezTo>
                    <a:cubicBezTo>
                      <a:pt x="1451292" y="1010621"/>
                      <a:pt x="1382712" y="885259"/>
                      <a:pt x="1382712" y="768209"/>
                    </a:cubicBezTo>
                    <a:lnTo>
                      <a:pt x="1382712" y="768209"/>
                    </a:lnTo>
                    <a:lnTo>
                      <a:pt x="1382712" y="768208"/>
                    </a:lnTo>
                    <a:lnTo>
                      <a:pt x="1382713" y="768206"/>
                    </a:lnTo>
                    <a:lnTo>
                      <a:pt x="1389594" y="707923"/>
                    </a:lnTo>
                    <a:lnTo>
                      <a:pt x="1393571" y="698181"/>
                    </a:lnTo>
                    <a:lnTo>
                      <a:pt x="1394738" y="690658"/>
                    </a:lnTo>
                    <a:lnTo>
                      <a:pt x="1400357" y="681561"/>
                    </a:lnTo>
                    <a:lnTo>
                      <a:pt x="1408832" y="660803"/>
                    </a:lnTo>
                    <a:lnTo>
                      <a:pt x="1422050" y="646442"/>
                    </a:lnTo>
                    <a:lnTo>
                      <a:pt x="1427480" y="637652"/>
                    </a:lnTo>
                    <a:lnTo>
                      <a:pt x="1432355" y="635246"/>
                    </a:lnTo>
                    <a:lnTo>
                      <a:pt x="1438316" y="628769"/>
                    </a:lnTo>
                    <a:lnTo>
                      <a:pt x="1475931" y="613739"/>
                    </a:lnTo>
                    <a:close/>
                    <a:moveTo>
                      <a:pt x="1015271" y="409045"/>
                    </a:moveTo>
                    <a:cubicBezTo>
                      <a:pt x="1033520" y="406372"/>
                      <a:pt x="1053609" y="409315"/>
                      <a:pt x="1074737" y="418665"/>
                    </a:cubicBezTo>
                    <a:cubicBezTo>
                      <a:pt x="1158557" y="456759"/>
                      <a:pt x="1227137" y="582121"/>
                      <a:pt x="1227137" y="699172"/>
                    </a:cubicBezTo>
                    <a:lnTo>
                      <a:pt x="1227137" y="699172"/>
                    </a:lnTo>
                    <a:cubicBezTo>
                      <a:pt x="1227137" y="816222"/>
                      <a:pt x="1158557" y="881327"/>
                      <a:pt x="1074737" y="843926"/>
                    </a:cubicBezTo>
                    <a:cubicBezTo>
                      <a:pt x="990225" y="805833"/>
                      <a:pt x="922337" y="680471"/>
                      <a:pt x="922337" y="563421"/>
                    </a:cubicBezTo>
                    <a:lnTo>
                      <a:pt x="922337" y="563421"/>
                    </a:lnTo>
                    <a:lnTo>
                      <a:pt x="922337" y="563421"/>
                    </a:lnTo>
                    <a:lnTo>
                      <a:pt x="922337" y="563420"/>
                    </a:lnTo>
                    <a:lnTo>
                      <a:pt x="929159" y="503392"/>
                    </a:lnTo>
                    <a:lnTo>
                      <a:pt x="933105" y="493674"/>
                    </a:lnTo>
                    <a:lnTo>
                      <a:pt x="934265" y="486162"/>
                    </a:lnTo>
                    <a:lnTo>
                      <a:pt x="939843" y="477082"/>
                    </a:lnTo>
                    <a:lnTo>
                      <a:pt x="948274" y="456320"/>
                    </a:lnTo>
                    <a:lnTo>
                      <a:pt x="961431" y="441937"/>
                    </a:lnTo>
                    <a:lnTo>
                      <a:pt x="966845" y="433124"/>
                    </a:lnTo>
                    <a:lnTo>
                      <a:pt x="971704" y="430707"/>
                    </a:lnTo>
                    <a:lnTo>
                      <a:pt x="977654" y="424204"/>
                    </a:lnTo>
                    <a:lnTo>
                      <a:pt x="1015266" y="409047"/>
                    </a:lnTo>
                    <a:close/>
                    <a:moveTo>
                      <a:pt x="554814" y="204550"/>
                    </a:moveTo>
                    <a:cubicBezTo>
                      <a:pt x="573007" y="201974"/>
                      <a:pt x="593012" y="205048"/>
                      <a:pt x="614015" y="214571"/>
                    </a:cubicBezTo>
                    <a:cubicBezTo>
                      <a:pt x="698720" y="251972"/>
                      <a:pt x="766762" y="377334"/>
                      <a:pt x="766762" y="494385"/>
                    </a:cubicBezTo>
                    <a:lnTo>
                      <a:pt x="766762" y="494385"/>
                    </a:lnTo>
                    <a:lnTo>
                      <a:pt x="766762" y="494385"/>
                    </a:lnTo>
                    <a:cubicBezTo>
                      <a:pt x="766762" y="611436"/>
                      <a:pt x="698720" y="676541"/>
                      <a:pt x="614015" y="639140"/>
                    </a:cubicBezTo>
                    <a:cubicBezTo>
                      <a:pt x="530004" y="601739"/>
                      <a:pt x="461962" y="475685"/>
                      <a:pt x="461962" y="358634"/>
                    </a:cubicBezTo>
                    <a:lnTo>
                      <a:pt x="461962" y="358634"/>
                    </a:lnTo>
                    <a:lnTo>
                      <a:pt x="461962" y="358633"/>
                    </a:lnTo>
                    <a:lnTo>
                      <a:pt x="461962" y="358632"/>
                    </a:lnTo>
                    <a:lnTo>
                      <a:pt x="468795" y="298609"/>
                    </a:lnTo>
                    <a:lnTo>
                      <a:pt x="472745" y="288894"/>
                    </a:lnTo>
                    <a:lnTo>
                      <a:pt x="473906" y="281386"/>
                    </a:lnTo>
                    <a:lnTo>
                      <a:pt x="479486" y="272314"/>
                    </a:lnTo>
                    <a:lnTo>
                      <a:pt x="487921" y="251569"/>
                    </a:lnTo>
                    <a:lnTo>
                      <a:pt x="501071" y="237224"/>
                    </a:lnTo>
                    <a:lnTo>
                      <a:pt x="506484" y="228423"/>
                    </a:lnTo>
                    <a:lnTo>
                      <a:pt x="511334" y="226027"/>
                    </a:lnTo>
                    <a:lnTo>
                      <a:pt x="517281" y="219540"/>
                    </a:lnTo>
                    <a:lnTo>
                      <a:pt x="554811" y="204551"/>
                    </a:lnTo>
                    <a:close/>
                    <a:moveTo>
                      <a:pt x="93712" y="900"/>
                    </a:moveTo>
                    <a:cubicBezTo>
                      <a:pt x="112023" y="-1704"/>
                      <a:pt x="132130" y="1278"/>
                      <a:pt x="153194" y="10611"/>
                    </a:cubicBezTo>
                    <a:cubicBezTo>
                      <a:pt x="238147" y="47945"/>
                      <a:pt x="306388" y="173082"/>
                      <a:pt x="306388" y="289923"/>
                    </a:cubicBezTo>
                    <a:lnTo>
                      <a:pt x="306388" y="289924"/>
                    </a:lnTo>
                    <a:lnTo>
                      <a:pt x="306388" y="289924"/>
                    </a:lnTo>
                    <a:cubicBezTo>
                      <a:pt x="306388" y="407456"/>
                      <a:pt x="238147" y="471753"/>
                      <a:pt x="153194" y="434420"/>
                    </a:cubicBezTo>
                    <a:cubicBezTo>
                      <a:pt x="68937" y="397086"/>
                      <a:pt x="0" y="271948"/>
                      <a:pt x="0" y="154416"/>
                    </a:cubicBezTo>
                    <a:lnTo>
                      <a:pt x="0" y="154416"/>
                    </a:lnTo>
                    <a:lnTo>
                      <a:pt x="0" y="154415"/>
                    </a:lnTo>
                    <a:lnTo>
                      <a:pt x="0" y="154414"/>
                    </a:lnTo>
                    <a:lnTo>
                      <a:pt x="6917" y="94558"/>
                    </a:lnTo>
                    <a:lnTo>
                      <a:pt x="10915" y="84877"/>
                    </a:lnTo>
                    <a:lnTo>
                      <a:pt x="12088" y="77404"/>
                    </a:lnTo>
                    <a:lnTo>
                      <a:pt x="17734" y="68362"/>
                    </a:lnTo>
                    <a:lnTo>
                      <a:pt x="26255" y="47726"/>
                    </a:lnTo>
                    <a:lnTo>
                      <a:pt x="39540" y="33442"/>
                    </a:lnTo>
                    <a:lnTo>
                      <a:pt x="45001" y="24698"/>
                    </a:lnTo>
                    <a:lnTo>
                      <a:pt x="49898" y="22305"/>
                    </a:lnTo>
                    <a:lnTo>
                      <a:pt x="55894" y="15859"/>
                    </a:lnTo>
                    <a:lnTo>
                      <a:pt x="93705" y="903"/>
                    </a:lnTo>
                    <a:close/>
                  </a:path>
                </a:pathLst>
              </a:custGeom>
              <a:solidFill>
                <a:srgbClr val="7BA0FF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514" name="Group 513">
              <a:extLst>
                <a:ext uri="{FF2B5EF4-FFF2-40B4-BE49-F238E27FC236}">
                  <a16:creationId xmlns:a16="http://schemas.microsoft.com/office/drawing/2014/main" id="{66BDDBC9-FC73-9085-0A7B-535EA888B83E}"/>
                </a:ext>
              </a:extLst>
            </p:cNvPr>
            <p:cNvGrpSpPr/>
            <p:nvPr/>
          </p:nvGrpSpPr>
          <p:grpSpPr>
            <a:xfrm rot="5400000">
              <a:off x="882485" y="3116608"/>
              <a:ext cx="291337" cy="208478"/>
              <a:chOff x="1265737" y="1588422"/>
              <a:chExt cx="377741" cy="270308"/>
            </a:xfrm>
          </p:grpSpPr>
          <p:sp>
            <p:nvSpPr>
              <p:cNvPr id="515" name="Freeform: Shape 514">
                <a:extLst>
                  <a:ext uri="{FF2B5EF4-FFF2-40B4-BE49-F238E27FC236}">
                    <a16:creationId xmlns:a16="http://schemas.microsoft.com/office/drawing/2014/main" id="{B7250A83-C884-833F-5838-27FEBEEB8E12}"/>
                  </a:ext>
                </a:extLst>
              </p:cNvPr>
              <p:cNvSpPr/>
              <p:nvPr/>
            </p:nvSpPr>
            <p:spPr>
              <a:xfrm>
                <a:off x="1265737" y="1678664"/>
                <a:ext cx="179393" cy="180066"/>
              </a:xfrm>
              <a:custGeom>
                <a:avLst/>
                <a:gdLst>
                  <a:gd name="connsiteX0" fmla="*/ 188644 w 202472"/>
                  <a:gd name="connsiteY0" fmla="*/ 94663 h 203231"/>
                  <a:gd name="connsiteX1" fmla="*/ 198173 w 202472"/>
                  <a:gd name="connsiteY1" fmla="*/ 114971 h 203231"/>
                  <a:gd name="connsiteX2" fmla="*/ 113351 w 202472"/>
                  <a:gd name="connsiteY2" fmla="*/ 198231 h 203231"/>
                  <a:gd name="connsiteX3" fmla="*/ 95387 w 202472"/>
                  <a:gd name="connsiteY3" fmla="*/ 201042 h 203231"/>
                  <a:gd name="connsiteX4" fmla="*/ 4316 w 202472"/>
                  <a:gd name="connsiteY4" fmla="*/ 114971 h 203231"/>
                  <a:gd name="connsiteX5" fmla="*/ 13376 w 202472"/>
                  <a:gd name="connsiteY5" fmla="*/ 94663 h 203231"/>
                  <a:gd name="connsiteX6" fmla="*/ 61645 w 202472"/>
                  <a:gd name="connsiteY6" fmla="*/ 94663 h 203231"/>
                  <a:gd name="connsiteX7" fmla="*/ 61645 w 202472"/>
                  <a:gd name="connsiteY7" fmla="*/ 17496 h 203231"/>
                  <a:gd name="connsiteX8" fmla="*/ 79610 w 202472"/>
                  <a:gd name="connsiteY8" fmla="*/ 0 h 203231"/>
                  <a:gd name="connsiteX9" fmla="*/ 122880 w 202472"/>
                  <a:gd name="connsiteY9" fmla="*/ 0 h 203231"/>
                  <a:gd name="connsiteX10" fmla="*/ 140375 w 202472"/>
                  <a:gd name="connsiteY10" fmla="*/ 17496 h 203231"/>
                  <a:gd name="connsiteX11" fmla="*/ 140375 w 202472"/>
                  <a:gd name="connsiteY11" fmla="*/ 94663 h 203231"/>
                  <a:gd name="connsiteX12" fmla="*/ 188644 w 202472"/>
                  <a:gd name="connsiteY12" fmla="*/ 94663 h 203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2472" h="203231">
                    <a:moveTo>
                      <a:pt x="188644" y="94663"/>
                    </a:moveTo>
                    <a:cubicBezTo>
                      <a:pt x="200985" y="94663"/>
                      <a:pt x="207233" y="106223"/>
                      <a:pt x="198173" y="114971"/>
                    </a:cubicBezTo>
                    <a:cubicBezTo>
                      <a:pt x="113351" y="198231"/>
                      <a:pt x="113351" y="198231"/>
                      <a:pt x="113351" y="198231"/>
                    </a:cubicBezTo>
                    <a:cubicBezTo>
                      <a:pt x="107103" y="204323"/>
                      <a:pt x="98199" y="204323"/>
                      <a:pt x="95387" y="201042"/>
                    </a:cubicBezTo>
                    <a:cubicBezTo>
                      <a:pt x="4316" y="114971"/>
                      <a:pt x="4316" y="114971"/>
                      <a:pt x="4316" y="114971"/>
                    </a:cubicBezTo>
                    <a:cubicBezTo>
                      <a:pt x="-4744" y="106223"/>
                      <a:pt x="1505" y="94663"/>
                      <a:pt x="13376" y="94663"/>
                    </a:cubicBezTo>
                    <a:cubicBezTo>
                      <a:pt x="61645" y="94663"/>
                      <a:pt x="61645" y="94663"/>
                      <a:pt x="61645" y="94663"/>
                    </a:cubicBezTo>
                    <a:cubicBezTo>
                      <a:pt x="61645" y="17496"/>
                      <a:pt x="61645" y="17496"/>
                      <a:pt x="61645" y="17496"/>
                    </a:cubicBezTo>
                    <a:cubicBezTo>
                      <a:pt x="61645" y="8123"/>
                      <a:pt x="69456" y="0"/>
                      <a:pt x="79610" y="0"/>
                    </a:cubicBezTo>
                    <a:cubicBezTo>
                      <a:pt x="122880" y="0"/>
                      <a:pt x="122880" y="0"/>
                      <a:pt x="122880" y="0"/>
                    </a:cubicBezTo>
                    <a:cubicBezTo>
                      <a:pt x="132409" y="0"/>
                      <a:pt x="140375" y="8279"/>
                      <a:pt x="140375" y="17496"/>
                    </a:cubicBezTo>
                    <a:cubicBezTo>
                      <a:pt x="140375" y="94663"/>
                      <a:pt x="140375" y="94663"/>
                      <a:pt x="140375" y="94663"/>
                    </a:cubicBezTo>
                    <a:cubicBezTo>
                      <a:pt x="188644" y="94663"/>
                      <a:pt x="188644" y="94663"/>
                      <a:pt x="188644" y="94663"/>
                    </a:cubicBezTo>
                    <a:close/>
                  </a:path>
                </a:pathLst>
              </a:custGeom>
              <a:solidFill>
                <a:srgbClr val="2853DC"/>
              </a:solidFill>
              <a:ln w="15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 kern="0">
                  <a:solidFill>
                    <a:srgbClr val="13171F"/>
                  </a:solidFill>
                  <a:latin typeface="Calibri"/>
                </a:endParaRPr>
              </a:p>
            </p:txBody>
          </p:sp>
          <p:sp>
            <p:nvSpPr>
              <p:cNvPr id="516" name="Freeform: Shape 515">
                <a:extLst>
                  <a:ext uri="{FF2B5EF4-FFF2-40B4-BE49-F238E27FC236}">
                    <a16:creationId xmlns:a16="http://schemas.microsoft.com/office/drawing/2014/main" id="{2A61081D-887D-E0DD-9A04-BB0719A5DF30}"/>
                  </a:ext>
                </a:extLst>
              </p:cNvPr>
              <p:cNvSpPr/>
              <p:nvPr/>
            </p:nvSpPr>
            <p:spPr>
              <a:xfrm>
                <a:off x="1464085" y="1588422"/>
                <a:ext cx="179393" cy="180066"/>
              </a:xfrm>
              <a:custGeom>
                <a:avLst/>
                <a:gdLst>
                  <a:gd name="connsiteX0" fmla="*/ 13828 w 202472"/>
                  <a:gd name="connsiteY0" fmla="*/ 108568 h 203231"/>
                  <a:gd name="connsiteX1" fmla="*/ 4300 w 202472"/>
                  <a:gd name="connsiteY1" fmla="*/ 88261 h 203231"/>
                  <a:gd name="connsiteX2" fmla="*/ 89122 w 202472"/>
                  <a:gd name="connsiteY2" fmla="*/ 5001 h 203231"/>
                  <a:gd name="connsiteX3" fmla="*/ 107086 w 202472"/>
                  <a:gd name="connsiteY3" fmla="*/ 2189 h 203231"/>
                  <a:gd name="connsiteX4" fmla="*/ 198156 w 202472"/>
                  <a:gd name="connsiteY4" fmla="*/ 88261 h 203231"/>
                  <a:gd name="connsiteX5" fmla="*/ 189096 w 202472"/>
                  <a:gd name="connsiteY5" fmla="*/ 108568 h 203231"/>
                  <a:gd name="connsiteX6" fmla="*/ 140827 w 202472"/>
                  <a:gd name="connsiteY6" fmla="*/ 108568 h 203231"/>
                  <a:gd name="connsiteX7" fmla="*/ 140827 w 202472"/>
                  <a:gd name="connsiteY7" fmla="*/ 185736 h 203231"/>
                  <a:gd name="connsiteX8" fmla="*/ 122863 w 202472"/>
                  <a:gd name="connsiteY8" fmla="*/ 203231 h 203231"/>
                  <a:gd name="connsiteX9" fmla="*/ 79593 w 202472"/>
                  <a:gd name="connsiteY9" fmla="*/ 203231 h 203231"/>
                  <a:gd name="connsiteX10" fmla="*/ 62097 w 202472"/>
                  <a:gd name="connsiteY10" fmla="*/ 185736 h 203231"/>
                  <a:gd name="connsiteX11" fmla="*/ 62097 w 202472"/>
                  <a:gd name="connsiteY11" fmla="*/ 108568 h 203231"/>
                  <a:gd name="connsiteX12" fmla="*/ 13828 w 202472"/>
                  <a:gd name="connsiteY12" fmla="*/ 108568 h 203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2472" h="203231">
                    <a:moveTo>
                      <a:pt x="13828" y="108568"/>
                    </a:moveTo>
                    <a:cubicBezTo>
                      <a:pt x="1488" y="108568"/>
                      <a:pt x="-4761" y="97009"/>
                      <a:pt x="4300" y="88261"/>
                    </a:cubicBezTo>
                    <a:cubicBezTo>
                      <a:pt x="89122" y="5001"/>
                      <a:pt x="89122" y="5001"/>
                      <a:pt x="89122" y="5001"/>
                    </a:cubicBezTo>
                    <a:cubicBezTo>
                      <a:pt x="95370" y="-1091"/>
                      <a:pt x="104274" y="-1091"/>
                      <a:pt x="107086" y="2189"/>
                    </a:cubicBezTo>
                    <a:cubicBezTo>
                      <a:pt x="198156" y="88261"/>
                      <a:pt x="198156" y="88261"/>
                      <a:pt x="198156" y="88261"/>
                    </a:cubicBezTo>
                    <a:cubicBezTo>
                      <a:pt x="207216" y="97009"/>
                      <a:pt x="200968" y="108568"/>
                      <a:pt x="189096" y="108568"/>
                    </a:cubicBezTo>
                    <a:cubicBezTo>
                      <a:pt x="140827" y="108568"/>
                      <a:pt x="140827" y="108568"/>
                      <a:pt x="140827" y="108568"/>
                    </a:cubicBezTo>
                    <a:cubicBezTo>
                      <a:pt x="140827" y="185736"/>
                      <a:pt x="140827" y="185736"/>
                      <a:pt x="140827" y="185736"/>
                    </a:cubicBezTo>
                    <a:cubicBezTo>
                      <a:pt x="140827" y="195108"/>
                      <a:pt x="133017" y="203231"/>
                      <a:pt x="122863" y="203231"/>
                    </a:cubicBezTo>
                    <a:cubicBezTo>
                      <a:pt x="79593" y="203231"/>
                      <a:pt x="79593" y="203231"/>
                      <a:pt x="79593" y="203231"/>
                    </a:cubicBezTo>
                    <a:cubicBezTo>
                      <a:pt x="70064" y="203231"/>
                      <a:pt x="62097" y="194952"/>
                      <a:pt x="62097" y="185736"/>
                    </a:cubicBezTo>
                    <a:cubicBezTo>
                      <a:pt x="62097" y="108568"/>
                      <a:pt x="62097" y="108568"/>
                      <a:pt x="62097" y="108568"/>
                    </a:cubicBezTo>
                    <a:cubicBezTo>
                      <a:pt x="13828" y="108568"/>
                      <a:pt x="13828" y="108568"/>
                      <a:pt x="13828" y="108568"/>
                    </a:cubicBezTo>
                    <a:close/>
                  </a:path>
                </a:pathLst>
              </a:custGeom>
              <a:solidFill>
                <a:srgbClr val="2853DC"/>
              </a:solidFill>
              <a:ln w="15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 kern="0">
                  <a:solidFill>
                    <a:srgbClr val="13171F"/>
                  </a:solidFill>
                  <a:latin typeface="Calibri"/>
                </a:endParaRPr>
              </a:p>
            </p:txBody>
          </p:sp>
        </p:grpSp>
      </p:grpSp>
      <p:sp>
        <p:nvSpPr>
          <p:cNvPr id="525" name="TextBox 524">
            <a:extLst>
              <a:ext uri="{FF2B5EF4-FFF2-40B4-BE49-F238E27FC236}">
                <a16:creationId xmlns:a16="http://schemas.microsoft.com/office/drawing/2014/main" id="{6ADAF5B5-8B5A-1C44-AC76-D35598E318FA}"/>
              </a:ext>
            </a:extLst>
          </p:cNvPr>
          <p:cNvSpPr txBox="1"/>
          <p:nvPr/>
        </p:nvSpPr>
        <p:spPr>
          <a:xfrm>
            <a:off x="8166457" y="2606189"/>
            <a:ext cx="1060416" cy="27033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90000"/>
              </a:lnSpc>
            </a:pPr>
            <a:r>
              <a:rPr lang="en-US" sz="976">
                <a:solidFill>
                  <a:srgbClr val="0E283C"/>
                </a:solidFill>
                <a:latin typeface="Calibri"/>
                <a:cs typeface="Microsoft Sans Serif" panose="020B0604020202020204" pitchFamily="34" charset="0"/>
              </a:rPr>
              <a:t>Boundless extended reality</a:t>
            </a:r>
          </a:p>
        </p:txBody>
      </p:sp>
      <p:sp>
        <p:nvSpPr>
          <p:cNvPr id="526" name="TextBox 525">
            <a:extLst>
              <a:ext uri="{FF2B5EF4-FFF2-40B4-BE49-F238E27FC236}">
                <a16:creationId xmlns:a16="http://schemas.microsoft.com/office/drawing/2014/main" id="{4F689638-8B83-7CDD-18FA-5DD4589402A3}"/>
              </a:ext>
            </a:extLst>
          </p:cNvPr>
          <p:cNvSpPr txBox="1"/>
          <p:nvPr/>
        </p:nvSpPr>
        <p:spPr>
          <a:xfrm>
            <a:off x="8166458" y="3953064"/>
            <a:ext cx="886586" cy="27033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90000"/>
              </a:lnSpc>
            </a:pPr>
            <a:r>
              <a:rPr lang="en-US" sz="976">
                <a:solidFill>
                  <a:srgbClr val="0E283C"/>
                </a:solidFill>
                <a:latin typeface="Calibri"/>
                <a:cs typeface="Microsoft Sans Serif" panose="020B0604020202020204" pitchFamily="34" charset="0"/>
              </a:rPr>
              <a:t>Expanded sidelink</a:t>
            </a:r>
          </a:p>
        </p:txBody>
      </p:sp>
      <p:sp>
        <p:nvSpPr>
          <p:cNvPr id="527" name="TextBox 526">
            <a:extLst>
              <a:ext uri="{FF2B5EF4-FFF2-40B4-BE49-F238E27FC236}">
                <a16:creationId xmlns:a16="http://schemas.microsoft.com/office/drawing/2014/main" id="{437677E8-85EB-80B0-9E95-1926BBB67EE8}"/>
              </a:ext>
            </a:extLst>
          </p:cNvPr>
          <p:cNvSpPr txBox="1"/>
          <p:nvPr/>
        </p:nvSpPr>
        <p:spPr>
          <a:xfrm>
            <a:off x="9599714" y="2606190"/>
            <a:ext cx="779226" cy="27033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90000"/>
              </a:lnSpc>
            </a:pPr>
            <a:r>
              <a:rPr lang="en-US" sz="976">
                <a:solidFill>
                  <a:srgbClr val="0E283C"/>
                </a:solidFill>
                <a:latin typeface="Calibri"/>
                <a:cs typeface="Microsoft Sans Serif" panose="020B0604020202020204" pitchFamily="34" charset="0"/>
              </a:rPr>
              <a:t>RedCap evolution</a:t>
            </a:r>
          </a:p>
        </p:txBody>
      </p:sp>
      <p:sp>
        <p:nvSpPr>
          <p:cNvPr id="528" name="TextBox 527">
            <a:extLst>
              <a:ext uri="{FF2B5EF4-FFF2-40B4-BE49-F238E27FC236}">
                <a16:creationId xmlns:a16="http://schemas.microsoft.com/office/drawing/2014/main" id="{3E85E503-4ACA-39C1-CD8D-CE426DA831BD}"/>
              </a:ext>
            </a:extLst>
          </p:cNvPr>
          <p:cNvSpPr txBox="1"/>
          <p:nvPr/>
        </p:nvSpPr>
        <p:spPr>
          <a:xfrm>
            <a:off x="9599714" y="5440416"/>
            <a:ext cx="1281809" cy="27033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90000"/>
              </a:lnSpc>
            </a:pPr>
            <a:r>
              <a:rPr lang="en-US" sz="976">
                <a:solidFill>
                  <a:srgbClr val="0E283C"/>
                </a:solidFill>
                <a:latin typeface="Calibri"/>
                <a:cs typeface="Microsoft Sans Serif" panose="020B0604020202020204" pitchFamily="34" charset="0"/>
              </a:rPr>
              <a:t>Multicast &amp; other enhancements</a:t>
            </a:r>
          </a:p>
        </p:txBody>
      </p:sp>
      <p:sp>
        <p:nvSpPr>
          <p:cNvPr id="529" name="TextBox 528">
            <a:extLst>
              <a:ext uri="{FF2B5EF4-FFF2-40B4-BE49-F238E27FC236}">
                <a16:creationId xmlns:a16="http://schemas.microsoft.com/office/drawing/2014/main" id="{89AE0817-D9D6-919B-3081-43F2FC3AE97D}"/>
              </a:ext>
            </a:extLst>
          </p:cNvPr>
          <p:cNvSpPr txBox="1"/>
          <p:nvPr/>
        </p:nvSpPr>
        <p:spPr>
          <a:xfrm>
            <a:off x="9599714" y="3953064"/>
            <a:ext cx="1127792" cy="13516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90000"/>
              </a:lnSpc>
            </a:pPr>
            <a:r>
              <a:rPr lang="en-US" sz="976">
                <a:solidFill>
                  <a:srgbClr val="0E283C"/>
                </a:solidFill>
                <a:latin typeface="Calibri"/>
                <a:cs typeface="Microsoft Sans Serif" panose="020B0604020202020204" pitchFamily="34" charset="0"/>
              </a:rPr>
              <a:t>Expanded positioning</a:t>
            </a:r>
          </a:p>
        </p:txBody>
      </p:sp>
      <p:grpSp>
        <p:nvGrpSpPr>
          <p:cNvPr id="530" name="Group 529">
            <a:extLst>
              <a:ext uri="{FF2B5EF4-FFF2-40B4-BE49-F238E27FC236}">
                <a16:creationId xmlns:a16="http://schemas.microsoft.com/office/drawing/2014/main" id="{93065687-67C8-9998-98EB-0C5D4A3AA427}"/>
              </a:ext>
            </a:extLst>
          </p:cNvPr>
          <p:cNvGrpSpPr/>
          <p:nvPr/>
        </p:nvGrpSpPr>
        <p:grpSpPr>
          <a:xfrm>
            <a:off x="8166458" y="2261164"/>
            <a:ext cx="655341" cy="280914"/>
            <a:chOff x="5458085" y="2541021"/>
            <a:chExt cx="1006972" cy="431641"/>
          </a:xfrm>
        </p:grpSpPr>
        <p:grpSp>
          <p:nvGrpSpPr>
            <p:cNvPr id="531" name="Group 530">
              <a:extLst>
                <a:ext uri="{FF2B5EF4-FFF2-40B4-BE49-F238E27FC236}">
                  <a16:creationId xmlns:a16="http://schemas.microsoft.com/office/drawing/2014/main" id="{6A1EBE06-316C-9027-ABCB-5DE9A72F9CCC}"/>
                </a:ext>
              </a:extLst>
            </p:cNvPr>
            <p:cNvGrpSpPr/>
            <p:nvPr/>
          </p:nvGrpSpPr>
          <p:grpSpPr>
            <a:xfrm>
              <a:off x="6162881" y="2567507"/>
              <a:ext cx="302176" cy="300321"/>
              <a:chOff x="4197925" y="1116013"/>
              <a:chExt cx="4654550" cy="4625975"/>
            </a:xfrm>
          </p:grpSpPr>
          <p:sp>
            <p:nvSpPr>
              <p:cNvPr id="533" name="Oval 5">
                <a:extLst>
                  <a:ext uri="{FF2B5EF4-FFF2-40B4-BE49-F238E27FC236}">
                    <a16:creationId xmlns:a16="http://schemas.microsoft.com/office/drawing/2014/main" id="{3A2AF9D4-3067-1A0F-515F-8536076CDB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2315" y="1925641"/>
                <a:ext cx="3013071" cy="2995618"/>
              </a:xfrm>
              <a:prstGeom prst="ellipse">
                <a:avLst/>
              </a:prstGeom>
              <a:solidFill>
                <a:srgbClr val="7BA0FF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534" name="Freeform 6">
                <a:extLst>
                  <a:ext uri="{FF2B5EF4-FFF2-40B4-BE49-F238E27FC236}">
                    <a16:creationId xmlns:a16="http://schemas.microsoft.com/office/drawing/2014/main" id="{39D8A7E4-3AE1-F815-65B3-A034F0D36B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97925" y="1116013"/>
                <a:ext cx="4654550" cy="4625975"/>
              </a:xfrm>
              <a:custGeom>
                <a:avLst/>
                <a:gdLst>
                  <a:gd name="T0" fmla="*/ 4000 w 8000"/>
                  <a:gd name="T1" fmla="*/ 7974 h 7974"/>
                  <a:gd name="T2" fmla="*/ 2443 w 8000"/>
                  <a:gd name="T3" fmla="*/ 7661 h 7974"/>
                  <a:gd name="T4" fmla="*/ 1172 w 8000"/>
                  <a:gd name="T5" fmla="*/ 6807 h 7974"/>
                  <a:gd name="T6" fmla="*/ 315 w 8000"/>
                  <a:gd name="T7" fmla="*/ 5539 h 7974"/>
                  <a:gd name="T8" fmla="*/ 0 w 8000"/>
                  <a:gd name="T9" fmla="*/ 3987 h 7974"/>
                  <a:gd name="T10" fmla="*/ 315 w 8000"/>
                  <a:gd name="T11" fmla="*/ 2435 h 7974"/>
                  <a:gd name="T12" fmla="*/ 1172 w 8000"/>
                  <a:gd name="T13" fmla="*/ 1168 h 7974"/>
                  <a:gd name="T14" fmla="*/ 2443 w 8000"/>
                  <a:gd name="T15" fmla="*/ 313 h 7974"/>
                  <a:gd name="T16" fmla="*/ 4000 w 8000"/>
                  <a:gd name="T17" fmla="*/ 0 h 7974"/>
                  <a:gd name="T18" fmla="*/ 5557 w 8000"/>
                  <a:gd name="T19" fmla="*/ 313 h 7974"/>
                  <a:gd name="T20" fmla="*/ 6829 w 8000"/>
                  <a:gd name="T21" fmla="*/ 1168 h 7974"/>
                  <a:gd name="T22" fmla="*/ 7686 w 8000"/>
                  <a:gd name="T23" fmla="*/ 2435 h 7974"/>
                  <a:gd name="T24" fmla="*/ 8000 w 8000"/>
                  <a:gd name="T25" fmla="*/ 3987 h 7974"/>
                  <a:gd name="T26" fmla="*/ 7686 w 8000"/>
                  <a:gd name="T27" fmla="*/ 5539 h 7974"/>
                  <a:gd name="T28" fmla="*/ 6829 w 8000"/>
                  <a:gd name="T29" fmla="*/ 6807 h 7974"/>
                  <a:gd name="T30" fmla="*/ 5557 w 8000"/>
                  <a:gd name="T31" fmla="*/ 7661 h 7974"/>
                  <a:gd name="T32" fmla="*/ 4000 w 8000"/>
                  <a:gd name="T33" fmla="*/ 7974 h 7974"/>
                  <a:gd name="T34" fmla="*/ 4000 w 8000"/>
                  <a:gd name="T35" fmla="*/ 121 h 7974"/>
                  <a:gd name="T36" fmla="*/ 122 w 8000"/>
                  <a:gd name="T37" fmla="*/ 3987 h 7974"/>
                  <a:gd name="T38" fmla="*/ 4000 w 8000"/>
                  <a:gd name="T39" fmla="*/ 7853 h 7974"/>
                  <a:gd name="T40" fmla="*/ 7879 w 8000"/>
                  <a:gd name="T41" fmla="*/ 3987 h 7974"/>
                  <a:gd name="T42" fmla="*/ 4000 w 8000"/>
                  <a:gd name="T43" fmla="*/ 121 h 79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000" h="7974">
                    <a:moveTo>
                      <a:pt x="4000" y="7974"/>
                    </a:moveTo>
                    <a:cubicBezTo>
                      <a:pt x="3460" y="7974"/>
                      <a:pt x="2937" y="7869"/>
                      <a:pt x="2443" y="7661"/>
                    </a:cubicBezTo>
                    <a:cubicBezTo>
                      <a:pt x="1967" y="7460"/>
                      <a:pt x="1539" y="7173"/>
                      <a:pt x="1172" y="6807"/>
                    </a:cubicBezTo>
                    <a:cubicBezTo>
                      <a:pt x="805" y="6440"/>
                      <a:pt x="516" y="6014"/>
                      <a:pt x="315" y="5539"/>
                    </a:cubicBezTo>
                    <a:cubicBezTo>
                      <a:pt x="106" y="5048"/>
                      <a:pt x="0" y="4525"/>
                      <a:pt x="0" y="3987"/>
                    </a:cubicBezTo>
                    <a:cubicBezTo>
                      <a:pt x="0" y="3449"/>
                      <a:pt x="106" y="2927"/>
                      <a:pt x="315" y="2435"/>
                    </a:cubicBezTo>
                    <a:cubicBezTo>
                      <a:pt x="516" y="1960"/>
                      <a:pt x="805" y="1534"/>
                      <a:pt x="1172" y="1168"/>
                    </a:cubicBezTo>
                    <a:cubicBezTo>
                      <a:pt x="1539" y="802"/>
                      <a:pt x="1967" y="514"/>
                      <a:pt x="2443" y="313"/>
                    </a:cubicBezTo>
                    <a:cubicBezTo>
                      <a:pt x="2937" y="105"/>
                      <a:pt x="3460" y="0"/>
                      <a:pt x="4000" y="0"/>
                    </a:cubicBezTo>
                    <a:cubicBezTo>
                      <a:pt x="4540" y="0"/>
                      <a:pt x="5064" y="105"/>
                      <a:pt x="5557" y="313"/>
                    </a:cubicBezTo>
                    <a:cubicBezTo>
                      <a:pt x="6034" y="514"/>
                      <a:pt x="6461" y="802"/>
                      <a:pt x="6829" y="1168"/>
                    </a:cubicBezTo>
                    <a:cubicBezTo>
                      <a:pt x="7196" y="1534"/>
                      <a:pt x="7484" y="1960"/>
                      <a:pt x="7686" y="2435"/>
                    </a:cubicBezTo>
                    <a:cubicBezTo>
                      <a:pt x="7895" y="2927"/>
                      <a:pt x="8000" y="3449"/>
                      <a:pt x="8000" y="3987"/>
                    </a:cubicBezTo>
                    <a:cubicBezTo>
                      <a:pt x="8000" y="4525"/>
                      <a:pt x="7895" y="5048"/>
                      <a:pt x="7686" y="5539"/>
                    </a:cubicBezTo>
                    <a:cubicBezTo>
                      <a:pt x="7484" y="6014"/>
                      <a:pt x="7196" y="6440"/>
                      <a:pt x="6829" y="6807"/>
                    </a:cubicBezTo>
                    <a:cubicBezTo>
                      <a:pt x="6461" y="7173"/>
                      <a:pt x="6034" y="7460"/>
                      <a:pt x="5557" y="7661"/>
                    </a:cubicBezTo>
                    <a:cubicBezTo>
                      <a:pt x="5064" y="7869"/>
                      <a:pt x="4540" y="7974"/>
                      <a:pt x="4000" y="7974"/>
                    </a:cubicBezTo>
                    <a:close/>
                    <a:moveTo>
                      <a:pt x="4000" y="121"/>
                    </a:moveTo>
                    <a:cubicBezTo>
                      <a:pt x="1862" y="121"/>
                      <a:pt x="122" y="1856"/>
                      <a:pt x="122" y="3987"/>
                    </a:cubicBezTo>
                    <a:cubicBezTo>
                      <a:pt x="122" y="6119"/>
                      <a:pt x="1862" y="7853"/>
                      <a:pt x="4000" y="7853"/>
                    </a:cubicBezTo>
                    <a:cubicBezTo>
                      <a:pt x="6139" y="7853"/>
                      <a:pt x="7879" y="6119"/>
                      <a:pt x="7879" y="3987"/>
                    </a:cubicBezTo>
                    <a:cubicBezTo>
                      <a:pt x="7879" y="1856"/>
                      <a:pt x="6139" y="121"/>
                      <a:pt x="4000" y="121"/>
                    </a:cubicBezTo>
                    <a:close/>
                  </a:path>
                </a:pathLst>
              </a:custGeom>
              <a:solidFill>
                <a:srgbClr val="7BA0FF"/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535" name="Oval 7">
                <a:extLst>
                  <a:ext uri="{FF2B5EF4-FFF2-40B4-BE49-F238E27FC236}">
                    <a16:creationId xmlns:a16="http://schemas.microsoft.com/office/drawing/2014/main" id="{A99C0DEC-E767-8B86-6BD7-FA562504D9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85428" y="2667002"/>
                <a:ext cx="1466852" cy="1511298"/>
              </a:xfrm>
              <a:prstGeom prst="ellipse">
                <a:avLst/>
              </a:prstGeom>
              <a:solidFill>
                <a:srgbClr val="7BA0FF">
                  <a:lumMod val="60000"/>
                  <a:lumOff val="40000"/>
                </a:srgbClr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FFFFFF"/>
                  </a:solidFill>
                  <a:latin typeface="Calibri"/>
                </a:endParaRPr>
              </a:p>
            </p:txBody>
          </p:sp>
        </p:grpSp>
        <p:sp>
          <p:nvSpPr>
            <p:cNvPr id="532" name="Freeform 9">
              <a:extLst>
                <a:ext uri="{FF2B5EF4-FFF2-40B4-BE49-F238E27FC236}">
                  <a16:creationId xmlns:a16="http://schemas.microsoft.com/office/drawing/2014/main" id="{94CB13A0-65BF-5D87-2A47-FF64F51CA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8085" y="2541021"/>
              <a:ext cx="853514" cy="431641"/>
            </a:xfrm>
            <a:custGeom>
              <a:avLst/>
              <a:gdLst>
                <a:gd name="T0" fmla="*/ 979 w 1046"/>
                <a:gd name="T1" fmla="*/ 179 h 528"/>
                <a:gd name="T2" fmla="*/ 719 w 1046"/>
                <a:gd name="T3" fmla="*/ 25 h 528"/>
                <a:gd name="T4" fmla="*/ 648 w 1046"/>
                <a:gd name="T5" fmla="*/ 13 h 528"/>
                <a:gd name="T6" fmla="*/ 609 w 1046"/>
                <a:gd name="T7" fmla="*/ 61 h 528"/>
                <a:gd name="T8" fmla="*/ 641 w 1046"/>
                <a:gd name="T9" fmla="*/ 73 h 528"/>
                <a:gd name="T10" fmla="*/ 679 w 1046"/>
                <a:gd name="T11" fmla="*/ 39 h 528"/>
                <a:gd name="T12" fmla="*/ 847 w 1046"/>
                <a:gd name="T13" fmla="*/ 175 h 528"/>
                <a:gd name="T14" fmla="*/ 641 w 1046"/>
                <a:gd name="T15" fmla="*/ 175 h 528"/>
                <a:gd name="T16" fmla="*/ 568 w 1046"/>
                <a:gd name="T17" fmla="*/ 217 h 528"/>
                <a:gd name="T18" fmla="*/ 524 w 1046"/>
                <a:gd name="T19" fmla="*/ 211 h 528"/>
                <a:gd name="T20" fmla="*/ 479 w 1046"/>
                <a:gd name="T21" fmla="*/ 217 h 528"/>
                <a:gd name="T22" fmla="*/ 405 w 1046"/>
                <a:gd name="T23" fmla="*/ 175 h 528"/>
                <a:gd name="T24" fmla="*/ 201 w 1046"/>
                <a:gd name="T25" fmla="*/ 175 h 528"/>
                <a:gd name="T26" fmla="*/ 369 w 1046"/>
                <a:gd name="T27" fmla="*/ 39 h 528"/>
                <a:gd name="T28" fmla="*/ 406 w 1046"/>
                <a:gd name="T29" fmla="*/ 73 h 528"/>
                <a:gd name="T30" fmla="*/ 438 w 1046"/>
                <a:gd name="T31" fmla="*/ 61 h 528"/>
                <a:gd name="T32" fmla="*/ 400 w 1046"/>
                <a:gd name="T33" fmla="*/ 13 h 528"/>
                <a:gd name="T34" fmla="*/ 329 w 1046"/>
                <a:gd name="T35" fmla="*/ 25 h 528"/>
                <a:gd name="T36" fmla="*/ 70 w 1046"/>
                <a:gd name="T37" fmla="*/ 178 h 528"/>
                <a:gd name="T38" fmla="*/ 11 w 1046"/>
                <a:gd name="T39" fmla="*/ 281 h 528"/>
                <a:gd name="T40" fmla="*/ 51 w 1046"/>
                <a:gd name="T41" fmla="*/ 463 h 528"/>
                <a:gd name="T42" fmla="*/ 134 w 1046"/>
                <a:gd name="T43" fmla="*/ 528 h 528"/>
                <a:gd name="T44" fmla="*/ 318 w 1046"/>
                <a:gd name="T45" fmla="*/ 528 h 528"/>
                <a:gd name="T46" fmla="*/ 401 w 1046"/>
                <a:gd name="T47" fmla="*/ 463 h 528"/>
                <a:gd name="T48" fmla="*/ 463 w 1046"/>
                <a:gd name="T49" fmla="*/ 335 h 528"/>
                <a:gd name="T50" fmla="*/ 524 w 1046"/>
                <a:gd name="T51" fmla="*/ 307 h 528"/>
                <a:gd name="T52" fmla="*/ 582 w 1046"/>
                <a:gd name="T53" fmla="*/ 332 h 528"/>
                <a:gd name="T54" fmla="*/ 645 w 1046"/>
                <a:gd name="T55" fmla="*/ 463 h 528"/>
                <a:gd name="T56" fmla="*/ 728 w 1046"/>
                <a:gd name="T57" fmla="*/ 528 h 528"/>
                <a:gd name="T58" fmla="*/ 912 w 1046"/>
                <a:gd name="T59" fmla="*/ 528 h 528"/>
                <a:gd name="T60" fmla="*/ 995 w 1046"/>
                <a:gd name="T61" fmla="*/ 463 h 528"/>
                <a:gd name="T62" fmla="*/ 1036 w 1046"/>
                <a:gd name="T63" fmla="*/ 281 h 528"/>
                <a:gd name="T64" fmla="*/ 979 w 1046"/>
                <a:gd name="T65" fmla="*/ 179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46" h="528">
                  <a:moveTo>
                    <a:pt x="979" y="179"/>
                  </a:moveTo>
                  <a:cubicBezTo>
                    <a:pt x="719" y="25"/>
                    <a:pt x="719" y="25"/>
                    <a:pt x="719" y="25"/>
                  </a:cubicBezTo>
                  <a:cubicBezTo>
                    <a:pt x="719" y="25"/>
                    <a:pt x="679" y="0"/>
                    <a:pt x="648" y="13"/>
                  </a:cubicBezTo>
                  <a:cubicBezTo>
                    <a:pt x="619" y="26"/>
                    <a:pt x="605" y="48"/>
                    <a:pt x="609" y="61"/>
                  </a:cubicBezTo>
                  <a:cubicBezTo>
                    <a:pt x="613" y="72"/>
                    <a:pt x="626" y="81"/>
                    <a:pt x="641" y="73"/>
                  </a:cubicBezTo>
                  <a:cubicBezTo>
                    <a:pt x="657" y="65"/>
                    <a:pt x="651" y="32"/>
                    <a:pt x="679" y="39"/>
                  </a:cubicBezTo>
                  <a:cubicBezTo>
                    <a:pt x="710" y="46"/>
                    <a:pt x="805" y="134"/>
                    <a:pt x="847" y="175"/>
                  </a:cubicBezTo>
                  <a:cubicBezTo>
                    <a:pt x="641" y="175"/>
                    <a:pt x="641" y="175"/>
                    <a:pt x="641" y="175"/>
                  </a:cubicBezTo>
                  <a:cubicBezTo>
                    <a:pt x="609" y="175"/>
                    <a:pt x="583" y="192"/>
                    <a:pt x="568" y="217"/>
                  </a:cubicBezTo>
                  <a:cubicBezTo>
                    <a:pt x="554" y="213"/>
                    <a:pt x="539" y="211"/>
                    <a:pt x="524" y="211"/>
                  </a:cubicBezTo>
                  <a:cubicBezTo>
                    <a:pt x="508" y="211"/>
                    <a:pt x="493" y="213"/>
                    <a:pt x="479" y="217"/>
                  </a:cubicBezTo>
                  <a:cubicBezTo>
                    <a:pt x="464" y="192"/>
                    <a:pt x="437" y="175"/>
                    <a:pt x="405" y="175"/>
                  </a:cubicBezTo>
                  <a:cubicBezTo>
                    <a:pt x="201" y="175"/>
                    <a:pt x="201" y="175"/>
                    <a:pt x="201" y="175"/>
                  </a:cubicBezTo>
                  <a:cubicBezTo>
                    <a:pt x="243" y="134"/>
                    <a:pt x="338" y="46"/>
                    <a:pt x="369" y="39"/>
                  </a:cubicBezTo>
                  <a:cubicBezTo>
                    <a:pt x="396" y="32"/>
                    <a:pt x="391" y="65"/>
                    <a:pt x="406" y="73"/>
                  </a:cubicBezTo>
                  <a:cubicBezTo>
                    <a:pt x="422" y="81"/>
                    <a:pt x="434" y="72"/>
                    <a:pt x="438" y="61"/>
                  </a:cubicBezTo>
                  <a:cubicBezTo>
                    <a:pt x="443" y="48"/>
                    <a:pt x="429" y="26"/>
                    <a:pt x="400" y="13"/>
                  </a:cubicBezTo>
                  <a:cubicBezTo>
                    <a:pt x="369" y="0"/>
                    <a:pt x="329" y="25"/>
                    <a:pt x="329" y="25"/>
                  </a:cubicBezTo>
                  <a:cubicBezTo>
                    <a:pt x="70" y="178"/>
                    <a:pt x="70" y="178"/>
                    <a:pt x="70" y="178"/>
                  </a:cubicBezTo>
                  <a:cubicBezTo>
                    <a:pt x="27" y="191"/>
                    <a:pt x="0" y="235"/>
                    <a:pt x="11" y="281"/>
                  </a:cubicBezTo>
                  <a:cubicBezTo>
                    <a:pt x="51" y="463"/>
                    <a:pt x="51" y="463"/>
                    <a:pt x="51" y="463"/>
                  </a:cubicBezTo>
                  <a:cubicBezTo>
                    <a:pt x="60" y="501"/>
                    <a:pt x="95" y="528"/>
                    <a:pt x="134" y="528"/>
                  </a:cubicBezTo>
                  <a:cubicBezTo>
                    <a:pt x="318" y="528"/>
                    <a:pt x="318" y="528"/>
                    <a:pt x="318" y="528"/>
                  </a:cubicBezTo>
                  <a:cubicBezTo>
                    <a:pt x="358" y="528"/>
                    <a:pt x="384" y="500"/>
                    <a:pt x="401" y="463"/>
                  </a:cubicBezTo>
                  <a:cubicBezTo>
                    <a:pt x="463" y="335"/>
                    <a:pt x="463" y="335"/>
                    <a:pt x="463" y="335"/>
                  </a:cubicBezTo>
                  <a:cubicBezTo>
                    <a:pt x="471" y="314"/>
                    <a:pt x="500" y="307"/>
                    <a:pt x="524" y="307"/>
                  </a:cubicBezTo>
                  <a:cubicBezTo>
                    <a:pt x="546" y="307"/>
                    <a:pt x="572" y="313"/>
                    <a:pt x="582" y="332"/>
                  </a:cubicBezTo>
                  <a:cubicBezTo>
                    <a:pt x="645" y="463"/>
                    <a:pt x="645" y="463"/>
                    <a:pt x="645" y="463"/>
                  </a:cubicBezTo>
                  <a:cubicBezTo>
                    <a:pt x="665" y="501"/>
                    <a:pt x="689" y="528"/>
                    <a:pt x="728" y="528"/>
                  </a:cubicBezTo>
                  <a:cubicBezTo>
                    <a:pt x="912" y="528"/>
                    <a:pt x="912" y="528"/>
                    <a:pt x="912" y="528"/>
                  </a:cubicBezTo>
                  <a:cubicBezTo>
                    <a:pt x="951" y="528"/>
                    <a:pt x="986" y="501"/>
                    <a:pt x="995" y="463"/>
                  </a:cubicBezTo>
                  <a:cubicBezTo>
                    <a:pt x="1036" y="281"/>
                    <a:pt x="1036" y="281"/>
                    <a:pt x="1036" y="281"/>
                  </a:cubicBezTo>
                  <a:cubicBezTo>
                    <a:pt x="1046" y="236"/>
                    <a:pt x="1020" y="193"/>
                    <a:pt x="979" y="179"/>
                  </a:cubicBezTo>
                  <a:close/>
                </a:path>
              </a:pathLst>
            </a:custGeom>
            <a:solidFill>
              <a:srgbClr val="7BA0FF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345" tIns="37172" rIns="74345" bIns="37172" numCol="1" anchor="t" anchorCtr="0" compatLnSpc="1">
              <a:prstTxWarp prst="textNoShape">
                <a:avLst/>
              </a:prstTxWarp>
            </a:bodyPr>
            <a:lstStyle/>
            <a:p>
              <a:pPr defTabSz="743407">
                <a:lnSpc>
                  <a:spcPct val="90000"/>
                </a:lnSpc>
                <a:defRPr/>
              </a:pPr>
              <a:endParaRPr lang="en-US" sz="976" kern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536" name="Group 535">
            <a:extLst>
              <a:ext uri="{FF2B5EF4-FFF2-40B4-BE49-F238E27FC236}">
                <a16:creationId xmlns:a16="http://schemas.microsoft.com/office/drawing/2014/main" id="{00C567B8-9FDB-55A0-435C-AA273F0BC053}"/>
              </a:ext>
            </a:extLst>
          </p:cNvPr>
          <p:cNvGrpSpPr/>
          <p:nvPr/>
        </p:nvGrpSpPr>
        <p:grpSpPr>
          <a:xfrm>
            <a:off x="9599714" y="2128864"/>
            <a:ext cx="710254" cy="413213"/>
            <a:chOff x="10473906" y="1839171"/>
            <a:chExt cx="873576" cy="508230"/>
          </a:xfrm>
        </p:grpSpPr>
        <p:grpSp>
          <p:nvGrpSpPr>
            <p:cNvPr id="537" name="Group 536">
              <a:extLst>
                <a:ext uri="{FF2B5EF4-FFF2-40B4-BE49-F238E27FC236}">
                  <a16:creationId xmlns:a16="http://schemas.microsoft.com/office/drawing/2014/main" id="{955DB4E8-6179-8761-3E60-BC5715AB3CA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473906" y="1839171"/>
              <a:ext cx="421328" cy="484757"/>
              <a:chOff x="6194077" y="2362782"/>
              <a:chExt cx="229906" cy="264518"/>
            </a:xfrm>
          </p:grpSpPr>
          <p:sp>
            <p:nvSpPr>
              <p:cNvPr id="553" name="Oval 22">
                <a:extLst>
                  <a:ext uri="{FF2B5EF4-FFF2-40B4-BE49-F238E27FC236}">
                    <a16:creationId xmlns:a16="http://schemas.microsoft.com/office/drawing/2014/main" id="{B0A38230-3D60-BB75-D3DB-6B33BD3116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6334" y="2391362"/>
                <a:ext cx="80340" cy="80657"/>
              </a:xfrm>
              <a:prstGeom prst="ellipse">
                <a:avLst/>
              </a:prstGeom>
              <a:solidFill>
                <a:srgbClr val="7BA0FF">
                  <a:lumMod val="60000"/>
                  <a:lumOff val="4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13171F"/>
                  </a:solidFill>
                  <a:latin typeface="Calibri"/>
                </a:endParaRPr>
              </a:p>
            </p:txBody>
          </p:sp>
          <p:sp>
            <p:nvSpPr>
              <p:cNvPr id="554" name="Freeform 23">
                <a:extLst>
                  <a:ext uri="{FF2B5EF4-FFF2-40B4-BE49-F238E27FC236}">
                    <a16:creationId xmlns:a16="http://schemas.microsoft.com/office/drawing/2014/main" id="{6C564974-4588-4608-0738-AA2BADC036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89024" y="2364370"/>
                <a:ext cx="134959" cy="134958"/>
              </a:xfrm>
              <a:custGeom>
                <a:avLst/>
                <a:gdLst>
                  <a:gd name="T0" fmla="*/ 881 w 1763"/>
                  <a:gd name="T1" fmla="*/ 30 h 1763"/>
                  <a:gd name="T2" fmla="*/ 30 w 1763"/>
                  <a:gd name="T3" fmla="*/ 881 h 1763"/>
                  <a:gd name="T4" fmla="*/ 881 w 1763"/>
                  <a:gd name="T5" fmla="*/ 1733 h 1763"/>
                  <a:gd name="T6" fmla="*/ 1733 w 1763"/>
                  <a:gd name="T7" fmla="*/ 881 h 1763"/>
                  <a:gd name="T8" fmla="*/ 881 w 1763"/>
                  <a:gd name="T9" fmla="*/ 30 h 1763"/>
                  <a:gd name="T10" fmla="*/ 881 w 1763"/>
                  <a:gd name="T11" fmla="*/ 1763 h 1763"/>
                  <a:gd name="T12" fmla="*/ 538 w 1763"/>
                  <a:gd name="T13" fmla="*/ 1694 h 1763"/>
                  <a:gd name="T14" fmla="*/ 258 w 1763"/>
                  <a:gd name="T15" fmla="*/ 1505 h 1763"/>
                  <a:gd name="T16" fmla="*/ 69 w 1763"/>
                  <a:gd name="T17" fmla="*/ 1224 h 1763"/>
                  <a:gd name="T18" fmla="*/ 0 w 1763"/>
                  <a:gd name="T19" fmla="*/ 881 h 1763"/>
                  <a:gd name="T20" fmla="*/ 69 w 1763"/>
                  <a:gd name="T21" fmla="*/ 538 h 1763"/>
                  <a:gd name="T22" fmla="*/ 258 w 1763"/>
                  <a:gd name="T23" fmla="*/ 258 h 1763"/>
                  <a:gd name="T24" fmla="*/ 538 w 1763"/>
                  <a:gd name="T25" fmla="*/ 69 h 1763"/>
                  <a:gd name="T26" fmla="*/ 881 w 1763"/>
                  <a:gd name="T27" fmla="*/ 0 h 1763"/>
                  <a:gd name="T28" fmla="*/ 1224 w 1763"/>
                  <a:gd name="T29" fmla="*/ 69 h 1763"/>
                  <a:gd name="T30" fmla="*/ 1505 w 1763"/>
                  <a:gd name="T31" fmla="*/ 258 h 1763"/>
                  <a:gd name="T32" fmla="*/ 1694 w 1763"/>
                  <a:gd name="T33" fmla="*/ 538 h 1763"/>
                  <a:gd name="T34" fmla="*/ 1763 w 1763"/>
                  <a:gd name="T35" fmla="*/ 881 h 1763"/>
                  <a:gd name="T36" fmla="*/ 1694 w 1763"/>
                  <a:gd name="T37" fmla="*/ 1224 h 1763"/>
                  <a:gd name="T38" fmla="*/ 1505 w 1763"/>
                  <a:gd name="T39" fmla="*/ 1505 h 1763"/>
                  <a:gd name="T40" fmla="*/ 1224 w 1763"/>
                  <a:gd name="T41" fmla="*/ 1694 h 1763"/>
                  <a:gd name="T42" fmla="*/ 881 w 1763"/>
                  <a:gd name="T43" fmla="*/ 1763 h 17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63" h="1763">
                    <a:moveTo>
                      <a:pt x="881" y="30"/>
                    </a:moveTo>
                    <a:cubicBezTo>
                      <a:pt x="412" y="30"/>
                      <a:pt x="30" y="412"/>
                      <a:pt x="30" y="881"/>
                    </a:cubicBezTo>
                    <a:cubicBezTo>
                      <a:pt x="30" y="1351"/>
                      <a:pt x="412" y="1733"/>
                      <a:pt x="881" y="1733"/>
                    </a:cubicBezTo>
                    <a:cubicBezTo>
                      <a:pt x="1351" y="1733"/>
                      <a:pt x="1733" y="1351"/>
                      <a:pt x="1733" y="881"/>
                    </a:cubicBezTo>
                    <a:cubicBezTo>
                      <a:pt x="1733" y="412"/>
                      <a:pt x="1351" y="30"/>
                      <a:pt x="881" y="30"/>
                    </a:cubicBezTo>
                    <a:close/>
                    <a:moveTo>
                      <a:pt x="881" y="1763"/>
                    </a:moveTo>
                    <a:cubicBezTo>
                      <a:pt x="762" y="1763"/>
                      <a:pt x="647" y="1740"/>
                      <a:pt x="538" y="1694"/>
                    </a:cubicBezTo>
                    <a:cubicBezTo>
                      <a:pt x="433" y="1649"/>
                      <a:pt x="339" y="1586"/>
                      <a:pt x="258" y="1505"/>
                    </a:cubicBezTo>
                    <a:cubicBezTo>
                      <a:pt x="177" y="1424"/>
                      <a:pt x="114" y="1329"/>
                      <a:pt x="69" y="1224"/>
                    </a:cubicBezTo>
                    <a:cubicBezTo>
                      <a:pt x="23" y="1116"/>
                      <a:pt x="0" y="1000"/>
                      <a:pt x="0" y="881"/>
                    </a:cubicBezTo>
                    <a:cubicBezTo>
                      <a:pt x="0" y="762"/>
                      <a:pt x="23" y="647"/>
                      <a:pt x="69" y="538"/>
                    </a:cubicBezTo>
                    <a:cubicBezTo>
                      <a:pt x="114" y="433"/>
                      <a:pt x="177" y="339"/>
                      <a:pt x="258" y="258"/>
                    </a:cubicBezTo>
                    <a:cubicBezTo>
                      <a:pt x="339" y="177"/>
                      <a:pt x="433" y="113"/>
                      <a:pt x="538" y="69"/>
                    </a:cubicBezTo>
                    <a:cubicBezTo>
                      <a:pt x="647" y="23"/>
                      <a:pt x="762" y="0"/>
                      <a:pt x="881" y="0"/>
                    </a:cubicBezTo>
                    <a:cubicBezTo>
                      <a:pt x="1000" y="0"/>
                      <a:pt x="1116" y="23"/>
                      <a:pt x="1224" y="69"/>
                    </a:cubicBezTo>
                    <a:cubicBezTo>
                      <a:pt x="1329" y="113"/>
                      <a:pt x="1424" y="177"/>
                      <a:pt x="1505" y="258"/>
                    </a:cubicBezTo>
                    <a:cubicBezTo>
                      <a:pt x="1586" y="339"/>
                      <a:pt x="1649" y="433"/>
                      <a:pt x="1694" y="538"/>
                    </a:cubicBezTo>
                    <a:cubicBezTo>
                      <a:pt x="1740" y="647"/>
                      <a:pt x="1763" y="762"/>
                      <a:pt x="1763" y="881"/>
                    </a:cubicBezTo>
                    <a:cubicBezTo>
                      <a:pt x="1763" y="1000"/>
                      <a:pt x="1740" y="1116"/>
                      <a:pt x="1694" y="1224"/>
                    </a:cubicBezTo>
                    <a:cubicBezTo>
                      <a:pt x="1649" y="1329"/>
                      <a:pt x="1586" y="1424"/>
                      <a:pt x="1505" y="1505"/>
                    </a:cubicBezTo>
                    <a:cubicBezTo>
                      <a:pt x="1424" y="1586"/>
                      <a:pt x="1329" y="1649"/>
                      <a:pt x="1224" y="1694"/>
                    </a:cubicBezTo>
                    <a:cubicBezTo>
                      <a:pt x="1116" y="1740"/>
                      <a:pt x="1000" y="1763"/>
                      <a:pt x="881" y="1763"/>
                    </a:cubicBezTo>
                    <a:close/>
                  </a:path>
                </a:pathLst>
              </a:custGeom>
              <a:solidFill>
                <a:srgbClr val="7BA0FF">
                  <a:lumMod val="60000"/>
                  <a:lumOff val="4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13171F"/>
                  </a:solidFill>
                  <a:latin typeface="Calibri"/>
                </a:endParaRPr>
              </a:p>
            </p:txBody>
          </p:sp>
          <p:sp>
            <p:nvSpPr>
              <p:cNvPr id="555" name="Oval 24">
                <a:extLst>
                  <a:ext uri="{FF2B5EF4-FFF2-40B4-BE49-F238E27FC236}">
                    <a16:creationId xmlns:a16="http://schemas.microsoft.com/office/drawing/2014/main" id="{22B93EB8-632A-9E03-855E-2FF4988800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37292" y="2412955"/>
                <a:ext cx="38423" cy="38106"/>
              </a:xfrm>
              <a:prstGeom prst="ellipse">
                <a:avLst/>
              </a:prstGeom>
              <a:solidFill>
                <a:srgbClr val="7BA0FF"/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13171F"/>
                  </a:solidFill>
                  <a:latin typeface="Calibri"/>
                </a:endParaRPr>
              </a:p>
            </p:txBody>
          </p:sp>
          <p:sp>
            <p:nvSpPr>
              <p:cNvPr id="556" name="Freeform 25">
                <a:extLst>
                  <a:ext uri="{FF2B5EF4-FFF2-40B4-BE49-F238E27FC236}">
                    <a16:creationId xmlns:a16="http://schemas.microsoft.com/office/drawing/2014/main" id="{6F56B2DE-3351-13A4-14A6-6CDA3F82D1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7894" y="2362782"/>
                <a:ext cx="125433" cy="264518"/>
              </a:xfrm>
              <a:custGeom>
                <a:avLst/>
                <a:gdLst>
                  <a:gd name="T0" fmla="*/ 1593 w 1637"/>
                  <a:gd name="T1" fmla="*/ 916 h 3451"/>
                  <a:gd name="T2" fmla="*/ 1430 w 1637"/>
                  <a:gd name="T3" fmla="*/ 619 h 3451"/>
                  <a:gd name="T4" fmla="*/ 1332 w 1637"/>
                  <a:gd name="T5" fmla="*/ 70 h 3451"/>
                  <a:gd name="T6" fmla="*/ 1244 w 1637"/>
                  <a:gd name="T7" fmla="*/ 0 h 3451"/>
                  <a:gd name="T8" fmla="*/ 393 w 1637"/>
                  <a:gd name="T9" fmla="*/ 0 h 3451"/>
                  <a:gd name="T10" fmla="*/ 305 w 1637"/>
                  <a:gd name="T11" fmla="*/ 70 h 3451"/>
                  <a:gd name="T12" fmla="*/ 207 w 1637"/>
                  <a:gd name="T13" fmla="*/ 619 h 3451"/>
                  <a:gd name="T14" fmla="*/ 44 w 1637"/>
                  <a:gd name="T15" fmla="*/ 916 h 3451"/>
                  <a:gd name="T16" fmla="*/ 0 w 1637"/>
                  <a:gd name="T17" fmla="*/ 1016 h 3451"/>
                  <a:gd name="T18" fmla="*/ 0 w 1637"/>
                  <a:gd name="T19" fmla="*/ 2436 h 3451"/>
                  <a:gd name="T20" fmla="*/ 44 w 1637"/>
                  <a:gd name="T21" fmla="*/ 2536 h 3451"/>
                  <a:gd name="T22" fmla="*/ 207 w 1637"/>
                  <a:gd name="T23" fmla="*/ 2833 h 3451"/>
                  <a:gd name="T24" fmla="*/ 305 w 1637"/>
                  <a:gd name="T25" fmla="*/ 3382 h 3451"/>
                  <a:gd name="T26" fmla="*/ 393 w 1637"/>
                  <a:gd name="T27" fmla="*/ 3451 h 3451"/>
                  <a:gd name="T28" fmla="*/ 1244 w 1637"/>
                  <a:gd name="T29" fmla="*/ 3451 h 3451"/>
                  <a:gd name="T30" fmla="*/ 1332 w 1637"/>
                  <a:gd name="T31" fmla="*/ 3382 h 3451"/>
                  <a:gd name="T32" fmla="*/ 1430 w 1637"/>
                  <a:gd name="T33" fmla="*/ 2833 h 3451"/>
                  <a:gd name="T34" fmla="*/ 1593 w 1637"/>
                  <a:gd name="T35" fmla="*/ 2536 h 3451"/>
                  <a:gd name="T36" fmla="*/ 1637 w 1637"/>
                  <a:gd name="T37" fmla="*/ 2436 h 3451"/>
                  <a:gd name="T38" fmla="*/ 1637 w 1637"/>
                  <a:gd name="T39" fmla="*/ 1016 h 3451"/>
                  <a:gd name="T40" fmla="*/ 1593 w 1637"/>
                  <a:gd name="T41" fmla="*/ 916 h 3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37" h="3451">
                    <a:moveTo>
                      <a:pt x="1593" y="916"/>
                    </a:moveTo>
                    <a:cubicBezTo>
                      <a:pt x="1570" y="886"/>
                      <a:pt x="1516" y="794"/>
                      <a:pt x="1430" y="619"/>
                    </a:cubicBezTo>
                    <a:cubicBezTo>
                      <a:pt x="1373" y="499"/>
                      <a:pt x="1347" y="114"/>
                      <a:pt x="1332" y="70"/>
                    </a:cubicBezTo>
                    <a:cubicBezTo>
                      <a:pt x="1319" y="28"/>
                      <a:pt x="1283" y="0"/>
                      <a:pt x="1244" y="0"/>
                    </a:cubicBezTo>
                    <a:cubicBezTo>
                      <a:pt x="393" y="0"/>
                      <a:pt x="393" y="0"/>
                      <a:pt x="393" y="0"/>
                    </a:cubicBezTo>
                    <a:cubicBezTo>
                      <a:pt x="354" y="0"/>
                      <a:pt x="318" y="28"/>
                      <a:pt x="305" y="70"/>
                    </a:cubicBezTo>
                    <a:cubicBezTo>
                      <a:pt x="290" y="114"/>
                      <a:pt x="264" y="499"/>
                      <a:pt x="207" y="619"/>
                    </a:cubicBezTo>
                    <a:cubicBezTo>
                      <a:pt x="121" y="794"/>
                      <a:pt x="67" y="886"/>
                      <a:pt x="44" y="916"/>
                    </a:cubicBezTo>
                    <a:cubicBezTo>
                      <a:pt x="15" y="936"/>
                      <a:pt x="0" y="972"/>
                      <a:pt x="0" y="1016"/>
                    </a:cubicBezTo>
                    <a:cubicBezTo>
                      <a:pt x="0" y="2436"/>
                      <a:pt x="0" y="1016"/>
                      <a:pt x="0" y="2436"/>
                    </a:cubicBezTo>
                    <a:cubicBezTo>
                      <a:pt x="0" y="2480"/>
                      <a:pt x="15" y="2516"/>
                      <a:pt x="44" y="2536"/>
                    </a:cubicBezTo>
                    <a:cubicBezTo>
                      <a:pt x="67" y="2566"/>
                      <a:pt x="121" y="2658"/>
                      <a:pt x="207" y="2833"/>
                    </a:cubicBezTo>
                    <a:cubicBezTo>
                      <a:pt x="264" y="2952"/>
                      <a:pt x="290" y="3337"/>
                      <a:pt x="305" y="3382"/>
                    </a:cubicBezTo>
                    <a:cubicBezTo>
                      <a:pt x="318" y="3424"/>
                      <a:pt x="354" y="3451"/>
                      <a:pt x="393" y="3451"/>
                    </a:cubicBezTo>
                    <a:cubicBezTo>
                      <a:pt x="393" y="3451"/>
                      <a:pt x="393" y="3451"/>
                      <a:pt x="1244" y="3451"/>
                    </a:cubicBezTo>
                    <a:cubicBezTo>
                      <a:pt x="1283" y="3451"/>
                      <a:pt x="1319" y="3424"/>
                      <a:pt x="1332" y="3382"/>
                    </a:cubicBezTo>
                    <a:cubicBezTo>
                      <a:pt x="1347" y="3337"/>
                      <a:pt x="1373" y="2952"/>
                      <a:pt x="1430" y="2833"/>
                    </a:cubicBezTo>
                    <a:cubicBezTo>
                      <a:pt x="1516" y="2658"/>
                      <a:pt x="1570" y="2566"/>
                      <a:pt x="1593" y="2536"/>
                    </a:cubicBezTo>
                    <a:cubicBezTo>
                      <a:pt x="1622" y="2516"/>
                      <a:pt x="1637" y="2480"/>
                      <a:pt x="1637" y="2436"/>
                    </a:cubicBezTo>
                    <a:cubicBezTo>
                      <a:pt x="1637" y="1016"/>
                      <a:pt x="1637" y="2436"/>
                      <a:pt x="1637" y="1016"/>
                    </a:cubicBezTo>
                    <a:cubicBezTo>
                      <a:pt x="1637" y="972"/>
                      <a:pt x="1622" y="936"/>
                      <a:pt x="1593" y="916"/>
                    </a:cubicBezTo>
                    <a:close/>
                  </a:path>
                </a:pathLst>
              </a:custGeom>
              <a:solidFill>
                <a:srgbClr val="7BA0FF"/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13171F"/>
                  </a:solidFill>
                  <a:latin typeface="Calibri"/>
                </a:endParaRPr>
              </a:p>
            </p:txBody>
          </p:sp>
          <p:sp>
            <p:nvSpPr>
              <p:cNvPr id="557" name="Oval 26">
                <a:extLst>
                  <a:ext uri="{FF2B5EF4-FFF2-40B4-BE49-F238E27FC236}">
                    <a16:creationId xmlns:a16="http://schemas.microsoft.com/office/drawing/2014/main" id="{444CAC96-FCBB-DA2D-D4F4-BD59087B2D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94077" y="2408509"/>
                <a:ext cx="173065" cy="173064"/>
              </a:xfrm>
              <a:prstGeom prst="ellipse">
                <a:avLst/>
              </a:prstGeom>
              <a:solidFill>
                <a:srgbClr val="7BA0FF">
                  <a:lumMod val="60000"/>
                  <a:lumOff val="4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13171F"/>
                  </a:solidFill>
                  <a:latin typeface="Calibri"/>
                </a:endParaRPr>
              </a:p>
            </p:txBody>
          </p:sp>
          <p:sp>
            <p:nvSpPr>
              <p:cNvPr id="558" name="Oval 27">
                <a:extLst>
                  <a:ext uri="{FF2B5EF4-FFF2-40B4-BE49-F238E27FC236}">
                    <a16:creationId xmlns:a16="http://schemas.microsoft.com/office/drawing/2014/main" id="{7F08E4CE-3B92-E26F-F71F-AA4E9D7A3A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13765" y="2428198"/>
                <a:ext cx="133688" cy="133688"/>
              </a:xfrm>
              <a:prstGeom prst="ellipse">
                <a:avLst/>
              </a:prstGeom>
              <a:solidFill>
                <a:srgbClr val="7BA0FF">
                  <a:lumMod val="40000"/>
                  <a:lumOff val="6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13171F"/>
                  </a:solidFill>
                  <a:latin typeface="Calibri"/>
                </a:endParaRPr>
              </a:p>
            </p:txBody>
          </p:sp>
          <p:sp>
            <p:nvSpPr>
              <p:cNvPr id="559" name="Freeform 28">
                <a:extLst>
                  <a:ext uri="{FF2B5EF4-FFF2-40B4-BE49-F238E27FC236}">
                    <a16:creationId xmlns:a16="http://schemas.microsoft.com/office/drawing/2014/main" id="{A67BEDC2-9A33-06E5-B731-F792CA6F30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5236" y="2481228"/>
                <a:ext cx="13972" cy="27627"/>
              </a:xfrm>
              <a:custGeom>
                <a:avLst/>
                <a:gdLst>
                  <a:gd name="T0" fmla="*/ 0 w 180"/>
                  <a:gd name="T1" fmla="*/ 0 h 360"/>
                  <a:gd name="T2" fmla="*/ 180 w 180"/>
                  <a:gd name="T3" fmla="*/ 177 h 360"/>
                  <a:gd name="T4" fmla="*/ 0 w 180"/>
                  <a:gd name="T5" fmla="*/ 360 h 360"/>
                  <a:gd name="T6" fmla="*/ 0 w 180"/>
                  <a:gd name="T7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60">
                    <a:moveTo>
                      <a:pt x="0" y="0"/>
                    </a:moveTo>
                    <a:cubicBezTo>
                      <a:pt x="104" y="0"/>
                      <a:pt x="180" y="80"/>
                      <a:pt x="180" y="177"/>
                    </a:cubicBezTo>
                    <a:cubicBezTo>
                      <a:pt x="180" y="279"/>
                      <a:pt x="104" y="360"/>
                      <a:pt x="0" y="36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BA0FF">
                  <a:lumMod val="60000"/>
                  <a:lumOff val="4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13171F"/>
                  </a:solidFill>
                  <a:latin typeface="Calibri"/>
                </a:endParaRPr>
              </a:p>
            </p:txBody>
          </p:sp>
        </p:grpSp>
        <p:grpSp>
          <p:nvGrpSpPr>
            <p:cNvPr id="538" name="Group 537">
              <a:extLst>
                <a:ext uri="{FF2B5EF4-FFF2-40B4-BE49-F238E27FC236}">
                  <a16:creationId xmlns:a16="http://schemas.microsoft.com/office/drawing/2014/main" id="{FFC9D3AD-DC79-1B19-F379-99E97E18B2F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904736" y="1907742"/>
              <a:ext cx="442746" cy="439659"/>
              <a:chOff x="991378" y="2969795"/>
              <a:chExt cx="1625106" cy="1613780"/>
            </a:xfrm>
          </p:grpSpPr>
          <p:grpSp>
            <p:nvGrpSpPr>
              <p:cNvPr id="539" name="Group 538">
                <a:extLst>
                  <a:ext uri="{FF2B5EF4-FFF2-40B4-BE49-F238E27FC236}">
                    <a16:creationId xmlns:a16="http://schemas.microsoft.com/office/drawing/2014/main" id="{470C6D13-484C-BEC1-E4D8-59C2C1CF542E}"/>
                  </a:ext>
                </a:extLst>
              </p:cNvPr>
              <p:cNvGrpSpPr/>
              <p:nvPr/>
            </p:nvGrpSpPr>
            <p:grpSpPr>
              <a:xfrm>
                <a:off x="1829785" y="2969795"/>
                <a:ext cx="786699" cy="780717"/>
                <a:chOff x="1829785" y="2969795"/>
                <a:chExt cx="786699" cy="780717"/>
              </a:xfrm>
            </p:grpSpPr>
            <p:sp>
              <p:nvSpPr>
                <p:cNvPr id="551" name="Oval 550">
                  <a:extLst>
                    <a:ext uri="{FF2B5EF4-FFF2-40B4-BE49-F238E27FC236}">
                      <a16:creationId xmlns:a16="http://schemas.microsoft.com/office/drawing/2014/main" id="{512B7059-DF4E-9843-C493-70819F445A4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829785" y="2969795"/>
                  <a:ext cx="786699" cy="780717"/>
                </a:xfrm>
                <a:prstGeom prst="ellipse">
                  <a:avLst/>
                </a:prstGeom>
                <a:solidFill>
                  <a:srgbClr val="7BA0FF">
                    <a:lumMod val="40000"/>
                    <a:lumOff val="60000"/>
                  </a:srgbClr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743407">
                    <a:lnSpc>
                      <a:spcPct val="90000"/>
                    </a:lnSpc>
                    <a:defRPr/>
                  </a:pPr>
                  <a:endParaRPr lang="en-US" sz="976" kern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552" name="Freeform 539">
                  <a:extLst>
                    <a:ext uri="{FF2B5EF4-FFF2-40B4-BE49-F238E27FC236}">
                      <a16:creationId xmlns:a16="http://schemas.microsoft.com/office/drawing/2014/main" id="{86A6018C-59C0-7379-85D4-75BD2F7E19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2664" y="3061526"/>
                  <a:ext cx="602450" cy="597253"/>
                </a:xfrm>
                <a:custGeom>
                  <a:avLst/>
                  <a:gdLst>
                    <a:gd name="T0" fmla="*/ 444 w 449"/>
                    <a:gd name="T1" fmla="*/ 218 h 448"/>
                    <a:gd name="T2" fmla="*/ 365 w 449"/>
                    <a:gd name="T3" fmla="*/ 139 h 448"/>
                    <a:gd name="T4" fmla="*/ 346 w 449"/>
                    <a:gd name="T5" fmla="*/ 146 h 448"/>
                    <a:gd name="T6" fmla="*/ 346 w 449"/>
                    <a:gd name="T7" fmla="*/ 189 h 448"/>
                    <a:gd name="T8" fmla="*/ 260 w 449"/>
                    <a:gd name="T9" fmla="*/ 189 h 448"/>
                    <a:gd name="T10" fmla="*/ 260 w 449"/>
                    <a:gd name="T11" fmla="*/ 102 h 448"/>
                    <a:gd name="T12" fmla="*/ 302 w 449"/>
                    <a:gd name="T13" fmla="*/ 102 h 448"/>
                    <a:gd name="T14" fmla="*/ 310 w 449"/>
                    <a:gd name="T15" fmla="*/ 84 h 448"/>
                    <a:gd name="T16" fmla="*/ 234 w 449"/>
                    <a:gd name="T17" fmla="*/ 4 h 448"/>
                    <a:gd name="T18" fmla="*/ 218 w 449"/>
                    <a:gd name="T19" fmla="*/ 4 h 448"/>
                    <a:gd name="T20" fmla="*/ 139 w 449"/>
                    <a:gd name="T21" fmla="*/ 84 h 448"/>
                    <a:gd name="T22" fmla="*/ 147 w 449"/>
                    <a:gd name="T23" fmla="*/ 103 h 448"/>
                    <a:gd name="T24" fmla="*/ 189 w 449"/>
                    <a:gd name="T25" fmla="*/ 103 h 448"/>
                    <a:gd name="T26" fmla="*/ 189 w 449"/>
                    <a:gd name="T27" fmla="*/ 189 h 448"/>
                    <a:gd name="T28" fmla="*/ 103 w 449"/>
                    <a:gd name="T29" fmla="*/ 189 h 448"/>
                    <a:gd name="T30" fmla="*/ 103 w 449"/>
                    <a:gd name="T31" fmla="*/ 146 h 448"/>
                    <a:gd name="T32" fmla="*/ 84 w 449"/>
                    <a:gd name="T33" fmla="*/ 138 h 448"/>
                    <a:gd name="T34" fmla="*/ 5 w 449"/>
                    <a:gd name="T35" fmla="*/ 214 h 448"/>
                    <a:gd name="T36" fmla="*/ 4 w 449"/>
                    <a:gd name="T37" fmla="*/ 230 h 448"/>
                    <a:gd name="T38" fmla="*/ 84 w 449"/>
                    <a:gd name="T39" fmla="*/ 310 h 448"/>
                    <a:gd name="T40" fmla="*/ 103 w 449"/>
                    <a:gd name="T41" fmla="*/ 302 h 448"/>
                    <a:gd name="T42" fmla="*/ 103 w 449"/>
                    <a:gd name="T43" fmla="*/ 259 h 448"/>
                    <a:gd name="T44" fmla="*/ 189 w 449"/>
                    <a:gd name="T45" fmla="*/ 259 h 448"/>
                    <a:gd name="T46" fmla="*/ 189 w 449"/>
                    <a:gd name="T47" fmla="*/ 346 h 448"/>
                    <a:gd name="T48" fmla="*/ 147 w 449"/>
                    <a:gd name="T49" fmla="*/ 346 h 448"/>
                    <a:gd name="T50" fmla="*/ 139 w 449"/>
                    <a:gd name="T51" fmla="*/ 364 h 448"/>
                    <a:gd name="T52" fmla="*/ 215 w 449"/>
                    <a:gd name="T53" fmla="*/ 444 h 448"/>
                    <a:gd name="T54" fmla="*/ 230 w 449"/>
                    <a:gd name="T55" fmla="*/ 444 h 448"/>
                    <a:gd name="T56" fmla="*/ 310 w 449"/>
                    <a:gd name="T57" fmla="*/ 364 h 448"/>
                    <a:gd name="T58" fmla="*/ 302 w 449"/>
                    <a:gd name="T59" fmla="*/ 346 h 448"/>
                    <a:gd name="T60" fmla="*/ 260 w 449"/>
                    <a:gd name="T61" fmla="*/ 346 h 448"/>
                    <a:gd name="T62" fmla="*/ 260 w 449"/>
                    <a:gd name="T63" fmla="*/ 259 h 448"/>
                    <a:gd name="T64" fmla="*/ 346 w 449"/>
                    <a:gd name="T65" fmla="*/ 259 h 448"/>
                    <a:gd name="T66" fmla="*/ 346 w 449"/>
                    <a:gd name="T67" fmla="*/ 302 h 448"/>
                    <a:gd name="T68" fmla="*/ 365 w 449"/>
                    <a:gd name="T69" fmla="*/ 310 h 448"/>
                    <a:gd name="T70" fmla="*/ 444 w 449"/>
                    <a:gd name="T71" fmla="*/ 234 h 448"/>
                    <a:gd name="T72" fmla="*/ 444 w 449"/>
                    <a:gd name="T73" fmla="*/ 218 h 4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449" h="448">
                      <a:moveTo>
                        <a:pt x="444" y="218"/>
                      </a:moveTo>
                      <a:cubicBezTo>
                        <a:pt x="365" y="139"/>
                        <a:pt x="365" y="139"/>
                        <a:pt x="365" y="139"/>
                      </a:cubicBezTo>
                      <a:cubicBezTo>
                        <a:pt x="358" y="132"/>
                        <a:pt x="346" y="137"/>
                        <a:pt x="346" y="146"/>
                      </a:cubicBezTo>
                      <a:cubicBezTo>
                        <a:pt x="346" y="189"/>
                        <a:pt x="346" y="189"/>
                        <a:pt x="346" y="189"/>
                      </a:cubicBezTo>
                      <a:cubicBezTo>
                        <a:pt x="260" y="189"/>
                        <a:pt x="260" y="189"/>
                        <a:pt x="260" y="189"/>
                      </a:cubicBezTo>
                      <a:cubicBezTo>
                        <a:pt x="260" y="102"/>
                        <a:pt x="260" y="102"/>
                        <a:pt x="260" y="102"/>
                      </a:cubicBezTo>
                      <a:cubicBezTo>
                        <a:pt x="302" y="102"/>
                        <a:pt x="302" y="102"/>
                        <a:pt x="302" y="102"/>
                      </a:cubicBezTo>
                      <a:cubicBezTo>
                        <a:pt x="312" y="102"/>
                        <a:pt x="317" y="91"/>
                        <a:pt x="310" y="84"/>
                      </a:cubicBezTo>
                      <a:cubicBezTo>
                        <a:pt x="234" y="4"/>
                        <a:pt x="234" y="4"/>
                        <a:pt x="234" y="4"/>
                      </a:cubicBezTo>
                      <a:cubicBezTo>
                        <a:pt x="230" y="0"/>
                        <a:pt x="223" y="0"/>
                        <a:pt x="218" y="4"/>
                      </a:cubicBezTo>
                      <a:cubicBezTo>
                        <a:pt x="139" y="84"/>
                        <a:pt x="139" y="84"/>
                        <a:pt x="139" y="84"/>
                      </a:cubicBezTo>
                      <a:cubicBezTo>
                        <a:pt x="132" y="91"/>
                        <a:pt x="137" y="103"/>
                        <a:pt x="147" y="103"/>
                      </a:cubicBezTo>
                      <a:cubicBezTo>
                        <a:pt x="189" y="103"/>
                        <a:pt x="189" y="103"/>
                        <a:pt x="189" y="103"/>
                      </a:cubicBezTo>
                      <a:cubicBezTo>
                        <a:pt x="189" y="189"/>
                        <a:pt x="189" y="189"/>
                        <a:pt x="189" y="189"/>
                      </a:cubicBezTo>
                      <a:cubicBezTo>
                        <a:pt x="103" y="189"/>
                        <a:pt x="103" y="189"/>
                        <a:pt x="103" y="189"/>
                      </a:cubicBezTo>
                      <a:cubicBezTo>
                        <a:pt x="103" y="146"/>
                        <a:pt x="103" y="146"/>
                        <a:pt x="103" y="146"/>
                      </a:cubicBezTo>
                      <a:cubicBezTo>
                        <a:pt x="103" y="137"/>
                        <a:pt x="91" y="132"/>
                        <a:pt x="84" y="138"/>
                      </a:cubicBezTo>
                      <a:cubicBezTo>
                        <a:pt x="5" y="214"/>
                        <a:pt x="5" y="214"/>
                        <a:pt x="5" y="214"/>
                      </a:cubicBezTo>
                      <a:cubicBezTo>
                        <a:pt x="0" y="219"/>
                        <a:pt x="0" y="226"/>
                        <a:pt x="4" y="230"/>
                      </a:cubicBezTo>
                      <a:cubicBezTo>
                        <a:pt x="84" y="310"/>
                        <a:pt x="84" y="310"/>
                        <a:pt x="84" y="310"/>
                      </a:cubicBezTo>
                      <a:cubicBezTo>
                        <a:pt x="91" y="316"/>
                        <a:pt x="103" y="312"/>
                        <a:pt x="103" y="302"/>
                      </a:cubicBezTo>
                      <a:cubicBezTo>
                        <a:pt x="103" y="259"/>
                        <a:pt x="103" y="259"/>
                        <a:pt x="103" y="259"/>
                      </a:cubicBezTo>
                      <a:cubicBezTo>
                        <a:pt x="189" y="259"/>
                        <a:pt x="189" y="259"/>
                        <a:pt x="189" y="259"/>
                      </a:cubicBezTo>
                      <a:cubicBezTo>
                        <a:pt x="189" y="346"/>
                        <a:pt x="189" y="346"/>
                        <a:pt x="189" y="346"/>
                      </a:cubicBezTo>
                      <a:cubicBezTo>
                        <a:pt x="147" y="346"/>
                        <a:pt x="147" y="346"/>
                        <a:pt x="147" y="346"/>
                      </a:cubicBezTo>
                      <a:cubicBezTo>
                        <a:pt x="137" y="346"/>
                        <a:pt x="132" y="357"/>
                        <a:pt x="139" y="364"/>
                      </a:cubicBezTo>
                      <a:cubicBezTo>
                        <a:pt x="215" y="444"/>
                        <a:pt x="215" y="444"/>
                        <a:pt x="215" y="444"/>
                      </a:cubicBezTo>
                      <a:cubicBezTo>
                        <a:pt x="219" y="448"/>
                        <a:pt x="226" y="448"/>
                        <a:pt x="230" y="444"/>
                      </a:cubicBezTo>
                      <a:cubicBezTo>
                        <a:pt x="310" y="364"/>
                        <a:pt x="310" y="364"/>
                        <a:pt x="310" y="364"/>
                      </a:cubicBezTo>
                      <a:cubicBezTo>
                        <a:pt x="317" y="358"/>
                        <a:pt x="312" y="346"/>
                        <a:pt x="302" y="346"/>
                      </a:cubicBezTo>
                      <a:cubicBezTo>
                        <a:pt x="260" y="346"/>
                        <a:pt x="260" y="346"/>
                        <a:pt x="260" y="346"/>
                      </a:cubicBezTo>
                      <a:cubicBezTo>
                        <a:pt x="260" y="259"/>
                        <a:pt x="260" y="259"/>
                        <a:pt x="260" y="259"/>
                      </a:cubicBezTo>
                      <a:cubicBezTo>
                        <a:pt x="346" y="259"/>
                        <a:pt x="346" y="259"/>
                        <a:pt x="346" y="259"/>
                      </a:cubicBezTo>
                      <a:cubicBezTo>
                        <a:pt x="346" y="302"/>
                        <a:pt x="346" y="302"/>
                        <a:pt x="346" y="302"/>
                      </a:cubicBezTo>
                      <a:cubicBezTo>
                        <a:pt x="346" y="311"/>
                        <a:pt x="358" y="316"/>
                        <a:pt x="365" y="310"/>
                      </a:cubicBezTo>
                      <a:cubicBezTo>
                        <a:pt x="444" y="234"/>
                        <a:pt x="444" y="234"/>
                        <a:pt x="444" y="234"/>
                      </a:cubicBezTo>
                      <a:cubicBezTo>
                        <a:pt x="449" y="230"/>
                        <a:pt x="449" y="223"/>
                        <a:pt x="444" y="218"/>
                      </a:cubicBezTo>
                      <a:close/>
                    </a:path>
                  </a:pathLst>
                </a:custGeom>
                <a:solidFill>
                  <a:srgbClr val="7BA0FF">
                    <a:lumMod val="100000"/>
                  </a:srgbClr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743407">
                    <a:lnSpc>
                      <a:spcPct val="90000"/>
                    </a:lnSpc>
                    <a:defRPr/>
                  </a:pPr>
                  <a:endParaRPr lang="en-US" sz="976" kern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</p:grpSp>
          <p:grpSp>
            <p:nvGrpSpPr>
              <p:cNvPr id="540" name="Group 539">
                <a:extLst>
                  <a:ext uri="{FF2B5EF4-FFF2-40B4-BE49-F238E27FC236}">
                    <a16:creationId xmlns:a16="http://schemas.microsoft.com/office/drawing/2014/main" id="{2C63238E-8AE6-D7FC-4AD9-E0A37B12514B}"/>
                  </a:ext>
                </a:extLst>
              </p:cNvPr>
              <p:cNvGrpSpPr/>
              <p:nvPr/>
            </p:nvGrpSpPr>
            <p:grpSpPr>
              <a:xfrm>
                <a:off x="991378" y="2969795"/>
                <a:ext cx="786196" cy="780717"/>
                <a:chOff x="991378" y="2969795"/>
                <a:chExt cx="786196" cy="780717"/>
              </a:xfrm>
            </p:grpSpPr>
            <p:sp>
              <p:nvSpPr>
                <p:cNvPr id="549" name="Oval 548">
                  <a:extLst>
                    <a:ext uri="{FF2B5EF4-FFF2-40B4-BE49-F238E27FC236}">
                      <a16:creationId xmlns:a16="http://schemas.microsoft.com/office/drawing/2014/main" id="{D3494AFF-0ACC-C8AD-9C30-D46BB8A5336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91378" y="2969795"/>
                  <a:ext cx="786196" cy="780717"/>
                </a:xfrm>
                <a:prstGeom prst="ellipse">
                  <a:avLst/>
                </a:prstGeom>
                <a:solidFill>
                  <a:srgbClr val="7BA0FF">
                    <a:lumMod val="40000"/>
                    <a:lumOff val="60000"/>
                  </a:srgbClr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743407">
                    <a:lnSpc>
                      <a:spcPct val="90000"/>
                    </a:lnSpc>
                    <a:defRPr/>
                  </a:pPr>
                  <a:endParaRPr lang="en-US" sz="976" kern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550" name="Freeform: Shape 25">
                  <a:extLst>
                    <a:ext uri="{FF2B5EF4-FFF2-40B4-BE49-F238E27FC236}">
                      <a16:creationId xmlns:a16="http://schemas.microsoft.com/office/drawing/2014/main" id="{EE9D4CFB-5443-622E-FA72-7F001E89C7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95803" y="3073492"/>
                  <a:ext cx="576106" cy="573324"/>
                </a:xfrm>
                <a:custGeom>
                  <a:avLst/>
                  <a:gdLst>
                    <a:gd name="connsiteX0" fmla="*/ 345189 w 682366"/>
                    <a:gd name="connsiteY0" fmla="*/ 523284 h 683837"/>
                    <a:gd name="connsiteX1" fmla="*/ 377003 w 682366"/>
                    <a:gd name="connsiteY1" fmla="*/ 555077 h 683837"/>
                    <a:gd name="connsiteX2" fmla="*/ 375412 w 682366"/>
                    <a:gd name="connsiteY2" fmla="*/ 653634 h 683837"/>
                    <a:gd name="connsiteX3" fmla="*/ 345189 w 682366"/>
                    <a:gd name="connsiteY3" fmla="*/ 683837 h 683837"/>
                    <a:gd name="connsiteX4" fmla="*/ 313376 w 682366"/>
                    <a:gd name="connsiteY4" fmla="*/ 652044 h 683837"/>
                    <a:gd name="connsiteX5" fmla="*/ 314967 w 682366"/>
                    <a:gd name="connsiteY5" fmla="*/ 555077 h 683837"/>
                    <a:gd name="connsiteX6" fmla="*/ 345189 w 682366"/>
                    <a:gd name="connsiteY6" fmla="*/ 523284 h 683837"/>
                    <a:gd name="connsiteX7" fmla="*/ 193756 w 682366"/>
                    <a:gd name="connsiteY7" fmla="*/ 464027 h 683837"/>
                    <a:gd name="connsiteX8" fmla="*/ 216021 w 682366"/>
                    <a:gd name="connsiteY8" fmla="*/ 473569 h 683837"/>
                    <a:gd name="connsiteX9" fmla="*/ 216021 w 682366"/>
                    <a:gd name="connsiteY9" fmla="*/ 518098 h 683837"/>
                    <a:gd name="connsiteX10" fmla="*/ 146046 w 682366"/>
                    <a:gd name="connsiteY10" fmla="*/ 586482 h 683837"/>
                    <a:gd name="connsiteX11" fmla="*/ 101517 w 682366"/>
                    <a:gd name="connsiteY11" fmla="*/ 584892 h 683837"/>
                    <a:gd name="connsiteX12" fmla="*/ 101517 w 682366"/>
                    <a:gd name="connsiteY12" fmla="*/ 541953 h 683837"/>
                    <a:gd name="connsiteX13" fmla="*/ 171491 w 682366"/>
                    <a:gd name="connsiteY13" fmla="*/ 473569 h 683837"/>
                    <a:gd name="connsiteX14" fmla="*/ 193756 w 682366"/>
                    <a:gd name="connsiteY14" fmla="*/ 464027 h 683837"/>
                    <a:gd name="connsiteX15" fmla="*/ 494839 w 682366"/>
                    <a:gd name="connsiteY15" fmla="*/ 458666 h 683837"/>
                    <a:gd name="connsiteX16" fmla="*/ 516508 w 682366"/>
                    <a:gd name="connsiteY16" fmla="*/ 467586 h 683837"/>
                    <a:gd name="connsiteX17" fmla="*/ 584892 w 682366"/>
                    <a:gd name="connsiteY17" fmla="*/ 537357 h 683837"/>
                    <a:gd name="connsiteX18" fmla="*/ 584892 w 682366"/>
                    <a:gd name="connsiteY18" fmla="*/ 581756 h 683837"/>
                    <a:gd name="connsiteX19" fmla="*/ 540362 w 682366"/>
                    <a:gd name="connsiteY19" fmla="*/ 580171 h 683837"/>
                    <a:gd name="connsiteX20" fmla="*/ 471978 w 682366"/>
                    <a:gd name="connsiteY20" fmla="*/ 511985 h 683837"/>
                    <a:gd name="connsiteX21" fmla="*/ 471978 w 682366"/>
                    <a:gd name="connsiteY21" fmla="*/ 467586 h 683837"/>
                    <a:gd name="connsiteX22" fmla="*/ 494839 w 682366"/>
                    <a:gd name="connsiteY22" fmla="*/ 458666 h 683837"/>
                    <a:gd name="connsiteX23" fmla="*/ 31754 w 682366"/>
                    <a:gd name="connsiteY23" fmla="*/ 314967 h 683837"/>
                    <a:gd name="connsiteX24" fmla="*/ 128603 w 682366"/>
                    <a:gd name="connsiteY24" fmla="*/ 314967 h 683837"/>
                    <a:gd name="connsiteX25" fmla="*/ 158769 w 682366"/>
                    <a:gd name="connsiteY25" fmla="*/ 346780 h 683837"/>
                    <a:gd name="connsiteX26" fmla="*/ 128603 w 682366"/>
                    <a:gd name="connsiteY26" fmla="*/ 377003 h 683837"/>
                    <a:gd name="connsiteX27" fmla="*/ 30166 w 682366"/>
                    <a:gd name="connsiteY27" fmla="*/ 377003 h 683837"/>
                    <a:gd name="connsiteX28" fmla="*/ 0 w 682366"/>
                    <a:gd name="connsiteY28" fmla="*/ 345190 h 683837"/>
                    <a:gd name="connsiteX29" fmla="*/ 31754 w 682366"/>
                    <a:gd name="connsiteY29" fmla="*/ 314967 h 683837"/>
                    <a:gd name="connsiteX30" fmla="*/ 555076 w 682366"/>
                    <a:gd name="connsiteY30" fmla="*/ 306835 h 683837"/>
                    <a:gd name="connsiteX31" fmla="*/ 652043 w 682366"/>
                    <a:gd name="connsiteY31" fmla="*/ 308426 h 683837"/>
                    <a:gd name="connsiteX32" fmla="*/ 682246 w 682366"/>
                    <a:gd name="connsiteY32" fmla="*/ 338649 h 683837"/>
                    <a:gd name="connsiteX33" fmla="*/ 652043 w 682366"/>
                    <a:gd name="connsiteY33" fmla="*/ 370462 h 683837"/>
                    <a:gd name="connsiteX34" fmla="*/ 553486 w 682366"/>
                    <a:gd name="connsiteY34" fmla="*/ 368871 h 683837"/>
                    <a:gd name="connsiteX35" fmla="*/ 523283 w 682366"/>
                    <a:gd name="connsiteY35" fmla="*/ 337058 h 683837"/>
                    <a:gd name="connsiteX36" fmla="*/ 555076 w 682366"/>
                    <a:gd name="connsiteY36" fmla="*/ 306835 h 683837"/>
                    <a:gd name="connsiteX37" fmla="*/ 341919 w 682366"/>
                    <a:gd name="connsiteY37" fmla="*/ 247965 h 683837"/>
                    <a:gd name="connsiteX38" fmla="*/ 435873 w 682366"/>
                    <a:gd name="connsiteY38" fmla="*/ 341919 h 683837"/>
                    <a:gd name="connsiteX39" fmla="*/ 341919 w 682366"/>
                    <a:gd name="connsiteY39" fmla="*/ 435873 h 683837"/>
                    <a:gd name="connsiteX40" fmla="*/ 247965 w 682366"/>
                    <a:gd name="connsiteY40" fmla="*/ 341919 h 683837"/>
                    <a:gd name="connsiteX41" fmla="*/ 341919 w 682366"/>
                    <a:gd name="connsiteY41" fmla="*/ 247965 h 683837"/>
                    <a:gd name="connsiteX42" fmla="*/ 119621 w 682366"/>
                    <a:gd name="connsiteY42" fmla="*/ 93570 h 683837"/>
                    <a:gd name="connsiteX43" fmla="*/ 141289 w 682366"/>
                    <a:gd name="connsiteY43" fmla="*/ 103125 h 683837"/>
                    <a:gd name="connsiteX44" fmla="*/ 209673 w 682366"/>
                    <a:gd name="connsiteY44" fmla="*/ 171604 h 683837"/>
                    <a:gd name="connsiteX45" fmla="*/ 209673 w 682366"/>
                    <a:gd name="connsiteY45" fmla="*/ 216195 h 683837"/>
                    <a:gd name="connsiteX46" fmla="*/ 165144 w 682366"/>
                    <a:gd name="connsiteY46" fmla="*/ 216195 h 683837"/>
                    <a:gd name="connsiteX47" fmla="*/ 96760 w 682366"/>
                    <a:gd name="connsiteY47" fmla="*/ 146124 h 683837"/>
                    <a:gd name="connsiteX48" fmla="*/ 96760 w 682366"/>
                    <a:gd name="connsiteY48" fmla="*/ 103125 h 683837"/>
                    <a:gd name="connsiteX49" fmla="*/ 119621 w 682366"/>
                    <a:gd name="connsiteY49" fmla="*/ 93570 h 683837"/>
                    <a:gd name="connsiteX50" fmla="*/ 558763 w 682366"/>
                    <a:gd name="connsiteY50" fmla="*/ 88809 h 683837"/>
                    <a:gd name="connsiteX51" fmla="*/ 580170 w 682366"/>
                    <a:gd name="connsiteY51" fmla="*/ 98351 h 683837"/>
                    <a:gd name="connsiteX52" fmla="*/ 580170 w 682366"/>
                    <a:gd name="connsiteY52" fmla="*/ 142880 h 683837"/>
                    <a:gd name="connsiteX53" fmla="*/ 510399 w 682366"/>
                    <a:gd name="connsiteY53" fmla="*/ 211264 h 683837"/>
                    <a:gd name="connsiteX54" fmla="*/ 467585 w 682366"/>
                    <a:gd name="connsiteY54" fmla="*/ 209674 h 683837"/>
                    <a:gd name="connsiteX55" fmla="*/ 467585 w 682366"/>
                    <a:gd name="connsiteY55" fmla="*/ 166735 h 683837"/>
                    <a:gd name="connsiteX56" fmla="*/ 537356 w 682366"/>
                    <a:gd name="connsiteY56" fmla="*/ 98351 h 683837"/>
                    <a:gd name="connsiteX57" fmla="*/ 558763 w 682366"/>
                    <a:gd name="connsiteY57" fmla="*/ 88809 h 683837"/>
                    <a:gd name="connsiteX58" fmla="*/ 338454 w 682366"/>
                    <a:gd name="connsiteY58" fmla="*/ 0 h 683837"/>
                    <a:gd name="connsiteX59" fmla="*/ 368677 w 682366"/>
                    <a:gd name="connsiteY59" fmla="*/ 31793 h 683837"/>
                    <a:gd name="connsiteX60" fmla="*/ 368677 w 682366"/>
                    <a:gd name="connsiteY60" fmla="*/ 128760 h 683837"/>
                    <a:gd name="connsiteX61" fmla="*/ 336863 w 682366"/>
                    <a:gd name="connsiteY61" fmla="*/ 160553 h 683837"/>
                    <a:gd name="connsiteX62" fmla="*/ 306641 w 682366"/>
                    <a:gd name="connsiteY62" fmla="*/ 128760 h 683837"/>
                    <a:gd name="connsiteX63" fmla="*/ 306641 w 682366"/>
                    <a:gd name="connsiteY63" fmla="*/ 31793 h 683837"/>
                    <a:gd name="connsiteX64" fmla="*/ 338454 w 682366"/>
                    <a:gd name="connsiteY64" fmla="*/ 0 h 6838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</a:cxnLst>
                  <a:rect l="l" t="t" r="r" b="b"/>
                  <a:pathLst>
                    <a:path w="682366" h="683837">
                      <a:moveTo>
                        <a:pt x="345189" y="523284"/>
                      </a:moveTo>
                      <a:cubicBezTo>
                        <a:pt x="362687" y="524874"/>
                        <a:pt x="377003" y="537591"/>
                        <a:pt x="377003" y="555077"/>
                      </a:cubicBezTo>
                      <a:cubicBezTo>
                        <a:pt x="377003" y="555077"/>
                        <a:pt x="377003" y="555077"/>
                        <a:pt x="375412" y="653634"/>
                      </a:cubicBezTo>
                      <a:cubicBezTo>
                        <a:pt x="375412" y="669530"/>
                        <a:pt x="361096" y="683837"/>
                        <a:pt x="345189" y="683837"/>
                      </a:cubicBezTo>
                      <a:cubicBezTo>
                        <a:pt x="327692" y="683837"/>
                        <a:pt x="313376" y="669530"/>
                        <a:pt x="313376" y="652044"/>
                      </a:cubicBezTo>
                      <a:cubicBezTo>
                        <a:pt x="313376" y="652044"/>
                        <a:pt x="313376" y="652044"/>
                        <a:pt x="314967" y="555077"/>
                      </a:cubicBezTo>
                      <a:cubicBezTo>
                        <a:pt x="314967" y="537591"/>
                        <a:pt x="329283" y="523284"/>
                        <a:pt x="345189" y="523284"/>
                      </a:cubicBezTo>
                      <a:close/>
                      <a:moveTo>
                        <a:pt x="193756" y="464027"/>
                      </a:moveTo>
                      <a:cubicBezTo>
                        <a:pt x="201708" y="464027"/>
                        <a:pt x="209659" y="467207"/>
                        <a:pt x="216021" y="473569"/>
                      </a:cubicBezTo>
                      <a:cubicBezTo>
                        <a:pt x="227153" y="486291"/>
                        <a:pt x="227153" y="505375"/>
                        <a:pt x="216021" y="518098"/>
                      </a:cubicBezTo>
                      <a:cubicBezTo>
                        <a:pt x="216021" y="518098"/>
                        <a:pt x="216021" y="518098"/>
                        <a:pt x="146046" y="586482"/>
                      </a:cubicBezTo>
                      <a:cubicBezTo>
                        <a:pt x="133324" y="597614"/>
                        <a:pt x="114240" y="597614"/>
                        <a:pt x="101517" y="584892"/>
                      </a:cubicBezTo>
                      <a:cubicBezTo>
                        <a:pt x="90385" y="573759"/>
                        <a:pt x="90385" y="553085"/>
                        <a:pt x="101517" y="541953"/>
                      </a:cubicBezTo>
                      <a:cubicBezTo>
                        <a:pt x="101517" y="541953"/>
                        <a:pt x="101517" y="541953"/>
                        <a:pt x="171491" y="473569"/>
                      </a:cubicBezTo>
                      <a:cubicBezTo>
                        <a:pt x="177853" y="467207"/>
                        <a:pt x="185804" y="464027"/>
                        <a:pt x="193756" y="464027"/>
                      </a:cubicBezTo>
                      <a:close/>
                      <a:moveTo>
                        <a:pt x="494839" y="458666"/>
                      </a:moveTo>
                      <a:cubicBezTo>
                        <a:pt x="502990" y="458864"/>
                        <a:pt x="510941" y="462036"/>
                        <a:pt x="516508" y="467586"/>
                      </a:cubicBezTo>
                      <a:cubicBezTo>
                        <a:pt x="516508" y="467586"/>
                        <a:pt x="516508" y="467586"/>
                        <a:pt x="584892" y="537357"/>
                      </a:cubicBezTo>
                      <a:cubicBezTo>
                        <a:pt x="597614" y="550042"/>
                        <a:pt x="597614" y="569071"/>
                        <a:pt x="584892" y="581756"/>
                      </a:cubicBezTo>
                      <a:cubicBezTo>
                        <a:pt x="572169" y="592856"/>
                        <a:pt x="553085" y="592856"/>
                        <a:pt x="540362" y="580171"/>
                      </a:cubicBezTo>
                      <a:cubicBezTo>
                        <a:pt x="540362" y="580171"/>
                        <a:pt x="540362" y="580171"/>
                        <a:pt x="471978" y="511985"/>
                      </a:cubicBezTo>
                      <a:cubicBezTo>
                        <a:pt x="460846" y="499300"/>
                        <a:pt x="460846" y="480271"/>
                        <a:pt x="471978" y="467586"/>
                      </a:cubicBezTo>
                      <a:cubicBezTo>
                        <a:pt x="478340" y="461243"/>
                        <a:pt x="486689" y="458468"/>
                        <a:pt x="494839" y="458666"/>
                      </a:cubicBezTo>
                      <a:close/>
                      <a:moveTo>
                        <a:pt x="31754" y="314967"/>
                      </a:moveTo>
                      <a:cubicBezTo>
                        <a:pt x="31754" y="314967"/>
                        <a:pt x="31754" y="314967"/>
                        <a:pt x="128603" y="314967"/>
                      </a:cubicBezTo>
                      <a:cubicBezTo>
                        <a:pt x="146067" y="314967"/>
                        <a:pt x="158769" y="329283"/>
                        <a:pt x="158769" y="346780"/>
                      </a:cubicBezTo>
                      <a:cubicBezTo>
                        <a:pt x="158769" y="364278"/>
                        <a:pt x="144480" y="377003"/>
                        <a:pt x="128603" y="377003"/>
                      </a:cubicBezTo>
                      <a:cubicBezTo>
                        <a:pt x="128603" y="377003"/>
                        <a:pt x="128603" y="377003"/>
                        <a:pt x="30166" y="377003"/>
                      </a:cubicBezTo>
                      <a:cubicBezTo>
                        <a:pt x="12701" y="377003"/>
                        <a:pt x="0" y="362687"/>
                        <a:pt x="0" y="345190"/>
                      </a:cubicBezTo>
                      <a:cubicBezTo>
                        <a:pt x="0" y="327692"/>
                        <a:pt x="14289" y="313376"/>
                        <a:pt x="31754" y="314967"/>
                      </a:cubicBezTo>
                      <a:close/>
                      <a:moveTo>
                        <a:pt x="555076" y="306835"/>
                      </a:moveTo>
                      <a:cubicBezTo>
                        <a:pt x="555076" y="306835"/>
                        <a:pt x="555076" y="306835"/>
                        <a:pt x="652043" y="308426"/>
                      </a:cubicBezTo>
                      <a:cubicBezTo>
                        <a:pt x="669529" y="308426"/>
                        <a:pt x="683836" y="321151"/>
                        <a:pt x="682246" y="338649"/>
                      </a:cubicBezTo>
                      <a:cubicBezTo>
                        <a:pt x="682246" y="356146"/>
                        <a:pt x="669529" y="370462"/>
                        <a:pt x="652043" y="370462"/>
                      </a:cubicBezTo>
                      <a:cubicBezTo>
                        <a:pt x="652043" y="370462"/>
                        <a:pt x="652043" y="370462"/>
                        <a:pt x="553486" y="368871"/>
                      </a:cubicBezTo>
                      <a:cubicBezTo>
                        <a:pt x="537590" y="368871"/>
                        <a:pt x="523283" y="354555"/>
                        <a:pt x="523283" y="337058"/>
                      </a:cubicBezTo>
                      <a:cubicBezTo>
                        <a:pt x="523283" y="321151"/>
                        <a:pt x="537590" y="306835"/>
                        <a:pt x="555076" y="306835"/>
                      </a:cubicBezTo>
                      <a:close/>
                      <a:moveTo>
                        <a:pt x="341919" y="247965"/>
                      </a:moveTo>
                      <a:cubicBezTo>
                        <a:pt x="393808" y="247965"/>
                        <a:pt x="435873" y="290030"/>
                        <a:pt x="435873" y="341919"/>
                      </a:cubicBezTo>
                      <a:cubicBezTo>
                        <a:pt x="435873" y="393808"/>
                        <a:pt x="393808" y="435873"/>
                        <a:pt x="341919" y="435873"/>
                      </a:cubicBezTo>
                      <a:cubicBezTo>
                        <a:pt x="290030" y="435873"/>
                        <a:pt x="247965" y="393808"/>
                        <a:pt x="247965" y="341919"/>
                      </a:cubicBezTo>
                      <a:cubicBezTo>
                        <a:pt x="247965" y="290030"/>
                        <a:pt x="290030" y="247965"/>
                        <a:pt x="341919" y="247965"/>
                      </a:cubicBezTo>
                      <a:close/>
                      <a:moveTo>
                        <a:pt x="119621" y="93570"/>
                      </a:moveTo>
                      <a:cubicBezTo>
                        <a:pt x="127772" y="93570"/>
                        <a:pt x="135723" y="96755"/>
                        <a:pt x="141289" y="103125"/>
                      </a:cubicBezTo>
                      <a:cubicBezTo>
                        <a:pt x="141289" y="103125"/>
                        <a:pt x="141289" y="103125"/>
                        <a:pt x="209673" y="171604"/>
                      </a:cubicBezTo>
                      <a:cubicBezTo>
                        <a:pt x="222396" y="184344"/>
                        <a:pt x="222396" y="205047"/>
                        <a:pt x="209673" y="216195"/>
                      </a:cubicBezTo>
                      <a:cubicBezTo>
                        <a:pt x="196951" y="228935"/>
                        <a:pt x="177867" y="228935"/>
                        <a:pt x="165144" y="216195"/>
                      </a:cubicBezTo>
                      <a:cubicBezTo>
                        <a:pt x="165144" y="216195"/>
                        <a:pt x="165144" y="216195"/>
                        <a:pt x="96760" y="146124"/>
                      </a:cubicBezTo>
                      <a:cubicBezTo>
                        <a:pt x="85628" y="134976"/>
                        <a:pt x="85628" y="114273"/>
                        <a:pt x="96760" y="103125"/>
                      </a:cubicBezTo>
                      <a:cubicBezTo>
                        <a:pt x="103122" y="96755"/>
                        <a:pt x="111471" y="93570"/>
                        <a:pt x="119621" y="93570"/>
                      </a:cubicBezTo>
                      <a:close/>
                      <a:moveTo>
                        <a:pt x="558763" y="88809"/>
                      </a:moveTo>
                      <a:cubicBezTo>
                        <a:pt x="566691" y="88809"/>
                        <a:pt x="574620" y="91989"/>
                        <a:pt x="580170" y="98351"/>
                      </a:cubicBezTo>
                      <a:cubicBezTo>
                        <a:pt x="592855" y="111073"/>
                        <a:pt x="592855" y="130157"/>
                        <a:pt x="580170" y="142880"/>
                      </a:cubicBezTo>
                      <a:cubicBezTo>
                        <a:pt x="580170" y="142880"/>
                        <a:pt x="580170" y="142880"/>
                        <a:pt x="510399" y="211264"/>
                      </a:cubicBezTo>
                      <a:cubicBezTo>
                        <a:pt x="499299" y="222396"/>
                        <a:pt x="478685" y="222396"/>
                        <a:pt x="467585" y="209674"/>
                      </a:cubicBezTo>
                      <a:cubicBezTo>
                        <a:pt x="454899" y="198541"/>
                        <a:pt x="454899" y="177867"/>
                        <a:pt x="467585" y="166735"/>
                      </a:cubicBezTo>
                      <a:cubicBezTo>
                        <a:pt x="467585" y="166735"/>
                        <a:pt x="467585" y="166735"/>
                        <a:pt x="537356" y="98351"/>
                      </a:cubicBezTo>
                      <a:cubicBezTo>
                        <a:pt x="542905" y="91989"/>
                        <a:pt x="550834" y="88809"/>
                        <a:pt x="558763" y="88809"/>
                      </a:cubicBezTo>
                      <a:close/>
                      <a:moveTo>
                        <a:pt x="338454" y="0"/>
                      </a:moveTo>
                      <a:cubicBezTo>
                        <a:pt x="355951" y="0"/>
                        <a:pt x="368677" y="14307"/>
                        <a:pt x="368677" y="31793"/>
                      </a:cubicBezTo>
                      <a:cubicBezTo>
                        <a:pt x="368677" y="31793"/>
                        <a:pt x="368677" y="31793"/>
                        <a:pt x="368677" y="128760"/>
                      </a:cubicBezTo>
                      <a:cubicBezTo>
                        <a:pt x="368677" y="146246"/>
                        <a:pt x="354361" y="160553"/>
                        <a:pt x="336863" y="160553"/>
                      </a:cubicBezTo>
                      <a:cubicBezTo>
                        <a:pt x="319366" y="160553"/>
                        <a:pt x="305050" y="146246"/>
                        <a:pt x="306641" y="128760"/>
                      </a:cubicBezTo>
                      <a:cubicBezTo>
                        <a:pt x="306641" y="128760"/>
                        <a:pt x="306641" y="128760"/>
                        <a:pt x="306641" y="31793"/>
                      </a:cubicBezTo>
                      <a:cubicBezTo>
                        <a:pt x="306641" y="14307"/>
                        <a:pt x="320957" y="0"/>
                        <a:pt x="338454" y="0"/>
                      </a:cubicBezTo>
                      <a:close/>
                    </a:path>
                  </a:pathLst>
                </a:custGeom>
                <a:solidFill>
                  <a:srgbClr val="7BA0FF">
                    <a:lumMod val="100000"/>
                  </a:srgbClr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algn="ctr" defTabSz="743407">
                    <a:lnSpc>
                      <a:spcPct val="90000"/>
                    </a:lnSpc>
                    <a:defRPr/>
                  </a:pPr>
                  <a:endParaRPr lang="en-US" sz="976" kern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</p:grpSp>
          <p:grpSp>
            <p:nvGrpSpPr>
              <p:cNvPr id="541" name="Group 540">
                <a:extLst>
                  <a:ext uri="{FF2B5EF4-FFF2-40B4-BE49-F238E27FC236}">
                    <a16:creationId xmlns:a16="http://schemas.microsoft.com/office/drawing/2014/main" id="{2EBB66F3-D8DD-5291-8006-3BA3268B013E}"/>
                  </a:ext>
                </a:extLst>
              </p:cNvPr>
              <p:cNvGrpSpPr/>
              <p:nvPr/>
            </p:nvGrpSpPr>
            <p:grpSpPr>
              <a:xfrm>
                <a:off x="991378" y="3802359"/>
                <a:ext cx="786196" cy="781216"/>
                <a:chOff x="991378" y="3802359"/>
                <a:chExt cx="786196" cy="781216"/>
              </a:xfrm>
            </p:grpSpPr>
            <p:sp>
              <p:nvSpPr>
                <p:cNvPr id="545" name="Oval 544">
                  <a:extLst>
                    <a:ext uri="{FF2B5EF4-FFF2-40B4-BE49-F238E27FC236}">
                      <a16:creationId xmlns:a16="http://schemas.microsoft.com/office/drawing/2014/main" id="{43EAFD5A-0B08-A325-724F-E3CFA0E7EF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91378" y="3802359"/>
                  <a:ext cx="786196" cy="781216"/>
                </a:xfrm>
                <a:prstGeom prst="ellipse">
                  <a:avLst/>
                </a:prstGeom>
                <a:solidFill>
                  <a:srgbClr val="7BA0FF">
                    <a:lumMod val="40000"/>
                    <a:lumOff val="60000"/>
                  </a:srgbClr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743407">
                    <a:lnSpc>
                      <a:spcPct val="90000"/>
                    </a:lnSpc>
                    <a:defRPr/>
                  </a:pPr>
                  <a:endParaRPr lang="en-US" sz="976" kern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grpSp>
              <p:nvGrpSpPr>
                <p:cNvPr id="546" name="Group 545">
                  <a:extLst>
                    <a:ext uri="{FF2B5EF4-FFF2-40B4-BE49-F238E27FC236}">
                      <a16:creationId xmlns:a16="http://schemas.microsoft.com/office/drawing/2014/main" id="{02BC3A6E-1E0D-B32F-F79E-E777C1FA4DFD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1290745" y="3866858"/>
                  <a:ext cx="187463" cy="652216"/>
                  <a:chOff x="2350146" y="5029122"/>
                  <a:chExt cx="232476" cy="806042"/>
                </a:xfrm>
              </p:grpSpPr>
              <p:sp>
                <p:nvSpPr>
                  <p:cNvPr id="547" name="Freeform 6">
                    <a:extLst>
                      <a:ext uri="{FF2B5EF4-FFF2-40B4-BE49-F238E27FC236}">
                        <a16:creationId xmlns:a16="http://schemas.microsoft.com/office/drawing/2014/main" id="{6CC06BA0-73CD-7079-7C4C-B9B1A357E68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50146" y="5029122"/>
                    <a:ext cx="232476" cy="806042"/>
                  </a:xfrm>
                  <a:custGeom>
                    <a:avLst/>
                    <a:gdLst>
                      <a:gd name="T0" fmla="*/ 713 w 931"/>
                      <a:gd name="T1" fmla="*/ 2390 h 3239"/>
                      <a:gd name="T2" fmla="*/ 713 w 931"/>
                      <a:gd name="T3" fmla="*/ 248 h 3239"/>
                      <a:gd name="T4" fmla="*/ 466 w 931"/>
                      <a:gd name="T5" fmla="*/ 0 h 3239"/>
                      <a:gd name="T6" fmla="*/ 215 w 931"/>
                      <a:gd name="T7" fmla="*/ 248 h 3239"/>
                      <a:gd name="T8" fmla="*/ 215 w 931"/>
                      <a:gd name="T9" fmla="*/ 2390 h 3239"/>
                      <a:gd name="T10" fmla="*/ 0 w 931"/>
                      <a:gd name="T11" fmla="*/ 2778 h 3239"/>
                      <a:gd name="T12" fmla="*/ 466 w 931"/>
                      <a:gd name="T13" fmla="*/ 3239 h 3239"/>
                      <a:gd name="T14" fmla="*/ 931 w 931"/>
                      <a:gd name="T15" fmla="*/ 2778 h 3239"/>
                      <a:gd name="T16" fmla="*/ 713 w 931"/>
                      <a:gd name="T17" fmla="*/ 2390 h 32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931" h="3239">
                        <a:moveTo>
                          <a:pt x="713" y="2390"/>
                        </a:moveTo>
                        <a:cubicBezTo>
                          <a:pt x="713" y="248"/>
                          <a:pt x="713" y="248"/>
                          <a:pt x="713" y="248"/>
                        </a:cubicBezTo>
                        <a:cubicBezTo>
                          <a:pt x="713" y="111"/>
                          <a:pt x="601" y="0"/>
                          <a:pt x="466" y="0"/>
                        </a:cubicBezTo>
                        <a:cubicBezTo>
                          <a:pt x="327" y="0"/>
                          <a:pt x="215" y="111"/>
                          <a:pt x="215" y="248"/>
                        </a:cubicBezTo>
                        <a:cubicBezTo>
                          <a:pt x="215" y="2390"/>
                          <a:pt x="215" y="2390"/>
                          <a:pt x="215" y="2390"/>
                        </a:cubicBezTo>
                        <a:cubicBezTo>
                          <a:pt x="80" y="2473"/>
                          <a:pt x="0" y="2619"/>
                          <a:pt x="0" y="2778"/>
                        </a:cubicBezTo>
                        <a:cubicBezTo>
                          <a:pt x="0" y="3033"/>
                          <a:pt x="209" y="3239"/>
                          <a:pt x="466" y="3239"/>
                        </a:cubicBezTo>
                        <a:cubicBezTo>
                          <a:pt x="723" y="3239"/>
                          <a:pt x="931" y="3033"/>
                          <a:pt x="931" y="2778"/>
                        </a:cubicBezTo>
                        <a:cubicBezTo>
                          <a:pt x="931" y="2619"/>
                          <a:pt x="848" y="2473"/>
                          <a:pt x="713" y="2390"/>
                        </a:cubicBezTo>
                        <a:close/>
                      </a:path>
                    </a:pathLst>
                  </a:custGeom>
                  <a:solidFill>
                    <a:srgbClr val="7BA0FF">
                      <a:lumMod val="100000"/>
                    </a:srgb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74345" tIns="37172" rIns="74345" bIns="3717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743407">
                      <a:lnSpc>
                        <a:spcPct val="90000"/>
                      </a:lnSpc>
                      <a:defRPr/>
                    </a:pPr>
                    <a:endParaRPr lang="en-US" sz="976" kern="0">
                      <a:solidFill>
                        <a:prstClr val="black"/>
                      </a:solidFill>
                      <a:latin typeface="Calibri"/>
                    </a:endParaRPr>
                  </a:p>
                </p:txBody>
              </p:sp>
              <p:sp>
                <p:nvSpPr>
                  <p:cNvPr id="548" name="Freeform 7">
                    <a:extLst>
                      <a:ext uri="{FF2B5EF4-FFF2-40B4-BE49-F238E27FC236}">
                        <a16:creationId xmlns:a16="http://schemas.microsoft.com/office/drawing/2014/main" id="{93EBFAF5-0234-6FF1-EC1B-7ADDA81372A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435875" y="5061461"/>
                    <a:ext cx="60102" cy="201358"/>
                  </a:xfrm>
                  <a:custGeom>
                    <a:avLst/>
                    <a:gdLst>
                      <a:gd name="T0" fmla="*/ 123 w 241"/>
                      <a:gd name="T1" fmla="*/ 0 h 809"/>
                      <a:gd name="T2" fmla="*/ 241 w 241"/>
                      <a:gd name="T3" fmla="*/ 118 h 809"/>
                      <a:gd name="T4" fmla="*/ 241 w 241"/>
                      <a:gd name="T5" fmla="*/ 809 h 809"/>
                      <a:gd name="T6" fmla="*/ 0 w 241"/>
                      <a:gd name="T7" fmla="*/ 809 h 809"/>
                      <a:gd name="T8" fmla="*/ 0 w 241"/>
                      <a:gd name="T9" fmla="*/ 118 h 809"/>
                      <a:gd name="T10" fmla="*/ 123 w 241"/>
                      <a:gd name="T11" fmla="*/ 0 h 80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41" h="809">
                        <a:moveTo>
                          <a:pt x="123" y="0"/>
                        </a:moveTo>
                        <a:cubicBezTo>
                          <a:pt x="187" y="0"/>
                          <a:pt x="241" y="51"/>
                          <a:pt x="241" y="118"/>
                        </a:cubicBezTo>
                        <a:cubicBezTo>
                          <a:pt x="241" y="809"/>
                          <a:pt x="241" y="809"/>
                          <a:pt x="241" y="809"/>
                        </a:cubicBezTo>
                        <a:cubicBezTo>
                          <a:pt x="0" y="809"/>
                          <a:pt x="0" y="809"/>
                          <a:pt x="0" y="809"/>
                        </a:cubicBezTo>
                        <a:cubicBezTo>
                          <a:pt x="0" y="118"/>
                          <a:pt x="0" y="118"/>
                          <a:pt x="0" y="118"/>
                        </a:cubicBezTo>
                        <a:cubicBezTo>
                          <a:pt x="0" y="51"/>
                          <a:pt x="55" y="0"/>
                          <a:pt x="123" y="0"/>
                        </a:cubicBezTo>
                        <a:close/>
                      </a:path>
                    </a:pathLst>
                  </a:custGeom>
                  <a:solidFill>
                    <a:srgbClr val="7BA0FF">
                      <a:lumMod val="60000"/>
                      <a:lumOff val="40000"/>
                    </a:srgbClr>
                  </a:solidFill>
                  <a:ln w="12700" cap="flat" cmpd="sng" algn="ctr">
                    <a:noFill/>
                    <a:prstDash val="solid"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rtlCol="0" anchor="ctr"/>
                  <a:lstStyle/>
                  <a:p>
                    <a:pPr algn="ctr" defTabSz="743407">
                      <a:lnSpc>
                        <a:spcPct val="90000"/>
                      </a:lnSpc>
                      <a:defRPr/>
                    </a:pPr>
                    <a:endParaRPr lang="en-US" sz="976" kern="0">
                      <a:solidFill>
                        <a:prstClr val="white"/>
                      </a:solidFill>
                      <a:latin typeface="Calibri"/>
                    </a:endParaRPr>
                  </a:p>
                </p:txBody>
              </p:sp>
            </p:grpSp>
          </p:grpSp>
          <p:grpSp>
            <p:nvGrpSpPr>
              <p:cNvPr id="542" name="Group 541">
                <a:extLst>
                  <a:ext uri="{FF2B5EF4-FFF2-40B4-BE49-F238E27FC236}">
                    <a16:creationId xmlns:a16="http://schemas.microsoft.com/office/drawing/2014/main" id="{CB185726-E8D1-0855-D2B4-93058133B8C6}"/>
                  </a:ext>
                </a:extLst>
              </p:cNvPr>
              <p:cNvGrpSpPr/>
              <p:nvPr/>
            </p:nvGrpSpPr>
            <p:grpSpPr>
              <a:xfrm>
                <a:off x="1829785" y="3802359"/>
                <a:ext cx="786699" cy="781216"/>
                <a:chOff x="1829785" y="3802359"/>
                <a:chExt cx="786699" cy="781216"/>
              </a:xfrm>
            </p:grpSpPr>
            <p:sp>
              <p:nvSpPr>
                <p:cNvPr id="543" name="Oval 542">
                  <a:extLst>
                    <a:ext uri="{FF2B5EF4-FFF2-40B4-BE49-F238E27FC236}">
                      <a16:creationId xmlns:a16="http://schemas.microsoft.com/office/drawing/2014/main" id="{D53D2E24-D8B3-2082-1C75-2D82C6B39AE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829785" y="3802359"/>
                  <a:ext cx="786699" cy="781216"/>
                </a:xfrm>
                <a:prstGeom prst="ellipse">
                  <a:avLst/>
                </a:prstGeom>
                <a:solidFill>
                  <a:srgbClr val="7BA0FF">
                    <a:lumMod val="40000"/>
                    <a:lumOff val="60000"/>
                  </a:srgbClr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743407">
                    <a:lnSpc>
                      <a:spcPct val="90000"/>
                    </a:lnSpc>
                    <a:defRPr/>
                  </a:pPr>
                  <a:endParaRPr lang="en-US" sz="976" kern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544" name="Freeform: Shape 390">
                  <a:extLst>
                    <a:ext uri="{FF2B5EF4-FFF2-40B4-BE49-F238E27FC236}">
                      <a16:creationId xmlns:a16="http://schemas.microsoft.com/office/drawing/2014/main" id="{FA6F839A-2F7B-FE8B-53D9-BF25B85C756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1993452" y="3882624"/>
                  <a:ext cx="460371" cy="590274"/>
                </a:xfrm>
                <a:custGeom>
                  <a:avLst/>
                  <a:gdLst>
                    <a:gd name="connsiteX0" fmla="*/ 196150 w 3938588"/>
                    <a:gd name="connsiteY0" fmla="*/ 4700587 h 5029200"/>
                    <a:gd name="connsiteX1" fmla="*/ 3763222 w 3938588"/>
                    <a:gd name="connsiteY1" fmla="*/ 4700587 h 5029200"/>
                    <a:gd name="connsiteX2" fmla="*/ 3938588 w 3938588"/>
                    <a:gd name="connsiteY2" fmla="*/ 4854544 h 5029200"/>
                    <a:gd name="connsiteX3" fmla="*/ 3763222 w 3938588"/>
                    <a:gd name="connsiteY3" fmla="*/ 5029200 h 5029200"/>
                    <a:gd name="connsiteX4" fmla="*/ 196150 w 3938588"/>
                    <a:gd name="connsiteY4" fmla="*/ 5029200 h 5029200"/>
                    <a:gd name="connsiteX5" fmla="*/ 0 w 3938588"/>
                    <a:gd name="connsiteY5" fmla="*/ 4854544 h 5029200"/>
                    <a:gd name="connsiteX6" fmla="*/ 196150 w 3938588"/>
                    <a:gd name="connsiteY6" fmla="*/ 4700587 h 5029200"/>
                    <a:gd name="connsiteX7" fmla="*/ 1986618 w 3938588"/>
                    <a:gd name="connsiteY7" fmla="*/ 1158875 h 5029200"/>
                    <a:gd name="connsiteX8" fmla="*/ 2430463 w 3938588"/>
                    <a:gd name="connsiteY8" fmla="*/ 1582222 h 5029200"/>
                    <a:gd name="connsiteX9" fmla="*/ 1986618 w 3938588"/>
                    <a:gd name="connsiteY9" fmla="*/ 2043113 h 5029200"/>
                    <a:gd name="connsiteX10" fmla="*/ 1555750 w 3938588"/>
                    <a:gd name="connsiteY10" fmla="*/ 1582222 h 5029200"/>
                    <a:gd name="connsiteX11" fmla="*/ 1986618 w 3938588"/>
                    <a:gd name="connsiteY11" fmla="*/ 1158875 h 5029200"/>
                    <a:gd name="connsiteX12" fmla="*/ 1986181 w 3938588"/>
                    <a:gd name="connsiteY12" fmla="*/ 539750 h 5029200"/>
                    <a:gd name="connsiteX13" fmla="*/ 933450 w 3938588"/>
                    <a:gd name="connsiteY13" fmla="*/ 1582257 h 5029200"/>
                    <a:gd name="connsiteX14" fmla="*/ 1986181 w 3938588"/>
                    <a:gd name="connsiteY14" fmla="*/ 2641600 h 5029200"/>
                    <a:gd name="connsiteX15" fmla="*/ 3033713 w 3938588"/>
                    <a:gd name="connsiteY15" fmla="*/ 1582257 h 5029200"/>
                    <a:gd name="connsiteX16" fmla="*/ 1986181 w 3938588"/>
                    <a:gd name="connsiteY16" fmla="*/ 539750 h 5029200"/>
                    <a:gd name="connsiteX17" fmla="*/ 1986404 w 3938588"/>
                    <a:gd name="connsiteY17" fmla="*/ 0 h 5029200"/>
                    <a:gd name="connsiteX18" fmla="*/ 3579813 w 3938588"/>
                    <a:gd name="connsiteY18" fmla="*/ 1582270 h 5029200"/>
                    <a:gd name="connsiteX19" fmla="*/ 3306880 w 3938588"/>
                    <a:gd name="connsiteY19" fmla="*/ 2487348 h 5029200"/>
                    <a:gd name="connsiteX20" fmla="*/ 2095577 w 3938588"/>
                    <a:gd name="connsiteY20" fmla="*/ 4331171 h 5029200"/>
                    <a:gd name="connsiteX21" fmla="*/ 1986404 w 3938588"/>
                    <a:gd name="connsiteY21" fmla="*/ 4389438 h 5029200"/>
                    <a:gd name="connsiteX22" fmla="*/ 1877230 w 3938588"/>
                    <a:gd name="connsiteY22" fmla="*/ 4331171 h 5029200"/>
                    <a:gd name="connsiteX23" fmla="*/ 639933 w 3938588"/>
                    <a:gd name="connsiteY23" fmla="*/ 2487348 h 5029200"/>
                    <a:gd name="connsiteX24" fmla="*/ 368300 w 3938588"/>
                    <a:gd name="connsiteY24" fmla="*/ 1599102 h 5029200"/>
                    <a:gd name="connsiteX25" fmla="*/ 1986404 w 3938588"/>
                    <a:gd name="connsiteY25" fmla="*/ 0 h 5029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3938588" h="5029200">
                      <a:moveTo>
                        <a:pt x="196150" y="4700587"/>
                      </a:moveTo>
                      <a:cubicBezTo>
                        <a:pt x="3763222" y="4700587"/>
                        <a:pt x="3763222" y="4700587"/>
                        <a:pt x="3763222" y="4700587"/>
                      </a:cubicBezTo>
                      <a:cubicBezTo>
                        <a:pt x="3863246" y="4700587"/>
                        <a:pt x="3938588" y="4758806"/>
                        <a:pt x="3938588" y="4854544"/>
                      </a:cubicBezTo>
                      <a:cubicBezTo>
                        <a:pt x="3938588" y="4950281"/>
                        <a:pt x="3863246" y="5029200"/>
                        <a:pt x="3763222" y="5029200"/>
                      </a:cubicBezTo>
                      <a:cubicBezTo>
                        <a:pt x="196150" y="5029200"/>
                        <a:pt x="196150" y="5029200"/>
                        <a:pt x="196150" y="5029200"/>
                      </a:cubicBezTo>
                      <a:cubicBezTo>
                        <a:pt x="79239" y="5029200"/>
                        <a:pt x="0" y="4950281"/>
                        <a:pt x="0" y="4854544"/>
                      </a:cubicBezTo>
                      <a:cubicBezTo>
                        <a:pt x="0" y="4758806"/>
                        <a:pt x="79239" y="4700587"/>
                        <a:pt x="196150" y="4700587"/>
                      </a:cubicBezTo>
                      <a:close/>
                      <a:moveTo>
                        <a:pt x="1986618" y="1158875"/>
                      </a:moveTo>
                      <a:cubicBezTo>
                        <a:pt x="2237092" y="1158875"/>
                        <a:pt x="2430463" y="1349187"/>
                        <a:pt x="2430463" y="1582222"/>
                      </a:cubicBezTo>
                      <a:cubicBezTo>
                        <a:pt x="2430463" y="1851507"/>
                        <a:pt x="2237092" y="2043113"/>
                        <a:pt x="1986618" y="2043113"/>
                      </a:cubicBezTo>
                      <a:cubicBezTo>
                        <a:pt x="1751717" y="2043113"/>
                        <a:pt x="1555750" y="1851507"/>
                        <a:pt x="1555750" y="1582222"/>
                      </a:cubicBezTo>
                      <a:cubicBezTo>
                        <a:pt x="1555750" y="1349187"/>
                        <a:pt x="1751717" y="1158875"/>
                        <a:pt x="1986618" y="1158875"/>
                      </a:cubicBezTo>
                      <a:close/>
                      <a:moveTo>
                        <a:pt x="1986181" y="539750"/>
                      </a:moveTo>
                      <a:cubicBezTo>
                        <a:pt x="1398731" y="539750"/>
                        <a:pt x="933450" y="1021505"/>
                        <a:pt x="933450" y="1582257"/>
                      </a:cubicBezTo>
                      <a:cubicBezTo>
                        <a:pt x="933450" y="2159845"/>
                        <a:pt x="1398731" y="2641600"/>
                        <a:pt x="1986181" y="2641600"/>
                      </a:cubicBezTo>
                      <a:cubicBezTo>
                        <a:pt x="2547637" y="2641600"/>
                        <a:pt x="3033713" y="2159845"/>
                        <a:pt x="3033713" y="1582257"/>
                      </a:cubicBezTo>
                      <a:cubicBezTo>
                        <a:pt x="3033713" y="1021505"/>
                        <a:pt x="2547637" y="539750"/>
                        <a:pt x="1986181" y="539750"/>
                      </a:cubicBezTo>
                      <a:close/>
                      <a:moveTo>
                        <a:pt x="1986404" y="0"/>
                      </a:moveTo>
                      <a:cubicBezTo>
                        <a:pt x="2858490" y="0"/>
                        <a:pt x="3579813" y="714740"/>
                        <a:pt x="3579813" y="1582270"/>
                      </a:cubicBezTo>
                      <a:cubicBezTo>
                        <a:pt x="3579813" y="1909859"/>
                        <a:pt x="3482337" y="2218026"/>
                        <a:pt x="3306880" y="2487348"/>
                      </a:cubicBezTo>
                      <a:cubicBezTo>
                        <a:pt x="3306880" y="2487348"/>
                        <a:pt x="3306880" y="2487348"/>
                        <a:pt x="2095577" y="4331171"/>
                      </a:cubicBezTo>
                      <a:cubicBezTo>
                        <a:pt x="2069583" y="4364837"/>
                        <a:pt x="2027993" y="4389438"/>
                        <a:pt x="1986404" y="4389438"/>
                      </a:cubicBezTo>
                      <a:cubicBezTo>
                        <a:pt x="1939615" y="4389438"/>
                        <a:pt x="1898025" y="4364837"/>
                        <a:pt x="1877230" y="4331171"/>
                      </a:cubicBezTo>
                      <a:cubicBezTo>
                        <a:pt x="1730366" y="4114936"/>
                        <a:pt x="1402847" y="3625495"/>
                        <a:pt x="639933" y="2487348"/>
                      </a:cubicBezTo>
                      <a:cubicBezTo>
                        <a:pt x="485271" y="2233564"/>
                        <a:pt x="389095" y="1926692"/>
                        <a:pt x="368300" y="1599102"/>
                      </a:cubicBezTo>
                      <a:cubicBezTo>
                        <a:pt x="368300" y="730278"/>
                        <a:pt x="1089623" y="0"/>
                        <a:pt x="1986404" y="0"/>
                      </a:cubicBezTo>
                      <a:close/>
                    </a:path>
                  </a:pathLst>
                </a:custGeom>
                <a:solidFill>
                  <a:srgbClr val="7BA0FF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743407">
                    <a:lnSpc>
                      <a:spcPct val="90000"/>
                    </a:lnSpc>
                    <a:defRPr/>
                  </a:pPr>
                  <a:endParaRPr lang="en-US" sz="976" kern="0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</p:grpSp>
        </p:grpSp>
      </p:grpSp>
      <p:sp>
        <p:nvSpPr>
          <p:cNvPr id="560" name="Freeform: Shape 559">
            <a:extLst>
              <a:ext uri="{FF2B5EF4-FFF2-40B4-BE49-F238E27FC236}">
                <a16:creationId xmlns:a16="http://schemas.microsoft.com/office/drawing/2014/main" id="{26D60A27-B3FB-D2B9-045F-3794E5F5CC7C}"/>
              </a:ext>
            </a:extLst>
          </p:cNvPr>
          <p:cNvSpPr>
            <a:spLocks noChangeAspect="1"/>
          </p:cNvSpPr>
          <p:nvPr/>
        </p:nvSpPr>
        <p:spPr bwMode="auto">
          <a:xfrm>
            <a:off x="9599714" y="3440428"/>
            <a:ext cx="359633" cy="459217"/>
          </a:xfrm>
          <a:custGeom>
            <a:avLst/>
            <a:gdLst>
              <a:gd name="connsiteX0" fmla="*/ 196150 w 3938588"/>
              <a:gd name="connsiteY0" fmla="*/ 4700587 h 5029200"/>
              <a:gd name="connsiteX1" fmla="*/ 3763222 w 3938588"/>
              <a:gd name="connsiteY1" fmla="*/ 4700587 h 5029200"/>
              <a:gd name="connsiteX2" fmla="*/ 3938588 w 3938588"/>
              <a:gd name="connsiteY2" fmla="*/ 4854544 h 5029200"/>
              <a:gd name="connsiteX3" fmla="*/ 3763222 w 3938588"/>
              <a:gd name="connsiteY3" fmla="*/ 5029200 h 5029200"/>
              <a:gd name="connsiteX4" fmla="*/ 196150 w 3938588"/>
              <a:gd name="connsiteY4" fmla="*/ 5029200 h 5029200"/>
              <a:gd name="connsiteX5" fmla="*/ 0 w 3938588"/>
              <a:gd name="connsiteY5" fmla="*/ 4854544 h 5029200"/>
              <a:gd name="connsiteX6" fmla="*/ 196150 w 3938588"/>
              <a:gd name="connsiteY6" fmla="*/ 4700587 h 5029200"/>
              <a:gd name="connsiteX7" fmla="*/ 1986618 w 3938588"/>
              <a:gd name="connsiteY7" fmla="*/ 1158875 h 5029200"/>
              <a:gd name="connsiteX8" fmla="*/ 2430463 w 3938588"/>
              <a:gd name="connsiteY8" fmla="*/ 1582222 h 5029200"/>
              <a:gd name="connsiteX9" fmla="*/ 1986618 w 3938588"/>
              <a:gd name="connsiteY9" fmla="*/ 2043113 h 5029200"/>
              <a:gd name="connsiteX10" fmla="*/ 1555750 w 3938588"/>
              <a:gd name="connsiteY10" fmla="*/ 1582222 h 5029200"/>
              <a:gd name="connsiteX11" fmla="*/ 1986618 w 3938588"/>
              <a:gd name="connsiteY11" fmla="*/ 1158875 h 5029200"/>
              <a:gd name="connsiteX12" fmla="*/ 1986181 w 3938588"/>
              <a:gd name="connsiteY12" fmla="*/ 539750 h 5029200"/>
              <a:gd name="connsiteX13" fmla="*/ 933450 w 3938588"/>
              <a:gd name="connsiteY13" fmla="*/ 1582257 h 5029200"/>
              <a:gd name="connsiteX14" fmla="*/ 1986181 w 3938588"/>
              <a:gd name="connsiteY14" fmla="*/ 2641600 h 5029200"/>
              <a:gd name="connsiteX15" fmla="*/ 3033713 w 3938588"/>
              <a:gd name="connsiteY15" fmla="*/ 1582257 h 5029200"/>
              <a:gd name="connsiteX16" fmla="*/ 1986181 w 3938588"/>
              <a:gd name="connsiteY16" fmla="*/ 539750 h 5029200"/>
              <a:gd name="connsiteX17" fmla="*/ 1986404 w 3938588"/>
              <a:gd name="connsiteY17" fmla="*/ 0 h 5029200"/>
              <a:gd name="connsiteX18" fmla="*/ 3579813 w 3938588"/>
              <a:gd name="connsiteY18" fmla="*/ 1582270 h 5029200"/>
              <a:gd name="connsiteX19" fmla="*/ 3306880 w 3938588"/>
              <a:gd name="connsiteY19" fmla="*/ 2487348 h 5029200"/>
              <a:gd name="connsiteX20" fmla="*/ 2095577 w 3938588"/>
              <a:gd name="connsiteY20" fmla="*/ 4331171 h 5029200"/>
              <a:gd name="connsiteX21" fmla="*/ 1986404 w 3938588"/>
              <a:gd name="connsiteY21" fmla="*/ 4389438 h 5029200"/>
              <a:gd name="connsiteX22" fmla="*/ 1877230 w 3938588"/>
              <a:gd name="connsiteY22" fmla="*/ 4331171 h 5029200"/>
              <a:gd name="connsiteX23" fmla="*/ 639933 w 3938588"/>
              <a:gd name="connsiteY23" fmla="*/ 2487348 h 5029200"/>
              <a:gd name="connsiteX24" fmla="*/ 368300 w 3938588"/>
              <a:gd name="connsiteY24" fmla="*/ 1599102 h 5029200"/>
              <a:gd name="connsiteX25" fmla="*/ 1986404 w 3938588"/>
              <a:gd name="connsiteY25" fmla="*/ 0 h 50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938588" h="5029200">
                <a:moveTo>
                  <a:pt x="196150" y="4700587"/>
                </a:moveTo>
                <a:cubicBezTo>
                  <a:pt x="3763222" y="4700587"/>
                  <a:pt x="3763222" y="4700587"/>
                  <a:pt x="3763222" y="4700587"/>
                </a:cubicBezTo>
                <a:cubicBezTo>
                  <a:pt x="3863246" y="4700587"/>
                  <a:pt x="3938588" y="4758806"/>
                  <a:pt x="3938588" y="4854544"/>
                </a:cubicBezTo>
                <a:cubicBezTo>
                  <a:pt x="3938588" y="4950281"/>
                  <a:pt x="3863246" y="5029200"/>
                  <a:pt x="3763222" y="5029200"/>
                </a:cubicBezTo>
                <a:cubicBezTo>
                  <a:pt x="196150" y="5029200"/>
                  <a:pt x="196150" y="5029200"/>
                  <a:pt x="196150" y="5029200"/>
                </a:cubicBezTo>
                <a:cubicBezTo>
                  <a:pt x="79239" y="5029200"/>
                  <a:pt x="0" y="4950281"/>
                  <a:pt x="0" y="4854544"/>
                </a:cubicBezTo>
                <a:cubicBezTo>
                  <a:pt x="0" y="4758806"/>
                  <a:pt x="79239" y="4700587"/>
                  <a:pt x="196150" y="4700587"/>
                </a:cubicBezTo>
                <a:close/>
                <a:moveTo>
                  <a:pt x="1986618" y="1158875"/>
                </a:moveTo>
                <a:cubicBezTo>
                  <a:pt x="2237092" y="1158875"/>
                  <a:pt x="2430463" y="1349187"/>
                  <a:pt x="2430463" y="1582222"/>
                </a:cubicBezTo>
                <a:cubicBezTo>
                  <a:pt x="2430463" y="1851507"/>
                  <a:pt x="2237092" y="2043113"/>
                  <a:pt x="1986618" y="2043113"/>
                </a:cubicBezTo>
                <a:cubicBezTo>
                  <a:pt x="1751717" y="2043113"/>
                  <a:pt x="1555750" y="1851507"/>
                  <a:pt x="1555750" y="1582222"/>
                </a:cubicBezTo>
                <a:cubicBezTo>
                  <a:pt x="1555750" y="1349187"/>
                  <a:pt x="1751717" y="1158875"/>
                  <a:pt x="1986618" y="1158875"/>
                </a:cubicBezTo>
                <a:close/>
                <a:moveTo>
                  <a:pt x="1986181" y="539750"/>
                </a:moveTo>
                <a:cubicBezTo>
                  <a:pt x="1398731" y="539750"/>
                  <a:pt x="933450" y="1021505"/>
                  <a:pt x="933450" y="1582257"/>
                </a:cubicBezTo>
                <a:cubicBezTo>
                  <a:pt x="933450" y="2159845"/>
                  <a:pt x="1398731" y="2641600"/>
                  <a:pt x="1986181" y="2641600"/>
                </a:cubicBezTo>
                <a:cubicBezTo>
                  <a:pt x="2547637" y="2641600"/>
                  <a:pt x="3033713" y="2159845"/>
                  <a:pt x="3033713" y="1582257"/>
                </a:cubicBezTo>
                <a:cubicBezTo>
                  <a:pt x="3033713" y="1021505"/>
                  <a:pt x="2547637" y="539750"/>
                  <a:pt x="1986181" y="539750"/>
                </a:cubicBezTo>
                <a:close/>
                <a:moveTo>
                  <a:pt x="1986404" y="0"/>
                </a:moveTo>
                <a:cubicBezTo>
                  <a:pt x="2858490" y="0"/>
                  <a:pt x="3579813" y="714740"/>
                  <a:pt x="3579813" y="1582270"/>
                </a:cubicBezTo>
                <a:cubicBezTo>
                  <a:pt x="3579813" y="1909859"/>
                  <a:pt x="3482337" y="2218026"/>
                  <a:pt x="3306880" y="2487348"/>
                </a:cubicBezTo>
                <a:cubicBezTo>
                  <a:pt x="3306880" y="2487348"/>
                  <a:pt x="3306880" y="2487348"/>
                  <a:pt x="2095577" y="4331171"/>
                </a:cubicBezTo>
                <a:cubicBezTo>
                  <a:pt x="2069583" y="4364837"/>
                  <a:pt x="2027993" y="4389438"/>
                  <a:pt x="1986404" y="4389438"/>
                </a:cubicBezTo>
                <a:cubicBezTo>
                  <a:pt x="1939615" y="4389438"/>
                  <a:pt x="1898025" y="4364837"/>
                  <a:pt x="1877230" y="4331171"/>
                </a:cubicBezTo>
                <a:cubicBezTo>
                  <a:pt x="1730366" y="4114936"/>
                  <a:pt x="1402847" y="3625495"/>
                  <a:pt x="639933" y="2487348"/>
                </a:cubicBezTo>
                <a:cubicBezTo>
                  <a:pt x="485271" y="2233564"/>
                  <a:pt x="389095" y="1926692"/>
                  <a:pt x="368300" y="1599102"/>
                </a:cubicBezTo>
                <a:cubicBezTo>
                  <a:pt x="368300" y="730278"/>
                  <a:pt x="1089623" y="0"/>
                  <a:pt x="1986404" y="0"/>
                </a:cubicBezTo>
                <a:close/>
              </a:path>
            </a:pathLst>
          </a:custGeom>
          <a:solidFill>
            <a:srgbClr val="7BA0FF">
              <a:lumMod val="10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4345" tIns="37172" rIns="74345" bIns="37172" numCol="1" anchor="t" anchorCtr="0" compatLnSpc="1">
            <a:prstTxWarp prst="textNoShape">
              <a:avLst/>
            </a:prstTxWarp>
            <a:noAutofit/>
          </a:bodyPr>
          <a:lstStyle/>
          <a:p>
            <a:pPr defTabSz="743407">
              <a:lnSpc>
                <a:spcPct val="90000"/>
              </a:lnSpc>
              <a:defRPr/>
            </a:pPr>
            <a:endParaRPr lang="en-US" sz="976" kern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561" name="Group 560">
            <a:extLst>
              <a:ext uri="{FF2B5EF4-FFF2-40B4-BE49-F238E27FC236}">
                <a16:creationId xmlns:a16="http://schemas.microsoft.com/office/drawing/2014/main" id="{AD99AC2C-C50B-3F94-963F-5EA91A485AD7}"/>
              </a:ext>
            </a:extLst>
          </p:cNvPr>
          <p:cNvGrpSpPr/>
          <p:nvPr/>
        </p:nvGrpSpPr>
        <p:grpSpPr>
          <a:xfrm>
            <a:off x="9599714" y="4782637"/>
            <a:ext cx="484193" cy="556740"/>
            <a:chOff x="5559456" y="2290615"/>
            <a:chExt cx="803098" cy="923426"/>
          </a:xfrm>
        </p:grpSpPr>
        <p:grpSp>
          <p:nvGrpSpPr>
            <p:cNvPr id="562" name="Group 561">
              <a:extLst>
                <a:ext uri="{FF2B5EF4-FFF2-40B4-BE49-F238E27FC236}">
                  <a16:creationId xmlns:a16="http://schemas.microsoft.com/office/drawing/2014/main" id="{958B0368-0C44-72E1-5CB3-2B52D7DB084D}"/>
                </a:ext>
              </a:extLst>
            </p:cNvPr>
            <p:cNvGrpSpPr/>
            <p:nvPr/>
          </p:nvGrpSpPr>
          <p:grpSpPr>
            <a:xfrm>
              <a:off x="5675366" y="2290615"/>
              <a:ext cx="578218" cy="576574"/>
              <a:chOff x="2744787" y="87313"/>
              <a:chExt cx="6702426" cy="6683376"/>
            </a:xfrm>
          </p:grpSpPr>
          <p:sp>
            <p:nvSpPr>
              <p:cNvPr id="564" name="Oval 12">
                <a:extLst>
                  <a:ext uri="{FF2B5EF4-FFF2-40B4-BE49-F238E27FC236}">
                    <a16:creationId xmlns:a16="http://schemas.microsoft.com/office/drawing/2014/main" id="{826C1D4C-CBB3-2DDA-2631-2EF015AC2F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08488" y="1746250"/>
                <a:ext cx="3375025" cy="3365500"/>
              </a:xfrm>
              <a:prstGeom prst="ellipse">
                <a:avLst/>
              </a:prstGeom>
              <a:solidFill>
                <a:srgbClr val="7BA0FF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565" name="Freeform: Shape 564">
                <a:extLst>
                  <a:ext uri="{FF2B5EF4-FFF2-40B4-BE49-F238E27FC236}">
                    <a16:creationId xmlns:a16="http://schemas.microsoft.com/office/drawing/2014/main" id="{0C2B7F8F-CBC4-88AA-BC0E-8D3CC48FB9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4787" y="87313"/>
                <a:ext cx="6702426" cy="6683376"/>
              </a:xfrm>
              <a:custGeom>
                <a:avLst/>
                <a:gdLst>
                  <a:gd name="connsiteX0" fmla="*/ 3351213 w 6702426"/>
                  <a:gd name="connsiteY0" fmla="*/ 163512 h 6683376"/>
                  <a:gd name="connsiteX1" fmla="*/ 165100 w 6702426"/>
                  <a:gd name="connsiteY1" fmla="*/ 3341687 h 6683376"/>
                  <a:gd name="connsiteX2" fmla="*/ 3351213 w 6702426"/>
                  <a:gd name="connsiteY2" fmla="*/ 6519862 h 6683376"/>
                  <a:gd name="connsiteX3" fmla="*/ 6537326 w 6702426"/>
                  <a:gd name="connsiteY3" fmla="*/ 3341687 h 6683376"/>
                  <a:gd name="connsiteX4" fmla="*/ 3351213 w 6702426"/>
                  <a:gd name="connsiteY4" fmla="*/ 163512 h 6683376"/>
                  <a:gd name="connsiteX5" fmla="*/ 3351213 w 6702426"/>
                  <a:gd name="connsiteY5" fmla="*/ 0 h 6683376"/>
                  <a:gd name="connsiteX6" fmla="*/ 6702426 w 6702426"/>
                  <a:gd name="connsiteY6" fmla="*/ 3341688 h 6683376"/>
                  <a:gd name="connsiteX7" fmla="*/ 3351213 w 6702426"/>
                  <a:gd name="connsiteY7" fmla="*/ 6683376 h 6683376"/>
                  <a:gd name="connsiteX8" fmla="*/ 0 w 6702426"/>
                  <a:gd name="connsiteY8" fmla="*/ 3341688 h 6683376"/>
                  <a:gd name="connsiteX9" fmla="*/ 3351213 w 6702426"/>
                  <a:gd name="connsiteY9" fmla="*/ 0 h 6683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702426" h="6683376">
                    <a:moveTo>
                      <a:pt x="3351213" y="163512"/>
                    </a:moveTo>
                    <a:cubicBezTo>
                      <a:pt x="1591571" y="163512"/>
                      <a:pt x="165100" y="1586429"/>
                      <a:pt x="165100" y="3341687"/>
                    </a:cubicBezTo>
                    <a:cubicBezTo>
                      <a:pt x="165100" y="5096945"/>
                      <a:pt x="1591571" y="6519862"/>
                      <a:pt x="3351213" y="6519862"/>
                    </a:cubicBezTo>
                    <a:cubicBezTo>
                      <a:pt x="5110855" y="6519862"/>
                      <a:pt x="6537326" y="5096945"/>
                      <a:pt x="6537326" y="3341687"/>
                    </a:cubicBezTo>
                    <a:cubicBezTo>
                      <a:pt x="6537326" y="1586429"/>
                      <a:pt x="5110855" y="163512"/>
                      <a:pt x="3351213" y="163512"/>
                    </a:cubicBezTo>
                    <a:close/>
                    <a:moveTo>
                      <a:pt x="3351213" y="0"/>
                    </a:moveTo>
                    <a:cubicBezTo>
                      <a:pt x="5202037" y="0"/>
                      <a:pt x="6702426" y="1496125"/>
                      <a:pt x="6702426" y="3341688"/>
                    </a:cubicBezTo>
                    <a:cubicBezTo>
                      <a:pt x="6702426" y="5187251"/>
                      <a:pt x="5202037" y="6683376"/>
                      <a:pt x="3351213" y="6683376"/>
                    </a:cubicBezTo>
                    <a:cubicBezTo>
                      <a:pt x="1500389" y="6683376"/>
                      <a:pt x="0" y="5187251"/>
                      <a:pt x="0" y="3341688"/>
                    </a:cubicBezTo>
                    <a:cubicBezTo>
                      <a:pt x="0" y="1496125"/>
                      <a:pt x="1500389" y="0"/>
                      <a:pt x="3351213" y="0"/>
                    </a:cubicBezTo>
                    <a:close/>
                  </a:path>
                </a:pathLst>
              </a:custGeom>
              <a:solidFill>
                <a:srgbClr val="7BA0FF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563" name="Freeform: Shape 38">
              <a:extLst>
                <a:ext uri="{FF2B5EF4-FFF2-40B4-BE49-F238E27FC236}">
                  <a16:creationId xmlns:a16="http://schemas.microsoft.com/office/drawing/2014/main" id="{3C00B27E-6505-6BC3-96E8-5B6D345446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9456" y="2499002"/>
              <a:ext cx="803098" cy="715039"/>
            </a:xfrm>
            <a:custGeom>
              <a:avLst/>
              <a:gdLst>
                <a:gd name="connsiteX0" fmla="*/ 412299 w 1438886"/>
                <a:gd name="connsiteY0" fmla="*/ 811212 h 1281113"/>
                <a:gd name="connsiteX1" fmla="*/ 347355 w 1438886"/>
                <a:gd name="connsiteY1" fmla="*/ 919678 h 1281113"/>
                <a:gd name="connsiteX2" fmla="*/ 718111 w 1438886"/>
                <a:gd name="connsiteY2" fmla="*/ 1004887 h 1281113"/>
                <a:gd name="connsiteX3" fmla="*/ 1090305 w 1438886"/>
                <a:gd name="connsiteY3" fmla="*/ 919678 h 1281113"/>
                <a:gd name="connsiteX4" fmla="*/ 1025361 w 1438886"/>
                <a:gd name="connsiteY4" fmla="*/ 811212 h 1281113"/>
                <a:gd name="connsiteX5" fmla="*/ 718111 w 1438886"/>
                <a:gd name="connsiteY5" fmla="*/ 877691 h 1281113"/>
                <a:gd name="connsiteX6" fmla="*/ 412299 w 1438886"/>
                <a:gd name="connsiteY6" fmla="*/ 811212 h 1281113"/>
                <a:gd name="connsiteX7" fmla="*/ 718037 w 1438886"/>
                <a:gd name="connsiteY7" fmla="*/ 292100 h 1281113"/>
                <a:gd name="connsiteX8" fmla="*/ 471180 w 1438886"/>
                <a:gd name="connsiteY8" fmla="*/ 710653 h 1281113"/>
                <a:gd name="connsiteX9" fmla="*/ 718037 w 1438886"/>
                <a:gd name="connsiteY9" fmla="*/ 762000 h 1281113"/>
                <a:gd name="connsiteX10" fmla="*/ 964893 w 1438886"/>
                <a:gd name="connsiteY10" fmla="*/ 710653 h 1281113"/>
                <a:gd name="connsiteX11" fmla="*/ 718037 w 1438886"/>
                <a:gd name="connsiteY11" fmla="*/ 292100 h 1281113"/>
                <a:gd name="connsiteX12" fmla="*/ 717875 w 1438886"/>
                <a:gd name="connsiteY12" fmla="*/ 0 h 1281113"/>
                <a:gd name="connsiteX13" fmla="*/ 863528 w 1438886"/>
                <a:gd name="connsiteY13" fmla="*/ 145190 h 1281113"/>
                <a:gd name="connsiteX14" fmla="*/ 831640 w 1438886"/>
                <a:gd name="connsiteY14" fmla="*/ 235499 h 1281113"/>
                <a:gd name="connsiteX15" fmla="*/ 1436881 w 1438886"/>
                <a:gd name="connsiteY15" fmla="*/ 1262069 h 1281113"/>
                <a:gd name="connsiteX16" fmla="*/ 1436881 w 1438886"/>
                <a:gd name="connsiteY16" fmla="*/ 1274355 h 1281113"/>
                <a:gd name="connsiteX17" fmla="*/ 1425977 w 1438886"/>
                <a:gd name="connsiteY17" fmla="*/ 1281113 h 1281113"/>
                <a:gd name="connsiteX18" fmla="*/ 1309538 w 1438886"/>
                <a:gd name="connsiteY18" fmla="*/ 1281113 h 1281113"/>
                <a:gd name="connsiteX19" fmla="*/ 1298634 w 1438886"/>
                <a:gd name="connsiteY19" fmla="*/ 1274355 h 1281113"/>
                <a:gd name="connsiteX20" fmla="*/ 1149690 w 1438886"/>
                <a:gd name="connsiteY20" fmla="*/ 1022269 h 1281113"/>
                <a:gd name="connsiteX21" fmla="*/ 718904 w 1438886"/>
                <a:gd name="connsiteY21" fmla="*/ 1120564 h 1281113"/>
                <a:gd name="connsiteX22" fmla="*/ 289557 w 1438886"/>
                <a:gd name="connsiteY22" fmla="*/ 1022269 h 1281113"/>
                <a:gd name="connsiteX23" fmla="*/ 139173 w 1438886"/>
                <a:gd name="connsiteY23" fmla="*/ 1274355 h 1281113"/>
                <a:gd name="connsiteX24" fmla="*/ 128270 w 1438886"/>
                <a:gd name="connsiteY24" fmla="*/ 1281113 h 1281113"/>
                <a:gd name="connsiteX25" fmla="*/ 11830 w 1438886"/>
                <a:gd name="connsiteY25" fmla="*/ 1281113 h 1281113"/>
                <a:gd name="connsiteX26" fmla="*/ 927 w 1438886"/>
                <a:gd name="connsiteY26" fmla="*/ 1274355 h 1281113"/>
                <a:gd name="connsiteX27" fmla="*/ 927 w 1438886"/>
                <a:gd name="connsiteY27" fmla="*/ 1262069 h 1281113"/>
                <a:gd name="connsiteX28" fmla="*/ 604727 w 1438886"/>
                <a:gd name="connsiteY28" fmla="*/ 237751 h 1281113"/>
                <a:gd name="connsiteX29" fmla="*/ 570782 w 1438886"/>
                <a:gd name="connsiteY29" fmla="*/ 145190 h 1281113"/>
                <a:gd name="connsiteX30" fmla="*/ 717875 w 1438886"/>
                <a:gd name="connsiteY30" fmla="*/ 0 h 1281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438886" h="1281113">
                  <a:moveTo>
                    <a:pt x="412299" y="811212"/>
                  </a:moveTo>
                  <a:cubicBezTo>
                    <a:pt x="412299" y="811212"/>
                    <a:pt x="412299" y="811212"/>
                    <a:pt x="347355" y="919678"/>
                  </a:cubicBezTo>
                  <a:cubicBezTo>
                    <a:pt x="462446" y="976484"/>
                    <a:pt x="589662" y="1004887"/>
                    <a:pt x="718111" y="1004887"/>
                  </a:cubicBezTo>
                  <a:cubicBezTo>
                    <a:pt x="846766" y="1004887"/>
                    <a:pt x="973982" y="976484"/>
                    <a:pt x="1090305" y="919678"/>
                  </a:cubicBezTo>
                  <a:cubicBezTo>
                    <a:pt x="1090305" y="919678"/>
                    <a:pt x="1090305" y="919678"/>
                    <a:pt x="1025361" y="811212"/>
                  </a:cubicBezTo>
                  <a:cubicBezTo>
                    <a:pt x="929179" y="854640"/>
                    <a:pt x="823748" y="877691"/>
                    <a:pt x="718111" y="877691"/>
                  </a:cubicBezTo>
                  <a:cubicBezTo>
                    <a:pt x="612680" y="877691"/>
                    <a:pt x="507043" y="854640"/>
                    <a:pt x="412299" y="811212"/>
                  </a:cubicBezTo>
                  <a:close/>
                  <a:moveTo>
                    <a:pt x="718037" y="292100"/>
                  </a:moveTo>
                  <a:lnTo>
                    <a:pt x="471180" y="710653"/>
                  </a:lnTo>
                  <a:cubicBezTo>
                    <a:pt x="548452" y="744407"/>
                    <a:pt x="632523" y="762000"/>
                    <a:pt x="718037" y="762000"/>
                  </a:cubicBezTo>
                  <a:cubicBezTo>
                    <a:pt x="803550" y="762000"/>
                    <a:pt x="887622" y="744407"/>
                    <a:pt x="964893" y="710653"/>
                  </a:cubicBezTo>
                  <a:cubicBezTo>
                    <a:pt x="964893" y="710653"/>
                    <a:pt x="964893" y="710653"/>
                    <a:pt x="718037" y="292100"/>
                  </a:cubicBezTo>
                  <a:close/>
                  <a:moveTo>
                    <a:pt x="717875" y="0"/>
                  </a:moveTo>
                  <a:cubicBezTo>
                    <a:pt x="798313" y="0"/>
                    <a:pt x="863528" y="65940"/>
                    <a:pt x="863528" y="145190"/>
                  </a:cubicBezTo>
                  <a:cubicBezTo>
                    <a:pt x="863528" y="179184"/>
                    <a:pt x="851596" y="210516"/>
                    <a:pt x="831640" y="235499"/>
                  </a:cubicBezTo>
                  <a:cubicBezTo>
                    <a:pt x="868877" y="298572"/>
                    <a:pt x="997043" y="515845"/>
                    <a:pt x="1436881" y="1262069"/>
                  </a:cubicBezTo>
                  <a:cubicBezTo>
                    <a:pt x="1439555" y="1266164"/>
                    <a:pt x="1439555" y="1270260"/>
                    <a:pt x="1436881" y="1274355"/>
                  </a:cubicBezTo>
                  <a:cubicBezTo>
                    <a:pt x="1434206" y="1278246"/>
                    <a:pt x="1430092" y="1281113"/>
                    <a:pt x="1425977" y="1281113"/>
                  </a:cubicBezTo>
                  <a:cubicBezTo>
                    <a:pt x="1425977" y="1281113"/>
                    <a:pt x="1425977" y="1281113"/>
                    <a:pt x="1309538" y="1281113"/>
                  </a:cubicBezTo>
                  <a:cubicBezTo>
                    <a:pt x="1305423" y="1281113"/>
                    <a:pt x="1301309" y="1278246"/>
                    <a:pt x="1298634" y="1274355"/>
                  </a:cubicBezTo>
                  <a:cubicBezTo>
                    <a:pt x="1290611" y="1259406"/>
                    <a:pt x="1259341" y="1206982"/>
                    <a:pt x="1149690" y="1022269"/>
                  </a:cubicBezTo>
                  <a:cubicBezTo>
                    <a:pt x="1016998" y="1086980"/>
                    <a:pt x="867848" y="1120564"/>
                    <a:pt x="718904" y="1120564"/>
                  </a:cubicBezTo>
                  <a:cubicBezTo>
                    <a:pt x="569959" y="1120564"/>
                    <a:pt x="422250" y="1086980"/>
                    <a:pt x="289557" y="1022269"/>
                  </a:cubicBezTo>
                  <a:cubicBezTo>
                    <a:pt x="289557" y="1022269"/>
                    <a:pt x="289557" y="1022269"/>
                    <a:pt x="139173" y="1274355"/>
                  </a:cubicBezTo>
                  <a:cubicBezTo>
                    <a:pt x="136499" y="1278246"/>
                    <a:pt x="132384" y="1281113"/>
                    <a:pt x="128270" y="1281113"/>
                  </a:cubicBezTo>
                  <a:cubicBezTo>
                    <a:pt x="117572" y="1281113"/>
                    <a:pt x="87742" y="1281113"/>
                    <a:pt x="11830" y="1281113"/>
                  </a:cubicBezTo>
                  <a:cubicBezTo>
                    <a:pt x="7715" y="1281113"/>
                    <a:pt x="3807" y="1278246"/>
                    <a:pt x="927" y="1274355"/>
                  </a:cubicBezTo>
                  <a:cubicBezTo>
                    <a:pt x="-308" y="1270260"/>
                    <a:pt x="-308" y="1266164"/>
                    <a:pt x="927" y="1262069"/>
                  </a:cubicBezTo>
                  <a:cubicBezTo>
                    <a:pt x="31785" y="1210259"/>
                    <a:pt x="151105" y="1009573"/>
                    <a:pt x="604727" y="237751"/>
                  </a:cubicBezTo>
                  <a:cubicBezTo>
                    <a:pt x="583537" y="212563"/>
                    <a:pt x="570782" y="180208"/>
                    <a:pt x="570782" y="145190"/>
                  </a:cubicBezTo>
                  <a:cubicBezTo>
                    <a:pt x="570782" y="65940"/>
                    <a:pt x="636203" y="0"/>
                    <a:pt x="717875" y="0"/>
                  </a:cubicBezTo>
                  <a:close/>
                </a:path>
              </a:pathLst>
            </a:custGeom>
            <a:solidFill>
              <a:srgbClr val="7BA0FF">
                <a:lumMod val="100000"/>
              </a:srgbClr>
            </a:solidFill>
            <a:ln>
              <a:noFill/>
            </a:ln>
          </p:spPr>
          <p:txBody>
            <a:bodyPr vert="horz" wrap="square" lIns="74345" tIns="37172" rIns="74345" bIns="37172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743407">
                <a:lnSpc>
                  <a:spcPct val="90000"/>
                </a:lnSpc>
                <a:defRPr/>
              </a:pPr>
              <a:endParaRPr lang="en-US" sz="976" kern="0">
                <a:solidFill>
                  <a:srgbClr val="13171F"/>
                </a:solidFill>
                <a:latin typeface="Calibri"/>
              </a:endParaRPr>
            </a:p>
          </p:txBody>
        </p:sp>
      </p:grpSp>
      <p:sp>
        <p:nvSpPr>
          <p:cNvPr id="566" name="TextBox 565">
            <a:extLst>
              <a:ext uri="{FF2B5EF4-FFF2-40B4-BE49-F238E27FC236}">
                <a16:creationId xmlns:a16="http://schemas.microsoft.com/office/drawing/2014/main" id="{358F4081-CEF6-07FB-FDE4-6A83ECF6076A}"/>
              </a:ext>
            </a:extLst>
          </p:cNvPr>
          <p:cNvSpPr txBox="1"/>
          <p:nvPr/>
        </p:nvSpPr>
        <p:spPr>
          <a:xfrm>
            <a:off x="8166458" y="5440416"/>
            <a:ext cx="1203603" cy="27033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90000"/>
              </a:lnSpc>
            </a:pPr>
            <a:r>
              <a:rPr lang="en-US" sz="976">
                <a:solidFill>
                  <a:srgbClr val="0E283C"/>
                </a:solidFill>
                <a:latin typeface="Calibri"/>
                <a:cs typeface="Microsoft Sans Serif" panose="020B0604020202020204" pitchFamily="34" charset="0"/>
              </a:rPr>
              <a:t>Drones &amp; expanded satellites comm.</a:t>
            </a:r>
          </a:p>
        </p:txBody>
      </p:sp>
      <p:grpSp>
        <p:nvGrpSpPr>
          <p:cNvPr id="567" name="Group 566">
            <a:extLst>
              <a:ext uri="{FF2B5EF4-FFF2-40B4-BE49-F238E27FC236}">
                <a16:creationId xmlns:a16="http://schemas.microsoft.com/office/drawing/2014/main" id="{BF76CF8B-A6F7-408B-A837-6AA37D1CC471}"/>
              </a:ext>
            </a:extLst>
          </p:cNvPr>
          <p:cNvGrpSpPr/>
          <p:nvPr/>
        </p:nvGrpSpPr>
        <p:grpSpPr>
          <a:xfrm>
            <a:off x="8166457" y="4904303"/>
            <a:ext cx="773794" cy="435073"/>
            <a:chOff x="8295256" y="4415180"/>
            <a:chExt cx="951726" cy="535117"/>
          </a:xfrm>
        </p:grpSpPr>
        <p:grpSp>
          <p:nvGrpSpPr>
            <p:cNvPr id="568" name="Group 567">
              <a:extLst>
                <a:ext uri="{FF2B5EF4-FFF2-40B4-BE49-F238E27FC236}">
                  <a16:creationId xmlns:a16="http://schemas.microsoft.com/office/drawing/2014/main" id="{E4E9BC3D-7E9E-AD7D-0836-6019A1A6460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295256" y="4415180"/>
              <a:ext cx="560817" cy="535117"/>
              <a:chOff x="1959352" y="3192359"/>
              <a:chExt cx="2213516" cy="2112076"/>
            </a:xfrm>
          </p:grpSpPr>
          <p:sp>
            <p:nvSpPr>
              <p:cNvPr id="574" name="Freeform 9">
                <a:extLst>
                  <a:ext uri="{FF2B5EF4-FFF2-40B4-BE49-F238E27FC236}">
                    <a16:creationId xmlns:a16="http://schemas.microsoft.com/office/drawing/2014/main" id="{667F82E9-1B60-04A5-EED2-3E49DF91C1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7740" y="3717362"/>
                <a:ext cx="1313686" cy="1238414"/>
              </a:xfrm>
              <a:custGeom>
                <a:avLst/>
                <a:gdLst>
                  <a:gd name="T0" fmla="*/ 606 w 622"/>
                  <a:gd name="T1" fmla="*/ 340 h 586"/>
                  <a:gd name="T2" fmla="*/ 450 w 622"/>
                  <a:gd name="T3" fmla="*/ 314 h 586"/>
                  <a:gd name="T4" fmla="*/ 488 w 622"/>
                  <a:gd name="T5" fmla="*/ 277 h 586"/>
                  <a:gd name="T6" fmla="*/ 488 w 622"/>
                  <a:gd name="T7" fmla="*/ 245 h 586"/>
                  <a:gd name="T8" fmla="*/ 390 w 622"/>
                  <a:gd name="T9" fmla="*/ 151 h 586"/>
                  <a:gd name="T10" fmla="*/ 360 w 622"/>
                  <a:gd name="T11" fmla="*/ 123 h 586"/>
                  <a:gd name="T12" fmla="*/ 287 w 622"/>
                  <a:gd name="T13" fmla="*/ 53 h 586"/>
                  <a:gd name="T14" fmla="*/ 163 w 622"/>
                  <a:gd name="T15" fmla="*/ 0 h 586"/>
                  <a:gd name="T16" fmla="*/ 0 w 622"/>
                  <a:gd name="T17" fmla="*/ 156 h 586"/>
                  <a:gd name="T18" fmla="*/ 62 w 622"/>
                  <a:gd name="T19" fmla="*/ 279 h 586"/>
                  <a:gd name="T20" fmla="*/ 130 w 622"/>
                  <a:gd name="T21" fmla="*/ 342 h 586"/>
                  <a:gd name="T22" fmla="*/ 159 w 622"/>
                  <a:gd name="T23" fmla="*/ 371 h 586"/>
                  <a:gd name="T24" fmla="*/ 258 w 622"/>
                  <a:gd name="T25" fmla="*/ 464 h 586"/>
                  <a:gd name="T26" fmla="*/ 292 w 622"/>
                  <a:gd name="T27" fmla="*/ 464 h 586"/>
                  <a:gd name="T28" fmla="*/ 336 w 622"/>
                  <a:gd name="T29" fmla="*/ 422 h 586"/>
                  <a:gd name="T30" fmla="*/ 364 w 622"/>
                  <a:gd name="T31" fmla="*/ 569 h 586"/>
                  <a:gd name="T32" fmla="*/ 407 w 622"/>
                  <a:gd name="T33" fmla="*/ 574 h 586"/>
                  <a:gd name="T34" fmla="*/ 611 w 622"/>
                  <a:gd name="T35" fmla="*/ 381 h 586"/>
                  <a:gd name="T36" fmla="*/ 606 w 622"/>
                  <a:gd name="T37" fmla="*/ 340 h 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22" h="586">
                    <a:moveTo>
                      <a:pt x="606" y="340"/>
                    </a:moveTo>
                    <a:cubicBezTo>
                      <a:pt x="558" y="309"/>
                      <a:pt x="501" y="300"/>
                      <a:pt x="450" y="314"/>
                    </a:cubicBezTo>
                    <a:cubicBezTo>
                      <a:pt x="450" y="314"/>
                      <a:pt x="450" y="314"/>
                      <a:pt x="488" y="277"/>
                    </a:cubicBezTo>
                    <a:cubicBezTo>
                      <a:pt x="498" y="268"/>
                      <a:pt x="498" y="254"/>
                      <a:pt x="488" y="245"/>
                    </a:cubicBezTo>
                    <a:cubicBezTo>
                      <a:pt x="488" y="245"/>
                      <a:pt x="390" y="151"/>
                      <a:pt x="390" y="151"/>
                    </a:cubicBezTo>
                    <a:cubicBezTo>
                      <a:pt x="389" y="150"/>
                      <a:pt x="360" y="123"/>
                      <a:pt x="360" y="123"/>
                    </a:cubicBezTo>
                    <a:cubicBezTo>
                      <a:pt x="360" y="123"/>
                      <a:pt x="360" y="123"/>
                      <a:pt x="287" y="53"/>
                    </a:cubicBezTo>
                    <a:cubicBezTo>
                      <a:pt x="257" y="20"/>
                      <a:pt x="213" y="0"/>
                      <a:pt x="163" y="0"/>
                    </a:cubicBezTo>
                    <a:cubicBezTo>
                      <a:pt x="73" y="0"/>
                      <a:pt x="0" y="70"/>
                      <a:pt x="0" y="156"/>
                    </a:cubicBezTo>
                    <a:cubicBezTo>
                      <a:pt x="0" y="206"/>
                      <a:pt x="24" y="250"/>
                      <a:pt x="62" y="279"/>
                    </a:cubicBezTo>
                    <a:cubicBezTo>
                      <a:pt x="62" y="279"/>
                      <a:pt x="62" y="279"/>
                      <a:pt x="130" y="342"/>
                    </a:cubicBezTo>
                    <a:cubicBezTo>
                      <a:pt x="159" y="371"/>
                      <a:pt x="159" y="371"/>
                      <a:pt x="159" y="371"/>
                    </a:cubicBezTo>
                    <a:cubicBezTo>
                      <a:pt x="159" y="371"/>
                      <a:pt x="159" y="371"/>
                      <a:pt x="258" y="464"/>
                    </a:cubicBezTo>
                    <a:cubicBezTo>
                      <a:pt x="267" y="473"/>
                      <a:pt x="282" y="473"/>
                      <a:pt x="292" y="464"/>
                    </a:cubicBezTo>
                    <a:cubicBezTo>
                      <a:pt x="292" y="464"/>
                      <a:pt x="292" y="464"/>
                      <a:pt x="336" y="422"/>
                    </a:cubicBezTo>
                    <a:cubicBezTo>
                      <a:pt x="322" y="470"/>
                      <a:pt x="331" y="525"/>
                      <a:pt x="364" y="569"/>
                    </a:cubicBezTo>
                    <a:cubicBezTo>
                      <a:pt x="374" y="583"/>
                      <a:pt x="395" y="586"/>
                      <a:pt x="407" y="574"/>
                    </a:cubicBezTo>
                    <a:cubicBezTo>
                      <a:pt x="407" y="574"/>
                      <a:pt x="407" y="574"/>
                      <a:pt x="611" y="381"/>
                    </a:cubicBezTo>
                    <a:cubicBezTo>
                      <a:pt x="622" y="370"/>
                      <a:pt x="620" y="350"/>
                      <a:pt x="606" y="340"/>
                    </a:cubicBezTo>
                    <a:close/>
                  </a:path>
                </a:pathLst>
              </a:custGeom>
              <a:solidFill>
                <a:srgbClr val="7BA0FF">
                  <a:lumMod val="100000"/>
                </a:srgbClr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575" name="Freeform 8">
                <a:extLst>
                  <a:ext uri="{FF2B5EF4-FFF2-40B4-BE49-F238E27FC236}">
                    <a16:creationId xmlns:a16="http://schemas.microsoft.com/office/drawing/2014/main" id="{8EF5B2E3-9A82-811C-2FA2-BE34A4ED36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9352" y="3192359"/>
                <a:ext cx="2165132" cy="2048633"/>
              </a:xfrm>
              <a:custGeom>
                <a:avLst/>
                <a:gdLst>
                  <a:gd name="connsiteX0" fmla="*/ 534360 w 2165132"/>
                  <a:gd name="connsiteY0" fmla="*/ 1211530 h 2048633"/>
                  <a:gd name="connsiteX1" fmla="*/ 563651 w 2165132"/>
                  <a:gd name="connsiteY1" fmla="*/ 1222621 h 2048633"/>
                  <a:gd name="connsiteX2" fmla="*/ 715647 w 2165132"/>
                  <a:gd name="connsiteY2" fmla="*/ 1366275 h 2048633"/>
                  <a:gd name="connsiteX3" fmla="*/ 842310 w 2165132"/>
                  <a:gd name="connsiteY3" fmla="*/ 1247972 h 2048633"/>
                  <a:gd name="connsiteX4" fmla="*/ 903530 w 2165132"/>
                  <a:gd name="connsiteY4" fmla="*/ 1309236 h 2048633"/>
                  <a:gd name="connsiteX5" fmla="*/ 778978 w 2165132"/>
                  <a:gd name="connsiteY5" fmla="*/ 1427540 h 2048633"/>
                  <a:gd name="connsiteX6" fmla="*/ 871864 w 2165132"/>
                  <a:gd name="connsiteY6" fmla="*/ 1514155 h 2048633"/>
                  <a:gd name="connsiteX7" fmla="*/ 871864 w 2165132"/>
                  <a:gd name="connsiteY7" fmla="*/ 1566969 h 2048633"/>
                  <a:gd name="connsiteX8" fmla="*/ 377878 w 2165132"/>
                  <a:gd name="connsiteY8" fmla="*/ 2035958 h 2048633"/>
                  <a:gd name="connsiteX9" fmla="*/ 318769 w 2165132"/>
                  <a:gd name="connsiteY9" fmla="*/ 2035958 h 2048633"/>
                  <a:gd name="connsiteX10" fmla="*/ 12666 w 2165132"/>
                  <a:gd name="connsiteY10" fmla="*/ 1746537 h 2048633"/>
                  <a:gd name="connsiteX11" fmla="*/ 12666 w 2165132"/>
                  <a:gd name="connsiteY11" fmla="*/ 1691610 h 2048633"/>
                  <a:gd name="connsiteX12" fmla="*/ 506653 w 2165132"/>
                  <a:gd name="connsiteY12" fmla="*/ 1222621 h 2048633"/>
                  <a:gd name="connsiteX13" fmla="*/ 534360 w 2165132"/>
                  <a:gd name="connsiteY13" fmla="*/ 1211530 h 2048633"/>
                  <a:gd name="connsiteX14" fmla="*/ 1818585 w 2165132"/>
                  <a:gd name="connsiteY14" fmla="*/ 0 h 2048633"/>
                  <a:gd name="connsiteX15" fmla="*/ 1847882 w 2165132"/>
                  <a:gd name="connsiteY15" fmla="*/ 11093 h 2048633"/>
                  <a:gd name="connsiteX16" fmla="*/ 2154047 w 2165132"/>
                  <a:gd name="connsiteY16" fmla="*/ 302692 h 2048633"/>
                  <a:gd name="connsiteX17" fmla="*/ 2154047 w 2165132"/>
                  <a:gd name="connsiteY17" fmla="*/ 357630 h 2048633"/>
                  <a:gd name="connsiteX18" fmla="*/ 1659960 w 2165132"/>
                  <a:gd name="connsiteY18" fmla="*/ 826723 h 2048633"/>
                  <a:gd name="connsiteX19" fmla="*/ 1602950 w 2165132"/>
                  <a:gd name="connsiteY19" fmla="*/ 826723 h 2048633"/>
                  <a:gd name="connsiteX20" fmla="*/ 1512156 w 2165132"/>
                  <a:gd name="connsiteY20" fmla="*/ 740089 h 2048633"/>
                  <a:gd name="connsiteX21" fmla="*/ 1391802 w 2165132"/>
                  <a:gd name="connsiteY21" fmla="*/ 852080 h 2048633"/>
                  <a:gd name="connsiteX22" fmla="*/ 1328457 w 2165132"/>
                  <a:gd name="connsiteY22" fmla="*/ 792915 h 2048633"/>
                  <a:gd name="connsiteX23" fmla="*/ 1448812 w 2165132"/>
                  <a:gd name="connsiteY23" fmla="*/ 678811 h 2048633"/>
                  <a:gd name="connsiteX24" fmla="*/ 1296785 w 2165132"/>
                  <a:gd name="connsiteY24" fmla="*/ 535125 h 2048633"/>
                  <a:gd name="connsiteX25" fmla="*/ 1296785 w 2165132"/>
                  <a:gd name="connsiteY25" fmla="*/ 480186 h 2048633"/>
                  <a:gd name="connsiteX26" fmla="*/ 1790872 w 2165132"/>
                  <a:gd name="connsiteY26" fmla="*/ 11093 h 2048633"/>
                  <a:gd name="connsiteX27" fmla="*/ 1818585 w 2165132"/>
                  <a:gd name="connsiteY27" fmla="*/ 0 h 2048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165132" h="2048633">
                    <a:moveTo>
                      <a:pt x="534360" y="1211530"/>
                    </a:moveTo>
                    <a:cubicBezTo>
                      <a:pt x="544652" y="1211530"/>
                      <a:pt x="555207" y="1215227"/>
                      <a:pt x="563651" y="1222621"/>
                    </a:cubicBezTo>
                    <a:cubicBezTo>
                      <a:pt x="715647" y="1366275"/>
                      <a:pt x="715647" y="1366275"/>
                      <a:pt x="715647" y="1366275"/>
                    </a:cubicBezTo>
                    <a:cubicBezTo>
                      <a:pt x="842310" y="1247972"/>
                      <a:pt x="842310" y="1247972"/>
                      <a:pt x="842310" y="1247972"/>
                    </a:cubicBezTo>
                    <a:lnTo>
                      <a:pt x="903530" y="1309236"/>
                    </a:lnTo>
                    <a:cubicBezTo>
                      <a:pt x="778978" y="1427540"/>
                      <a:pt x="778978" y="1427540"/>
                      <a:pt x="778978" y="1427540"/>
                    </a:cubicBezTo>
                    <a:cubicBezTo>
                      <a:pt x="871864" y="1514155"/>
                      <a:pt x="871864" y="1514155"/>
                      <a:pt x="871864" y="1514155"/>
                    </a:cubicBezTo>
                    <a:cubicBezTo>
                      <a:pt x="886642" y="1528943"/>
                      <a:pt x="886642" y="1552181"/>
                      <a:pt x="871864" y="1566969"/>
                    </a:cubicBezTo>
                    <a:cubicBezTo>
                      <a:pt x="377878" y="2035958"/>
                      <a:pt x="377878" y="2035958"/>
                      <a:pt x="377878" y="2035958"/>
                    </a:cubicBezTo>
                    <a:cubicBezTo>
                      <a:pt x="360990" y="2052858"/>
                      <a:pt x="335657" y="2052858"/>
                      <a:pt x="318769" y="2035958"/>
                    </a:cubicBezTo>
                    <a:cubicBezTo>
                      <a:pt x="12666" y="1746537"/>
                      <a:pt x="12666" y="1746537"/>
                      <a:pt x="12666" y="1746537"/>
                    </a:cubicBezTo>
                    <a:cubicBezTo>
                      <a:pt x="-4222" y="1729636"/>
                      <a:pt x="-4222" y="1706398"/>
                      <a:pt x="12666" y="1691610"/>
                    </a:cubicBezTo>
                    <a:cubicBezTo>
                      <a:pt x="506653" y="1222621"/>
                      <a:pt x="506653" y="1222621"/>
                      <a:pt x="506653" y="1222621"/>
                    </a:cubicBezTo>
                    <a:cubicBezTo>
                      <a:pt x="514041" y="1215227"/>
                      <a:pt x="524069" y="1211530"/>
                      <a:pt x="534360" y="1211530"/>
                    </a:cubicBezTo>
                    <a:close/>
                    <a:moveTo>
                      <a:pt x="1818585" y="0"/>
                    </a:moveTo>
                    <a:cubicBezTo>
                      <a:pt x="1828879" y="0"/>
                      <a:pt x="1839436" y="3698"/>
                      <a:pt x="1847882" y="11093"/>
                    </a:cubicBezTo>
                    <a:cubicBezTo>
                      <a:pt x="2154047" y="302692"/>
                      <a:pt x="2154047" y="302692"/>
                      <a:pt x="2154047" y="302692"/>
                    </a:cubicBezTo>
                    <a:cubicBezTo>
                      <a:pt x="2168827" y="317483"/>
                      <a:pt x="2168827" y="342839"/>
                      <a:pt x="2154047" y="357630"/>
                    </a:cubicBezTo>
                    <a:cubicBezTo>
                      <a:pt x="1659960" y="826723"/>
                      <a:pt x="1659960" y="826723"/>
                      <a:pt x="1659960" y="826723"/>
                    </a:cubicBezTo>
                    <a:cubicBezTo>
                      <a:pt x="1645180" y="841515"/>
                      <a:pt x="1619842" y="841515"/>
                      <a:pt x="1602950" y="826723"/>
                    </a:cubicBezTo>
                    <a:cubicBezTo>
                      <a:pt x="1512156" y="740089"/>
                      <a:pt x="1512156" y="740089"/>
                      <a:pt x="1512156" y="740089"/>
                    </a:cubicBezTo>
                    <a:cubicBezTo>
                      <a:pt x="1391802" y="852080"/>
                      <a:pt x="1391802" y="852080"/>
                      <a:pt x="1391802" y="852080"/>
                    </a:cubicBezTo>
                    <a:lnTo>
                      <a:pt x="1328457" y="792915"/>
                    </a:lnTo>
                    <a:cubicBezTo>
                      <a:pt x="1448812" y="678811"/>
                      <a:pt x="1448812" y="678811"/>
                      <a:pt x="1448812" y="678811"/>
                    </a:cubicBezTo>
                    <a:cubicBezTo>
                      <a:pt x="1296785" y="535125"/>
                      <a:pt x="1296785" y="535125"/>
                      <a:pt x="1296785" y="535125"/>
                    </a:cubicBezTo>
                    <a:cubicBezTo>
                      <a:pt x="1279893" y="518221"/>
                      <a:pt x="1279893" y="494977"/>
                      <a:pt x="1296785" y="480186"/>
                    </a:cubicBezTo>
                    <a:cubicBezTo>
                      <a:pt x="1790872" y="11093"/>
                      <a:pt x="1790872" y="11093"/>
                      <a:pt x="1790872" y="11093"/>
                    </a:cubicBezTo>
                    <a:cubicBezTo>
                      <a:pt x="1798262" y="3698"/>
                      <a:pt x="1808292" y="0"/>
                      <a:pt x="1818585" y="0"/>
                    </a:cubicBezTo>
                    <a:close/>
                  </a:path>
                </a:pathLst>
              </a:custGeom>
              <a:solidFill>
                <a:srgbClr val="7BA0FF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576" name="Freeform 5">
                <a:extLst>
                  <a:ext uri="{FF2B5EF4-FFF2-40B4-BE49-F238E27FC236}">
                    <a16:creationId xmlns:a16="http://schemas.microsoft.com/office/drawing/2014/main" id="{D48EFE46-1C8A-4761-61AA-736A2BA125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0800000">
                <a:off x="3528642" y="4665393"/>
                <a:ext cx="644226" cy="639042"/>
              </a:xfrm>
              <a:custGeom>
                <a:avLst/>
                <a:gdLst>
                  <a:gd name="T0" fmla="*/ 2292 w 3465"/>
                  <a:gd name="T1" fmla="*/ 2273 h 3454"/>
                  <a:gd name="T2" fmla="*/ 3195 w 3465"/>
                  <a:gd name="T3" fmla="*/ 1752 h 3454"/>
                  <a:gd name="T4" fmla="*/ 3451 w 3465"/>
                  <a:gd name="T5" fmla="*/ 1896 h 3454"/>
                  <a:gd name="T6" fmla="*/ 3393 w 3465"/>
                  <a:gd name="T7" fmla="*/ 2095 h 3454"/>
                  <a:gd name="T8" fmla="*/ 3307 w 3465"/>
                  <a:gd name="T9" fmla="*/ 2137 h 3454"/>
                  <a:gd name="T10" fmla="*/ 2576 w 3465"/>
                  <a:gd name="T11" fmla="*/ 2560 h 3454"/>
                  <a:gd name="T12" fmla="*/ 2144 w 3465"/>
                  <a:gd name="T13" fmla="*/ 3284 h 3454"/>
                  <a:gd name="T14" fmla="*/ 1901 w 3465"/>
                  <a:gd name="T15" fmla="*/ 3425 h 3454"/>
                  <a:gd name="T16" fmla="*/ 1752 w 3465"/>
                  <a:gd name="T17" fmla="*/ 3175 h 3454"/>
                  <a:gd name="T18" fmla="*/ 2292 w 3465"/>
                  <a:gd name="T19" fmla="*/ 2273 h 3454"/>
                  <a:gd name="T20" fmla="*/ 1636 w 3465"/>
                  <a:gd name="T21" fmla="*/ 1615 h 3454"/>
                  <a:gd name="T22" fmla="*/ 2963 w 3465"/>
                  <a:gd name="T23" fmla="*/ 859 h 3454"/>
                  <a:gd name="T24" fmla="*/ 3205 w 3465"/>
                  <a:gd name="T25" fmla="*/ 1002 h 3454"/>
                  <a:gd name="T26" fmla="*/ 3154 w 3465"/>
                  <a:gd name="T27" fmla="*/ 1195 h 3454"/>
                  <a:gd name="T28" fmla="*/ 3061 w 3465"/>
                  <a:gd name="T29" fmla="*/ 1244 h 3454"/>
                  <a:gd name="T30" fmla="*/ 1920 w 3465"/>
                  <a:gd name="T31" fmla="*/ 1901 h 3454"/>
                  <a:gd name="T32" fmla="*/ 1249 w 3465"/>
                  <a:gd name="T33" fmla="*/ 3031 h 3454"/>
                  <a:gd name="T34" fmla="*/ 998 w 3465"/>
                  <a:gd name="T35" fmla="*/ 3179 h 3454"/>
                  <a:gd name="T36" fmla="*/ 864 w 3465"/>
                  <a:gd name="T37" fmla="*/ 2929 h 3454"/>
                  <a:gd name="T38" fmla="*/ 1636 w 3465"/>
                  <a:gd name="T39" fmla="*/ 1615 h 3454"/>
                  <a:gd name="T40" fmla="*/ 1033 w 3465"/>
                  <a:gd name="T41" fmla="*/ 1004 h 3454"/>
                  <a:gd name="T42" fmla="*/ 2740 w 3465"/>
                  <a:gd name="T43" fmla="*/ 28 h 3454"/>
                  <a:gd name="T44" fmla="*/ 2982 w 3465"/>
                  <a:gd name="T45" fmla="*/ 172 h 3454"/>
                  <a:gd name="T46" fmla="*/ 2930 w 3465"/>
                  <a:gd name="T47" fmla="*/ 364 h 3454"/>
                  <a:gd name="T48" fmla="*/ 2844 w 3465"/>
                  <a:gd name="T49" fmla="*/ 421 h 3454"/>
                  <a:gd name="T50" fmla="*/ 1317 w 3465"/>
                  <a:gd name="T51" fmla="*/ 1291 h 3454"/>
                  <a:gd name="T52" fmla="*/ 428 w 3465"/>
                  <a:gd name="T53" fmla="*/ 2804 h 3454"/>
                  <a:gd name="T54" fmla="*/ 170 w 3465"/>
                  <a:gd name="T55" fmla="*/ 2946 h 3454"/>
                  <a:gd name="T56" fmla="*/ 36 w 3465"/>
                  <a:gd name="T57" fmla="*/ 2696 h 3454"/>
                  <a:gd name="T58" fmla="*/ 1033 w 3465"/>
                  <a:gd name="T59" fmla="*/ 1004 h 3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465" h="3454">
                    <a:moveTo>
                      <a:pt x="2292" y="2273"/>
                    </a:moveTo>
                    <a:cubicBezTo>
                      <a:pt x="2543" y="2026"/>
                      <a:pt x="2858" y="1842"/>
                      <a:pt x="3195" y="1752"/>
                    </a:cubicBezTo>
                    <a:cubicBezTo>
                      <a:pt x="3309" y="1724"/>
                      <a:pt x="3416" y="1788"/>
                      <a:pt x="3451" y="1896"/>
                    </a:cubicBezTo>
                    <a:cubicBezTo>
                      <a:pt x="3465" y="1967"/>
                      <a:pt x="3443" y="2045"/>
                      <a:pt x="3393" y="2095"/>
                    </a:cubicBezTo>
                    <a:cubicBezTo>
                      <a:pt x="3372" y="2116"/>
                      <a:pt x="3343" y="2130"/>
                      <a:pt x="3307" y="2137"/>
                    </a:cubicBezTo>
                    <a:cubicBezTo>
                      <a:pt x="3028" y="2214"/>
                      <a:pt x="2777" y="2362"/>
                      <a:pt x="2576" y="2560"/>
                    </a:cubicBezTo>
                    <a:cubicBezTo>
                      <a:pt x="2368" y="2765"/>
                      <a:pt x="2224" y="3007"/>
                      <a:pt x="2144" y="3284"/>
                    </a:cubicBezTo>
                    <a:cubicBezTo>
                      <a:pt x="2115" y="3398"/>
                      <a:pt x="2001" y="3454"/>
                      <a:pt x="1901" y="3425"/>
                    </a:cubicBezTo>
                    <a:cubicBezTo>
                      <a:pt x="1786" y="3396"/>
                      <a:pt x="1730" y="3282"/>
                      <a:pt x="1752" y="3175"/>
                    </a:cubicBezTo>
                    <a:cubicBezTo>
                      <a:pt x="1853" y="2834"/>
                      <a:pt x="2041" y="2521"/>
                      <a:pt x="2292" y="2273"/>
                    </a:cubicBezTo>
                    <a:close/>
                    <a:moveTo>
                      <a:pt x="1636" y="1615"/>
                    </a:moveTo>
                    <a:cubicBezTo>
                      <a:pt x="2002" y="1253"/>
                      <a:pt x="2461" y="984"/>
                      <a:pt x="2963" y="859"/>
                    </a:cubicBezTo>
                    <a:cubicBezTo>
                      <a:pt x="3063" y="831"/>
                      <a:pt x="3177" y="888"/>
                      <a:pt x="3205" y="1002"/>
                    </a:cubicBezTo>
                    <a:cubicBezTo>
                      <a:pt x="3226" y="1067"/>
                      <a:pt x="3204" y="1145"/>
                      <a:pt x="3154" y="1195"/>
                    </a:cubicBezTo>
                    <a:cubicBezTo>
                      <a:pt x="3125" y="1223"/>
                      <a:pt x="3096" y="1237"/>
                      <a:pt x="3061" y="1244"/>
                    </a:cubicBezTo>
                    <a:cubicBezTo>
                      <a:pt x="2638" y="1363"/>
                      <a:pt x="2237" y="1589"/>
                      <a:pt x="1920" y="1901"/>
                    </a:cubicBezTo>
                    <a:cubicBezTo>
                      <a:pt x="1604" y="2213"/>
                      <a:pt x="1373" y="2611"/>
                      <a:pt x="1249" y="3031"/>
                    </a:cubicBezTo>
                    <a:cubicBezTo>
                      <a:pt x="1220" y="3145"/>
                      <a:pt x="1113" y="3208"/>
                      <a:pt x="998" y="3179"/>
                    </a:cubicBezTo>
                    <a:cubicBezTo>
                      <a:pt x="891" y="3143"/>
                      <a:pt x="827" y="3036"/>
                      <a:pt x="864" y="2929"/>
                    </a:cubicBezTo>
                    <a:cubicBezTo>
                      <a:pt x="995" y="2431"/>
                      <a:pt x="1269" y="1976"/>
                      <a:pt x="1636" y="1615"/>
                    </a:cubicBezTo>
                    <a:close/>
                    <a:moveTo>
                      <a:pt x="1033" y="1004"/>
                    </a:moveTo>
                    <a:cubicBezTo>
                      <a:pt x="1507" y="536"/>
                      <a:pt x="2095" y="197"/>
                      <a:pt x="2740" y="28"/>
                    </a:cubicBezTo>
                    <a:cubicBezTo>
                      <a:pt x="2840" y="0"/>
                      <a:pt x="2954" y="58"/>
                      <a:pt x="2982" y="172"/>
                    </a:cubicBezTo>
                    <a:cubicBezTo>
                      <a:pt x="3010" y="243"/>
                      <a:pt x="2981" y="314"/>
                      <a:pt x="2930" y="364"/>
                    </a:cubicBezTo>
                    <a:cubicBezTo>
                      <a:pt x="2909" y="385"/>
                      <a:pt x="2873" y="406"/>
                      <a:pt x="2844" y="421"/>
                    </a:cubicBezTo>
                    <a:cubicBezTo>
                      <a:pt x="2265" y="568"/>
                      <a:pt x="1741" y="872"/>
                      <a:pt x="1317" y="1291"/>
                    </a:cubicBezTo>
                    <a:cubicBezTo>
                      <a:pt x="892" y="1709"/>
                      <a:pt x="582" y="2228"/>
                      <a:pt x="428" y="2804"/>
                    </a:cubicBezTo>
                    <a:cubicBezTo>
                      <a:pt x="392" y="2911"/>
                      <a:pt x="284" y="2975"/>
                      <a:pt x="170" y="2946"/>
                    </a:cubicBezTo>
                    <a:cubicBezTo>
                      <a:pt x="63" y="2910"/>
                      <a:pt x="0" y="2802"/>
                      <a:pt x="36" y="2696"/>
                    </a:cubicBezTo>
                    <a:cubicBezTo>
                      <a:pt x="211" y="2055"/>
                      <a:pt x="558" y="1473"/>
                      <a:pt x="1033" y="1004"/>
                    </a:cubicBezTo>
                    <a:close/>
                  </a:path>
                </a:pathLst>
              </a:custGeom>
              <a:solidFill>
                <a:srgbClr val="7BA0FF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13171F"/>
                  </a:solidFill>
                  <a:latin typeface="Calibri"/>
                </a:endParaRPr>
              </a:p>
            </p:txBody>
          </p:sp>
        </p:grpSp>
        <p:grpSp>
          <p:nvGrpSpPr>
            <p:cNvPr id="569" name="Group 568">
              <a:extLst>
                <a:ext uri="{FF2B5EF4-FFF2-40B4-BE49-F238E27FC236}">
                  <a16:creationId xmlns:a16="http://schemas.microsoft.com/office/drawing/2014/main" id="{A7C55FD1-2E67-EF23-62CB-5AC98CD2322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988818" y="4541441"/>
              <a:ext cx="258164" cy="256866"/>
              <a:chOff x="2483099" y="1931169"/>
              <a:chExt cx="3530676" cy="3512934"/>
            </a:xfrm>
          </p:grpSpPr>
          <p:sp>
            <p:nvSpPr>
              <p:cNvPr id="570" name="Freeform: Shape 17">
                <a:extLst>
                  <a:ext uri="{FF2B5EF4-FFF2-40B4-BE49-F238E27FC236}">
                    <a16:creationId xmlns:a16="http://schemas.microsoft.com/office/drawing/2014/main" id="{360D4E88-9EA1-2987-70F1-2357A3CF3D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3099" y="1931169"/>
                <a:ext cx="3530676" cy="3512934"/>
              </a:xfrm>
              <a:custGeom>
                <a:avLst/>
                <a:gdLst>
                  <a:gd name="connsiteX0" fmla="*/ 2876028 w 3530676"/>
                  <a:gd name="connsiteY0" fmla="*/ 2206132 h 3512934"/>
                  <a:gd name="connsiteX1" fmla="*/ 3340128 w 3530676"/>
                  <a:gd name="connsiteY1" fmla="*/ 2398593 h 3512934"/>
                  <a:gd name="connsiteX2" fmla="*/ 3340128 w 3530676"/>
                  <a:gd name="connsiteY2" fmla="*/ 3323549 h 3512934"/>
                  <a:gd name="connsiteX3" fmla="*/ 2876028 w 3530676"/>
                  <a:gd name="connsiteY3" fmla="*/ 3512934 h 3512934"/>
                  <a:gd name="connsiteX4" fmla="*/ 2411489 w 3530676"/>
                  <a:gd name="connsiteY4" fmla="*/ 3323549 h 3512934"/>
                  <a:gd name="connsiteX5" fmla="*/ 2411489 w 3530676"/>
                  <a:gd name="connsiteY5" fmla="*/ 2398593 h 3512934"/>
                  <a:gd name="connsiteX6" fmla="*/ 2876028 w 3530676"/>
                  <a:gd name="connsiteY6" fmla="*/ 2206132 h 3512934"/>
                  <a:gd name="connsiteX7" fmla="*/ 654758 w 3530676"/>
                  <a:gd name="connsiteY7" fmla="*/ 2206132 h 3512934"/>
                  <a:gd name="connsiteX8" fmla="*/ 1119297 w 3530676"/>
                  <a:gd name="connsiteY8" fmla="*/ 2398593 h 3512934"/>
                  <a:gd name="connsiteX9" fmla="*/ 1119297 w 3530676"/>
                  <a:gd name="connsiteY9" fmla="*/ 3323549 h 3512934"/>
                  <a:gd name="connsiteX10" fmla="*/ 654758 w 3530676"/>
                  <a:gd name="connsiteY10" fmla="*/ 3512934 h 3512934"/>
                  <a:gd name="connsiteX11" fmla="*/ 190218 w 3530676"/>
                  <a:gd name="connsiteY11" fmla="*/ 3323549 h 3512934"/>
                  <a:gd name="connsiteX12" fmla="*/ 190218 w 3530676"/>
                  <a:gd name="connsiteY12" fmla="*/ 2398593 h 3512934"/>
                  <a:gd name="connsiteX13" fmla="*/ 654758 w 3530676"/>
                  <a:gd name="connsiteY13" fmla="*/ 2206132 h 3512934"/>
                  <a:gd name="connsiteX14" fmla="*/ 2876028 w 3530676"/>
                  <a:gd name="connsiteY14" fmla="*/ 0 h 3512934"/>
                  <a:gd name="connsiteX15" fmla="*/ 3340128 w 3530676"/>
                  <a:gd name="connsiteY15" fmla="*/ 189385 h 3512934"/>
                  <a:gd name="connsiteX16" fmla="*/ 3340128 w 3530676"/>
                  <a:gd name="connsiteY16" fmla="*/ 1114341 h 3512934"/>
                  <a:gd name="connsiteX17" fmla="*/ 2876028 w 3530676"/>
                  <a:gd name="connsiteY17" fmla="*/ 1306802 h 3512934"/>
                  <a:gd name="connsiteX18" fmla="*/ 2411489 w 3530676"/>
                  <a:gd name="connsiteY18" fmla="*/ 1114341 h 3512934"/>
                  <a:gd name="connsiteX19" fmla="*/ 2411489 w 3530676"/>
                  <a:gd name="connsiteY19" fmla="*/ 189385 h 3512934"/>
                  <a:gd name="connsiteX20" fmla="*/ 2876028 w 3530676"/>
                  <a:gd name="connsiteY20" fmla="*/ 0 h 3512934"/>
                  <a:gd name="connsiteX21" fmla="*/ 654758 w 3530676"/>
                  <a:gd name="connsiteY21" fmla="*/ 0 h 3512934"/>
                  <a:gd name="connsiteX22" fmla="*/ 1119297 w 3530676"/>
                  <a:gd name="connsiteY22" fmla="*/ 189385 h 3512934"/>
                  <a:gd name="connsiteX23" fmla="*/ 1119297 w 3530676"/>
                  <a:gd name="connsiteY23" fmla="*/ 1114341 h 3512934"/>
                  <a:gd name="connsiteX24" fmla="*/ 654758 w 3530676"/>
                  <a:gd name="connsiteY24" fmla="*/ 1306802 h 3512934"/>
                  <a:gd name="connsiteX25" fmla="*/ 190218 w 3530676"/>
                  <a:gd name="connsiteY25" fmla="*/ 1114341 h 3512934"/>
                  <a:gd name="connsiteX26" fmla="*/ 190218 w 3530676"/>
                  <a:gd name="connsiteY26" fmla="*/ 189385 h 3512934"/>
                  <a:gd name="connsiteX27" fmla="*/ 654758 w 3530676"/>
                  <a:gd name="connsiteY27" fmla="*/ 0 h 3512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530676" h="3512934">
                    <a:moveTo>
                      <a:pt x="2876028" y="2206132"/>
                    </a:moveTo>
                    <a:cubicBezTo>
                      <a:pt x="3043351" y="2206132"/>
                      <a:pt x="3210673" y="2269407"/>
                      <a:pt x="3340128" y="2398593"/>
                    </a:cubicBezTo>
                    <a:cubicBezTo>
                      <a:pt x="3594193" y="2654329"/>
                      <a:pt x="3594193" y="3067813"/>
                      <a:pt x="3340128" y="3323549"/>
                    </a:cubicBezTo>
                    <a:cubicBezTo>
                      <a:pt x="3210673" y="3449659"/>
                      <a:pt x="3043351" y="3512934"/>
                      <a:pt x="2876028" y="3512934"/>
                    </a:cubicBezTo>
                    <a:cubicBezTo>
                      <a:pt x="2705624" y="3512934"/>
                      <a:pt x="2538302" y="3449659"/>
                      <a:pt x="2411489" y="3323549"/>
                    </a:cubicBezTo>
                    <a:cubicBezTo>
                      <a:pt x="2154781" y="3067813"/>
                      <a:pt x="2154781" y="2654329"/>
                      <a:pt x="2411489" y="2398593"/>
                    </a:cubicBezTo>
                    <a:cubicBezTo>
                      <a:pt x="2538302" y="2269407"/>
                      <a:pt x="2705624" y="2206132"/>
                      <a:pt x="2876028" y="2206132"/>
                    </a:cubicBezTo>
                    <a:close/>
                    <a:moveTo>
                      <a:pt x="654758" y="2206132"/>
                    </a:moveTo>
                    <a:cubicBezTo>
                      <a:pt x="825162" y="2206132"/>
                      <a:pt x="992485" y="2269407"/>
                      <a:pt x="1119297" y="2398593"/>
                    </a:cubicBezTo>
                    <a:cubicBezTo>
                      <a:pt x="1376005" y="2654329"/>
                      <a:pt x="1376005" y="3067813"/>
                      <a:pt x="1119297" y="3323549"/>
                    </a:cubicBezTo>
                    <a:cubicBezTo>
                      <a:pt x="992485" y="3449659"/>
                      <a:pt x="825162" y="3512934"/>
                      <a:pt x="654758" y="3512934"/>
                    </a:cubicBezTo>
                    <a:cubicBezTo>
                      <a:pt x="487435" y="3512934"/>
                      <a:pt x="320113" y="3449659"/>
                      <a:pt x="190218" y="3323549"/>
                    </a:cubicBezTo>
                    <a:cubicBezTo>
                      <a:pt x="-63407" y="3067813"/>
                      <a:pt x="-63407" y="2654329"/>
                      <a:pt x="190218" y="2398593"/>
                    </a:cubicBezTo>
                    <a:cubicBezTo>
                      <a:pt x="320113" y="2269407"/>
                      <a:pt x="487435" y="2206132"/>
                      <a:pt x="654758" y="2206132"/>
                    </a:cubicBezTo>
                    <a:close/>
                    <a:moveTo>
                      <a:pt x="2876028" y="0"/>
                    </a:moveTo>
                    <a:cubicBezTo>
                      <a:pt x="3043351" y="0"/>
                      <a:pt x="3210673" y="63275"/>
                      <a:pt x="3340128" y="189385"/>
                    </a:cubicBezTo>
                    <a:cubicBezTo>
                      <a:pt x="3594193" y="445121"/>
                      <a:pt x="3594193" y="858605"/>
                      <a:pt x="3340128" y="1114341"/>
                    </a:cubicBezTo>
                    <a:cubicBezTo>
                      <a:pt x="3210673" y="1243527"/>
                      <a:pt x="3043351" y="1306802"/>
                      <a:pt x="2876028" y="1306802"/>
                    </a:cubicBezTo>
                    <a:cubicBezTo>
                      <a:pt x="2705624" y="1306802"/>
                      <a:pt x="2538302" y="1243527"/>
                      <a:pt x="2411489" y="1114341"/>
                    </a:cubicBezTo>
                    <a:cubicBezTo>
                      <a:pt x="2154781" y="858605"/>
                      <a:pt x="2154781" y="445121"/>
                      <a:pt x="2411489" y="189385"/>
                    </a:cubicBezTo>
                    <a:cubicBezTo>
                      <a:pt x="2538302" y="63275"/>
                      <a:pt x="2705624" y="0"/>
                      <a:pt x="2876028" y="0"/>
                    </a:cubicBezTo>
                    <a:close/>
                    <a:moveTo>
                      <a:pt x="654758" y="0"/>
                    </a:moveTo>
                    <a:cubicBezTo>
                      <a:pt x="825162" y="0"/>
                      <a:pt x="992485" y="63275"/>
                      <a:pt x="1119297" y="189385"/>
                    </a:cubicBezTo>
                    <a:cubicBezTo>
                      <a:pt x="1376005" y="445121"/>
                      <a:pt x="1376005" y="858605"/>
                      <a:pt x="1119297" y="1114341"/>
                    </a:cubicBezTo>
                    <a:cubicBezTo>
                      <a:pt x="992485" y="1243527"/>
                      <a:pt x="825162" y="1306802"/>
                      <a:pt x="654758" y="1306802"/>
                    </a:cubicBezTo>
                    <a:cubicBezTo>
                      <a:pt x="487435" y="1306802"/>
                      <a:pt x="320113" y="1243527"/>
                      <a:pt x="190218" y="1114341"/>
                    </a:cubicBezTo>
                    <a:cubicBezTo>
                      <a:pt x="-63407" y="858605"/>
                      <a:pt x="-63407" y="445121"/>
                      <a:pt x="190218" y="189385"/>
                    </a:cubicBezTo>
                    <a:cubicBezTo>
                      <a:pt x="320113" y="63275"/>
                      <a:pt x="487435" y="0"/>
                      <a:pt x="654758" y="0"/>
                    </a:cubicBezTo>
                    <a:close/>
                  </a:path>
                </a:pathLst>
              </a:custGeom>
              <a:solidFill>
                <a:srgbClr val="7BA0FF">
                  <a:lumMod val="40000"/>
                  <a:lumOff val="6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571" name="Freeform: Shape 18">
                <a:extLst>
                  <a:ext uri="{FF2B5EF4-FFF2-40B4-BE49-F238E27FC236}">
                    <a16:creationId xmlns:a16="http://schemas.microsoft.com/office/drawing/2014/main" id="{081B86E8-8FED-7667-33E0-B4145B7E74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0517" y="1951501"/>
                <a:ext cx="3493641" cy="3472168"/>
              </a:xfrm>
              <a:custGeom>
                <a:avLst/>
                <a:gdLst>
                  <a:gd name="connsiteX0" fmla="*/ 3465314 w 3493641"/>
                  <a:gd name="connsiteY0" fmla="*/ 2203847 h 3472168"/>
                  <a:gd name="connsiteX1" fmla="*/ 3486318 w 3493641"/>
                  <a:gd name="connsiteY1" fmla="*/ 2211171 h 3472168"/>
                  <a:gd name="connsiteX2" fmla="*/ 3241153 w 3493641"/>
                  <a:gd name="connsiteY2" fmla="*/ 2596431 h 3472168"/>
                  <a:gd name="connsiteX3" fmla="*/ 2877900 w 3493641"/>
                  <a:gd name="connsiteY3" fmla="*/ 2847680 h 3472168"/>
                  <a:gd name="connsiteX4" fmla="*/ 2860545 w 3493641"/>
                  <a:gd name="connsiteY4" fmla="*/ 2841362 h 3472168"/>
                  <a:gd name="connsiteX5" fmla="*/ 2866722 w 3493641"/>
                  <a:gd name="connsiteY5" fmla="*/ 2858349 h 3472168"/>
                  <a:gd name="connsiteX6" fmla="*/ 2614098 w 3493641"/>
                  <a:gd name="connsiteY6" fmla="*/ 3220634 h 3472168"/>
                  <a:gd name="connsiteX7" fmla="*/ 2227843 w 3493641"/>
                  <a:gd name="connsiteY7" fmla="*/ 3464845 h 3472168"/>
                  <a:gd name="connsiteX8" fmla="*/ 2472721 w 3493641"/>
                  <a:gd name="connsiteY8" fmla="*/ 3082467 h 3472168"/>
                  <a:gd name="connsiteX9" fmla="*/ 2838392 w 3493641"/>
                  <a:gd name="connsiteY9" fmla="*/ 2830069 h 3472168"/>
                  <a:gd name="connsiteX10" fmla="*/ 2856489 w 3493641"/>
                  <a:gd name="connsiteY10" fmla="*/ 2837116 h 3472168"/>
                  <a:gd name="connsiteX11" fmla="*/ 2849467 w 3493641"/>
                  <a:gd name="connsiteY11" fmla="*/ 2819504 h 3472168"/>
                  <a:gd name="connsiteX12" fmla="*/ 3102945 w 3493641"/>
                  <a:gd name="connsiteY12" fmla="*/ 2455536 h 3472168"/>
                  <a:gd name="connsiteX13" fmla="*/ 3465314 w 3493641"/>
                  <a:gd name="connsiteY13" fmla="*/ 2203847 h 3472168"/>
                  <a:gd name="connsiteX14" fmla="*/ 28424 w 3493641"/>
                  <a:gd name="connsiteY14" fmla="*/ 2203847 h 3472168"/>
                  <a:gd name="connsiteX15" fmla="*/ 392029 w 3493641"/>
                  <a:gd name="connsiteY15" fmla="*/ 2455536 h 3472168"/>
                  <a:gd name="connsiteX16" fmla="*/ 646372 w 3493641"/>
                  <a:gd name="connsiteY16" fmla="*/ 2819504 h 3472168"/>
                  <a:gd name="connsiteX17" fmla="*/ 639302 w 3493641"/>
                  <a:gd name="connsiteY17" fmla="*/ 2837178 h 3472168"/>
                  <a:gd name="connsiteX18" fmla="*/ 657557 w 3493641"/>
                  <a:gd name="connsiteY18" fmla="*/ 2830069 h 3472168"/>
                  <a:gd name="connsiteX19" fmla="*/ 1022789 w 3493641"/>
                  <a:gd name="connsiteY19" fmla="*/ 3082467 h 3472168"/>
                  <a:gd name="connsiteX20" fmla="*/ 1268107 w 3493641"/>
                  <a:gd name="connsiteY20" fmla="*/ 3464845 h 3472168"/>
                  <a:gd name="connsiteX21" fmla="*/ 881852 w 3493641"/>
                  <a:gd name="connsiteY21" fmla="*/ 3220634 h 3472168"/>
                  <a:gd name="connsiteX22" fmla="*/ 629228 w 3493641"/>
                  <a:gd name="connsiteY22" fmla="*/ 2858349 h 3472168"/>
                  <a:gd name="connsiteX23" fmla="*/ 635427 w 3493641"/>
                  <a:gd name="connsiteY23" fmla="*/ 2841300 h 3472168"/>
                  <a:gd name="connsiteX24" fmla="*/ 617842 w 3493641"/>
                  <a:gd name="connsiteY24" fmla="*/ 2847680 h 3472168"/>
                  <a:gd name="connsiteX25" fmla="*/ 253349 w 3493641"/>
                  <a:gd name="connsiteY25" fmla="*/ 2596431 h 3472168"/>
                  <a:gd name="connsiteX26" fmla="*/ 7348 w 3493641"/>
                  <a:gd name="connsiteY26" fmla="*/ 2211171 h 3472168"/>
                  <a:gd name="connsiteX27" fmla="*/ 28424 w 3493641"/>
                  <a:gd name="connsiteY27" fmla="*/ 2203847 h 3472168"/>
                  <a:gd name="connsiteX28" fmla="*/ 2248739 w 3493641"/>
                  <a:gd name="connsiteY28" fmla="*/ 21 h 3472168"/>
                  <a:gd name="connsiteX29" fmla="*/ 2614098 w 3493641"/>
                  <a:gd name="connsiteY29" fmla="*/ 250673 h 3472168"/>
                  <a:gd name="connsiteX30" fmla="*/ 2866722 w 3493641"/>
                  <a:gd name="connsiteY30" fmla="*/ 611716 h 3472168"/>
                  <a:gd name="connsiteX31" fmla="*/ 2859593 w 3493641"/>
                  <a:gd name="connsiteY31" fmla="*/ 631256 h 3472168"/>
                  <a:gd name="connsiteX32" fmla="*/ 2877900 w 3493641"/>
                  <a:gd name="connsiteY32" fmla="*/ 624591 h 3472168"/>
                  <a:gd name="connsiteX33" fmla="*/ 3241153 w 3493641"/>
                  <a:gd name="connsiteY33" fmla="*/ 875840 h 3472168"/>
                  <a:gd name="connsiteX34" fmla="*/ 3486318 w 3493641"/>
                  <a:gd name="connsiteY34" fmla="*/ 1261100 h 3472168"/>
                  <a:gd name="connsiteX35" fmla="*/ 3102945 w 3493641"/>
                  <a:gd name="connsiteY35" fmla="*/ 1016735 h 3472168"/>
                  <a:gd name="connsiteX36" fmla="*/ 2849467 w 3493641"/>
                  <a:gd name="connsiteY36" fmla="*/ 652767 h 3472168"/>
                  <a:gd name="connsiteX37" fmla="*/ 2857563 w 3493641"/>
                  <a:gd name="connsiteY37" fmla="*/ 632460 h 3472168"/>
                  <a:gd name="connsiteX38" fmla="*/ 2838392 w 3493641"/>
                  <a:gd name="connsiteY38" fmla="*/ 639899 h 3472168"/>
                  <a:gd name="connsiteX39" fmla="*/ 2472721 w 3493641"/>
                  <a:gd name="connsiteY39" fmla="*/ 388366 h 3472168"/>
                  <a:gd name="connsiteX40" fmla="*/ 2227843 w 3493641"/>
                  <a:gd name="connsiteY40" fmla="*/ 7298 h 3472168"/>
                  <a:gd name="connsiteX41" fmla="*/ 2248739 w 3493641"/>
                  <a:gd name="connsiteY41" fmla="*/ 21 h 3472168"/>
                  <a:gd name="connsiteX42" fmla="*/ 1247210 w 3493641"/>
                  <a:gd name="connsiteY42" fmla="*/ 21 h 3472168"/>
                  <a:gd name="connsiteX43" fmla="*/ 1268107 w 3493641"/>
                  <a:gd name="connsiteY43" fmla="*/ 7298 h 3472168"/>
                  <a:gd name="connsiteX44" fmla="*/ 1022789 w 3493641"/>
                  <a:gd name="connsiteY44" fmla="*/ 388366 h 3472168"/>
                  <a:gd name="connsiteX45" fmla="*/ 657557 w 3493641"/>
                  <a:gd name="connsiteY45" fmla="*/ 639899 h 3472168"/>
                  <a:gd name="connsiteX46" fmla="*/ 638223 w 3493641"/>
                  <a:gd name="connsiteY46" fmla="*/ 632396 h 3472168"/>
                  <a:gd name="connsiteX47" fmla="*/ 646372 w 3493641"/>
                  <a:gd name="connsiteY47" fmla="*/ 652767 h 3472168"/>
                  <a:gd name="connsiteX48" fmla="*/ 392029 w 3493641"/>
                  <a:gd name="connsiteY48" fmla="*/ 1016735 h 3472168"/>
                  <a:gd name="connsiteX49" fmla="*/ 7348 w 3493641"/>
                  <a:gd name="connsiteY49" fmla="*/ 1261100 h 3472168"/>
                  <a:gd name="connsiteX50" fmla="*/ 253349 w 3493641"/>
                  <a:gd name="connsiteY50" fmla="*/ 875840 h 3472168"/>
                  <a:gd name="connsiteX51" fmla="*/ 617842 w 3493641"/>
                  <a:gd name="connsiteY51" fmla="*/ 624591 h 3472168"/>
                  <a:gd name="connsiteX52" fmla="*/ 636379 w 3493641"/>
                  <a:gd name="connsiteY52" fmla="*/ 631317 h 3472168"/>
                  <a:gd name="connsiteX53" fmla="*/ 629228 w 3493641"/>
                  <a:gd name="connsiteY53" fmla="*/ 611716 h 3472168"/>
                  <a:gd name="connsiteX54" fmla="*/ 881852 w 3493641"/>
                  <a:gd name="connsiteY54" fmla="*/ 250673 h 3472168"/>
                  <a:gd name="connsiteX55" fmla="*/ 1247210 w 3493641"/>
                  <a:gd name="connsiteY55" fmla="*/ 21 h 3472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3493641" h="3472168">
                    <a:moveTo>
                      <a:pt x="3465314" y="2203847"/>
                    </a:moveTo>
                    <a:cubicBezTo>
                      <a:pt x="3474173" y="2204106"/>
                      <a:pt x="3481256" y="2206493"/>
                      <a:pt x="3486318" y="2211171"/>
                    </a:cubicBezTo>
                    <a:cubicBezTo>
                      <a:pt x="3523731" y="2251238"/>
                      <a:pt x="3414133" y="2420753"/>
                      <a:pt x="3241153" y="2596431"/>
                    </a:cubicBezTo>
                    <a:cubicBezTo>
                      <a:pt x="3089796" y="2747067"/>
                      <a:pt x="2938438" y="2849498"/>
                      <a:pt x="2877900" y="2847680"/>
                    </a:cubicBezTo>
                    <a:lnTo>
                      <a:pt x="2860545" y="2841362"/>
                    </a:lnTo>
                    <a:lnTo>
                      <a:pt x="2866722" y="2858349"/>
                    </a:lnTo>
                    <a:cubicBezTo>
                      <a:pt x="2868445" y="2918779"/>
                      <a:pt x="2765549" y="3069706"/>
                      <a:pt x="2614098" y="3220634"/>
                    </a:cubicBezTo>
                    <a:cubicBezTo>
                      <a:pt x="2438367" y="3392682"/>
                      <a:pt x="2267922" y="3502247"/>
                      <a:pt x="2227843" y="3464845"/>
                    </a:cubicBezTo>
                    <a:cubicBezTo>
                      <a:pt x="2190407" y="3424363"/>
                      <a:pt x="2299633" y="3254955"/>
                      <a:pt x="2472721" y="3082467"/>
                    </a:cubicBezTo>
                    <a:cubicBezTo>
                      <a:pt x="2626870" y="2929230"/>
                      <a:pt x="2776299" y="2826526"/>
                      <a:pt x="2838392" y="2830069"/>
                    </a:cubicBezTo>
                    <a:lnTo>
                      <a:pt x="2856489" y="2837116"/>
                    </a:lnTo>
                    <a:lnTo>
                      <a:pt x="2849467" y="2819504"/>
                    </a:lnTo>
                    <a:cubicBezTo>
                      <a:pt x="2845724" y="2757820"/>
                      <a:pt x="2948892" y="2608869"/>
                      <a:pt x="3102945" y="2455536"/>
                    </a:cubicBezTo>
                    <a:cubicBezTo>
                      <a:pt x="3254303" y="2304514"/>
                      <a:pt x="3403301" y="2202035"/>
                      <a:pt x="3465314" y="2203847"/>
                    </a:cubicBezTo>
                    <a:close/>
                    <a:moveTo>
                      <a:pt x="28424" y="2203847"/>
                    </a:moveTo>
                    <a:cubicBezTo>
                      <a:pt x="90648" y="2202035"/>
                      <a:pt x="240155" y="2304514"/>
                      <a:pt x="392029" y="2455536"/>
                    </a:cubicBezTo>
                    <a:cubicBezTo>
                      <a:pt x="546608" y="2608869"/>
                      <a:pt x="650128" y="2757820"/>
                      <a:pt x="646372" y="2819504"/>
                    </a:cubicBezTo>
                    <a:lnTo>
                      <a:pt x="639302" y="2837178"/>
                    </a:lnTo>
                    <a:lnTo>
                      <a:pt x="657557" y="2830069"/>
                    </a:lnTo>
                    <a:cubicBezTo>
                      <a:pt x="719644" y="2826526"/>
                      <a:pt x="869025" y="2929230"/>
                      <a:pt x="1022789" y="3082467"/>
                    </a:cubicBezTo>
                    <a:cubicBezTo>
                      <a:pt x="1195877" y="3254955"/>
                      <a:pt x="1305543" y="3424363"/>
                      <a:pt x="1268107" y="3464845"/>
                    </a:cubicBezTo>
                    <a:cubicBezTo>
                      <a:pt x="1228028" y="3502247"/>
                      <a:pt x="1057582" y="3392682"/>
                      <a:pt x="881852" y="3220634"/>
                    </a:cubicBezTo>
                    <a:cubicBezTo>
                      <a:pt x="730400" y="3069706"/>
                      <a:pt x="627505" y="2918779"/>
                      <a:pt x="629228" y="2858349"/>
                    </a:cubicBezTo>
                    <a:lnTo>
                      <a:pt x="635427" y="2841300"/>
                    </a:lnTo>
                    <a:lnTo>
                      <a:pt x="617842" y="2847680"/>
                    </a:lnTo>
                    <a:cubicBezTo>
                      <a:pt x="557097" y="2849498"/>
                      <a:pt x="405223" y="2747067"/>
                      <a:pt x="253349" y="2596431"/>
                    </a:cubicBezTo>
                    <a:cubicBezTo>
                      <a:pt x="79779" y="2420753"/>
                      <a:pt x="-30193" y="2251238"/>
                      <a:pt x="7348" y="2211171"/>
                    </a:cubicBezTo>
                    <a:cubicBezTo>
                      <a:pt x="12427" y="2206493"/>
                      <a:pt x="19535" y="2204106"/>
                      <a:pt x="28424" y="2203847"/>
                    </a:cubicBezTo>
                    <a:close/>
                    <a:moveTo>
                      <a:pt x="2248739" y="21"/>
                    </a:moveTo>
                    <a:cubicBezTo>
                      <a:pt x="2310616" y="-1706"/>
                      <a:pt x="2460334" y="100646"/>
                      <a:pt x="2614098" y="250673"/>
                    </a:cubicBezTo>
                    <a:cubicBezTo>
                      <a:pt x="2765549" y="401083"/>
                      <a:pt x="2868445" y="551493"/>
                      <a:pt x="2866722" y="611716"/>
                    </a:cubicBezTo>
                    <a:lnTo>
                      <a:pt x="2859593" y="631256"/>
                    </a:lnTo>
                    <a:lnTo>
                      <a:pt x="2877900" y="624591"/>
                    </a:lnTo>
                    <a:cubicBezTo>
                      <a:pt x="2938438" y="622773"/>
                      <a:pt x="3089796" y="725204"/>
                      <a:pt x="3241153" y="875840"/>
                    </a:cubicBezTo>
                    <a:cubicBezTo>
                      <a:pt x="3414133" y="1051519"/>
                      <a:pt x="3523731" y="1221033"/>
                      <a:pt x="3486318" y="1261100"/>
                    </a:cubicBezTo>
                    <a:cubicBezTo>
                      <a:pt x="3445824" y="1298525"/>
                      <a:pt x="3275925" y="1189331"/>
                      <a:pt x="3102945" y="1016735"/>
                    </a:cubicBezTo>
                    <a:cubicBezTo>
                      <a:pt x="2948892" y="863402"/>
                      <a:pt x="2845724" y="714451"/>
                      <a:pt x="2849467" y="652767"/>
                    </a:cubicBezTo>
                    <a:lnTo>
                      <a:pt x="2857563" y="632460"/>
                    </a:lnTo>
                    <a:lnTo>
                      <a:pt x="2838392" y="639899"/>
                    </a:lnTo>
                    <a:cubicBezTo>
                      <a:pt x="2776299" y="643430"/>
                      <a:pt x="2626870" y="541078"/>
                      <a:pt x="2472721" y="388366"/>
                    </a:cubicBezTo>
                    <a:cubicBezTo>
                      <a:pt x="2299633" y="216469"/>
                      <a:pt x="2190407" y="47641"/>
                      <a:pt x="2227843" y="7298"/>
                    </a:cubicBezTo>
                    <a:cubicBezTo>
                      <a:pt x="2232853" y="2639"/>
                      <a:pt x="2239900" y="268"/>
                      <a:pt x="2248739" y="21"/>
                    </a:cubicBezTo>
                    <a:close/>
                    <a:moveTo>
                      <a:pt x="1247210" y="21"/>
                    </a:moveTo>
                    <a:cubicBezTo>
                      <a:pt x="1256050" y="268"/>
                      <a:pt x="1263097" y="2639"/>
                      <a:pt x="1268107" y="7298"/>
                    </a:cubicBezTo>
                    <a:cubicBezTo>
                      <a:pt x="1305543" y="47641"/>
                      <a:pt x="1195877" y="216469"/>
                      <a:pt x="1022789" y="388366"/>
                    </a:cubicBezTo>
                    <a:cubicBezTo>
                      <a:pt x="869025" y="541078"/>
                      <a:pt x="719644" y="643430"/>
                      <a:pt x="657557" y="639899"/>
                    </a:cubicBezTo>
                    <a:lnTo>
                      <a:pt x="638223" y="632396"/>
                    </a:lnTo>
                    <a:lnTo>
                      <a:pt x="646372" y="652767"/>
                    </a:lnTo>
                    <a:cubicBezTo>
                      <a:pt x="650128" y="714451"/>
                      <a:pt x="546608" y="863402"/>
                      <a:pt x="392029" y="1016735"/>
                    </a:cubicBezTo>
                    <a:cubicBezTo>
                      <a:pt x="218459" y="1189331"/>
                      <a:pt x="47980" y="1298525"/>
                      <a:pt x="7348" y="1261100"/>
                    </a:cubicBezTo>
                    <a:cubicBezTo>
                      <a:pt x="-30193" y="1221033"/>
                      <a:pt x="79779" y="1051519"/>
                      <a:pt x="253349" y="875840"/>
                    </a:cubicBezTo>
                    <a:cubicBezTo>
                      <a:pt x="405223" y="725204"/>
                      <a:pt x="557097" y="622773"/>
                      <a:pt x="617842" y="624591"/>
                    </a:cubicBezTo>
                    <a:lnTo>
                      <a:pt x="636379" y="631317"/>
                    </a:lnTo>
                    <a:lnTo>
                      <a:pt x="629228" y="611716"/>
                    </a:lnTo>
                    <a:cubicBezTo>
                      <a:pt x="627505" y="551493"/>
                      <a:pt x="730400" y="401083"/>
                      <a:pt x="881852" y="250673"/>
                    </a:cubicBezTo>
                    <a:cubicBezTo>
                      <a:pt x="1035616" y="100646"/>
                      <a:pt x="1185334" y="-1706"/>
                      <a:pt x="1247210" y="21"/>
                    </a:cubicBezTo>
                    <a:close/>
                  </a:path>
                </a:pathLst>
              </a:custGeom>
              <a:solidFill>
                <a:srgbClr val="7BA0FF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572" name="Freeform 232">
                <a:extLst>
                  <a:ext uri="{FF2B5EF4-FFF2-40B4-BE49-F238E27FC236}">
                    <a16:creationId xmlns:a16="http://schemas.microsoft.com/office/drawing/2014/main" id="{FD481584-E85A-C8A2-9D87-874304C6BD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6216" y="2502594"/>
                <a:ext cx="2384553" cy="2370084"/>
              </a:xfrm>
              <a:custGeom>
                <a:avLst/>
                <a:gdLst>
                  <a:gd name="T0" fmla="*/ 59 w 5411"/>
                  <a:gd name="T1" fmla="*/ 5334 h 5395"/>
                  <a:gd name="T2" fmla="*/ 259 w 5411"/>
                  <a:gd name="T3" fmla="*/ 5349 h 5395"/>
                  <a:gd name="T4" fmla="*/ 2068 w 5411"/>
                  <a:gd name="T5" fmla="*/ 3998 h 5395"/>
                  <a:gd name="T6" fmla="*/ 2704 w 5411"/>
                  <a:gd name="T7" fmla="*/ 3757 h 5395"/>
                  <a:gd name="T8" fmla="*/ 3340 w 5411"/>
                  <a:gd name="T9" fmla="*/ 3998 h 5395"/>
                  <a:gd name="T10" fmla="*/ 5145 w 5411"/>
                  <a:gd name="T11" fmla="*/ 5345 h 5395"/>
                  <a:gd name="T12" fmla="*/ 5341 w 5411"/>
                  <a:gd name="T13" fmla="*/ 5340 h 5395"/>
                  <a:gd name="T14" fmla="*/ 5363 w 5411"/>
                  <a:gd name="T15" fmla="*/ 5130 h 5395"/>
                  <a:gd name="T16" fmla="*/ 4009 w 5411"/>
                  <a:gd name="T17" fmla="*/ 3332 h 5395"/>
                  <a:gd name="T18" fmla="*/ 3767 w 5411"/>
                  <a:gd name="T19" fmla="*/ 2698 h 5395"/>
                  <a:gd name="T20" fmla="*/ 4009 w 5411"/>
                  <a:gd name="T21" fmla="*/ 2064 h 5395"/>
                  <a:gd name="T22" fmla="*/ 5359 w 5411"/>
                  <a:gd name="T23" fmla="*/ 271 h 5395"/>
                  <a:gd name="T24" fmla="*/ 5355 w 5411"/>
                  <a:gd name="T25" fmla="*/ 72 h 5395"/>
                  <a:gd name="T26" fmla="*/ 5143 w 5411"/>
                  <a:gd name="T27" fmla="*/ 49 h 5395"/>
                  <a:gd name="T28" fmla="*/ 3340 w 5411"/>
                  <a:gd name="T29" fmla="*/ 1398 h 5395"/>
                  <a:gd name="T30" fmla="*/ 2704 w 5411"/>
                  <a:gd name="T31" fmla="*/ 1639 h 5395"/>
                  <a:gd name="T32" fmla="*/ 2068 w 5411"/>
                  <a:gd name="T33" fmla="*/ 1398 h 5395"/>
                  <a:gd name="T34" fmla="*/ 263 w 5411"/>
                  <a:gd name="T35" fmla="*/ 47 h 5395"/>
                  <a:gd name="T36" fmla="*/ 61 w 5411"/>
                  <a:gd name="T37" fmla="*/ 62 h 5395"/>
                  <a:gd name="T38" fmla="*/ 61 w 5411"/>
                  <a:gd name="T39" fmla="*/ 62 h 5395"/>
                  <a:gd name="T40" fmla="*/ 47 w 5411"/>
                  <a:gd name="T41" fmla="*/ 263 h 5395"/>
                  <a:gd name="T42" fmla="*/ 1400 w 5411"/>
                  <a:gd name="T43" fmla="*/ 2064 h 5395"/>
                  <a:gd name="T44" fmla="*/ 1642 w 5411"/>
                  <a:gd name="T45" fmla="*/ 2698 h 5395"/>
                  <a:gd name="T46" fmla="*/ 1400 w 5411"/>
                  <a:gd name="T47" fmla="*/ 3332 h 5395"/>
                  <a:gd name="T48" fmla="*/ 45 w 5411"/>
                  <a:gd name="T49" fmla="*/ 5135 h 5395"/>
                  <a:gd name="T50" fmla="*/ 59 w 5411"/>
                  <a:gd name="T51" fmla="*/ 5334 h 5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411" h="5395">
                    <a:moveTo>
                      <a:pt x="59" y="5334"/>
                    </a:moveTo>
                    <a:cubicBezTo>
                      <a:pt x="113" y="5388"/>
                      <a:pt x="198" y="5395"/>
                      <a:pt x="259" y="5349"/>
                    </a:cubicBezTo>
                    <a:cubicBezTo>
                      <a:pt x="307" y="5313"/>
                      <a:pt x="1793" y="4195"/>
                      <a:pt x="2068" y="3998"/>
                    </a:cubicBezTo>
                    <a:cubicBezTo>
                      <a:pt x="2265" y="3848"/>
                      <a:pt x="2482" y="3763"/>
                      <a:pt x="2704" y="3757"/>
                    </a:cubicBezTo>
                    <a:cubicBezTo>
                      <a:pt x="2927" y="3763"/>
                      <a:pt x="3144" y="3848"/>
                      <a:pt x="3340" y="3998"/>
                    </a:cubicBezTo>
                    <a:cubicBezTo>
                      <a:pt x="3616" y="4195"/>
                      <a:pt x="5099" y="5311"/>
                      <a:pt x="5145" y="5345"/>
                    </a:cubicBezTo>
                    <a:cubicBezTo>
                      <a:pt x="5204" y="5389"/>
                      <a:pt x="5286" y="5388"/>
                      <a:pt x="5341" y="5340"/>
                    </a:cubicBezTo>
                    <a:cubicBezTo>
                      <a:pt x="5403" y="5286"/>
                      <a:pt x="5411" y="5195"/>
                      <a:pt x="5363" y="5130"/>
                    </a:cubicBezTo>
                    <a:cubicBezTo>
                      <a:pt x="5329" y="5085"/>
                      <a:pt x="4206" y="3606"/>
                      <a:pt x="4009" y="3332"/>
                    </a:cubicBezTo>
                    <a:cubicBezTo>
                      <a:pt x="3858" y="3136"/>
                      <a:pt x="3773" y="2920"/>
                      <a:pt x="3767" y="2698"/>
                    </a:cubicBezTo>
                    <a:cubicBezTo>
                      <a:pt x="3773" y="2476"/>
                      <a:pt x="3858" y="2260"/>
                      <a:pt x="4009" y="2064"/>
                    </a:cubicBezTo>
                    <a:cubicBezTo>
                      <a:pt x="4206" y="1790"/>
                      <a:pt x="5327" y="314"/>
                      <a:pt x="5359" y="271"/>
                    </a:cubicBezTo>
                    <a:cubicBezTo>
                      <a:pt x="5404" y="212"/>
                      <a:pt x="5404" y="128"/>
                      <a:pt x="5355" y="72"/>
                    </a:cubicBezTo>
                    <a:cubicBezTo>
                      <a:pt x="5301" y="9"/>
                      <a:pt x="5209" y="0"/>
                      <a:pt x="5143" y="49"/>
                    </a:cubicBezTo>
                    <a:cubicBezTo>
                      <a:pt x="5097" y="83"/>
                      <a:pt x="3616" y="1201"/>
                      <a:pt x="3340" y="1398"/>
                    </a:cubicBezTo>
                    <a:cubicBezTo>
                      <a:pt x="3144" y="1548"/>
                      <a:pt x="2927" y="1633"/>
                      <a:pt x="2704" y="1639"/>
                    </a:cubicBezTo>
                    <a:cubicBezTo>
                      <a:pt x="2482" y="1633"/>
                      <a:pt x="2265" y="1548"/>
                      <a:pt x="2068" y="1398"/>
                    </a:cubicBezTo>
                    <a:cubicBezTo>
                      <a:pt x="1793" y="1201"/>
                      <a:pt x="309" y="81"/>
                      <a:pt x="263" y="47"/>
                    </a:cubicBezTo>
                    <a:cubicBezTo>
                      <a:pt x="202" y="1"/>
                      <a:pt x="116" y="7"/>
                      <a:pt x="61" y="62"/>
                    </a:cubicBezTo>
                    <a:cubicBezTo>
                      <a:pt x="61" y="62"/>
                      <a:pt x="61" y="62"/>
                      <a:pt x="61" y="62"/>
                    </a:cubicBezTo>
                    <a:cubicBezTo>
                      <a:pt x="7" y="116"/>
                      <a:pt x="1" y="202"/>
                      <a:pt x="47" y="263"/>
                    </a:cubicBezTo>
                    <a:cubicBezTo>
                      <a:pt x="82" y="310"/>
                      <a:pt x="1203" y="1790"/>
                      <a:pt x="1400" y="2064"/>
                    </a:cubicBezTo>
                    <a:cubicBezTo>
                      <a:pt x="1551" y="2260"/>
                      <a:pt x="1636" y="2476"/>
                      <a:pt x="1642" y="2698"/>
                    </a:cubicBezTo>
                    <a:cubicBezTo>
                      <a:pt x="1636" y="2920"/>
                      <a:pt x="1551" y="3136"/>
                      <a:pt x="1400" y="3332"/>
                    </a:cubicBezTo>
                    <a:cubicBezTo>
                      <a:pt x="1203" y="3606"/>
                      <a:pt x="80" y="5088"/>
                      <a:pt x="45" y="5135"/>
                    </a:cubicBezTo>
                    <a:cubicBezTo>
                      <a:pt x="0" y="5195"/>
                      <a:pt x="6" y="5280"/>
                      <a:pt x="59" y="5334"/>
                    </a:cubicBezTo>
                    <a:close/>
                  </a:path>
                </a:pathLst>
              </a:custGeom>
              <a:solidFill>
                <a:srgbClr val="2853DC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573" name="Freeform: Shape 20">
                <a:extLst>
                  <a:ext uri="{FF2B5EF4-FFF2-40B4-BE49-F238E27FC236}">
                    <a16:creationId xmlns:a16="http://schemas.microsoft.com/office/drawing/2014/main" id="{85A7CE9D-2605-3B46-021C-F3C9886771E4}"/>
                  </a:ext>
                </a:extLst>
              </p:cNvPr>
              <p:cNvSpPr/>
              <p:nvPr/>
            </p:nvSpPr>
            <p:spPr>
              <a:xfrm>
                <a:off x="4012722" y="3451866"/>
                <a:ext cx="471541" cy="471541"/>
              </a:xfrm>
              <a:custGeom>
                <a:avLst/>
                <a:gdLst>
                  <a:gd name="connsiteX0" fmla="*/ 78592 w 471541"/>
                  <a:gd name="connsiteY0" fmla="*/ 0 h 471541"/>
                  <a:gd name="connsiteX1" fmla="*/ 392949 w 471541"/>
                  <a:gd name="connsiteY1" fmla="*/ 0 h 471541"/>
                  <a:gd name="connsiteX2" fmla="*/ 471541 w 471541"/>
                  <a:gd name="connsiteY2" fmla="*/ 78592 h 471541"/>
                  <a:gd name="connsiteX3" fmla="*/ 471541 w 471541"/>
                  <a:gd name="connsiteY3" fmla="*/ 392949 h 471541"/>
                  <a:gd name="connsiteX4" fmla="*/ 392949 w 471541"/>
                  <a:gd name="connsiteY4" fmla="*/ 471541 h 471541"/>
                  <a:gd name="connsiteX5" fmla="*/ 78592 w 471541"/>
                  <a:gd name="connsiteY5" fmla="*/ 471541 h 471541"/>
                  <a:gd name="connsiteX6" fmla="*/ 0 w 471541"/>
                  <a:gd name="connsiteY6" fmla="*/ 392949 h 471541"/>
                  <a:gd name="connsiteX7" fmla="*/ 0 w 471541"/>
                  <a:gd name="connsiteY7" fmla="*/ 78592 h 471541"/>
                  <a:gd name="connsiteX8" fmla="*/ 78592 w 471541"/>
                  <a:gd name="connsiteY8" fmla="*/ 0 h 471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1541" h="471541">
                    <a:moveTo>
                      <a:pt x="78592" y="0"/>
                    </a:moveTo>
                    <a:lnTo>
                      <a:pt x="392949" y="0"/>
                    </a:lnTo>
                    <a:cubicBezTo>
                      <a:pt x="436354" y="0"/>
                      <a:pt x="471541" y="35187"/>
                      <a:pt x="471541" y="78592"/>
                    </a:cubicBezTo>
                    <a:lnTo>
                      <a:pt x="471541" y="392949"/>
                    </a:lnTo>
                    <a:cubicBezTo>
                      <a:pt x="471541" y="436354"/>
                      <a:pt x="436354" y="471541"/>
                      <a:pt x="392949" y="471541"/>
                    </a:cubicBezTo>
                    <a:lnTo>
                      <a:pt x="78592" y="471541"/>
                    </a:lnTo>
                    <a:cubicBezTo>
                      <a:pt x="35187" y="471541"/>
                      <a:pt x="0" y="436354"/>
                      <a:pt x="0" y="392949"/>
                    </a:cubicBezTo>
                    <a:lnTo>
                      <a:pt x="0" y="78592"/>
                    </a:lnTo>
                    <a:cubicBezTo>
                      <a:pt x="0" y="35187"/>
                      <a:pt x="35187" y="0"/>
                      <a:pt x="78592" y="0"/>
                    </a:cubicBezTo>
                    <a:close/>
                  </a:path>
                </a:pathLst>
              </a:custGeom>
              <a:solidFill>
                <a:srgbClr val="7BA0FF">
                  <a:lumMod val="60000"/>
                  <a:lumOff val="40000"/>
                </a:srgbClr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FFFFFF"/>
                  </a:solidFill>
                  <a:latin typeface="Calibri"/>
                </a:endParaRPr>
              </a:p>
            </p:txBody>
          </p:sp>
        </p:grpSp>
      </p:grpSp>
      <p:grpSp>
        <p:nvGrpSpPr>
          <p:cNvPr id="577" name="Group 576">
            <a:extLst>
              <a:ext uri="{FF2B5EF4-FFF2-40B4-BE49-F238E27FC236}">
                <a16:creationId xmlns:a16="http://schemas.microsoft.com/office/drawing/2014/main" id="{507F6492-B985-E9FE-AEAD-7B6AA66D5B0A}"/>
              </a:ext>
            </a:extLst>
          </p:cNvPr>
          <p:cNvGrpSpPr/>
          <p:nvPr/>
        </p:nvGrpSpPr>
        <p:grpSpPr>
          <a:xfrm>
            <a:off x="8166458" y="3449760"/>
            <a:ext cx="738255" cy="449885"/>
            <a:chOff x="8337533" y="3101940"/>
            <a:chExt cx="908015" cy="553335"/>
          </a:xfrm>
        </p:grpSpPr>
        <p:grpSp>
          <p:nvGrpSpPr>
            <p:cNvPr id="578" name="Group 577">
              <a:extLst>
                <a:ext uri="{FF2B5EF4-FFF2-40B4-BE49-F238E27FC236}">
                  <a16:creationId xmlns:a16="http://schemas.microsoft.com/office/drawing/2014/main" id="{AB1DCD0A-0A4F-EE49-F868-A1945E784B0A}"/>
                </a:ext>
              </a:extLst>
            </p:cNvPr>
            <p:cNvGrpSpPr/>
            <p:nvPr/>
          </p:nvGrpSpPr>
          <p:grpSpPr>
            <a:xfrm>
              <a:off x="8462103" y="3101940"/>
              <a:ext cx="220513" cy="219159"/>
              <a:chOff x="4197925" y="1116013"/>
              <a:chExt cx="4654550" cy="4625975"/>
            </a:xfrm>
          </p:grpSpPr>
          <p:sp>
            <p:nvSpPr>
              <p:cNvPr id="593" name="Oval 5">
                <a:extLst>
                  <a:ext uri="{FF2B5EF4-FFF2-40B4-BE49-F238E27FC236}">
                    <a16:creationId xmlns:a16="http://schemas.microsoft.com/office/drawing/2014/main" id="{D69F12AD-696B-D5AA-18F2-EDA917D28E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2315" y="1925641"/>
                <a:ext cx="3013071" cy="2995618"/>
              </a:xfrm>
              <a:prstGeom prst="ellipse">
                <a:avLst/>
              </a:prstGeom>
              <a:solidFill>
                <a:srgbClr val="7BA0FF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594" name="Freeform 6">
                <a:extLst>
                  <a:ext uri="{FF2B5EF4-FFF2-40B4-BE49-F238E27FC236}">
                    <a16:creationId xmlns:a16="http://schemas.microsoft.com/office/drawing/2014/main" id="{61AE654B-17F8-B148-D636-E33E086C48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97925" y="1116013"/>
                <a:ext cx="4654550" cy="4625975"/>
              </a:xfrm>
              <a:custGeom>
                <a:avLst/>
                <a:gdLst>
                  <a:gd name="T0" fmla="*/ 4000 w 8000"/>
                  <a:gd name="T1" fmla="*/ 7974 h 7974"/>
                  <a:gd name="T2" fmla="*/ 2443 w 8000"/>
                  <a:gd name="T3" fmla="*/ 7661 h 7974"/>
                  <a:gd name="T4" fmla="*/ 1172 w 8000"/>
                  <a:gd name="T5" fmla="*/ 6807 h 7974"/>
                  <a:gd name="T6" fmla="*/ 315 w 8000"/>
                  <a:gd name="T7" fmla="*/ 5539 h 7974"/>
                  <a:gd name="T8" fmla="*/ 0 w 8000"/>
                  <a:gd name="T9" fmla="*/ 3987 h 7974"/>
                  <a:gd name="T10" fmla="*/ 315 w 8000"/>
                  <a:gd name="T11" fmla="*/ 2435 h 7974"/>
                  <a:gd name="T12" fmla="*/ 1172 w 8000"/>
                  <a:gd name="T13" fmla="*/ 1168 h 7974"/>
                  <a:gd name="T14" fmla="*/ 2443 w 8000"/>
                  <a:gd name="T15" fmla="*/ 313 h 7974"/>
                  <a:gd name="T16" fmla="*/ 4000 w 8000"/>
                  <a:gd name="T17" fmla="*/ 0 h 7974"/>
                  <a:gd name="T18" fmla="*/ 5557 w 8000"/>
                  <a:gd name="T19" fmla="*/ 313 h 7974"/>
                  <a:gd name="T20" fmla="*/ 6829 w 8000"/>
                  <a:gd name="T21" fmla="*/ 1168 h 7974"/>
                  <a:gd name="T22" fmla="*/ 7686 w 8000"/>
                  <a:gd name="T23" fmla="*/ 2435 h 7974"/>
                  <a:gd name="T24" fmla="*/ 8000 w 8000"/>
                  <a:gd name="T25" fmla="*/ 3987 h 7974"/>
                  <a:gd name="T26" fmla="*/ 7686 w 8000"/>
                  <a:gd name="T27" fmla="*/ 5539 h 7974"/>
                  <a:gd name="T28" fmla="*/ 6829 w 8000"/>
                  <a:gd name="T29" fmla="*/ 6807 h 7974"/>
                  <a:gd name="T30" fmla="*/ 5557 w 8000"/>
                  <a:gd name="T31" fmla="*/ 7661 h 7974"/>
                  <a:gd name="T32" fmla="*/ 4000 w 8000"/>
                  <a:gd name="T33" fmla="*/ 7974 h 7974"/>
                  <a:gd name="T34" fmla="*/ 4000 w 8000"/>
                  <a:gd name="T35" fmla="*/ 121 h 7974"/>
                  <a:gd name="T36" fmla="*/ 122 w 8000"/>
                  <a:gd name="T37" fmla="*/ 3987 h 7974"/>
                  <a:gd name="T38" fmla="*/ 4000 w 8000"/>
                  <a:gd name="T39" fmla="*/ 7853 h 7974"/>
                  <a:gd name="T40" fmla="*/ 7879 w 8000"/>
                  <a:gd name="T41" fmla="*/ 3987 h 7974"/>
                  <a:gd name="T42" fmla="*/ 4000 w 8000"/>
                  <a:gd name="T43" fmla="*/ 121 h 79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000" h="7974">
                    <a:moveTo>
                      <a:pt x="4000" y="7974"/>
                    </a:moveTo>
                    <a:cubicBezTo>
                      <a:pt x="3460" y="7974"/>
                      <a:pt x="2937" y="7869"/>
                      <a:pt x="2443" y="7661"/>
                    </a:cubicBezTo>
                    <a:cubicBezTo>
                      <a:pt x="1967" y="7460"/>
                      <a:pt x="1539" y="7173"/>
                      <a:pt x="1172" y="6807"/>
                    </a:cubicBezTo>
                    <a:cubicBezTo>
                      <a:pt x="805" y="6440"/>
                      <a:pt x="516" y="6014"/>
                      <a:pt x="315" y="5539"/>
                    </a:cubicBezTo>
                    <a:cubicBezTo>
                      <a:pt x="106" y="5048"/>
                      <a:pt x="0" y="4525"/>
                      <a:pt x="0" y="3987"/>
                    </a:cubicBezTo>
                    <a:cubicBezTo>
                      <a:pt x="0" y="3449"/>
                      <a:pt x="106" y="2927"/>
                      <a:pt x="315" y="2435"/>
                    </a:cubicBezTo>
                    <a:cubicBezTo>
                      <a:pt x="516" y="1960"/>
                      <a:pt x="805" y="1534"/>
                      <a:pt x="1172" y="1168"/>
                    </a:cubicBezTo>
                    <a:cubicBezTo>
                      <a:pt x="1539" y="802"/>
                      <a:pt x="1967" y="514"/>
                      <a:pt x="2443" y="313"/>
                    </a:cubicBezTo>
                    <a:cubicBezTo>
                      <a:pt x="2937" y="105"/>
                      <a:pt x="3460" y="0"/>
                      <a:pt x="4000" y="0"/>
                    </a:cubicBezTo>
                    <a:cubicBezTo>
                      <a:pt x="4540" y="0"/>
                      <a:pt x="5064" y="105"/>
                      <a:pt x="5557" y="313"/>
                    </a:cubicBezTo>
                    <a:cubicBezTo>
                      <a:pt x="6034" y="514"/>
                      <a:pt x="6461" y="802"/>
                      <a:pt x="6829" y="1168"/>
                    </a:cubicBezTo>
                    <a:cubicBezTo>
                      <a:pt x="7196" y="1534"/>
                      <a:pt x="7484" y="1960"/>
                      <a:pt x="7686" y="2435"/>
                    </a:cubicBezTo>
                    <a:cubicBezTo>
                      <a:pt x="7895" y="2927"/>
                      <a:pt x="8000" y="3449"/>
                      <a:pt x="8000" y="3987"/>
                    </a:cubicBezTo>
                    <a:cubicBezTo>
                      <a:pt x="8000" y="4525"/>
                      <a:pt x="7895" y="5048"/>
                      <a:pt x="7686" y="5539"/>
                    </a:cubicBezTo>
                    <a:cubicBezTo>
                      <a:pt x="7484" y="6014"/>
                      <a:pt x="7196" y="6440"/>
                      <a:pt x="6829" y="6807"/>
                    </a:cubicBezTo>
                    <a:cubicBezTo>
                      <a:pt x="6461" y="7173"/>
                      <a:pt x="6034" y="7460"/>
                      <a:pt x="5557" y="7661"/>
                    </a:cubicBezTo>
                    <a:cubicBezTo>
                      <a:pt x="5064" y="7869"/>
                      <a:pt x="4540" y="7974"/>
                      <a:pt x="4000" y="7974"/>
                    </a:cubicBezTo>
                    <a:close/>
                    <a:moveTo>
                      <a:pt x="4000" y="121"/>
                    </a:moveTo>
                    <a:cubicBezTo>
                      <a:pt x="1862" y="121"/>
                      <a:pt x="122" y="1856"/>
                      <a:pt x="122" y="3987"/>
                    </a:cubicBezTo>
                    <a:cubicBezTo>
                      <a:pt x="122" y="6119"/>
                      <a:pt x="1862" y="7853"/>
                      <a:pt x="4000" y="7853"/>
                    </a:cubicBezTo>
                    <a:cubicBezTo>
                      <a:pt x="6139" y="7853"/>
                      <a:pt x="7879" y="6119"/>
                      <a:pt x="7879" y="3987"/>
                    </a:cubicBezTo>
                    <a:cubicBezTo>
                      <a:pt x="7879" y="1856"/>
                      <a:pt x="6139" y="121"/>
                      <a:pt x="4000" y="121"/>
                    </a:cubicBezTo>
                    <a:close/>
                  </a:path>
                </a:pathLst>
              </a:custGeom>
              <a:solidFill>
                <a:srgbClr val="7BA0FF"/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595" name="Oval 7">
                <a:extLst>
                  <a:ext uri="{FF2B5EF4-FFF2-40B4-BE49-F238E27FC236}">
                    <a16:creationId xmlns:a16="http://schemas.microsoft.com/office/drawing/2014/main" id="{62ABAA31-209D-8827-2436-66D80C45BA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85428" y="2667002"/>
                <a:ext cx="1466852" cy="1511298"/>
              </a:xfrm>
              <a:prstGeom prst="ellipse">
                <a:avLst/>
              </a:prstGeom>
              <a:solidFill>
                <a:srgbClr val="7BA0FF">
                  <a:lumMod val="20000"/>
                  <a:lumOff val="80000"/>
                </a:srgbClr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FFFFFF"/>
                  </a:solidFill>
                  <a:latin typeface="Calibri"/>
                </a:endParaRPr>
              </a:p>
            </p:txBody>
          </p:sp>
        </p:grpSp>
        <p:grpSp>
          <p:nvGrpSpPr>
            <p:cNvPr id="579" name="Group 578">
              <a:extLst>
                <a:ext uri="{FF2B5EF4-FFF2-40B4-BE49-F238E27FC236}">
                  <a16:creationId xmlns:a16="http://schemas.microsoft.com/office/drawing/2014/main" id="{D7C923EA-2D2B-4A82-E62C-29B0C5DAA22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337533" y="3202231"/>
              <a:ext cx="244397" cy="453044"/>
              <a:chOff x="5434013" y="2201863"/>
              <a:chExt cx="1323975" cy="2454275"/>
            </a:xfrm>
          </p:grpSpPr>
          <p:sp>
            <p:nvSpPr>
              <p:cNvPr id="591" name="Freeform 5">
                <a:extLst>
                  <a:ext uri="{FF2B5EF4-FFF2-40B4-BE49-F238E27FC236}">
                    <a16:creationId xmlns:a16="http://schemas.microsoft.com/office/drawing/2014/main" id="{6AD4E3F5-7A32-7706-842E-AC8DC51F56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4013" y="2201863"/>
                <a:ext cx="1323975" cy="2454275"/>
              </a:xfrm>
              <a:custGeom>
                <a:avLst/>
                <a:gdLst>
                  <a:gd name="T0" fmla="*/ 7527 w 8000"/>
                  <a:gd name="T1" fmla="*/ 14889 h 14889"/>
                  <a:gd name="T2" fmla="*/ 485 w 8000"/>
                  <a:gd name="T3" fmla="*/ 14889 h 14889"/>
                  <a:gd name="T4" fmla="*/ 0 w 8000"/>
                  <a:gd name="T5" fmla="*/ 14419 h 14889"/>
                  <a:gd name="T6" fmla="*/ 0 w 8000"/>
                  <a:gd name="T7" fmla="*/ 470 h 14889"/>
                  <a:gd name="T8" fmla="*/ 485 w 8000"/>
                  <a:gd name="T9" fmla="*/ 0 h 14889"/>
                  <a:gd name="T10" fmla="*/ 7527 w 8000"/>
                  <a:gd name="T11" fmla="*/ 0 h 14889"/>
                  <a:gd name="T12" fmla="*/ 8000 w 8000"/>
                  <a:gd name="T13" fmla="*/ 470 h 14889"/>
                  <a:gd name="T14" fmla="*/ 8000 w 8000"/>
                  <a:gd name="T15" fmla="*/ 14419 h 14889"/>
                  <a:gd name="T16" fmla="*/ 7527 w 8000"/>
                  <a:gd name="T17" fmla="*/ 14889 h 148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00" h="14889">
                    <a:moveTo>
                      <a:pt x="7527" y="14889"/>
                    </a:moveTo>
                    <a:cubicBezTo>
                      <a:pt x="485" y="14889"/>
                      <a:pt x="485" y="14889"/>
                      <a:pt x="485" y="14889"/>
                    </a:cubicBezTo>
                    <a:cubicBezTo>
                      <a:pt x="224" y="14889"/>
                      <a:pt x="0" y="14679"/>
                      <a:pt x="0" y="14419"/>
                    </a:cubicBezTo>
                    <a:cubicBezTo>
                      <a:pt x="0" y="470"/>
                      <a:pt x="0" y="470"/>
                      <a:pt x="0" y="470"/>
                    </a:cubicBezTo>
                    <a:cubicBezTo>
                      <a:pt x="0" y="210"/>
                      <a:pt x="224" y="0"/>
                      <a:pt x="485" y="0"/>
                    </a:cubicBezTo>
                    <a:cubicBezTo>
                      <a:pt x="7527" y="0"/>
                      <a:pt x="7527" y="0"/>
                      <a:pt x="7527" y="0"/>
                    </a:cubicBezTo>
                    <a:cubicBezTo>
                      <a:pt x="7788" y="0"/>
                      <a:pt x="8000" y="210"/>
                      <a:pt x="8000" y="470"/>
                    </a:cubicBezTo>
                    <a:cubicBezTo>
                      <a:pt x="8000" y="14419"/>
                      <a:pt x="8000" y="14419"/>
                      <a:pt x="8000" y="14419"/>
                    </a:cubicBezTo>
                    <a:cubicBezTo>
                      <a:pt x="8000" y="14679"/>
                      <a:pt x="7788" y="14889"/>
                      <a:pt x="7527" y="14889"/>
                    </a:cubicBezTo>
                    <a:close/>
                  </a:path>
                </a:pathLst>
              </a:custGeom>
              <a:solidFill>
                <a:srgbClr val="7BA0FF">
                  <a:lumMod val="100000"/>
                </a:srgbClr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592" name="Freeform: Shape 15">
                <a:extLst>
                  <a:ext uri="{FF2B5EF4-FFF2-40B4-BE49-F238E27FC236}">
                    <a16:creationId xmlns:a16="http://schemas.microsoft.com/office/drawing/2014/main" id="{A7719A06-F13E-7448-EA4C-6F6EE158DF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8151" y="2286001"/>
                <a:ext cx="1155700" cy="2239963"/>
              </a:xfrm>
              <a:custGeom>
                <a:avLst/>
                <a:gdLst>
                  <a:gd name="connsiteX0" fmla="*/ 453942 w 1155700"/>
                  <a:gd name="connsiteY0" fmla="*/ 2159000 h 2239963"/>
                  <a:gd name="connsiteX1" fmla="*/ 701592 w 1155700"/>
                  <a:gd name="connsiteY1" fmla="*/ 2159000 h 2239963"/>
                  <a:gd name="connsiteX2" fmla="*/ 742950 w 1155700"/>
                  <a:gd name="connsiteY2" fmla="*/ 2199482 h 2239963"/>
                  <a:gd name="connsiteX3" fmla="*/ 701592 w 1155700"/>
                  <a:gd name="connsiteY3" fmla="*/ 2239963 h 2239963"/>
                  <a:gd name="connsiteX4" fmla="*/ 453942 w 1155700"/>
                  <a:gd name="connsiteY4" fmla="*/ 2239963 h 2239963"/>
                  <a:gd name="connsiteX5" fmla="*/ 412750 w 1155700"/>
                  <a:gd name="connsiteY5" fmla="*/ 2199482 h 2239963"/>
                  <a:gd name="connsiteX6" fmla="*/ 453942 w 1155700"/>
                  <a:gd name="connsiteY6" fmla="*/ 2159000 h 2239963"/>
                  <a:gd name="connsiteX7" fmla="*/ 39059 w 1155700"/>
                  <a:gd name="connsiteY7" fmla="*/ 0 h 2239963"/>
                  <a:gd name="connsiteX8" fmla="*/ 1116642 w 1155700"/>
                  <a:gd name="connsiteY8" fmla="*/ 0 h 2239963"/>
                  <a:gd name="connsiteX9" fmla="*/ 1155700 w 1155700"/>
                  <a:gd name="connsiteY9" fmla="*/ 38549 h 2239963"/>
                  <a:gd name="connsiteX10" fmla="*/ 1155700 w 1155700"/>
                  <a:gd name="connsiteY10" fmla="*/ 1996626 h 2239963"/>
                  <a:gd name="connsiteX11" fmla="*/ 1116642 w 1155700"/>
                  <a:gd name="connsiteY11" fmla="*/ 2035175 h 2239963"/>
                  <a:gd name="connsiteX12" fmla="*/ 39059 w 1155700"/>
                  <a:gd name="connsiteY12" fmla="*/ 2035175 h 2239963"/>
                  <a:gd name="connsiteX13" fmla="*/ 0 w 1155700"/>
                  <a:gd name="connsiteY13" fmla="*/ 1996626 h 2239963"/>
                  <a:gd name="connsiteX14" fmla="*/ 0 w 1155700"/>
                  <a:gd name="connsiteY14" fmla="*/ 38549 h 2239963"/>
                  <a:gd name="connsiteX15" fmla="*/ 39059 w 1155700"/>
                  <a:gd name="connsiteY15" fmla="*/ 0 h 2239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55700" h="2239963">
                    <a:moveTo>
                      <a:pt x="453942" y="2159000"/>
                    </a:moveTo>
                    <a:cubicBezTo>
                      <a:pt x="701592" y="2159000"/>
                      <a:pt x="701592" y="2159000"/>
                      <a:pt x="701592" y="2159000"/>
                    </a:cubicBezTo>
                    <a:cubicBezTo>
                      <a:pt x="724347" y="2159000"/>
                      <a:pt x="742950" y="2177102"/>
                      <a:pt x="742950" y="2199482"/>
                    </a:cubicBezTo>
                    <a:cubicBezTo>
                      <a:pt x="742950" y="2221697"/>
                      <a:pt x="724347" y="2239963"/>
                      <a:pt x="701592" y="2239963"/>
                    </a:cubicBezTo>
                    <a:cubicBezTo>
                      <a:pt x="453942" y="2239963"/>
                      <a:pt x="453942" y="2239963"/>
                      <a:pt x="453942" y="2239963"/>
                    </a:cubicBezTo>
                    <a:cubicBezTo>
                      <a:pt x="431187" y="2239963"/>
                      <a:pt x="412750" y="2221697"/>
                      <a:pt x="412750" y="2199482"/>
                    </a:cubicBezTo>
                    <a:cubicBezTo>
                      <a:pt x="412750" y="2177102"/>
                      <a:pt x="431187" y="2159000"/>
                      <a:pt x="453942" y="2159000"/>
                    </a:cubicBezTo>
                    <a:close/>
                    <a:moveTo>
                      <a:pt x="39059" y="0"/>
                    </a:moveTo>
                    <a:cubicBezTo>
                      <a:pt x="39059" y="0"/>
                      <a:pt x="39059" y="0"/>
                      <a:pt x="1116642" y="0"/>
                    </a:cubicBezTo>
                    <a:cubicBezTo>
                      <a:pt x="1139315" y="0"/>
                      <a:pt x="1155700" y="18286"/>
                      <a:pt x="1155700" y="38549"/>
                    </a:cubicBezTo>
                    <a:cubicBezTo>
                      <a:pt x="1155700" y="38549"/>
                      <a:pt x="1155700" y="38549"/>
                      <a:pt x="1155700" y="1996626"/>
                    </a:cubicBezTo>
                    <a:cubicBezTo>
                      <a:pt x="1155700" y="2016889"/>
                      <a:pt x="1139315" y="2035175"/>
                      <a:pt x="1116642" y="2035175"/>
                    </a:cubicBezTo>
                    <a:cubicBezTo>
                      <a:pt x="1116642" y="2035175"/>
                      <a:pt x="1116642" y="2035175"/>
                      <a:pt x="39059" y="2035175"/>
                    </a:cubicBezTo>
                    <a:cubicBezTo>
                      <a:pt x="16550" y="2035175"/>
                      <a:pt x="0" y="2016889"/>
                      <a:pt x="0" y="1996626"/>
                    </a:cubicBezTo>
                    <a:cubicBezTo>
                      <a:pt x="0" y="1996626"/>
                      <a:pt x="0" y="1996626"/>
                      <a:pt x="0" y="38549"/>
                    </a:cubicBezTo>
                    <a:cubicBezTo>
                      <a:pt x="0" y="18286"/>
                      <a:pt x="16550" y="0"/>
                      <a:pt x="39059" y="0"/>
                    </a:cubicBezTo>
                    <a:close/>
                  </a:path>
                </a:pathLst>
              </a:custGeom>
              <a:solidFill>
                <a:srgbClr val="7BA0FF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743407">
                  <a:lnSpc>
                    <a:spcPct val="90000"/>
                  </a:lnSpc>
                  <a:defRPr/>
                </a:pPr>
                <a:endParaRPr lang="en-US" sz="976" kern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580" name="Group 579">
              <a:extLst>
                <a:ext uri="{FF2B5EF4-FFF2-40B4-BE49-F238E27FC236}">
                  <a16:creationId xmlns:a16="http://schemas.microsoft.com/office/drawing/2014/main" id="{2AF169D1-CB4E-FF25-D310-6C0FF4375D9E}"/>
                </a:ext>
              </a:extLst>
            </p:cNvPr>
            <p:cNvGrpSpPr/>
            <p:nvPr/>
          </p:nvGrpSpPr>
          <p:grpSpPr>
            <a:xfrm>
              <a:off x="8900465" y="3101940"/>
              <a:ext cx="345083" cy="553335"/>
              <a:chOff x="5643698" y="2248933"/>
              <a:chExt cx="630395" cy="1010828"/>
            </a:xfrm>
          </p:grpSpPr>
          <p:grpSp>
            <p:nvGrpSpPr>
              <p:cNvPr id="584" name="Group 583">
                <a:extLst>
                  <a:ext uri="{FF2B5EF4-FFF2-40B4-BE49-F238E27FC236}">
                    <a16:creationId xmlns:a16="http://schemas.microsoft.com/office/drawing/2014/main" id="{98AB82D3-FC6F-CB00-376D-4B06A50530F3}"/>
                  </a:ext>
                </a:extLst>
              </p:cNvPr>
              <p:cNvGrpSpPr/>
              <p:nvPr/>
            </p:nvGrpSpPr>
            <p:grpSpPr>
              <a:xfrm>
                <a:off x="5871262" y="2248933"/>
                <a:ext cx="402831" cy="400358"/>
                <a:chOff x="4197925" y="1116013"/>
                <a:chExt cx="4654550" cy="4625975"/>
              </a:xfrm>
            </p:grpSpPr>
            <p:sp>
              <p:nvSpPr>
                <p:cNvPr id="588" name="Oval 5">
                  <a:extLst>
                    <a:ext uri="{FF2B5EF4-FFF2-40B4-BE49-F238E27FC236}">
                      <a16:creationId xmlns:a16="http://schemas.microsoft.com/office/drawing/2014/main" id="{F299C18B-5F37-8AB3-7621-1B59A062A76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12315" y="1925641"/>
                  <a:ext cx="3013071" cy="2995618"/>
                </a:xfrm>
                <a:prstGeom prst="ellipse">
                  <a:avLst/>
                </a:prstGeom>
                <a:solidFill>
                  <a:srgbClr val="7BA0FF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lnSpc>
                      <a:spcPct val="90000"/>
                    </a:lnSpc>
                    <a:defRPr/>
                  </a:pPr>
                  <a:endParaRPr lang="en-US" sz="976" kern="0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589" name="Freeform 6">
                  <a:extLst>
                    <a:ext uri="{FF2B5EF4-FFF2-40B4-BE49-F238E27FC236}">
                      <a16:creationId xmlns:a16="http://schemas.microsoft.com/office/drawing/2014/main" id="{B52E485D-813A-1192-765E-039260A7BAE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197925" y="1116013"/>
                  <a:ext cx="4654550" cy="4625975"/>
                </a:xfrm>
                <a:custGeom>
                  <a:avLst/>
                  <a:gdLst>
                    <a:gd name="T0" fmla="*/ 4000 w 8000"/>
                    <a:gd name="T1" fmla="*/ 7974 h 7974"/>
                    <a:gd name="T2" fmla="*/ 2443 w 8000"/>
                    <a:gd name="T3" fmla="*/ 7661 h 7974"/>
                    <a:gd name="T4" fmla="*/ 1172 w 8000"/>
                    <a:gd name="T5" fmla="*/ 6807 h 7974"/>
                    <a:gd name="T6" fmla="*/ 315 w 8000"/>
                    <a:gd name="T7" fmla="*/ 5539 h 7974"/>
                    <a:gd name="T8" fmla="*/ 0 w 8000"/>
                    <a:gd name="T9" fmla="*/ 3987 h 7974"/>
                    <a:gd name="T10" fmla="*/ 315 w 8000"/>
                    <a:gd name="T11" fmla="*/ 2435 h 7974"/>
                    <a:gd name="T12" fmla="*/ 1172 w 8000"/>
                    <a:gd name="T13" fmla="*/ 1168 h 7974"/>
                    <a:gd name="T14" fmla="*/ 2443 w 8000"/>
                    <a:gd name="T15" fmla="*/ 313 h 7974"/>
                    <a:gd name="T16" fmla="*/ 4000 w 8000"/>
                    <a:gd name="T17" fmla="*/ 0 h 7974"/>
                    <a:gd name="T18" fmla="*/ 5557 w 8000"/>
                    <a:gd name="T19" fmla="*/ 313 h 7974"/>
                    <a:gd name="T20" fmla="*/ 6829 w 8000"/>
                    <a:gd name="T21" fmla="*/ 1168 h 7974"/>
                    <a:gd name="T22" fmla="*/ 7686 w 8000"/>
                    <a:gd name="T23" fmla="*/ 2435 h 7974"/>
                    <a:gd name="T24" fmla="*/ 8000 w 8000"/>
                    <a:gd name="T25" fmla="*/ 3987 h 7974"/>
                    <a:gd name="T26" fmla="*/ 7686 w 8000"/>
                    <a:gd name="T27" fmla="*/ 5539 h 7974"/>
                    <a:gd name="T28" fmla="*/ 6829 w 8000"/>
                    <a:gd name="T29" fmla="*/ 6807 h 7974"/>
                    <a:gd name="T30" fmla="*/ 5557 w 8000"/>
                    <a:gd name="T31" fmla="*/ 7661 h 7974"/>
                    <a:gd name="T32" fmla="*/ 4000 w 8000"/>
                    <a:gd name="T33" fmla="*/ 7974 h 7974"/>
                    <a:gd name="T34" fmla="*/ 4000 w 8000"/>
                    <a:gd name="T35" fmla="*/ 121 h 7974"/>
                    <a:gd name="T36" fmla="*/ 122 w 8000"/>
                    <a:gd name="T37" fmla="*/ 3987 h 7974"/>
                    <a:gd name="T38" fmla="*/ 4000 w 8000"/>
                    <a:gd name="T39" fmla="*/ 7853 h 7974"/>
                    <a:gd name="T40" fmla="*/ 7879 w 8000"/>
                    <a:gd name="T41" fmla="*/ 3987 h 7974"/>
                    <a:gd name="T42" fmla="*/ 4000 w 8000"/>
                    <a:gd name="T43" fmla="*/ 121 h 79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8000" h="7974">
                      <a:moveTo>
                        <a:pt x="4000" y="7974"/>
                      </a:moveTo>
                      <a:cubicBezTo>
                        <a:pt x="3460" y="7974"/>
                        <a:pt x="2937" y="7869"/>
                        <a:pt x="2443" y="7661"/>
                      </a:cubicBezTo>
                      <a:cubicBezTo>
                        <a:pt x="1967" y="7460"/>
                        <a:pt x="1539" y="7173"/>
                        <a:pt x="1172" y="6807"/>
                      </a:cubicBezTo>
                      <a:cubicBezTo>
                        <a:pt x="805" y="6440"/>
                        <a:pt x="516" y="6014"/>
                        <a:pt x="315" y="5539"/>
                      </a:cubicBezTo>
                      <a:cubicBezTo>
                        <a:pt x="106" y="5048"/>
                        <a:pt x="0" y="4525"/>
                        <a:pt x="0" y="3987"/>
                      </a:cubicBezTo>
                      <a:cubicBezTo>
                        <a:pt x="0" y="3449"/>
                        <a:pt x="106" y="2927"/>
                        <a:pt x="315" y="2435"/>
                      </a:cubicBezTo>
                      <a:cubicBezTo>
                        <a:pt x="516" y="1960"/>
                        <a:pt x="805" y="1534"/>
                        <a:pt x="1172" y="1168"/>
                      </a:cubicBezTo>
                      <a:cubicBezTo>
                        <a:pt x="1539" y="802"/>
                        <a:pt x="1967" y="514"/>
                        <a:pt x="2443" y="313"/>
                      </a:cubicBezTo>
                      <a:cubicBezTo>
                        <a:pt x="2937" y="105"/>
                        <a:pt x="3460" y="0"/>
                        <a:pt x="4000" y="0"/>
                      </a:cubicBezTo>
                      <a:cubicBezTo>
                        <a:pt x="4540" y="0"/>
                        <a:pt x="5064" y="105"/>
                        <a:pt x="5557" y="313"/>
                      </a:cubicBezTo>
                      <a:cubicBezTo>
                        <a:pt x="6034" y="514"/>
                        <a:pt x="6461" y="802"/>
                        <a:pt x="6829" y="1168"/>
                      </a:cubicBezTo>
                      <a:cubicBezTo>
                        <a:pt x="7196" y="1534"/>
                        <a:pt x="7484" y="1960"/>
                        <a:pt x="7686" y="2435"/>
                      </a:cubicBezTo>
                      <a:cubicBezTo>
                        <a:pt x="7895" y="2927"/>
                        <a:pt x="8000" y="3449"/>
                        <a:pt x="8000" y="3987"/>
                      </a:cubicBezTo>
                      <a:cubicBezTo>
                        <a:pt x="8000" y="4525"/>
                        <a:pt x="7895" y="5048"/>
                        <a:pt x="7686" y="5539"/>
                      </a:cubicBezTo>
                      <a:cubicBezTo>
                        <a:pt x="7484" y="6014"/>
                        <a:pt x="7196" y="6440"/>
                        <a:pt x="6829" y="6807"/>
                      </a:cubicBezTo>
                      <a:cubicBezTo>
                        <a:pt x="6461" y="7173"/>
                        <a:pt x="6034" y="7460"/>
                        <a:pt x="5557" y="7661"/>
                      </a:cubicBezTo>
                      <a:cubicBezTo>
                        <a:pt x="5064" y="7869"/>
                        <a:pt x="4540" y="7974"/>
                        <a:pt x="4000" y="7974"/>
                      </a:cubicBezTo>
                      <a:close/>
                      <a:moveTo>
                        <a:pt x="4000" y="121"/>
                      </a:moveTo>
                      <a:cubicBezTo>
                        <a:pt x="1862" y="121"/>
                        <a:pt x="122" y="1856"/>
                        <a:pt x="122" y="3987"/>
                      </a:cubicBezTo>
                      <a:cubicBezTo>
                        <a:pt x="122" y="6119"/>
                        <a:pt x="1862" y="7853"/>
                        <a:pt x="4000" y="7853"/>
                      </a:cubicBezTo>
                      <a:cubicBezTo>
                        <a:pt x="6139" y="7853"/>
                        <a:pt x="7879" y="6119"/>
                        <a:pt x="7879" y="3987"/>
                      </a:cubicBezTo>
                      <a:cubicBezTo>
                        <a:pt x="7879" y="1856"/>
                        <a:pt x="6139" y="121"/>
                        <a:pt x="4000" y="121"/>
                      </a:cubicBezTo>
                      <a:close/>
                    </a:path>
                  </a:pathLst>
                </a:custGeom>
                <a:solidFill>
                  <a:srgbClr val="7BA0FF"/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lnSpc>
                      <a:spcPct val="90000"/>
                    </a:lnSpc>
                    <a:defRPr/>
                  </a:pPr>
                  <a:endParaRPr lang="en-US" sz="976" kern="0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590" name="Oval 7">
                  <a:extLst>
                    <a:ext uri="{FF2B5EF4-FFF2-40B4-BE49-F238E27FC236}">
                      <a16:creationId xmlns:a16="http://schemas.microsoft.com/office/drawing/2014/main" id="{28482E72-94D9-6E51-9AC3-94F43B5FB1E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785428" y="2667002"/>
                  <a:ext cx="1466852" cy="1511298"/>
                </a:xfrm>
                <a:prstGeom prst="ellipse">
                  <a:avLst/>
                </a:prstGeom>
                <a:solidFill>
                  <a:srgbClr val="7BA0FF">
                    <a:lumMod val="20000"/>
                    <a:lumOff val="80000"/>
                  </a:srgbClr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lnSpc>
                      <a:spcPct val="90000"/>
                    </a:lnSpc>
                    <a:defRPr/>
                  </a:pPr>
                  <a:endParaRPr lang="en-US" sz="976" kern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</p:grpSp>
          <p:grpSp>
            <p:nvGrpSpPr>
              <p:cNvPr id="585" name="Group 584">
                <a:extLst>
                  <a:ext uri="{FF2B5EF4-FFF2-40B4-BE49-F238E27FC236}">
                    <a16:creationId xmlns:a16="http://schemas.microsoft.com/office/drawing/2014/main" id="{7E270E1C-5087-4168-F0EE-D3533A9DA21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643698" y="2432143"/>
                <a:ext cx="446463" cy="827618"/>
                <a:chOff x="5434013" y="2201863"/>
                <a:chExt cx="1323975" cy="2454275"/>
              </a:xfrm>
            </p:grpSpPr>
            <p:sp>
              <p:nvSpPr>
                <p:cNvPr id="586" name="Freeform 5">
                  <a:extLst>
                    <a:ext uri="{FF2B5EF4-FFF2-40B4-BE49-F238E27FC236}">
                      <a16:creationId xmlns:a16="http://schemas.microsoft.com/office/drawing/2014/main" id="{785EEDD4-F676-7909-D0CD-F39152CE53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34013" y="2201863"/>
                  <a:ext cx="1323975" cy="2454275"/>
                </a:xfrm>
                <a:custGeom>
                  <a:avLst/>
                  <a:gdLst>
                    <a:gd name="T0" fmla="*/ 7527 w 8000"/>
                    <a:gd name="T1" fmla="*/ 14889 h 14889"/>
                    <a:gd name="T2" fmla="*/ 485 w 8000"/>
                    <a:gd name="T3" fmla="*/ 14889 h 14889"/>
                    <a:gd name="T4" fmla="*/ 0 w 8000"/>
                    <a:gd name="T5" fmla="*/ 14419 h 14889"/>
                    <a:gd name="T6" fmla="*/ 0 w 8000"/>
                    <a:gd name="T7" fmla="*/ 470 h 14889"/>
                    <a:gd name="T8" fmla="*/ 485 w 8000"/>
                    <a:gd name="T9" fmla="*/ 0 h 14889"/>
                    <a:gd name="T10" fmla="*/ 7527 w 8000"/>
                    <a:gd name="T11" fmla="*/ 0 h 14889"/>
                    <a:gd name="T12" fmla="*/ 8000 w 8000"/>
                    <a:gd name="T13" fmla="*/ 470 h 14889"/>
                    <a:gd name="T14" fmla="*/ 8000 w 8000"/>
                    <a:gd name="T15" fmla="*/ 14419 h 14889"/>
                    <a:gd name="T16" fmla="*/ 7527 w 8000"/>
                    <a:gd name="T17" fmla="*/ 14889 h 148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000" h="14889">
                      <a:moveTo>
                        <a:pt x="7527" y="14889"/>
                      </a:moveTo>
                      <a:cubicBezTo>
                        <a:pt x="485" y="14889"/>
                        <a:pt x="485" y="14889"/>
                        <a:pt x="485" y="14889"/>
                      </a:cubicBezTo>
                      <a:cubicBezTo>
                        <a:pt x="224" y="14889"/>
                        <a:pt x="0" y="14679"/>
                        <a:pt x="0" y="14419"/>
                      </a:cubicBezTo>
                      <a:cubicBezTo>
                        <a:pt x="0" y="470"/>
                        <a:pt x="0" y="470"/>
                        <a:pt x="0" y="470"/>
                      </a:cubicBezTo>
                      <a:cubicBezTo>
                        <a:pt x="0" y="210"/>
                        <a:pt x="224" y="0"/>
                        <a:pt x="485" y="0"/>
                      </a:cubicBezTo>
                      <a:cubicBezTo>
                        <a:pt x="7527" y="0"/>
                        <a:pt x="7527" y="0"/>
                        <a:pt x="7527" y="0"/>
                      </a:cubicBezTo>
                      <a:cubicBezTo>
                        <a:pt x="7788" y="0"/>
                        <a:pt x="8000" y="210"/>
                        <a:pt x="8000" y="470"/>
                      </a:cubicBezTo>
                      <a:cubicBezTo>
                        <a:pt x="8000" y="14419"/>
                        <a:pt x="8000" y="14419"/>
                        <a:pt x="8000" y="14419"/>
                      </a:cubicBezTo>
                      <a:cubicBezTo>
                        <a:pt x="8000" y="14679"/>
                        <a:pt x="7788" y="14889"/>
                        <a:pt x="7527" y="14889"/>
                      </a:cubicBezTo>
                      <a:close/>
                    </a:path>
                  </a:pathLst>
                </a:custGeom>
                <a:solidFill>
                  <a:srgbClr val="7BA0FF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lnSpc>
                      <a:spcPct val="90000"/>
                    </a:lnSpc>
                    <a:defRPr/>
                  </a:pPr>
                  <a:endParaRPr lang="en-US" sz="976" kern="0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587" name="Freeform: Shape 15">
                  <a:extLst>
                    <a:ext uri="{FF2B5EF4-FFF2-40B4-BE49-F238E27FC236}">
                      <a16:creationId xmlns:a16="http://schemas.microsoft.com/office/drawing/2014/main" id="{4B1EF5FC-3CFF-26BB-B2A8-3A908EC7DF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18151" y="2286001"/>
                  <a:ext cx="1155700" cy="2239963"/>
                </a:xfrm>
                <a:custGeom>
                  <a:avLst/>
                  <a:gdLst>
                    <a:gd name="connsiteX0" fmla="*/ 453942 w 1155700"/>
                    <a:gd name="connsiteY0" fmla="*/ 2159000 h 2239963"/>
                    <a:gd name="connsiteX1" fmla="*/ 701592 w 1155700"/>
                    <a:gd name="connsiteY1" fmla="*/ 2159000 h 2239963"/>
                    <a:gd name="connsiteX2" fmla="*/ 742950 w 1155700"/>
                    <a:gd name="connsiteY2" fmla="*/ 2199482 h 2239963"/>
                    <a:gd name="connsiteX3" fmla="*/ 701592 w 1155700"/>
                    <a:gd name="connsiteY3" fmla="*/ 2239963 h 2239963"/>
                    <a:gd name="connsiteX4" fmla="*/ 453942 w 1155700"/>
                    <a:gd name="connsiteY4" fmla="*/ 2239963 h 2239963"/>
                    <a:gd name="connsiteX5" fmla="*/ 412750 w 1155700"/>
                    <a:gd name="connsiteY5" fmla="*/ 2199482 h 2239963"/>
                    <a:gd name="connsiteX6" fmla="*/ 453942 w 1155700"/>
                    <a:gd name="connsiteY6" fmla="*/ 2159000 h 2239963"/>
                    <a:gd name="connsiteX7" fmla="*/ 39059 w 1155700"/>
                    <a:gd name="connsiteY7" fmla="*/ 0 h 2239963"/>
                    <a:gd name="connsiteX8" fmla="*/ 1116642 w 1155700"/>
                    <a:gd name="connsiteY8" fmla="*/ 0 h 2239963"/>
                    <a:gd name="connsiteX9" fmla="*/ 1155700 w 1155700"/>
                    <a:gd name="connsiteY9" fmla="*/ 38549 h 2239963"/>
                    <a:gd name="connsiteX10" fmla="*/ 1155700 w 1155700"/>
                    <a:gd name="connsiteY10" fmla="*/ 1996626 h 2239963"/>
                    <a:gd name="connsiteX11" fmla="*/ 1116642 w 1155700"/>
                    <a:gd name="connsiteY11" fmla="*/ 2035175 h 2239963"/>
                    <a:gd name="connsiteX12" fmla="*/ 39059 w 1155700"/>
                    <a:gd name="connsiteY12" fmla="*/ 2035175 h 2239963"/>
                    <a:gd name="connsiteX13" fmla="*/ 0 w 1155700"/>
                    <a:gd name="connsiteY13" fmla="*/ 1996626 h 2239963"/>
                    <a:gd name="connsiteX14" fmla="*/ 0 w 1155700"/>
                    <a:gd name="connsiteY14" fmla="*/ 38549 h 2239963"/>
                    <a:gd name="connsiteX15" fmla="*/ 39059 w 1155700"/>
                    <a:gd name="connsiteY15" fmla="*/ 0 h 2239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155700" h="2239963">
                      <a:moveTo>
                        <a:pt x="453942" y="2159000"/>
                      </a:moveTo>
                      <a:cubicBezTo>
                        <a:pt x="701592" y="2159000"/>
                        <a:pt x="701592" y="2159000"/>
                        <a:pt x="701592" y="2159000"/>
                      </a:cubicBezTo>
                      <a:cubicBezTo>
                        <a:pt x="724347" y="2159000"/>
                        <a:pt x="742950" y="2177102"/>
                        <a:pt x="742950" y="2199482"/>
                      </a:cubicBezTo>
                      <a:cubicBezTo>
                        <a:pt x="742950" y="2221697"/>
                        <a:pt x="724347" y="2239963"/>
                        <a:pt x="701592" y="2239963"/>
                      </a:cubicBezTo>
                      <a:cubicBezTo>
                        <a:pt x="453942" y="2239963"/>
                        <a:pt x="453942" y="2239963"/>
                        <a:pt x="453942" y="2239963"/>
                      </a:cubicBezTo>
                      <a:cubicBezTo>
                        <a:pt x="431187" y="2239963"/>
                        <a:pt x="412750" y="2221697"/>
                        <a:pt x="412750" y="2199482"/>
                      </a:cubicBezTo>
                      <a:cubicBezTo>
                        <a:pt x="412750" y="2177102"/>
                        <a:pt x="431187" y="2159000"/>
                        <a:pt x="453942" y="2159000"/>
                      </a:cubicBezTo>
                      <a:close/>
                      <a:moveTo>
                        <a:pt x="39059" y="0"/>
                      </a:moveTo>
                      <a:cubicBezTo>
                        <a:pt x="39059" y="0"/>
                        <a:pt x="39059" y="0"/>
                        <a:pt x="1116642" y="0"/>
                      </a:cubicBezTo>
                      <a:cubicBezTo>
                        <a:pt x="1139315" y="0"/>
                        <a:pt x="1155700" y="18286"/>
                        <a:pt x="1155700" y="38549"/>
                      </a:cubicBezTo>
                      <a:cubicBezTo>
                        <a:pt x="1155700" y="38549"/>
                        <a:pt x="1155700" y="38549"/>
                        <a:pt x="1155700" y="1996626"/>
                      </a:cubicBezTo>
                      <a:cubicBezTo>
                        <a:pt x="1155700" y="2016889"/>
                        <a:pt x="1139315" y="2035175"/>
                        <a:pt x="1116642" y="2035175"/>
                      </a:cubicBezTo>
                      <a:cubicBezTo>
                        <a:pt x="1116642" y="2035175"/>
                        <a:pt x="1116642" y="2035175"/>
                        <a:pt x="39059" y="2035175"/>
                      </a:cubicBezTo>
                      <a:cubicBezTo>
                        <a:pt x="16550" y="2035175"/>
                        <a:pt x="0" y="2016889"/>
                        <a:pt x="0" y="1996626"/>
                      </a:cubicBezTo>
                      <a:cubicBezTo>
                        <a:pt x="0" y="1996626"/>
                        <a:pt x="0" y="1996626"/>
                        <a:pt x="0" y="38549"/>
                      </a:cubicBezTo>
                      <a:cubicBezTo>
                        <a:pt x="0" y="18286"/>
                        <a:pt x="16550" y="0"/>
                        <a:pt x="39059" y="0"/>
                      </a:cubicBezTo>
                      <a:close/>
                    </a:path>
                  </a:pathLst>
                </a:custGeom>
                <a:solidFill>
                  <a:srgbClr val="7BA0FF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743407">
                    <a:lnSpc>
                      <a:spcPct val="90000"/>
                    </a:lnSpc>
                    <a:defRPr/>
                  </a:pPr>
                  <a:endParaRPr lang="en-US" sz="976" kern="0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</p:grpSp>
        </p:grpSp>
        <p:grpSp>
          <p:nvGrpSpPr>
            <p:cNvPr id="581" name="Group 580">
              <a:extLst>
                <a:ext uri="{FF2B5EF4-FFF2-40B4-BE49-F238E27FC236}">
                  <a16:creationId xmlns:a16="http://schemas.microsoft.com/office/drawing/2014/main" id="{798CB997-F494-7646-871A-8568B0942E1B}"/>
                </a:ext>
              </a:extLst>
            </p:cNvPr>
            <p:cNvGrpSpPr/>
            <p:nvPr/>
          </p:nvGrpSpPr>
          <p:grpSpPr>
            <a:xfrm rot="5400000">
              <a:off x="8595528" y="3349875"/>
              <a:ext cx="291337" cy="208478"/>
              <a:chOff x="1265737" y="1588422"/>
              <a:chExt cx="377741" cy="270308"/>
            </a:xfrm>
          </p:grpSpPr>
          <p:sp>
            <p:nvSpPr>
              <p:cNvPr id="582" name="Freeform: Shape 581">
                <a:extLst>
                  <a:ext uri="{FF2B5EF4-FFF2-40B4-BE49-F238E27FC236}">
                    <a16:creationId xmlns:a16="http://schemas.microsoft.com/office/drawing/2014/main" id="{30EAE03D-0501-ED76-47FC-5478E30F63DB}"/>
                  </a:ext>
                </a:extLst>
              </p:cNvPr>
              <p:cNvSpPr/>
              <p:nvPr/>
            </p:nvSpPr>
            <p:spPr>
              <a:xfrm>
                <a:off x="1265737" y="1678664"/>
                <a:ext cx="179393" cy="180066"/>
              </a:xfrm>
              <a:custGeom>
                <a:avLst/>
                <a:gdLst>
                  <a:gd name="connsiteX0" fmla="*/ 188644 w 202472"/>
                  <a:gd name="connsiteY0" fmla="*/ 94663 h 203231"/>
                  <a:gd name="connsiteX1" fmla="*/ 198173 w 202472"/>
                  <a:gd name="connsiteY1" fmla="*/ 114971 h 203231"/>
                  <a:gd name="connsiteX2" fmla="*/ 113351 w 202472"/>
                  <a:gd name="connsiteY2" fmla="*/ 198231 h 203231"/>
                  <a:gd name="connsiteX3" fmla="*/ 95387 w 202472"/>
                  <a:gd name="connsiteY3" fmla="*/ 201042 h 203231"/>
                  <a:gd name="connsiteX4" fmla="*/ 4316 w 202472"/>
                  <a:gd name="connsiteY4" fmla="*/ 114971 h 203231"/>
                  <a:gd name="connsiteX5" fmla="*/ 13376 w 202472"/>
                  <a:gd name="connsiteY5" fmla="*/ 94663 h 203231"/>
                  <a:gd name="connsiteX6" fmla="*/ 61645 w 202472"/>
                  <a:gd name="connsiteY6" fmla="*/ 94663 h 203231"/>
                  <a:gd name="connsiteX7" fmla="*/ 61645 w 202472"/>
                  <a:gd name="connsiteY7" fmla="*/ 17496 h 203231"/>
                  <a:gd name="connsiteX8" fmla="*/ 79610 w 202472"/>
                  <a:gd name="connsiteY8" fmla="*/ 0 h 203231"/>
                  <a:gd name="connsiteX9" fmla="*/ 122880 w 202472"/>
                  <a:gd name="connsiteY9" fmla="*/ 0 h 203231"/>
                  <a:gd name="connsiteX10" fmla="*/ 140375 w 202472"/>
                  <a:gd name="connsiteY10" fmla="*/ 17496 h 203231"/>
                  <a:gd name="connsiteX11" fmla="*/ 140375 w 202472"/>
                  <a:gd name="connsiteY11" fmla="*/ 94663 h 203231"/>
                  <a:gd name="connsiteX12" fmla="*/ 188644 w 202472"/>
                  <a:gd name="connsiteY12" fmla="*/ 94663 h 203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2472" h="203231">
                    <a:moveTo>
                      <a:pt x="188644" y="94663"/>
                    </a:moveTo>
                    <a:cubicBezTo>
                      <a:pt x="200985" y="94663"/>
                      <a:pt x="207233" y="106223"/>
                      <a:pt x="198173" y="114971"/>
                    </a:cubicBezTo>
                    <a:cubicBezTo>
                      <a:pt x="113351" y="198231"/>
                      <a:pt x="113351" y="198231"/>
                      <a:pt x="113351" y="198231"/>
                    </a:cubicBezTo>
                    <a:cubicBezTo>
                      <a:pt x="107103" y="204323"/>
                      <a:pt x="98199" y="204323"/>
                      <a:pt x="95387" y="201042"/>
                    </a:cubicBezTo>
                    <a:cubicBezTo>
                      <a:pt x="4316" y="114971"/>
                      <a:pt x="4316" y="114971"/>
                      <a:pt x="4316" y="114971"/>
                    </a:cubicBezTo>
                    <a:cubicBezTo>
                      <a:pt x="-4744" y="106223"/>
                      <a:pt x="1505" y="94663"/>
                      <a:pt x="13376" y="94663"/>
                    </a:cubicBezTo>
                    <a:cubicBezTo>
                      <a:pt x="61645" y="94663"/>
                      <a:pt x="61645" y="94663"/>
                      <a:pt x="61645" y="94663"/>
                    </a:cubicBezTo>
                    <a:cubicBezTo>
                      <a:pt x="61645" y="17496"/>
                      <a:pt x="61645" y="17496"/>
                      <a:pt x="61645" y="17496"/>
                    </a:cubicBezTo>
                    <a:cubicBezTo>
                      <a:pt x="61645" y="8123"/>
                      <a:pt x="69456" y="0"/>
                      <a:pt x="79610" y="0"/>
                    </a:cubicBezTo>
                    <a:cubicBezTo>
                      <a:pt x="122880" y="0"/>
                      <a:pt x="122880" y="0"/>
                      <a:pt x="122880" y="0"/>
                    </a:cubicBezTo>
                    <a:cubicBezTo>
                      <a:pt x="132409" y="0"/>
                      <a:pt x="140375" y="8279"/>
                      <a:pt x="140375" y="17496"/>
                    </a:cubicBezTo>
                    <a:cubicBezTo>
                      <a:pt x="140375" y="94663"/>
                      <a:pt x="140375" y="94663"/>
                      <a:pt x="140375" y="94663"/>
                    </a:cubicBezTo>
                    <a:cubicBezTo>
                      <a:pt x="188644" y="94663"/>
                      <a:pt x="188644" y="94663"/>
                      <a:pt x="188644" y="94663"/>
                    </a:cubicBezTo>
                    <a:close/>
                  </a:path>
                </a:pathLst>
              </a:custGeom>
              <a:solidFill>
                <a:srgbClr val="2853DC"/>
              </a:solidFill>
              <a:ln w="15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 kern="0">
                  <a:solidFill>
                    <a:srgbClr val="13171F"/>
                  </a:solidFill>
                  <a:latin typeface="Calibri"/>
                </a:endParaRPr>
              </a:p>
            </p:txBody>
          </p:sp>
          <p:sp>
            <p:nvSpPr>
              <p:cNvPr id="583" name="Freeform: Shape 582">
                <a:extLst>
                  <a:ext uri="{FF2B5EF4-FFF2-40B4-BE49-F238E27FC236}">
                    <a16:creationId xmlns:a16="http://schemas.microsoft.com/office/drawing/2014/main" id="{509883E5-F400-B061-CE50-17B66B804537}"/>
                  </a:ext>
                </a:extLst>
              </p:cNvPr>
              <p:cNvSpPr/>
              <p:nvPr/>
            </p:nvSpPr>
            <p:spPr>
              <a:xfrm>
                <a:off x="1464085" y="1588422"/>
                <a:ext cx="179393" cy="180066"/>
              </a:xfrm>
              <a:custGeom>
                <a:avLst/>
                <a:gdLst>
                  <a:gd name="connsiteX0" fmla="*/ 13828 w 202472"/>
                  <a:gd name="connsiteY0" fmla="*/ 108568 h 203231"/>
                  <a:gd name="connsiteX1" fmla="*/ 4300 w 202472"/>
                  <a:gd name="connsiteY1" fmla="*/ 88261 h 203231"/>
                  <a:gd name="connsiteX2" fmla="*/ 89122 w 202472"/>
                  <a:gd name="connsiteY2" fmla="*/ 5001 h 203231"/>
                  <a:gd name="connsiteX3" fmla="*/ 107086 w 202472"/>
                  <a:gd name="connsiteY3" fmla="*/ 2189 h 203231"/>
                  <a:gd name="connsiteX4" fmla="*/ 198156 w 202472"/>
                  <a:gd name="connsiteY4" fmla="*/ 88261 h 203231"/>
                  <a:gd name="connsiteX5" fmla="*/ 189096 w 202472"/>
                  <a:gd name="connsiteY5" fmla="*/ 108568 h 203231"/>
                  <a:gd name="connsiteX6" fmla="*/ 140827 w 202472"/>
                  <a:gd name="connsiteY6" fmla="*/ 108568 h 203231"/>
                  <a:gd name="connsiteX7" fmla="*/ 140827 w 202472"/>
                  <a:gd name="connsiteY7" fmla="*/ 185736 h 203231"/>
                  <a:gd name="connsiteX8" fmla="*/ 122863 w 202472"/>
                  <a:gd name="connsiteY8" fmla="*/ 203231 h 203231"/>
                  <a:gd name="connsiteX9" fmla="*/ 79593 w 202472"/>
                  <a:gd name="connsiteY9" fmla="*/ 203231 h 203231"/>
                  <a:gd name="connsiteX10" fmla="*/ 62097 w 202472"/>
                  <a:gd name="connsiteY10" fmla="*/ 185736 h 203231"/>
                  <a:gd name="connsiteX11" fmla="*/ 62097 w 202472"/>
                  <a:gd name="connsiteY11" fmla="*/ 108568 h 203231"/>
                  <a:gd name="connsiteX12" fmla="*/ 13828 w 202472"/>
                  <a:gd name="connsiteY12" fmla="*/ 108568 h 203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02472" h="203231">
                    <a:moveTo>
                      <a:pt x="13828" y="108568"/>
                    </a:moveTo>
                    <a:cubicBezTo>
                      <a:pt x="1488" y="108568"/>
                      <a:pt x="-4761" y="97009"/>
                      <a:pt x="4300" y="88261"/>
                    </a:cubicBezTo>
                    <a:cubicBezTo>
                      <a:pt x="89122" y="5001"/>
                      <a:pt x="89122" y="5001"/>
                      <a:pt x="89122" y="5001"/>
                    </a:cubicBezTo>
                    <a:cubicBezTo>
                      <a:pt x="95370" y="-1091"/>
                      <a:pt x="104274" y="-1091"/>
                      <a:pt x="107086" y="2189"/>
                    </a:cubicBezTo>
                    <a:cubicBezTo>
                      <a:pt x="198156" y="88261"/>
                      <a:pt x="198156" y="88261"/>
                      <a:pt x="198156" y="88261"/>
                    </a:cubicBezTo>
                    <a:cubicBezTo>
                      <a:pt x="207216" y="97009"/>
                      <a:pt x="200968" y="108568"/>
                      <a:pt x="189096" y="108568"/>
                    </a:cubicBezTo>
                    <a:cubicBezTo>
                      <a:pt x="140827" y="108568"/>
                      <a:pt x="140827" y="108568"/>
                      <a:pt x="140827" y="108568"/>
                    </a:cubicBezTo>
                    <a:cubicBezTo>
                      <a:pt x="140827" y="185736"/>
                      <a:pt x="140827" y="185736"/>
                      <a:pt x="140827" y="185736"/>
                    </a:cubicBezTo>
                    <a:cubicBezTo>
                      <a:pt x="140827" y="195108"/>
                      <a:pt x="133017" y="203231"/>
                      <a:pt x="122863" y="203231"/>
                    </a:cubicBezTo>
                    <a:cubicBezTo>
                      <a:pt x="79593" y="203231"/>
                      <a:pt x="79593" y="203231"/>
                      <a:pt x="79593" y="203231"/>
                    </a:cubicBezTo>
                    <a:cubicBezTo>
                      <a:pt x="70064" y="203231"/>
                      <a:pt x="62097" y="194952"/>
                      <a:pt x="62097" y="185736"/>
                    </a:cubicBezTo>
                    <a:cubicBezTo>
                      <a:pt x="62097" y="108568"/>
                      <a:pt x="62097" y="108568"/>
                      <a:pt x="62097" y="108568"/>
                    </a:cubicBezTo>
                    <a:cubicBezTo>
                      <a:pt x="13828" y="108568"/>
                      <a:pt x="13828" y="108568"/>
                      <a:pt x="13828" y="108568"/>
                    </a:cubicBezTo>
                    <a:close/>
                  </a:path>
                </a:pathLst>
              </a:custGeom>
              <a:solidFill>
                <a:srgbClr val="2853DC"/>
              </a:solidFill>
              <a:ln w="155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 kern="0">
                  <a:solidFill>
                    <a:srgbClr val="13171F"/>
                  </a:solidFill>
                  <a:latin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562087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26061F-003A-168B-FA8D-4D27FB6C19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00331-1B11-BB55-4E94-458E7326F0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41386" y="2641688"/>
            <a:ext cx="8309228" cy="1195193"/>
          </a:xfrm>
        </p:spPr>
        <p:txBody>
          <a:bodyPr/>
          <a:lstStyle/>
          <a:p>
            <a:r>
              <a:rPr lang="en-US" sz="6000"/>
              <a:t>RAN Rel-19</a:t>
            </a:r>
          </a:p>
        </p:txBody>
      </p:sp>
    </p:spTree>
    <p:extLst>
      <p:ext uri="{BB962C8B-B14F-4D97-AF65-F5344CB8AC3E}">
        <p14:creationId xmlns:p14="http://schemas.microsoft.com/office/powerpoint/2010/main" val="2700747826"/>
      </p:ext>
    </p:extLst>
  </p:cSld>
  <p:clrMapOvr>
    <a:masterClrMapping/>
  </p:clrMapOvr>
  <p:transition spd="slow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E7C98C-5AA1-716F-535B-BB78131139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416E406-22D0-5622-4B4C-AA7A14E15A8E}"/>
              </a:ext>
            </a:extLst>
          </p:cNvPr>
          <p:cNvSpPr/>
          <p:nvPr/>
        </p:nvSpPr>
        <p:spPr>
          <a:xfrm>
            <a:off x="7716908" y="641461"/>
            <a:ext cx="4475092" cy="557546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3407">
              <a:defRPr/>
            </a:pPr>
            <a:endParaRPr lang="en-US" sz="867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4F72129-ECF4-74CB-C977-36E2E0193D02}"/>
              </a:ext>
            </a:extLst>
          </p:cNvPr>
          <p:cNvSpPr/>
          <p:nvPr/>
        </p:nvSpPr>
        <p:spPr>
          <a:xfrm>
            <a:off x="4381512" y="641461"/>
            <a:ext cx="7810489" cy="5575463"/>
          </a:xfrm>
          <a:prstGeom prst="rect">
            <a:avLst/>
          </a:prstGeom>
          <a:solidFill>
            <a:srgbClr val="ACBACF">
              <a:lumMod val="20000"/>
              <a:lumOff val="80000"/>
            </a:srgbClr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743407"/>
            <a:endParaRPr lang="en-US" sz="867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0" name="Rectangle: Single Corner Rounded 6">
            <a:extLst>
              <a:ext uri="{FF2B5EF4-FFF2-40B4-BE49-F238E27FC236}">
                <a16:creationId xmlns:a16="http://schemas.microsoft.com/office/drawing/2014/main" id="{4828523E-B0F5-3487-DB66-314394199784}"/>
              </a:ext>
            </a:extLst>
          </p:cNvPr>
          <p:cNvSpPr/>
          <p:nvPr/>
        </p:nvSpPr>
        <p:spPr bwMode="gray">
          <a:xfrm flipV="1">
            <a:off x="3980049" y="641078"/>
            <a:ext cx="401461" cy="5575848"/>
          </a:xfrm>
          <a:prstGeom prst="round1Rect">
            <a:avLst>
              <a:gd name="adj" fmla="val 0"/>
            </a:avLst>
          </a:prstGeom>
          <a:gradFill flip="none" rotWithShape="1">
            <a:gsLst>
              <a:gs pos="0">
                <a:schemeClr val="tx2"/>
              </a:gs>
              <a:gs pos="100000">
                <a:srgbClr val="061018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345" tIns="37172" rIns="74345" bIns="371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3407"/>
            <a:endParaRPr lang="en-US" sz="1463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" name="Rectangle: Single Corner Rounded 6">
            <a:extLst>
              <a:ext uri="{FF2B5EF4-FFF2-40B4-BE49-F238E27FC236}">
                <a16:creationId xmlns:a16="http://schemas.microsoft.com/office/drawing/2014/main" id="{C6D1E0D3-806F-E2B6-E6B8-42FB6CEF05D3}"/>
              </a:ext>
            </a:extLst>
          </p:cNvPr>
          <p:cNvSpPr/>
          <p:nvPr/>
        </p:nvSpPr>
        <p:spPr bwMode="gray">
          <a:xfrm rot="10800000" flipH="1" flipV="1">
            <a:off x="7892578" y="652695"/>
            <a:ext cx="401460" cy="5575464"/>
          </a:xfrm>
          <a:prstGeom prst="round1Rect">
            <a:avLst>
              <a:gd name="adj" fmla="val 0"/>
            </a:avLst>
          </a:prstGeom>
          <a:gradFill flip="none" rotWithShape="1">
            <a:gsLst>
              <a:gs pos="0">
                <a:srgbClr val="ACBACF">
                  <a:lumMod val="40000"/>
                  <a:lumOff val="60000"/>
                  <a:alpha val="0"/>
                </a:srgbClr>
              </a:gs>
              <a:gs pos="100000">
                <a:srgbClr val="445776">
                  <a:lumMod val="50000"/>
                  <a:alpha val="44000"/>
                </a:srgbClr>
              </a:gs>
            </a:gsLst>
            <a:lin ang="0" scaled="1"/>
            <a:tileRect/>
          </a:gradFill>
          <a:ln w="1079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4345" tIns="37172" rIns="74345" bIns="371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3407"/>
            <a:endParaRPr lang="en-US" sz="1463" b="1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Title 37">
            <a:extLst>
              <a:ext uri="{FF2B5EF4-FFF2-40B4-BE49-F238E27FC236}">
                <a16:creationId xmlns:a16="http://schemas.microsoft.com/office/drawing/2014/main" id="{85A010F5-21E4-91F7-5000-7D218E76CCDE}"/>
              </a:ext>
            </a:extLst>
          </p:cNvPr>
          <p:cNvSpPr txBox="1">
            <a:spLocks/>
          </p:cNvSpPr>
          <p:nvPr/>
        </p:nvSpPr>
        <p:spPr>
          <a:xfrm>
            <a:off x="1037839" y="4538926"/>
            <a:ext cx="2471964" cy="1193660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lnSpc>
                <a:spcPct val="84000"/>
              </a:lnSpc>
              <a:spcBef>
                <a:spcPct val="0"/>
              </a:spcBef>
              <a:buNone/>
              <a:defRPr sz="3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43407">
              <a:spcAft>
                <a:spcPts val="488"/>
              </a:spcAft>
            </a:pPr>
            <a:r>
              <a:rPr lang="en-US" sz="2000" b="1">
                <a:solidFill>
                  <a:srgbClr val="4BACC6"/>
                </a:solidFill>
                <a:latin typeface="Calibri"/>
              </a:rPr>
              <a:t>RAN1/2/3 package approved in Dec ‘23</a:t>
            </a:r>
          </a:p>
          <a:p>
            <a:pPr defTabSz="743407">
              <a:spcAft>
                <a:spcPts val="488"/>
              </a:spcAft>
            </a:pPr>
            <a:r>
              <a:rPr lang="en-US" sz="2000" b="1">
                <a:solidFill>
                  <a:srgbClr val="4BACC6"/>
                </a:solidFill>
                <a:latin typeface="Calibri"/>
              </a:rPr>
              <a:t>RAN4 package approved in Mar ‘24</a:t>
            </a:r>
          </a:p>
        </p:txBody>
      </p:sp>
      <p:sp>
        <p:nvSpPr>
          <p:cNvPr id="4" name="Title 37">
            <a:extLst>
              <a:ext uri="{FF2B5EF4-FFF2-40B4-BE49-F238E27FC236}">
                <a16:creationId xmlns:a16="http://schemas.microsoft.com/office/drawing/2014/main" id="{B94854BE-5D67-8718-666D-9D4ECA740896}"/>
              </a:ext>
            </a:extLst>
          </p:cNvPr>
          <p:cNvSpPr txBox="1">
            <a:spLocks/>
          </p:cNvSpPr>
          <p:nvPr/>
        </p:nvSpPr>
        <p:spPr>
          <a:xfrm>
            <a:off x="1011877" y="2430767"/>
            <a:ext cx="2943962" cy="149406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lnSpc>
                <a:spcPct val="84000"/>
              </a:lnSpc>
              <a:spcBef>
                <a:spcPct val="0"/>
              </a:spcBef>
              <a:buNone/>
              <a:defRPr sz="3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43407"/>
            <a:r>
              <a:rPr lang="en-US" sz="3600" b="1">
                <a:solidFill>
                  <a:prstClr val="white"/>
                </a:solidFill>
                <a:effectLst>
                  <a:innerShdw blurRad="63500" dist="25400" dir="18900000">
                    <a:prstClr val="black">
                      <a:alpha val="50000"/>
                    </a:prstClr>
                  </a:innerShdw>
                </a:effectLst>
                <a:latin typeface="Calibri"/>
              </a:rPr>
              <a:t>5G Advanced Release 19</a:t>
            </a:r>
            <a:br>
              <a:rPr lang="en-US" sz="3600" b="1">
                <a:solidFill>
                  <a:prstClr val="white"/>
                </a:solidFill>
                <a:effectLst>
                  <a:innerShdw blurRad="63500" dist="25400" dir="18900000">
                    <a:prstClr val="black">
                      <a:alpha val="50000"/>
                    </a:prstClr>
                  </a:innerShdw>
                </a:effectLst>
                <a:latin typeface="Calibri"/>
              </a:rPr>
            </a:br>
            <a:r>
              <a:rPr lang="en-US" sz="3600" b="1">
                <a:solidFill>
                  <a:prstClr val="white"/>
                </a:solidFill>
                <a:effectLst>
                  <a:innerShdw blurRad="63500" dist="25400" dir="18900000">
                    <a:prstClr val="black">
                      <a:alpha val="50000"/>
                    </a:prstClr>
                  </a:innerShdw>
                </a:effectLst>
                <a:latin typeface="Calibri"/>
              </a:rPr>
              <a:t>focus area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971D9E1-4D70-BDF0-39F5-30A8D8965E39}"/>
              </a:ext>
            </a:extLst>
          </p:cNvPr>
          <p:cNvGrpSpPr/>
          <p:nvPr/>
        </p:nvGrpSpPr>
        <p:grpSpPr>
          <a:xfrm>
            <a:off x="1121670" y="1074459"/>
            <a:ext cx="1428367" cy="798110"/>
            <a:chOff x="4543873" y="1621652"/>
            <a:chExt cx="3098588" cy="1731358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5EE66189-F756-3255-22D9-DE6E7A5CF1B5}"/>
                </a:ext>
              </a:extLst>
            </p:cNvPr>
            <p:cNvSpPr/>
            <p:nvPr/>
          </p:nvSpPr>
          <p:spPr>
            <a:xfrm>
              <a:off x="5717796" y="2629338"/>
              <a:ext cx="2764" cy="1759"/>
            </a:xfrm>
            <a:custGeom>
              <a:avLst/>
              <a:gdLst>
                <a:gd name="connsiteX0" fmla="*/ 2547 w 2764"/>
                <a:gd name="connsiteY0" fmla="*/ 1519 h 1759"/>
                <a:gd name="connsiteX1" fmla="*/ -92 w 2764"/>
                <a:gd name="connsiteY1" fmla="*/ 1519 h 1759"/>
                <a:gd name="connsiteX2" fmla="*/ 1165 w 2764"/>
                <a:gd name="connsiteY2" fmla="*/ -114 h 1759"/>
                <a:gd name="connsiteX3" fmla="*/ 2673 w 2764"/>
                <a:gd name="connsiteY3" fmla="*/ 1645 h 1759"/>
                <a:gd name="connsiteX4" fmla="*/ 2673 w 2764"/>
                <a:gd name="connsiteY4" fmla="*/ 1645 h 1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64" h="1759">
                  <a:moveTo>
                    <a:pt x="2547" y="1519"/>
                  </a:moveTo>
                  <a:lnTo>
                    <a:pt x="-92" y="1519"/>
                  </a:lnTo>
                  <a:lnTo>
                    <a:pt x="1165" y="-114"/>
                  </a:lnTo>
                  <a:lnTo>
                    <a:pt x="2673" y="1645"/>
                  </a:lnTo>
                  <a:lnTo>
                    <a:pt x="2673" y="1645"/>
                  </a:lnTo>
                </a:path>
              </a:pathLst>
            </a:custGeom>
            <a:solidFill>
              <a:schemeClr val="bg1"/>
            </a:solidFill>
            <a:ln w="125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/>
              <a:endParaRPr lang="en-US" sz="146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16E9739F-38E2-4493-0199-74D30787AC39}"/>
                </a:ext>
              </a:extLst>
            </p:cNvPr>
            <p:cNvSpPr/>
            <p:nvPr/>
          </p:nvSpPr>
          <p:spPr>
            <a:xfrm>
              <a:off x="5717796" y="2629338"/>
              <a:ext cx="2764" cy="1759"/>
            </a:xfrm>
            <a:custGeom>
              <a:avLst/>
              <a:gdLst>
                <a:gd name="connsiteX0" fmla="*/ 2547 w 2764"/>
                <a:gd name="connsiteY0" fmla="*/ 1519 h 1759"/>
                <a:gd name="connsiteX1" fmla="*/ -92 w 2764"/>
                <a:gd name="connsiteY1" fmla="*/ 1519 h 1759"/>
                <a:gd name="connsiteX2" fmla="*/ 1165 w 2764"/>
                <a:gd name="connsiteY2" fmla="*/ -114 h 1759"/>
                <a:gd name="connsiteX3" fmla="*/ 2673 w 2764"/>
                <a:gd name="connsiteY3" fmla="*/ 1645 h 1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4" h="1759">
                  <a:moveTo>
                    <a:pt x="2547" y="1519"/>
                  </a:moveTo>
                  <a:lnTo>
                    <a:pt x="-92" y="1519"/>
                  </a:lnTo>
                  <a:lnTo>
                    <a:pt x="1165" y="-114"/>
                  </a:lnTo>
                  <a:lnTo>
                    <a:pt x="2673" y="1645"/>
                  </a:lnTo>
                  <a:close/>
                </a:path>
              </a:pathLst>
            </a:custGeom>
            <a:solidFill>
              <a:schemeClr val="bg1"/>
            </a:solidFill>
            <a:ln w="251" cap="flat">
              <a:solidFill>
                <a:srgbClr val="40404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743407"/>
              <a:endParaRPr lang="en-US" sz="146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0357883-6C4E-EE78-F929-CB5EEC999213}"/>
                </a:ext>
              </a:extLst>
            </p:cNvPr>
            <p:cNvSpPr/>
            <p:nvPr/>
          </p:nvSpPr>
          <p:spPr>
            <a:xfrm>
              <a:off x="4543873" y="2175525"/>
              <a:ext cx="1839611" cy="1177485"/>
            </a:xfrm>
            <a:custGeom>
              <a:avLst/>
              <a:gdLst>
                <a:gd name="connsiteX0" fmla="*/ 950680 w 1839611"/>
                <a:gd name="connsiteY0" fmla="*/ 791820 h 1177485"/>
                <a:gd name="connsiteX1" fmla="*/ 681163 w 1839611"/>
                <a:gd name="connsiteY1" fmla="*/ 1120140 h 1177485"/>
                <a:gd name="connsiteX2" fmla="*/ 344801 w 1839611"/>
                <a:gd name="connsiteY2" fmla="*/ 1175300 h 1177485"/>
                <a:gd name="connsiteX3" fmla="*/ 168892 w 1839611"/>
                <a:gd name="connsiteY3" fmla="*/ 1137605 h 1177485"/>
                <a:gd name="connsiteX4" fmla="*/ 523 w 1839611"/>
                <a:gd name="connsiteY4" fmla="*/ 891585 h 1177485"/>
                <a:gd name="connsiteX5" fmla="*/ 523 w 1839611"/>
                <a:gd name="connsiteY5" fmla="*/ 816196 h 1177485"/>
                <a:gd name="connsiteX6" fmla="*/ 15600 w 1839611"/>
                <a:gd name="connsiteY6" fmla="*/ 802123 h 1177485"/>
                <a:gd name="connsiteX7" fmla="*/ 272301 w 1839611"/>
                <a:gd name="connsiteY7" fmla="*/ 802123 h 1177485"/>
                <a:gd name="connsiteX8" fmla="*/ 284866 w 1839611"/>
                <a:gd name="connsiteY8" fmla="*/ 816573 h 1177485"/>
                <a:gd name="connsiteX9" fmla="*/ 332487 w 1839611"/>
                <a:gd name="connsiteY9" fmla="*/ 912191 h 1177485"/>
                <a:gd name="connsiteX10" fmla="*/ 560917 w 1839611"/>
                <a:gd name="connsiteY10" fmla="*/ 919228 h 1177485"/>
                <a:gd name="connsiteX11" fmla="*/ 674001 w 1839611"/>
                <a:gd name="connsiteY11" fmla="*/ 673584 h 1177485"/>
                <a:gd name="connsiteX12" fmla="*/ 583785 w 1839611"/>
                <a:gd name="connsiteY12" fmla="*/ 577714 h 1177485"/>
                <a:gd name="connsiteX13" fmla="*/ 402222 w 1839611"/>
                <a:gd name="connsiteY13" fmla="*/ 592918 h 1177485"/>
                <a:gd name="connsiteX14" fmla="*/ 330602 w 1839611"/>
                <a:gd name="connsiteY14" fmla="*/ 649711 h 1177485"/>
                <a:gd name="connsiteX15" fmla="*/ 315524 w 1839611"/>
                <a:gd name="connsiteY15" fmla="*/ 657878 h 1177485"/>
                <a:gd name="connsiteX16" fmla="*/ 66865 w 1839611"/>
                <a:gd name="connsiteY16" fmla="*/ 657878 h 1177485"/>
                <a:gd name="connsiteX17" fmla="*/ 98403 w 1839611"/>
                <a:gd name="connsiteY17" fmla="*/ 566154 h 1177485"/>
                <a:gd name="connsiteX18" fmla="*/ 289766 w 1839611"/>
                <a:gd name="connsiteY18" fmla="*/ 17823 h 1177485"/>
                <a:gd name="connsiteX19" fmla="*/ 313891 w 1839611"/>
                <a:gd name="connsiteY19" fmla="*/ 106 h 1177485"/>
                <a:gd name="connsiteX20" fmla="*/ 1013378 w 1839611"/>
                <a:gd name="connsiteY20" fmla="*/ 106 h 1177485"/>
                <a:gd name="connsiteX21" fmla="*/ 1027954 w 1839611"/>
                <a:gd name="connsiteY21" fmla="*/ 16818 h 1177485"/>
                <a:gd name="connsiteX22" fmla="*/ 990259 w 1839611"/>
                <a:gd name="connsiteY22" fmla="*/ 230421 h 1177485"/>
                <a:gd name="connsiteX23" fmla="*/ 971663 w 1839611"/>
                <a:gd name="connsiteY23" fmla="*/ 240598 h 1177485"/>
                <a:gd name="connsiteX24" fmla="*/ 491810 w 1839611"/>
                <a:gd name="connsiteY24" fmla="*/ 240598 h 1177485"/>
                <a:gd name="connsiteX25" fmla="*/ 464670 w 1839611"/>
                <a:gd name="connsiteY25" fmla="*/ 259320 h 1177485"/>
                <a:gd name="connsiteX26" fmla="*/ 395688 w 1839611"/>
                <a:gd name="connsiteY26" fmla="*/ 441888 h 1177485"/>
                <a:gd name="connsiteX27" fmla="*/ 394306 w 1839611"/>
                <a:gd name="connsiteY27" fmla="*/ 452316 h 1177485"/>
                <a:gd name="connsiteX28" fmla="*/ 523096 w 1839611"/>
                <a:gd name="connsiteY28" fmla="*/ 384466 h 1177485"/>
                <a:gd name="connsiteX29" fmla="*/ 817743 w 1839611"/>
                <a:gd name="connsiteY29" fmla="*/ 404696 h 1177485"/>
                <a:gd name="connsiteX30" fmla="*/ 966763 w 1839611"/>
                <a:gd name="connsiteY30" fmla="*/ 625963 h 1177485"/>
                <a:gd name="connsiteX31" fmla="*/ 969276 w 1839611"/>
                <a:gd name="connsiteY31" fmla="*/ 671699 h 1177485"/>
                <a:gd name="connsiteX32" fmla="*/ 979830 w 1839611"/>
                <a:gd name="connsiteY32" fmla="*/ 641669 h 1177485"/>
                <a:gd name="connsiteX33" fmla="*/ 1366954 w 1839611"/>
                <a:gd name="connsiteY33" fmla="*/ 256932 h 1177485"/>
                <a:gd name="connsiteX34" fmla="*/ 1630817 w 1839611"/>
                <a:gd name="connsiteY34" fmla="*/ 261330 h 1177485"/>
                <a:gd name="connsiteX35" fmla="*/ 1831855 w 1839611"/>
                <a:gd name="connsiteY35" fmla="*/ 491519 h 1177485"/>
                <a:gd name="connsiteX36" fmla="*/ 1839520 w 1839611"/>
                <a:gd name="connsiteY36" fmla="*/ 563013 h 1177485"/>
                <a:gd name="connsiteX37" fmla="*/ 1827709 w 1839611"/>
                <a:gd name="connsiteY37" fmla="*/ 575578 h 1177485"/>
                <a:gd name="connsiteX38" fmla="*/ 1587720 w 1839611"/>
                <a:gd name="connsiteY38" fmla="*/ 575578 h 1177485"/>
                <a:gd name="connsiteX39" fmla="*/ 1575155 w 1839611"/>
                <a:gd name="connsiteY39" fmla="*/ 564772 h 1177485"/>
                <a:gd name="connsiteX40" fmla="*/ 1441464 w 1839611"/>
                <a:gd name="connsiteY40" fmla="*/ 464881 h 1177485"/>
                <a:gd name="connsiteX41" fmla="*/ 1275733 w 1839611"/>
                <a:gd name="connsiteY41" fmla="*/ 586635 h 1177485"/>
                <a:gd name="connsiteX42" fmla="*/ 1231631 w 1839611"/>
                <a:gd name="connsiteY42" fmla="*/ 794081 h 1177485"/>
                <a:gd name="connsiteX43" fmla="*/ 1290183 w 1839611"/>
                <a:gd name="connsiteY43" fmla="*/ 923751 h 1177485"/>
                <a:gd name="connsiteX44" fmla="*/ 1554046 w 1839611"/>
                <a:gd name="connsiteY44" fmla="*/ 862057 h 1177485"/>
                <a:gd name="connsiteX45" fmla="*/ 1555931 w 1839611"/>
                <a:gd name="connsiteY45" fmla="*/ 855775 h 1177485"/>
                <a:gd name="connsiteX46" fmla="*/ 1448501 w 1839611"/>
                <a:gd name="connsiteY46" fmla="*/ 855775 h 1177485"/>
                <a:gd name="connsiteX47" fmla="*/ 1437569 w 1839611"/>
                <a:gd name="connsiteY47" fmla="*/ 841953 h 1177485"/>
                <a:gd name="connsiteX48" fmla="*/ 1466217 w 1839611"/>
                <a:gd name="connsiteY48" fmla="*/ 678610 h 1177485"/>
                <a:gd name="connsiteX49" fmla="*/ 1480416 w 1839611"/>
                <a:gd name="connsiteY49" fmla="*/ 663407 h 1177485"/>
                <a:gd name="connsiteX50" fmla="*/ 1825950 w 1839611"/>
                <a:gd name="connsiteY50" fmla="*/ 663407 h 1177485"/>
                <a:gd name="connsiteX51" fmla="*/ 1834745 w 1839611"/>
                <a:gd name="connsiteY51" fmla="*/ 664286 h 1177485"/>
                <a:gd name="connsiteX52" fmla="*/ 1792904 w 1839611"/>
                <a:gd name="connsiteY52" fmla="*/ 901888 h 1177485"/>
                <a:gd name="connsiteX53" fmla="*/ 1750938 w 1839611"/>
                <a:gd name="connsiteY53" fmla="*/ 1140621 h 1177485"/>
                <a:gd name="connsiteX54" fmla="*/ 1734352 w 1839611"/>
                <a:gd name="connsiteY54" fmla="*/ 1155573 h 1177485"/>
                <a:gd name="connsiteX55" fmla="*/ 1588348 w 1839611"/>
                <a:gd name="connsiteY55" fmla="*/ 1155573 h 1177485"/>
                <a:gd name="connsiteX56" fmla="*/ 1575155 w 1839611"/>
                <a:gd name="connsiteY56" fmla="*/ 1140244 h 1177485"/>
                <a:gd name="connsiteX57" fmla="*/ 1580558 w 1839611"/>
                <a:gd name="connsiteY57" fmla="*/ 1066237 h 1177485"/>
                <a:gd name="connsiteX58" fmla="*/ 1542235 w 1839611"/>
                <a:gd name="connsiteY58" fmla="*/ 1099157 h 1177485"/>
                <a:gd name="connsiteX59" fmla="*/ 1269954 w 1839611"/>
                <a:gd name="connsiteY59" fmla="*/ 1174546 h 1177485"/>
                <a:gd name="connsiteX60" fmla="*/ 1087386 w 1839611"/>
                <a:gd name="connsiteY60" fmla="*/ 1111722 h 1177485"/>
                <a:gd name="connsiteX61" fmla="*/ 958721 w 1839611"/>
                <a:gd name="connsiteY61" fmla="*/ 894223 h 1177485"/>
                <a:gd name="connsiteX62" fmla="*/ 952062 w 1839611"/>
                <a:gd name="connsiteY62" fmla="*/ 790689 h 1177485"/>
                <a:gd name="connsiteX63" fmla="*/ 952062 w 1839611"/>
                <a:gd name="connsiteY63" fmla="*/ 785537 h 1177485"/>
                <a:gd name="connsiteX64" fmla="*/ 949549 w 1839611"/>
                <a:gd name="connsiteY64" fmla="*/ 791066 h 117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839611" h="1177485">
                  <a:moveTo>
                    <a:pt x="950680" y="791820"/>
                  </a:moveTo>
                  <a:cubicBezTo>
                    <a:pt x="912105" y="943352"/>
                    <a:pt x="822392" y="1053295"/>
                    <a:pt x="681163" y="1120140"/>
                  </a:cubicBezTo>
                  <a:cubicBezTo>
                    <a:pt x="574487" y="1170400"/>
                    <a:pt x="461277" y="1182964"/>
                    <a:pt x="344801" y="1175300"/>
                  </a:cubicBezTo>
                  <a:cubicBezTo>
                    <a:pt x="284451" y="1172850"/>
                    <a:pt x="224957" y="1160096"/>
                    <a:pt x="168892" y="1137605"/>
                  </a:cubicBezTo>
                  <a:cubicBezTo>
                    <a:pt x="60834" y="1091241"/>
                    <a:pt x="7182" y="1007182"/>
                    <a:pt x="523" y="891585"/>
                  </a:cubicBezTo>
                  <a:cubicBezTo>
                    <a:pt x="-860" y="866455"/>
                    <a:pt x="523" y="841325"/>
                    <a:pt x="523" y="816196"/>
                  </a:cubicBezTo>
                  <a:cubicBezTo>
                    <a:pt x="523" y="806144"/>
                    <a:pt x="4166" y="801997"/>
                    <a:pt x="15600" y="802123"/>
                  </a:cubicBezTo>
                  <a:cubicBezTo>
                    <a:pt x="101209" y="802626"/>
                    <a:pt x="186772" y="802626"/>
                    <a:pt x="272301" y="802123"/>
                  </a:cubicBezTo>
                  <a:cubicBezTo>
                    <a:pt x="284238" y="802123"/>
                    <a:pt x="285746" y="806269"/>
                    <a:pt x="284866" y="816573"/>
                  </a:cubicBezTo>
                  <a:cubicBezTo>
                    <a:pt x="281084" y="854946"/>
                    <a:pt x="299592" y="892087"/>
                    <a:pt x="332487" y="912191"/>
                  </a:cubicBezTo>
                  <a:cubicBezTo>
                    <a:pt x="406620" y="961697"/>
                    <a:pt x="484397" y="958807"/>
                    <a:pt x="560917" y="919228"/>
                  </a:cubicBezTo>
                  <a:cubicBezTo>
                    <a:pt x="657541" y="868968"/>
                    <a:pt x="691340" y="760784"/>
                    <a:pt x="674001" y="673584"/>
                  </a:cubicBezTo>
                  <a:cubicBezTo>
                    <a:pt x="666336" y="626202"/>
                    <a:pt x="630614" y="588243"/>
                    <a:pt x="583785" y="577714"/>
                  </a:cubicBezTo>
                  <a:cubicBezTo>
                    <a:pt x="523335" y="561530"/>
                    <a:pt x="459141" y="566908"/>
                    <a:pt x="402222" y="592918"/>
                  </a:cubicBezTo>
                  <a:cubicBezTo>
                    <a:pt x="374391" y="606249"/>
                    <a:pt x="349915" y="625649"/>
                    <a:pt x="330602" y="649711"/>
                  </a:cubicBezTo>
                  <a:cubicBezTo>
                    <a:pt x="327310" y="654850"/>
                    <a:pt x="321618" y="657928"/>
                    <a:pt x="315524" y="657878"/>
                  </a:cubicBezTo>
                  <a:cubicBezTo>
                    <a:pt x="233476" y="657878"/>
                    <a:pt x="151176" y="657878"/>
                    <a:pt x="66865" y="657878"/>
                  </a:cubicBezTo>
                  <a:cubicBezTo>
                    <a:pt x="77671" y="626466"/>
                    <a:pt x="87849" y="596310"/>
                    <a:pt x="98403" y="566154"/>
                  </a:cubicBezTo>
                  <a:cubicBezTo>
                    <a:pt x="162233" y="383373"/>
                    <a:pt x="226025" y="200604"/>
                    <a:pt x="289766" y="17823"/>
                  </a:cubicBezTo>
                  <a:cubicBezTo>
                    <a:pt x="291639" y="6326"/>
                    <a:pt x="302369" y="-1552"/>
                    <a:pt x="313891" y="106"/>
                  </a:cubicBezTo>
                  <a:cubicBezTo>
                    <a:pt x="547095" y="697"/>
                    <a:pt x="780262" y="697"/>
                    <a:pt x="1013378" y="106"/>
                  </a:cubicBezTo>
                  <a:cubicBezTo>
                    <a:pt x="1027074" y="106"/>
                    <a:pt x="1030844" y="1488"/>
                    <a:pt x="1027954" y="16818"/>
                  </a:cubicBezTo>
                  <a:cubicBezTo>
                    <a:pt x="1014384" y="88060"/>
                    <a:pt x="1002824" y="159429"/>
                    <a:pt x="990259" y="230421"/>
                  </a:cubicBezTo>
                  <a:cubicBezTo>
                    <a:pt x="987997" y="243739"/>
                    <a:pt x="979453" y="240598"/>
                    <a:pt x="971663" y="240598"/>
                  </a:cubicBezTo>
                  <a:cubicBezTo>
                    <a:pt x="811712" y="240598"/>
                    <a:pt x="651761" y="240598"/>
                    <a:pt x="491810" y="240598"/>
                  </a:cubicBezTo>
                  <a:cubicBezTo>
                    <a:pt x="479220" y="238588"/>
                    <a:pt x="467258" y="246830"/>
                    <a:pt x="464670" y="259320"/>
                  </a:cubicBezTo>
                  <a:cubicBezTo>
                    <a:pt x="442430" y="320385"/>
                    <a:pt x="418808" y="381074"/>
                    <a:pt x="395688" y="441888"/>
                  </a:cubicBezTo>
                  <a:cubicBezTo>
                    <a:pt x="394558" y="444903"/>
                    <a:pt x="391919" y="447668"/>
                    <a:pt x="394306" y="452316"/>
                  </a:cubicBezTo>
                  <a:cubicBezTo>
                    <a:pt x="431725" y="420502"/>
                    <a:pt x="475702" y="397332"/>
                    <a:pt x="523096" y="384466"/>
                  </a:cubicBezTo>
                  <a:cubicBezTo>
                    <a:pt x="620663" y="356559"/>
                    <a:pt x="724914" y="363709"/>
                    <a:pt x="817743" y="404696"/>
                  </a:cubicBezTo>
                  <a:cubicBezTo>
                    <a:pt x="912105" y="447039"/>
                    <a:pt x="957967" y="524690"/>
                    <a:pt x="966763" y="625963"/>
                  </a:cubicBezTo>
                  <a:cubicBezTo>
                    <a:pt x="968019" y="640413"/>
                    <a:pt x="968396" y="654862"/>
                    <a:pt x="969276" y="671699"/>
                  </a:cubicBezTo>
                  <a:cubicBezTo>
                    <a:pt x="974390" y="662326"/>
                    <a:pt x="977958" y="652186"/>
                    <a:pt x="979830" y="641669"/>
                  </a:cubicBezTo>
                  <a:cubicBezTo>
                    <a:pt x="1040644" y="444777"/>
                    <a:pt x="1165791" y="311967"/>
                    <a:pt x="1366954" y="256932"/>
                  </a:cubicBezTo>
                  <a:cubicBezTo>
                    <a:pt x="1453489" y="232883"/>
                    <a:pt x="1545137" y="234404"/>
                    <a:pt x="1630817" y="261330"/>
                  </a:cubicBezTo>
                  <a:cubicBezTo>
                    <a:pt x="1744655" y="296638"/>
                    <a:pt x="1808987" y="376173"/>
                    <a:pt x="1831855" y="491519"/>
                  </a:cubicBezTo>
                  <a:cubicBezTo>
                    <a:pt x="1836354" y="515103"/>
                    <a:pt x="1838917" y="539014"/>
                    <a:pt x="1839520" y="563013"/>
                  </a:cubicBezTo>
                  <a:cubicBezTo>
                    <a:pt x="1839520" y="572563"/>
                    <a:pt x="1837384" y="575578"/>
                    <a:pt x="1827709" y="575578"/>
                  </a:cubicBezTo>
                  <a:cubicBezTo>
                    <a:pt x="1747633" y="575578"/>
                    <a:pt x="1667632" y="575578"/>
                    <a:pt x="1587720" y="575578"/>
                  </a:cubicBezTo>
                  <a:cubicBezTo>
                    <a:pt x="1579427" y="575578"/>
                    <a:pt x="1575909" y="573819"/>
                    <a:pt x="1575155" y="564772"/>
                  </a:cubicBezTo>
                  <a:cubicBezTo>
                    <a:pt x="1571511" y="497927"/>
                    <a:pt x="1514215" y="456588"/>
                    <a:pt x="1441464" y="464881"/>
                  </a:cubicBezTo>
                  <a:cubicBezTo>
                    <a:pt x="1362054" y="474054"/>
                    <a:pt x="1308653" y="516900"/>
                    <a:pt x="1275733" y="586635"/>
                  </a:cubicBezTo>
                  <a:cubicBezTo>
                    <a:pt x="1244799" y="651307"/>
                    <a:pt x="1229683" y="722411"/>
                    <a:pt x="1231631" y="794081"/>
                  </a:cubicBezTo>
                  <a:cubicBezTo>
                    <a:pt x="1233013" y="844341"/>
                    <a:pt x="1247462" y="891082"/>
                    <a:pt x="1290183" y="923751"/>
                  </a:cubicBezTo>
                  <a:cubicBezTo>
                    <a:pt x="1358787" y="976523"/>
                    <a:pt x="1508435" y="965466"/>
                    <a:pt x="1554046" y="862057"/>
                  </a:cubicBezTo>
                  <a:cubicBezTo>
                    <a:pt x="1554674" y="860550"/>
                    <a:pt x="1554925" y="859042"/>
                    <a:pt x="1555931" y="855775"/>
                  </a:cubicBezTo>
                  <a:cubicBezTo>
                    <a:pt x="1519492" y="855775"/>
                    <a:pt x="1484059" y="855775"/>
                    <a:pt x="1448501" y="855775"/>
                  </a:cubicBezTo>
                  <a:cubicBezTo>
                    <a:pt x="1437192" y="855775"/>
                    <a:pt x="1435307" y="853639"/>
                    <a:pt x="1437569" y="841953"/>
                  </a:cubicBezTo>
                  <a:cubicBezTo>
                    <a:pt x="1447872" y="787799"/>
                    <a:pt x="1456668" y="733267"/>
                    <a:pt x="1466217" y="678610"/>
                  </a:cubicBezTo>
                  <a:cubicBezTo>
                    <a:pt x="1467599" y="670945"/>
                    <a:pt x="1467474" y="663281"/>
                    <a:pt x="1480416" y="663407"/>
                  </a:cubicBezTo>
                  <a:cubicBezTo>
                    <a:pt x="1595510" y="664035"/>
                    <a:pt x="1710730" y="663407"/>
                    <a:pt x="1825950" y="663407"/>
                  </a:cubicBezTo>
                  <a:cubicBezTo>
                    <a:pt x="1828890" y="663545"/>
                    <a:pt x="1831830" y="663834"/>
                    <a:pt x="1834745" y="664286"/>
                  </a:cubicBezTo>
                  <a:cubicBezTo>
                    <a:pt x="1820673" y="743822"/>
                    <a:pt x="1806851" y="822855"/>
                    <a:pt x="1792904" y="901888"/>
                  </a:cubicBezTo>
                  <a:cubicBezTo>
                    <a:pt x="1778957" y="980921"/>
                    <a:pt x="1764633" y="1061085"/>
                    <a:pt x="1750938" y="1140621"/>
                  </a:cubicBezTo>
                  <a:cubicBezTo>
                    <a:pt x="1749179" y="1151427"/>
                    <a:pt x="1746037" y="1155699"/>
                    <a:pt x="1734352" y="1155573"/>
                  </a:cubicBezTo>
                  <a:cubicBezTo>
                    <a:pt x="1685600" y="1154819"/>
                    <a:pt x="1636936" y="1154819"/>
                    <a:pt x="1588348" y="1155573"/>
                  </a:cubicBezTo>
                  <a:cubicBezTo>
                    <a:pt x="1575783" y="1155573"/>
                    <a:pt x="1573773" y="1152055"/>
                    <a:pt x="1575155" y="1140244"/>
                  </a:cubicBezTo>
                  <a:cubicBezTo>
                    <a:pt x="1577919" y="1116622"/>
                    <a:pt x="1578799" y="1092749"/>
                    <a:pt x="1580558" y="1066237"/>
                  </a:cubicBezTo>
                  <a:cubicBezTo>
                    <a:pt x="1566485" y="1078802"/>
                    <a:pt x="1554800" y="1089482"/>
                    <a:pt x="1542235" y="1099157"/>
                  </a:cubicBezTo>
                  <a:cubicBezTo>
                    <a:pt x="1461819" y="1161227"/>
                    <a:pt x="1369845" y="1182336"/>
                    <a:pt x="1269954" y="1174546"/>
                  </a:cubicBezTo>
                  <a:cubicBezTo>
                    <a:pt x="1204377" y="1171317"/>
                    <a:pt x="1141063" y="1149529"/>
                    <a:pt x="1087386" y="1111722"/>
                  </a:cubicBezTo>
                  <a:cubicBezTo>
                    <a:pt x="1013630" y="1057818"/>
                    <a:pt x="974302" y="982806"/>
                    <a:pt x="958721" y="894223"/>
                  </a:cubicBezTo>
                  <a:cubicBezTo>
                    <a:pt x="953180" y="860009"/>
                    <a:pt x="950944" y="825330"/>
                    <a:pt x="952062" y="790689"/>
                  </a:cubicBezTo>
                  <a:cubicBezTo>
                    <a:pt x="950303" y="789181"/>
                    <a:pt x="952062" y="787171"/>
                    <a:pt x="952062" y="785537"/>
                  </a:cubicBezTo>
                  <a:cubicBezTo>
                    <a:pt x="951534" y="787510"/>
                    <a:pt x="950692" y="789369"/>
                    <a:pt x="949549" y="791066"/>
                  </a:cubicBezTo>
                </a:path>
              </a:pathLst>
            </a:custGeom>
            <a:solidFill>
              <a:schemeClr val="bg1"/>
            </a:solidFill>
            <a:ln w="125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/>
              <a:endParaRPr lang="en-US" sz="146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D1397E8-EDDD-CD64-12F7-BAE89E67C6D1}"/>
                </a:ext>
              </a:extLst>
            </p:cNvPr>
            <p:cNvSpPr/>
            <p:nvPr/>
          </p:nvSpPr>
          <p:spPr>
            <a:xfrm>
              <a:off x="5458066" y="2962433"/>
              <a:ext cx="6337" cy="11057"/>
            </a:xfrm>
            <a:custGeom>
              <a:avLst/>
              <a:gdLst>
                <a:gd name="connsiteX0" fmla="*/ 174 w 6337"/>
                <a:gd name="connsiteY0" fmla="*/ 10943 h 11057"/>
                <a:gd name="connsiteX1" fmla="*/ 5074 w 6337"/>
                <a:gd name="connsiteY1" fmla="*/ -114 h 11057"/>
                <a:gd name="connsiteX2" fmla="*/ 3315 w 6337"/>
                <a:gd name="connsiteY2" fmla="*/ 10566 h 11057"/>
                <a:gd name="connsiteX3" fmla="*/ 1682 w 6337"/>
                <a:gd name="connsiteY3" fmla="*/ 10566 h 1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37" h="11057">
                  <a:moveTo>
                    <a:pt x="174" y="10943"/>
                  </a:moveTo>
                  <a:cubicBezTo>
                    <a:pt x="-957" y="6043"/>
                    <a:pt x="1682" y="3027"/>
                    <a:pt x="5074" y="-114"/>
                  </a:cubicBezTo>
                  <a:cubicBezTo>
                    <a:pt x="7839" y="4284"/>
                    <a:pt x="5074" y="7299"/>
                    <a:pt x="3315" y="10566"/>
                  </a:cubicBezTo>
                  <a:lnTo>
                    <a:pt x="1682" y="10566"/>
                  </a:lnTo>
                  <a:close/>
                </a:path>
              </a:pathLst>
            </a:custGeom>
            <a:solidFill>
              <a:schemeClr val="bg1"/>
            </a:solidFill>
            <a:ln w="125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/>
              <a:endParaRPr lang="en-US" sz="146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A4F683B-90E9-1239-06B1-1578947AFDF0}"/>
                </a:ext>
              </a:extLst>
            </p:cNvPr>
            <p:cNvSpPr/>
            <p:nvPr/>
          </p:nvSpPr>
          <p:spPr>
            <a:xfrm>
              <a:off x="6656645" y="2629225"/>
              <a:ext cx="985816" cy="118408"/>
            </a:xfrm>
            <a:custGeom>
              <a:avLst/>
              <a:gdLst>
                <a:gd name="connsiteX0" fmla="*/ 89370 w 985816"/>
                <a:gd name="connsiteY0" fmla="*/ 2763 h 118408"/>
                <a:gd name="connsiteX1" fmla="*/ 26546 w 985816"/>
                <a:gd name="connsiteY1" fmla="*/ 2763 h 118408"/>
                <a:gd name="connsiteX2" fmla="*/ -92 w 985816"/>
                <a:gd name="connsiteY2" fmla="*/ 115847 h 118408"/>
                <a:gd name="connsiteX3" fmla="*/ 64492 w 985816"/>
                <a:gd name="connsiteY3" fmla="*/ 115847 h 118408"/>
                <a:gd name="connsiteX4" fmla="*/ 131840 w 985816"/>
                <a:gd name="connsiteY4" fmla="*/ 57923 h 118408"/>
                <a:gd name="connsiteX5" fmla="*/ 89999 w 985816"/>
                <a:gd name="connsiteY5" fmla="*/ 3140 h 118408"/>
                <a:gd name="connsiteX6" fmla="*/ 113244 w 985816"/>
                <a:gd name="connsiteY6" fmla="*/ 58174 h 118408"/>
                <a:gd name="connsiteX7" fmla="*/ 67005 w 985816"/>
                <a:gd name="connsiteY7" fmla="*/ 101272 h 118408"/>
                <a:gd name="connsiteX8" fmla="*/ 21897 w 985816"/>
                <a:gd name="connsiteY8" fmla="*/ 101272 h 118408"/>
                <a:gd name="connsiteX9" fmla="*/ 41749 w 985816"/>
                <a:gd name="connsiteY9" fmla="*/ 17715 h 118408"/>
                <a:gd name="connsiteX10" fmla="*/ 83339 w 985816"/>
                <a:gd name="connsiteY10" fmla="*/ 17715 h 118408"/>
                <a:gd name="connsiteX11" fmla="*/ 113244 w 985816"/>
                <a:gd name="connsiteY11" fmla="*/ 58174 h 118408"/>
                <a:gd name="connsiteX12" fmla="*/ 266535 w 985816"/>
                <a:gd name="connsiteY12" fmla="*/ 2763 h 118408"/>
                <a:gd name="connsiteX13" fmla="*/ 199565 w 985816"/>
                <a:gd name="connsiteY13" fmla="*/ 98131 h 118408"/>
                <a:gd name="connsiteX14" fmla="*/ 177073 w 985816"/>
                <a:gd name="connsiteY14" fmla="*/ 2763 h 118408"/>
                <a:gd name="connsiteX15" fmla="*/ 155964 w 985816"/>
                <a:gd name="connsiteY15" fmla="*/ 2763 h 118408"/>
                <a:gd name="connsiteX16" fmla="*/ 185115 w 985816"/>
                <a:gd name="connsiteY16" fmla="*/ 115847 h 118408"/>
                <a:gd name="connsiteX17" fmla="*/ 204967 w 985816"/>
                <a:gd name="connsiteY17" fmla="*/ 115847 h 118408"/>
                <a:gd name="connsiteX18" fmla="*/ 286513 w 985816"/>
                <a:gd name="connsiteY18" fmla="*/ 2763 h 118408"/>
                <a:gd name="connsiteX19" fmla="*/ 344940 w 985816"/>
                <a:gd name="connsiteY19" fmla="*/ 2763 h 118408"/>
                <a:gd name="connsiteX20" fmla="*/ 261635 w 985816"/>
                <a:gd name="connsiteY20" fmla="*/ 115847 h 118408"/>
                <a:gd name="connsiteX21" fmla="*/ 281613 w 985816"/>
                <a:gd name="connsiteY21" fmla="*/ 115847 h 118408"/>
                <a:gd name="connsiteX22" fmla="*/ 305361 w 985816"/>
                <a:gd name="connsiteY22" fmla="*/ 83053 h 118408"/>
                <a:gd name="connsiteX23" fmla="*/ 367054 w 985816"/>
                <a:gd name="connsiteY23" fmla="*/ 83053 h 118408"/>
                <a:gd name="connsiteX24" fmla="*/ 375222 w 985816"/>
                <a:gd name="connsiteY24" fmla="*/ 115847 h 118408"/>
                <a:gd name="connsiteX25" fmla="*/ 396456 w 985816"/>
                <a:gd name="connsiteY25" fmla="*/ 115847 h 118408"/>
                <a:gd name="connsiteX26" fmla="*/ 366426 w 985816"/>
                <a:gd name="connsiteY26" fmla="*/ 2763 h 118408"/>
                <a:gd name="connsiteX27" fmla="*/ 315790 w 985816"/>
                <a:gd name="connsiteY27" fmla="*/ 68101 h 118408"/>
                <a:gd name="connsiteX28" fmla="*/ 351097 w 985816"/>
                <a:gd name="connsiteY28" fmla="*/ 17841 h 118408"/>
                <a:gd name="connsiteX29" fmla="*/ 363662 w 985816"/>
                <a:gd name="connsiteY29" fmla="*/ 68101 h 118408"/>
                <a:gd name="connsiteX30" fmla="*/ 522734 w 985816"/>
                <a:gd name="connsiteY30" fmla="*/ 92351 h 118408"/>
                <a:gd name="connsiteX31" fmla="*/ 522734 w 985816"/>
                <a:gd name="connsiteY31" fmla="*/ 92351 h 118408"/>
                <a:gd name="connsiteX32" fmla="*/ 463427 w 985816"/>
                <a:gd name="connsiteY32" fmla="*/ 2763 h 118408"/>
                <a:gd name="connsiteX33" fmla="*/ 441816 w 985816"/>
                <a:gd name="connsiteY33" fmla="*/ 2763 h 118408"/>
                <a:gd name="connsiteX34" fmla="*/ 415178 w 985816"/>
                <a:gd name="connsiteY34" fmla="*/ 115847 h 118408"/>
                <a:gd name="connsiteX35" fmla="*/ 433774 w 985816"/>
                <a:gd name="connsiteY35" fmla="*/ 115847 h 118408"/>
                <a:gd name="connsiteX36" fmla="*/ 454883 w 985816"/>
                <a:gd name="connsiteY36" fmla="*/ 26259 h 118408"/>
                <a:gd name="connsiteX37" fmla="*/ 454883 w 985816"/>
                <a:gd name="connsiteY37" fmla="*/ 26259 h 118408"/>
                <a:gd name="connsiteX38" fmla="*/ 514315 w 985816"/>
                <a:gd name="connsiteY38" fmla="*/ 115847 h 118408"/>
                <a:gd name="connsiteX39" fmla="*/ 535801 w 985816"/>
                <a:gd name="connsiteY39" fmla="*/ 115847 h 118408"/>
                <a:gd name="connsiteX40" fmla="*/ 562438 w 985816"/>
                <a:gd name="connsiteY40" fmla="*/ 2763 h 118408"/>
                <a:gd name="connsiteX41" fmla="*/ 543843 w 985816"/>
                <a:gd name="connsiteY41" fmla="*/ 2763 h 118408"/>
                <a:gd name="connsiteX42" fmla="*/ 653157 w 985816"/>
                <a:gd name="connsiteY42" fmla="*/ -1 h 118408"/>
                <a:gd name="connsiteX43" fmla="*/ 573621 w 985816"/>
                <a:gd name="connsiteY43" fmla="*/ 58802 h 118408"/>
                <a:gd name="connsiteX44" fmla="*/ 625389 w 985816"/>
                <a:gd name="connsiteY44" fmla="*/ 118235 h 118408"/>
                <a:gd name="connsiteX45" fmla="*/ 698893 w 985816"/>
                <a:gd name="connsiteY45" fmla="*/ 72373 h 118408"/>
                <a:gd name="connsiteX46" fmla="*/ 680297 w 985816"/>
                <a:gd name="connsiteY46" fmla="*/ 72373 h 118408"/>
                <a:gd name="connsiteX47" fmla="*/ 629033 w 985816"/>
                <a:gd name="connsiteY47" fmla="*/ 103785 h 118408"/>
                <a:gd name="connsiteX48" fmla="*/ 591338 w 985816"/>
                <a:gd name="connsiteY48" fmla="*/ 60562 h 118408"/>
                <a:gd name="connsiteX49" fmla="*/ 650644 w 985816"/>
                <a:gd name="connsiteY49" fmla="*/ 14448 h 118408"/>
                <a:gd name="connsiteX50" fmla="*/ 686580 w 985816"/>
                <a:gd name="connsiteY50" fmla="*/ 43348 h 118408"/>
                <a:gd name="connsiteX51" fmla="*/ 706307 w 985816"/>
                <a:gd name="connsiteY51" fmla="*/ 43348 h 118408"/>
                <a:gd name="connsiteX52" fmla="*/ 653785 w 985816"/>
                <a:gd name="connsiteY52" fmla="*/ -1 h 118408"/>
                <a:gd name="connsiteX53" fmla="*/ 720631 w 985816"/>
                <a:gd name="connsiteY53" fmla="*/ 115470 h 118408"/>
                <a:gd name="connsiteX54" fmla="*/ 823160 w 985816"/>
                <a:gd name="connsiteY54" fmla="*/ 115470 h 118408"/>
                <a:gd name="connsiteX55" fmla="*/ 826553 w 985816"/>
                <a:gd name="connsiteY55" fmla="*/ 100895 h 118408"/>
                <a:gd name="connsiteX56" fmla="*/ 742745 w 985816"/>
                <a:gd name="connsiteY56" fmla="*/ 100895 h 118408"/>
                <a:gd name="connsiteX57" fmla="*/ 751289 w 985816"/>
                <a:gd name="connsiteY57" fmla="*/ 64457 h 118408"/>
                <a:gd name="connsiteX58" fmla="*/ 830950 w 985816"/>
                <a:gd name="connsiteY58" fmla="*/ 64457 h 118408"/>
                <a:gd name="connsiteX59" fmla="*/ 834343 w 985816"/>
                <a:gd name="connsiteY59" fmla="*/ 50007 h 118408"/>
                <a:gd name="connsiteX60" fmla="*/ 754681 w 985816"/>
                <a:gd name="connsiteY60" fmla="*/ 50007 h 118408"/>
                <a:gd name="connsiteX61" fmla="*/ 762472 w 985816"/>
                <a:gd name="connsiteY61" fmla="*/ 17339 h 118408"/>
                <a:gd name="connsiteX62" fmla="*/ 844520 w 985816"/>
                <a:gd name="connsiteY62" fmla="*/ 17339 h 118408"/>
                <a:gd name="connsiteX63" fmla="*/ 848038 w 985816"/>
                <a:gd name="connsiteY63" fmla="*/ 2763 h 118408"/>
                <a:gd name="connsiteX64" fmla="*/ 747519 w 985816"/>
                <a:gd name="connsiteY64" fmla="*/ 2763 h 118408"/>
                <a:gd name="connsiteX65" fmla="*/ 941772 w 985816"/>
                <a:gd name="connsiteY65" fmla="*/ 2386 h 118408"/>
                <a:gd name="connsiteX66" fmla="*/ 878320 w 985816"/>
                <a:gd name="connsiteY66" fmla="*/ 2386 h 118408"/>
                <a:gd name="connsiteX67" fmla="*/ 851682 w 985816"/>
                <a:gd name="connsiteY67" fmla="*/ 115470 h 118408"/>
                <a:gd name="connsiteX68" fmla="*/ 916266 w 985816"/>
                <a:gd name="connsiteY68" fmla="*/ 115470 h 118408"/>
                <a:gd name="connsiteX69" fmla="*/ 983614 w 985816"/>
                <a:gd name="connsiteY69" fmla="*/ 57546 h 118408"/>
                <a:gd name="connsiteX70" fmla="*/ 941772 w 985816"/>
                <a:gd name="connsiteY70" fmla="*/ 2763 h 118408"/>
                <a:gd name="connsiteX71" fmla="*/ 965018 w 985816"/>
                <a:gd name="connsiteY71" fmla="*/ 57797 h 118408"/>
                <a:gd name="connsiteX72" fmla="*/ 918779 w 985816"/>
                <a:gd name="connsiteY72" fmla="*/ 100895 h 118408"/>
                <a:gd name="connsiteX73" fmla="*/ 873671 w 985816"/>
                <a:gd name="connsiteY73" fmla="*/ 100895 h 118408"/>
                <a:gd name="connsiteX74" fmla="*/ 893523 w 985816"/>
                <a:gd name="connsiteY74" fmla="*/ 17339 h 118408"/>
                <a:gd name="connsiteX75" fmla="*/ 935113 w 985816"/>
                <a:gd name="connsiteY75" fmla="*/ 17339 h 118408"/>
                <a:gd name="connsiteX76" fmla="*/ 965018 w 985816"/>
                <a:gd name="connsiteY76" fmla="*/ 57797 h 118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85816" h="118408">
                  <a:moveTo>
                    <a:pt x="89370" y="2763"/>
                  </a:moveTo>
                  <a:lnTo>
                    <a:pt x="26546" y="2763"/>
                  </a:lnTo>
                  <a:lnTo>
                    <a:pt x="-92" y="115847"/>
                  </a:lnTo>
                  <a:lnTo>
                    <a:pt x="64492" y="115847"/>
                  </a:lnTo>
                  <a:cubicBezTo>
                    <a:pt x="102941" y="115847"/>
                    <a:pt x="124426" y="89335"/>
                    <a:pt x="131840" y="57923"/>
                  </a:cubicBezTo>
                  <a:cubicBezTo>
                    <a:pt x="139253" y="26511"/>
                    <a:pt x="127568" y="3140"/>
                    <a:pt x="89999" y="3140"/>
                  </a:cubicBezTo>
                  <a:moveTo>
                    <a:pt x="113244" y="58174"/>
                  </a:moveTo>
                  <a:cubicBezTo>
                    <a:pt x="108469" y="78278"/>
                    <a:pt x="97537" y="101272"/>
                    <a:pt x="67005" y="101272"/>
                  </a:cubicBezTo>
                  <a:lnTo>
                    <a:pt x="21897" y="101272"/>
                  </a:lnTo>
                  <a:lnTo>
                    <a:pt x="41749" y="17715"/>
                  </a:lnTo>
                  <a:lnTo>
                    <a:pt x="83339" y="17715"/>
                  </a:lnTo>
                  <a:cubicBezTo>
                    <a:pt x="115505" y="17715"/>
                    <a:pt x="117893" y="38447"/>
                    <a:pt x="113244" y="58174"/>
                  </a:cubicBezTo>
                  <a:moveTo>
                    <a:pt x="266535" y="2763"/>
                  </a:moveTo>
                  <a:lnTo>
                    <a:pt x="199565" y="98131"/>
                  </a:lnTo>
                  <a:lnTo>
                    <a:pt x="177073" y="2763"/>
                  </a:lnTo>
                  <a:lnTo>
                    <a:pt x="155964" y="2763"/>
                  </a:lnTo>
                  <a:lnTo>
                    <a:pt x="185115" y="115847"/>
                  </a:lnTo>
                  <a:lnTo>
                    <a:pt x="204967" y="115847"/>
                  </a:lnTo>
                  <a:lnTo>
                    <a:pt x="286513" y="2763"/>
                  </a:lnTo>
                  <a:close/>
                  <a:moveTo>
                    <a:pt x="344940" y="2763"/>
                  </a:moveTo>
                  <a:lnTo>
                    <a:pt x="261635" y="115847"/>
                  </a:lnTo>
                  <a:lnTo>
                    <a:pt x="281613" y="115847"/>
                  </a:lnTo>
                  <a:lnTo>
                    <a:pt x="305361" y="83053"/>
                  </a:lnTo>
                  <a:lnTo>
                    <a:pt x="367054" y="83053"/>
                  </a:lnTo>
                  <a:lnTo>
                    <a:pt x="375222" y="115847"/>
                  </a:lnTo>
                  <a:lnTo>
                    <a:pt x="396456" y="115847"/>
                  </a:lnTo>
                  <a:lnTo>
                    <a:pt x="366426" y="2763"/>
                  </a:lnTo>
                  <a:close/>
                  <a:moveTo>
                    <a:pt x="315790" y="68101"/>
                  </a:moveTo>
                  <a:lnTo>
                    <a:pt x="351097" y="17841"/>
                  </a:lnTo>
                  <a:lnTo>
                    <a:pt x="363662" y="68101"/>
                  </a:lnTo>
                  <a:close/>
                  <a:moveTo>
                    <a:pt x="522734" y="92351"/>
                  </a:moveTo>
                  <a:lnTo>
                    <a:pt x="522734" y="92351"/>
                  </a:lnTo>
                  <a:lnTo>
                    <a:pt x="463427" y="2763"/>
                  </a:lnTo>
                  <a:lnTo>
                    <a:pt x="441816" y="2763"/>
                  </a:lnTo>
                  <a:lnTo>
                    <a:pt x="415178" y="115847"/>
                  </a:lnTo>
                  <a:lnTo>
                    <a:pt x="433774" y="115847"/>
                  </a:lnTo>
                  <a:lnTo>
                    <a:pt x="454883" y="26259"/>
                  </a:lnTo>
                  <a:lnTo>
                    <a:pt x="454883" y="26259"/>
                  </a:lnTo>
                  <a:lnTo>
                    <a:pt x="514315" y="115847"/>
                  </a:lnTo>
                  <a:lnTo>
                    <a:pt x="535801" y="115847"/>
                  </a:lnTo>
                  <a:lnTo>
                    <a:pt x="562438" y="2763"/>
                  </a:lnTo>
                  <a:lnTo>
                    <a:pt x="543843" y="2763"/>
                  </a:lnTo>
                  <a:close/>
                  <a:moveTo>
                    <a:pt x="653157" y="-1"/>
                  </a:moveTo>
                  <a:cubicBezTo>
                    <a:pt x="615978" y="-1999"/>
                    <a:pt x="582605" y="22666"/>
                    <a:pt x="573621" y="58802"/>
                  </a:cubicBezTo>
                  <a:cubicBezTo>
                    <a:pt x="563318" y="102654"/>
                    <a:pt x="593851" y="118235"/>
                    <a:pt x="625389" y="118235"/>
                  </a:cubicBezTo>
                  <a:cubicBezTo>
                    <a:pt x="656977" y="119478"/>
                    <a:pt x="686127" y="101297"/>
                    <a:pt x="698893" y="72373"/>
                  </a:cubicBezTo>
                  <a:lnTo>
                    <a:pt x="680297" y="72373"/>
                  </a:lnTo>
                  <a:cubicBezTo>
                    <a:pt x="671288" y="92376"/>
                    <a:pt x="650946" y="104840"/>
                    <a:pt x="629033" y="103785"/>
                  </a:cubicBezTo>
                  <a:cubicBezTo>
                    <a:pt x="594479" y="103785"/>
                    <a:pt x="586814" y="81796"/>
                    <a:pt x="591338" y="60562"/>
                  </a:cubicBezTo>
                  <a:cubicBezTo>
                    <a:pt x="596565" y="32379"/>
                    <a:pt x="622046" y="12564"/>
                    <a:pt x="650644" y="14448"/>
                  </a:cubicBezTo>
                  <a:cubicBezTo>
                    <a:pt x="676905" y="14448"/>
                    <a:pt x="687585" y="27767"/>
                    <a:pt x="686580" y="43348"/>
                  </a:cubicBezTo>
                  <a:lnTo>
                    <a:pt x="706307" y="43348"/>
                  </a:lnTo>
                  <a:cubicBezTo>
                    <a:pt x="711207" y="9548"/>
                    <a:pt x="678915" y="-1"/>
                    <a:pt x="653785" y="-1"/>
                  </a:cubicBezTo>
                  <a:moveTo>
                    <a:pt x="720631" y="115470"/>
                  </a:moveTo>
                  <a:lnTo>
                    <a:pt x="823160" y="115470"/>
                  </a:lnTo>
                  <a:lnTo>
                    <a:pt x="826553" y="100895"/>
                  </a:lnTo>
                  <a:lnTo>
                    <a:pt x="742745" y="100895"/>
                  </a:lnTo>
                  <a:lnTo>
                    <a:pt x="751289" y="64457"/>
                  </a:lnTo>
                  <a:lnTo>
                    <a:pt x="830950" y="64457"/>
                  </a:lnTo>
                  <a:lnTo>
                    <a:pt x="834343" y="50007"/>
                  </a:lnTo>
                  <a:lnTo>
                    <a:pt x="754681" y="50007"/>
                  </a:lnTo>
                  <a:lnTo>
                    <a:pt x="762472" y="17339"/>
                  </a:lnTo>
                  <a:lnTo>
                    <a:pt x="844520" y="17339"/>
                  </a:lnTo>
                  <a:lnTo>
                    <a:pt x="848038" y="2763"/>
                  </a:lnTo>
                  <a:lnTo>
                    <a:pt x="747519" y="2763"/>
                  </a:lnTo>
                  <a:close/>
                  <a:moveTo>
                    <a:pt x="941772" y="2386"/>
                  </a:moveTo>
                  <a:lnTo>
                    <a:pt x="878320" y="2386"/>
                  </a:lnTo>
                  <a:lnTo>
                    <a:pt x="851682" y="115470"/>
                  </a:lnTo>
                  <a:lnTo>
                    <a:pt x="916266" y="115470"/>
                  </a:lnTo>
                  <a:cubicBezTo>
                    <a:pt x="954714" y="115470"/>
                    <a:pt x="976201" y="88958"/>
                    <a:pt x="983614" y="57546"/>
                  </a:cubicBezTo>
                  <a:cubicBezTo>
                    <a:pt x="991027" y="26134"/>
                    <a:pt x="979342" y="2763"/>
                    <a:pt x="941772" y="2763"/>
                  </a:cubicBezTo>
                  <a:moveTo>
                    <a:pt x="965018" y="57797"/>
                  </a:moveTo>
                  <a:cubicBezTo>
                    <a:pt x="960243" y="77901"/>
                    <a:pt x="949311" y="100895"/>
                    <a:pt x="918779" y="100895"/>
                  </a:cubicBezTo>
                  <a:lnTo>
                    <a:pt x="873671" y="100895"/>
                  </a:lnTo>
                  <a:lnTo>
                    <a:pt x="893523" y="17339"/>
                  </a:lnTo>
                  <a:lnTo>
                    <a:pt x="935113" y="17339"/>
                  </a:lnTo>
                  <a:cubicBezTo>
                    <a:pt x="967405" y="17339"/>
                    <a:pt x="969667" y="38071"/>
                    <a:pt x="965018" y="57797"/>
                  </a:cubicBezTo>
                </a:path>
              </a:pathLst>
            </a:custGeom>
            <a:solidFill>
              <a:schemeClr val="bg1"/>
            </a:solidFill>
            <a:ln w="125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/>
              <a:endParaRPr lang="en-US" sz="146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FE8AA24E-F6C1-74D4-571B-114B8CB81512}"/>
                </a:ext>
              </a:extLst>
            </p:cNvPr>
            <p:cNvSpPr/>
            <p:nvPr/>
          </p:nvSpPr>
          <p:spPr>
            <a:xfrm>
              <a:off x="6496443" y="2632102"/>
              <a:ext cx="134569" cy="113083"/>
            </a:xfrm>
            <a:custGeom>
              <a:avLst/>
              <a:gdLst>
                <a:gd name="connsiteX0" fmla="*/ 104448 w 134569"/>
                <a:gd name="connsiteY0" fmla="*/ -114 h 113083"/>
                <a:gd name="connsiteX1" fmla="*/ 83214 w 134569"/>
                <a:gd name="connsiteY1" fmla="*/ -114 h 113083"/>
                <a:gd name="connsiteX2" fmla="*/ -92 w 134569"/>
                <a:gd name="connsiteY2" fmla="*/ 112970 h 113083"/>
                <a:gd name="connsiteX3" fmla="*/ 19886 w 134569"/>
                <a:gd name="connsiteY3" fmla="*/ 112970 h 113083"/>
                <a:gd name="connsiteX4" fmla="*/ 43634 w 134569"/>
                <a:gd name="connsiteY4" fmla="*/ 80175 h 113083"/>
                <a:gd name="connsiteX5" fmla="*/ 105076 w 134569"/>
                <a:gd name="connsiteY5" fmla="*/ 80175 h 113083"/>
                <a:gd name="connsiteX6" fmla="*/ 113244 w 134569"/>
                <a:gd name="connsiteY6" fmla="*/ 112970 h 113083"/>
                <a:gd name="connsiteX7" fmla="*/ 134478 w 134569"/>
                <a:gd name="connsiteY7" fmla="*/ 112970 h 113083"/>
                <a:gd name="connsiteX8" fmla="*/ 54189 w 134569"/>
                <a:gd name="connsiteY8" fmla="*/ 65223 h 113083"/>
                <a:gd name="connsiteX9" fmla="*/ 89496 w 134569"/>
                <a:gd name="connsiteY9" fmla="*/ 14964 h 113083"/>
                <a:gd name="connsiteX10" fmla="*/ 102061 w 134569"/>
                <a:gd name="connsiteY10" fmla="*/ 65223 h 1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4569" h="113083">
                  <a:moveTo>
                    <a:pt x="104448" y="-114"/>
                  </a:moveTo>
                  <a:lnTo>
                    <a:pt x="83214" y="-114"/>
                  </a:lnTo>
                  <a:lnTo>
                    <a:pt x="-92" y="112970"/>
                  </a:lnTo>
                  <a:lnTo>
                    <a:pt x="19886" y="112970"/>
                  </a:lnTo>
                  <a:lnTo>
                    <a:pt x="43634" y="80175"/>
                  </a:lnTo>
                  <a:lnTo>
                    <a:pt x="105076" y="80175"/>
                  </a:lnTo>
                  <a:lnTo>
                    <a:pt x="113244" y="112970"/>
                  </a:lnTo>
                  <a:lnTo>
                    <a:pt x="134478" y="112970"/>
                  </a:lnTo>
                  <a:close/>
                  <a:moveTo>
                    <a:pt x="54189" y="65223"/>
                  </a:moveTo>
                  <a:lnTo>
                    <a:pt x="89496" y="14964"/>
                  </a:lnTo>
                  <a:lnTo>
                    <a:pt x="102061" y="65223"/>
                  </a:lnTo>
                  <a:close/>
                </a:path>
              </a:pathLst>
            </a:custGeom>
            <a:solidFill>
              <a:schemeClr val="bg1"/>
            </a:solidFill>
            <a:ln w="125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/>
              <a:endParaRPr lang="en-US" sz="146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E8452A4-179D-C0B6-FFE5-CECBB8F47332}"/>
                </a:ext>
              </a:extLst>
            </p:cNvPr>
            <p:cNvSpPr/>
            <p:nvPr/>
          </p:nvSpPr>
          <p:spPr>
            <a:xfrm>
              <a:off x="5654218" y="2173638"/>
              <a:ext cx="999662" cy="280168"/>
            </a:xfrm>
            <a:custGeom>
              <a:avLst/>
              <a:gdLst>
                <a:gd name="connsiteX0" fmla="*/ -92 w 999662"/>
                <a:gd name="connsiteY0" fmla="*/ 280054 h 280168"/>
                <a:gd name="connsiteX1" fmla="*/ 832207 w 999662"/>
                <a:gd name="connsiteY1" fmla="*/ 278044 h 280168"/>
                <a:gd name="connsiteX2" fmla="*/ 999571 w 999662"/>
                <a:gd name="connsiteY2" fmla="*/ 167347 h 280168"/>
                <a:gd name="connsiteX3" fmla="*/ -92 w 999662"/>
                <a:gd name="connsiteY3" fmla="*/ 280054 h 280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9662" h="280168">
                  <a:moveTo>
                    <a:pt x="-92" y="280054"/>
                  </a:moveTo>
                  <a:cubicBezTo>
                    <a:pt x="422340" y="-91489"/>
                    <a:pt x="800795" y="249145"/>
                    <a:pt x="832207" y="278044"/>
                  </a:cubicBezTo>
                  <a:cubicBezTo>
                    <a:pt x="832207" y="278044"/>
                    <a:pt x="947175" y="194613"/>
                    <a:pt x="999571" y="167347"/>
                  </a:cubicBezTo>
                  <a:cubicBezTo>
                    <a:pt x="615588" y="-135215"/>
                    <a:pt x="288901" y="14935"/>
                    <a:pt x="-92" y="280054"/>
                  </a:cubicBezTo>
                </a:path>
              </a:pathLst>
            </a:custGeom>
            <a:solidFill>
              <a:schemeClr val="bg1"/>
            </a:solidFill>
            <a:ln w="125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/>
              <a:endParaRPr lang="en-US" sz="146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EF2C688-A022-883C-AC35-FC59B8C5F0FC}"/>
                </a:ext>
              </a:extLst>
            </p:cNvPr>
            <p:cNvSpPr/>
            <p:nvPr/>
          </p:nvSpPr>
          <p:spPr>
            <a:xfrm>
              <a:off x="5691913" y="1933401"/>
              <a:ext cx="1299712" cy="382820"/>
            </a:xfrm>
            <a:custGeom>
              <a:avLst/>
              <a:gdLst>
                <a:gd name="connsiteX0" fmla="*/ -92 w 1299712"/>
                <a:gd name="connsiteY0" fmla="*/ 382706 h 382820"/>
                <a:gd name="connsiteX1" fmla="*/ 1049328 w 1299712"/>
                <a:gd name="connsiteY1" fmla="*/ 355943 h 382820"/>
                <a:gd name="connsiteX2" fmla="*/ 1299621 w 1299712"/>
                <a:gd name="connsiteY2" fmla="*/ 188578 h 382820"/>
                <a:gd name="connsiteX3" fmla="*/ -92 w 1299712"/>
                <a:gd name="connsiteY3" fmla="*/ 382706 h 38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9712" h="382820">
                  <a:moveTo>
                    <a:pt x="-92" y="382706"/>
                  </a:moveTo>
                  <a:cubicBezTo>
                    <a:pt x="510294" y="-121272"/>
                    <a:pt x="1044805" y="352424"/>
                    <a:pt x="1049328" y="355943"/>
                  </a:cubicBezTo>
                  <a:cubicBezTo>
                    <a:pt x="1049328" y="355943"/>
                    <a:pt x="1246848" y="217101"/>
                    <a:pt x="1299621" y="188578"/>
                  </a:cubicBezTo>
                  <a:cubicBezTo>
                    <a:pt x="902193" y="-97021"/>
                    <a:pt x="422717" y="-78425"/>
                    <a:pt x="-92" y="382706"/>
                  </a:cubicBezTo>
                </a:path>
              </a:pathLst>
            </a:custGeom>
            <a:solidFill>
              <a:schemeClr val="bg1"/>
            </a:solidFill>
            <a:ln w="125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/>
              <a:endParaRPr lang="en-US" sz="146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8C01E52-441C-A0BA-FCED-A6866272F251}"/>
                </a:ext>
              </a:extLst>
            </p:cNvPr>
            <p:cNvSpPr/>
            <p:nvPr/>
          </p:nvSpPr>
          <p:spPr>
            <a:xfrm>
              <a:off x="5680981" y="1621652"/>
              <a:ext cx="1782580" cy="568920"/>
            </a:xfrm>
            <a:custGeom>
              <a:avLst/>
              <a:gdLst>
                <a:gd name="connsiteX0" fmla="*/ 411 w 1782580"/>
                <a:gd name="connsiteY0" fmla="*/ 568806 h 568920"/>
                <a:gd name="connsiteX1" fmla="*/ 1395114 w 1782580"/>
                <a:gd name="connsiteY1" fmla="*/ 449691 h 568920"/>
                <a:gd name="connsiteX2" fmla="*/ 1782489 w 1782580"/>
                <a:gd name="connsiteY2" fmla="*/ 208445 h 568920"/>
                <a:gd name="connsiteX3" fmla="*/ -92 w 1782580"/>
                <a:gd name="connsiteY3" fmla="*/ 568806 h 568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2580" h="568920">
                  <a:moveTo>
                    <a:pt x="411" y="568806"/>
                  </a:moveTo>
                  <a:cubicBezTo>
                    <a:pt x="680172" y="-128922"/>
                    <a:pt x="1395114" y="449691"/>
                    <a:pt x="1395114" y="449691"/>
                  </a:cubicBezTo>
                  <a:lnTo>
                    <a:pt x="1782489" y="208445"/>
                  </a:lnTo>
                  <a:cubicBezTo>
                    <a:pt x="1267329" y="-145508"/>
                    <a:pt x="477123" y="-63961"/>
                    <a:pt x="-92" y="568806"/>
                  </a:cubicBezTo>
                </a:path>
              </a:pathLst>
            </a:custGeom>
            <a:solidFill>
              <a:schemeClr val="bg1"/>
            </a:solidFill>
            <a:ln w="125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/>
              <a:endParaRPr lang="en-US" sz="1463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79990C6B-E6F9-9AB3-CDC0-F991A6528B18}"/>
              </a:ext>
            </a:extLst>
          </p:cNvPr>
          <p:cNvSpPr txBox="1"/>
          <p:nvPr/>
        </p:nvSpPr>
        <p:spPr>
          <a:xfrm>
            <a:off x="5069533" y="1045799"/>
            <a:ext cx="3582782" cy="105836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743407">
              <a:lnSpc>
                <a:spcPct val="90000"/>
              </a:lnSpc>
              <a:defRPr/>
            </a:pPr>
            <a:r>
              <a:rPr lang="en-US" sz="1138">
                <a:solidFill>
                  <a:srgbClr val="2853DC"/>
                </a:solidFill>
                <a:latin typeface="Calibri"/>
              </a:rPr>
              <a:t>3GPP Release 19</a:t>
            </a:r>
            <a:endParaRPr lang="en-US" sz="1138" b="1">
              <a:solidFill>
                <a:srgbClr val="2853DC"/>
              </a:solidFill>
              <a:latin typeface="Calibri"/>
            </a:endParaRPr>
          </a:p>
          <a:p>
            <a:pPr defTabSz="743407">
              <a:lnSpc>
                <a:spcPct val="90000"/>
              </a:lnSpc>
              <a:defRPr/>
            </a:pPr>
            <a:r>
              <a:rPr lang="en-US" sz="1951" b="1">
                <a:solidFill>
                  <a:srgbClr val="2853DC"/>
                </a:solidFill>
                <a:latin typeface="Calibri"/>
              </a:rPr>
              <a:t>Realizing the full</a:t>
            </a:r>
            <a:br>
              <a:rPr lang="en-US" sz="1951" b="1">
                <a:solidFill>
                  <a:srgbClr val="2853DC"/>
                </a:solidFill>
                <a:latin typeface="Calibri"/>
              </a:rPr>
            </a:br>
            <a:r>
              <a:rPr lang="en-US" sz="1951" b="1">
                <a:solidFill>
                  <a:srgbClr val="2853DC"/>
                </a:solidFill>
                <a:latin typeface="Calibri"/>
              </a:rPr>
              <a:t>potential of 5G</a:t>
            </a:r>
          </a:p>
          <a:p>
            <a:pPr defTabSz="743407">
              <a:lnSpc>
                <a:spcPct val="90000"/>
              </a:lnSpc>
              <a:defRPr/>
            </a:pPr>
            <a:r>
              <a:rPr lang="en-US" sz="1301">
                <a:solidFill>
                  <a:srgbClr val="0B2742"/>
                </a:solidFill>
                <a:latin typeface="Calibri"/>
              </a:rPr>
              <a:t>Addressing real and urgent</a:t>
            </a:r>
            <a:br>
              <a:rPr lang="en-US" sz="1301">
                <a:solidFill>
                  <a:srgbClr val="0B2742"/>
                </a:solidFill>
                <a:latin typeface="Calibri"/>
              </a:rPr>
            </a:br>
            <a:r>
              <a:rPr lang="en-US" sz="1301">
                <a:solidFill>
                  <a:srgbClr val="0B2742"/>
                </a:solidFill>
                <a:latin typeface="Calibri"/>
              </a:rPr>
              <a:t>commercial needs</a:t>
            </a:r>
            <a:endParaRPr lang="en-US" sz="1626">
              <a:solidFill>
                <a:srgbClr val="0B2742"/>
              </a:solidFill>
              <a:latin typeface="Calibri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B60FB52-D1AE-7FB0-6F60-8E204E83F526}"/>
              </a:ext>
            </a:extLst>
          </p:cNvPr>
          <p:cNvSpPr txBox="1"/>
          <p:nvPr/>
        </p:nvSpPr>
        <p:spPr>
          <a:xfrm>
            <a:off x="8764283" y="1045799"/>
            <a:ext cx="3050894" cy="105836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743407">
              <a:lnSpc>
                <a:spcPct val="90000"/>
              </a:lnSpc>
              <a:defRPr/>
            </a:pPr>
            <a:r>
              <a:rPr lang="en-US" sz="1138">
                <a:solidFill>
                  <a:srgbClr val="4BACC6"/>
                </a:solidFill>
                <a:latin typeface="Calibri"/>
              </a:rPr>
              <a:t>3GPP Release 19</a:t>
            </a:r>
          </a:p>
          <a:p>
            <a:pPr defTabSz="743407">
              <a:lnSpc>
                <a:spcPct val="90000"/>
              </a:lnSpc>
              <a:defRPr/>
            </a:pPr>
            <a:r>
              <a:rPr lang="en-US" sz="1951" b="1">
                <a:solidFill>
                  <a:srgbClr val="4BACC6"/>
                </a:solidFill>
                <a:latin typeface="Calibri"/>
              </a:rPr>
              <a:t>Bridging</a:t>
            </a:r>
            <a:br>
              <a:rPr lang="en-US" sz="1951" b="1">
                <a:solidFill>
                  <a:srgbClr val="4BACC6"/>
                </a:solidFill>
                <a:latin typeface="Calibri"/>
              </a:rPr>
            </a:br>
            <a:r>
              <a:rPr lang="en-US" sz="1951" b="1">
                <a:solidFill>
                  <a:srgbClr val="4BACC6"/>
                </a:solidFill>
                <a:latin typeface="Calibri"/>
              </a:rPr>
              <a:t>to 6G</a:t>
            </a:r>
          </a:p>
          <a:p>
            <a:pPr defTabSz="743407">
              <a:lnSpc>
                <a:spcPct val="90000"/>
              </a:lnSpc>
              <a:defRPr/>
            </a:pPr>
            <a:r>
              <a:rPr lang="en-US" sz="1301">
                <a:solidFill>
                  <a:srgbClr val="0B2742"/>
                </a:solidFill>
                <a:latin typeface="Calibri"/>
              </a:rPr>
              <a:t>Establishing the</a:t>
            </a:r>
            <a:br>
              <a:rPr lang="en-US" sz="1301">
                <a:solidFill>
                  <a:srgbClr val="0B2742"/>
                </a:solidFill>
                <a:latin typeface="Calibri"/>
              </a:rPr>
            </a:br>
            <a:r>
              <a:rPr lang="en-US" sz="1301">
                <a:solidFill>
                  <a:srgbClr val="0B2742"/>
                </a:solidFill>
                <a:latin typeface="Calibri"/>
              </a:rPr>
              <a:t>technical foundation</a:t>
            </a:r>
            <a:endParaRPr lang="en-US" sz="1626">
              <a:solidFill>
                <a:srgbClr val="0B2742"/>
              </a:solidFill>
              <a:latin typeface="Calibri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369C135-97D4-81CB-E688-A75A2566F8A9}"/>
              </a:ext>
            </a:extLst>
          </p:cNvPr>
          <p:cNvSpPr txBox="1"/>
          <p:nvPr/>
        </p:nvSpPr>
        <p:spPr>
          <a:xfrm>
            <a:off x="5069533" y="2831582"/>
            <a:ext cx="2403980" cy="58554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90000"/>
              </a:lnSpc>
              <a:defRPr/>
            </a:pPr>
            <a:r>
              <a:rPr lang="en-US" sz="1138" b="1">
                <a:solidFill>
                  <a:srgbClr val="2853DC"/>
                </a:solidFill>
                <a:latin typeface="Microsoft Sans Serif"/>
              </a:rPr>
              <a:t>Mobile broadband evolution</a:t>
            </a:r>
            <a:br>
              <a:rPr lang="en-US" sz="1138" b="1">
                <a:solidFill>
                  <a:srgbClr val="2853DC"/>
                </a:solidFill>
                <a:latin typeface="Microsoft Sans Serif"/>
              </a:rPr>
            </a:br>
            <a:r>
              <a:rPr lang="en-US" sz="1138" b="1">
                <a:solidFill>
                  <a:srgbClr val="2853DC"/>
                </a:solidFill>
                <a:latin typeface="Microsoft Sans Serif"/>
              </a:rPr>
              <a:t>and further vertical expansion</a:t>
            </a:r>
          </a:p>
          <a:p>
            <a:pPr defTabSz="743407">
              <a:lnSpc>
                <a:spcPct val="90000"/>
              </a:lnSpc>
              <a:defRPr/>
            </a:pPr>
            <a:r>
              <a:rPr lang="en-US" sz="976">
                <a:solidFill>
                  <a:srgbClr val="0B2742"/>
                </a:solidFill>
                <a:latin typeface="Microsoft Sans Serif"/>
              </a:rPr>
              <a:t>Continue to enhance mobile experiences</a:t>
            </a:r>
            <a:br>
              <a:rPr lang="en-US" sz="976">
                <a:solidFill>
                  <a:srgbClr val="0B2742"/>
                </a:solidFill>
                <a:latin typeface="Microsoft Sans Serif"/>
              </a:rPr>
            </a:br>
            <a:r>
              <a:rPr lang="en-US" sz="976">
                <a:solidFill>
                  <a:srgbClr val="0B2742"/>
                </a:solidFill>
                <a:latin typeface="Microsoft Sans Serif"/>
              </a:rPr>
              <a:t>and extend 5G’s reach into new area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F7D2416-854C-27E7-E675-1F2975F383B8}"/>
              </a:ext>
            </a:extLst>
          </p:cNvPr>
          <p:cNvSpPr txBox="1"/>
          <p:nvPr/>
        </p:nvSpPr>
        <p:spPr>
          <a:xfrm>
            <a:off x="5069534" y="4213955"/>
            <a:ext cx="3023264" cy="42793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743407">
              <a:lnSpc>
                <a:spcPct val="90000"/>
              </a:lnSpc>
              <a:defRPr/>
            </a:pPr>
            <a:r>
              <a:rPr lang="en-US" sz="1138" b="1">
                <a:solidFill>
                  <a:srgbClr val="2853DC"/>
                </a:solidFill>
                <a:latin typeface="Microsoft Sans Serif"/>
              </a:rPr>
              <a:t>Immediate and longer-term commercial needs </a:t>
            </a:r>
          </a:p>
          <a:p>
            <a:pPr defTabSz="743407">
              <a:lnSpc>
                <a:spcPct val="90000"/>
              </a:lnSpc>
              <a:defRPr/>
            </a:pPr>
            <a:r>
              <a:rPr lang="en-US" sz="976">
                <a:solidFill>
                  <a:srgbClr val="0B2742"/>
                </a:solidFill>
                <a:latin typeface="Microsoft Sans Serif"/>
              </a:rPr>
              <a:t>Drive new value in commercialization efforts</a:t>
            </a:r>
            <a:br>
              <a:rPr lang="en-US" sz="976">
                <a:solidFill>
                  <a:srgbClr val="0B2742"/>
                </a:solidFill>
                <a:latin typeface="Microsoft Sans Serif"/>
              </a:rPr>
            </a:br>
            <a:r>
              <a:rPr lang="en-US" sz="976">
                <a:solidFill>
                  <a:srgbClr val="0B2742"/>
                </a:solidFill>
                <a:latin typeface="Microsoft Sans Serif"/>
              </a:rPr>
              <a:t>and efficiently enable advanced deployment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61C5EEE-3902-25E1-CD5C-E5EA71956F00}"/>
              </a:ext>
            </a:extLst>
          </p:cNvPr>
          <p:cNvSpPr txBox="1"/>
          <p:nvPr/>
        </p:nvSpPr>
        <p:spPr>
          <a:xfrm>
            <a:off x="5069534" y="5304377"/>
            <a:ext cx="3354219" cy="58554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90000"/>
              </a:lnSpc>
              <a:defRPr/>
            </a:pPr>
            <a:r>
              <a:rPr lang="en-US" sz="1138" b="1">
                <a:solidFill>
                  <a:srgbClr val="2853DC"/>
                </a:solidFill>
                <a:latin typeface="Microsoft Sans Serif"/>
              </a:rPr>
              <a:t>New and enhanced devices and</a:t>
            </a:r>
            <a:br>
              <a:rPr lang="en-US" sz="1138" b="1">
                <a:solidFill>
                  <a:srgbClr val="2853DC"/>
                </a:solidFill>
                <a:latin typeface="Microsoft Sans Serif"/>
              </a:rPr>
            </a:br>
            <a:r>
              <a:rPr lang="en-US" sz="1138" b="1">
                <a:solidFill>
                  <a:srgbClr val="2853DC"/>
                </a:solidFill>
                <a:latin typeface="Microsoft Sans Serif"/>
              </a:rPr>
              <a:t>network evolution </a:t>
            </a:r>
          </a:p>
          <a:p>
            <a:pPr defTabSz="743407">
              <a:lnSpc>
                <a:spcPct val="90000"/>
              </a:lnSpc>
              <a:defRPr/>
            </a:pPr>
            <a:r>
              <a:rPr lang="en-US" sz="976">
                <a:solidFill>
                  <a:srgbClr val="0B2742"/>
                </a:solidFill>
                <a:latin typeface="Microsoft Sans Serif"/>
              </a:rPr>
              <a:t>Focus on the end-to-end 5G technology</a:t>
            </a:r>
            <a:br>
              <a:rPr lang="en-US" sz="976">
                <a:solidFill>
                  <a:srgbClr val="0B2742"/>
                </a:solidFill>
                <a:latin typeface="Microsoft Sans Serif"/>
              </a:rPr>
            </a:br>
            <a:r>
              <a:rPr lang="en-US" sz="976">
                <a:solidFill>
                  <a:srgbClr val="0B2742"/>
                </a:solidFill>
                <a:latin typeface="Microsoft Sans Serif"/>
              </a:rPr>
              <a:t>evolution to bring new levels of performanc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A9CE7B-EF28-FBC8-8B61-70C3017AB8D2}"/>
              </a:ext>
            </a:extLst>
          </p:cNvPr>
          <p:cNvSpPr txBox="1"/>
          <p:nvPr/>
        </p:nvSpPr>
        <p:spPr>
          <a:xfrm>
            <a:off x="8764283" y="2867705"/>
            <a:ext cx="2586631" cy="42793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90000"/>
              </a:lnSpc>
              <a:defRPr/>
            </a:pPr>
            <a:r>
              <a:rPr lang="en-US" sz="1138" b="1">
                <a:solidFill>
                  <a:srgbClr val="4BACC6"/>
                </a:solidFill>
                <a:latin typeface="Microsoft Sans Serif"/>
              </a:rPr>
              <a:t>Revolutionary system innovations</a:t>
            </a:r>
          </a:p>
          <a:p>
            <a:pPr defTabSz="743407">
              <a:lnSpc>
                <a:spcPct val="90000"/>
              </a:lnSpc>
              <a:defRPr/>
            </a:pPr>
            <a:r>
              <a:rPr lang="en-US" sz="976">
                <a:solidFill>
                  <a:srgbClr val="0B2742"/>
                </a:solidFill>
                <a:latin typeface="Microsoft Sans Serif"/>
              </a:rPr>
              <a:t>Conduct advanced research to prepare</a:t>
            </a:r>
            <a:br>
              <a:rPr lang="en-US" sz="976">
                <a:solidFill>
                  <a:srgbClr val="0B2742"/>
                </a:solidFill>
                <a:latin typeface="Microsoft Sans Serif"/>
              </a:rPr>
            </a:br>
            <a:r>
              <a:rPr lang="en-US" sz="976">
                <a:solidFill>
                  <a:srgbClr val="0B2742"/>
                </a:solidFill>
                <a:latin typeface="Microsoft Sans Serif"/>
              </a:rPr>
              <a:t>for formal 6G Study Items in Release 20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A16F84F-EB0F-2366-AF72-87EBCDF63EEF}"/>
              </a:ext>
            </a:extLst>
          </p:cNvPr>
          <p:cNvSpPr txBox="1"/>
          <p:nvPr/>
        </p:nvSpPr>
        <p:spPr>
          <a:xfrm>
            <a:off x="8764283" y="4250082"/>
            <a:ext cx="2260234" cy="58554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743407">
              <a:lnSpc>
                <a:spcPct val="90000"/>
              </a:lnSpc>
              <a:defRPr/>
            </a:pPr>
            <a:r>
              <a:rPr lang="en-US" sz="1138" b="1">
                <a:solidFill>
                  <a:srgbClr val="4BACC6"/>
                </a:solidFill>
                <a:latin typeface="Microsoft Sans Serif"/>
              </a:rPr>
              <a:t>New spectrum bands and</a:t>
            </a:r>
            <a:br>
              <a:rPr lang="en-US" sz="1138" b="1">
                <a:solidFill>
                  <a:srgbClr val="4BACC6"/>
                </a:solidFill>
                <a:latin typeface="Microsoft Sans Serif"/>
              </a:rPr>
            </a:br>
            <a:r>
              <a:rPr lang="en-US" sz="1138" b="1">
                <a:solidFill>
                  <a:srgbClr val="4BACC6"/>
                </a:solidFill>
                <a:latin typeface="Microsoft Sans Serif"/>
              </a:rPr>
              <a:t>enabling technologies</a:t>
            </a:r>
          </a:p>
          <a:p>
            <a:pPr defTabSz="743407">
              <a:lnSpc>
                <a:spcPct val="90000"/>
              </a:lnSpc>
              <a:defRPr/>
            </a:pPr>
            <a:r>
              <a:rPr lang="en-US" sz="976">
                <a:solidFill>
                  <a:srgbClr val="0B2742"/>
                </a:solidFill>
                <a:latin typeface="Microsoft Sans Serif"/>
              </a:rPr>
              <a:t>Study feasibility of new band ranges and</a:t>
            </a:r>
            <a:br>
              <a:rPr lang="en-US" sz="976">
                <a:solidFill>
                  <a:srgbClr val="0B2742"/>
                </a:solidFill>
                <a:latin typeface="Microsoft Sans Serif"/>
              </a:rPr>
            </a:br>
            <a:r>
              <a:rPr lang="en-US" sz="976">
                <a:solidFill>
                  <a:srgbClr val="0B2742"/>
                </a:solidFill>
                <a:latin typeface="Microsoft Sans Serif"/>
              </a:rPr>
              <a:t>types (e.g., upper mid-band in 7-24 GHz)</a:t>
            </a:r>
            <a:endParaRPr lang="en-US" sz="976" baseline="30000">
              <a:solidFill>
                <a:srgbClr val="0B2742"/>
              </a:solidFill>
              <a:latin typeface="Microsoft Sans Serif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216875E-72E9-F3C8-B24A-64F760B7C946}"/>
              </a:ext>
            </a:extLst>
          </p:cNvPr>
          <p:cNvGrpSpPr/>
          <p:nvPr/>
        </p:nvGrpSpPr>
        <p:grpSpPr>
          <a:xfrm>
            <a:off x="5069165" y="2372537"/>
            <a:ext cx="366170" cy="397575"/>
            <a:chOff x="2359997" y="2707723"/>
            <a:chExt cx="1915947" cy="2078679"/>
          </a:xfrm>
          <a:solidFill>
            <a:schemeClr val="accent1"/>
          </a:solidFill>
        </p:grpSpPr>
        <p:sp>
          <p:nvSpPr>
            <p:cNvPr id="30" name="Freeform 4">
              <a:extLst>
                <a:ext uri="{FF2B5EF4-FFF2-40B4-BE49-F238E27FC236}">
                  <a16:creationId xmlns:a16="http://schemas.microsoft.com/office/drawing/2014/main" id="{D2311C67-EF89-F084-36F5-F5A38474B4AE}"/>
                </a:ext>
              </a:extLst>
            </p:cNvPr>
            <p:cNvSpPr/>
            <p:nvPr/>
          </p:nvSpPr>
          <p:spPr>
            <a:xfrm>
              <a:off x="3265711" y="2846411"/>
              <a:ext cx="2561" cy="880"/>
            </a:xfrm>
            <a:custGeom>
              <a:avLst/>
              <a:gdLst>
                <a:gd name="connsiteX0" fmla="*/ 0 w 2561"/>
                <a:gd name="connsiteY0" fmla="*/ 0 h 880"/>
                <a:gd name="connsiteX1" fmla="*/ 1781 w 2561"/>
                <a:gd name="connsiteY1" fmla="*/ 681 h 880"/>
                <a:gd name="connsiteX2" fmla="*/ 2562 w 2561"/>
                <a:gd name="connsiteY2" fmla="*/ 881 h 880"/>
                <a:gd name="connsiteX3" fmla="*/ 20 w 2561"/>
                <a:gd name="connsiteY3" fmla="*/ 0 h 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1" h="880">
                  <a:moveTo>
                    <a:pt x="0" y="0"/>
                  </a:moveTo>
                  <a:cubicBezTo>
                    <a:pt x="1121" y="460"/>
                    <a:pt x="1381" y="541"/>
                    <a:pt x="1781" y="681"/>
                  </a:cubicBezTo>
                  <a:cubicBezTo>
                    <a:pt x="2041" y="741"/>
                    <a:pt x="2302" y="821"/>
                    <a:pt x="2562" y="881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75BB31FF-B29B-099C-5AB8-27F19BAC13ED}"/>
                </a:ext>
              </a:extLst>
            </p:cNvPr>
            <p:cNvSpPr/>
            <p:nvPr/>
          </p:nvSpPr>
          <p:spPr>
            <a:xfrm>
              <a:off x="2556259" y="2856962"/>
              <a:ext cx="2001" cy="2002"/>
            </a:xfrm>
            <a:custGeom>
              <a:avLst/>
              <a:gdLst>
                <a:gd name="connsiteX0" fmla="*/ 0 w 2001"/>
                <a:gd name="connsiteY0" fmla="*/ 0 h 2002"/>
                <a:gd name="connsiteX1" fmla="*/ 0 w 2001"/>
                <a:gd name="connsiteY1" fmla="*/ 0 h 2002"/>
                <a:gd name="connsiteX2" fmla="*/ 0 w 2001"/>
                <a:gd name="connsiteY2" fmla="*/ 0 h 2002"/>
                <a:gd name="connsiteX3" fmla="*/ 0 w 2001"/>
                <a:gd name="connsiteY3" fmla="*/ 0 h 2002"/>
                <a:gd name="connsiteX4" fmla="*/ 0 w 2001"/>
                <a:gd name="connsiteY4" fmla="*/ 0 h 2002"/>
                <a:gd name="connsiteX5" fmla="*/ 0 w 2001"/>
                <a:gd name="connsiteY5" fmla="*/ 0 h 2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01" h="200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7DF46829-D528-9177-FE87-B1F9EDF16B58}"/>
                </a:ext>
              </a:extLst>
            </p:cNvPr>
            <p:cNvSpPr/>
            <p:nvPr/>
          </p:nvSpPr>
          <p:spPr>
            <a:xfrm>
              <a:off x="2518093" y="2782729"/>
              <a:ext cx="1608424" cy="490658"/>
            </a:xfrm>
            <a:custGeom>
              <a:avLst/>
              <a:gdLst>
                <a:gd name="connsiteX0" fmla="*/ 1164736 w 1608424"/>
                <a:gd name="connsiteY0" fmla="*/ 488356 h 490658"/>
                <a:gd name="connsiteX1" fmla="*/ 1191294 w 1608424"/>
                <a:gd name="connsiteY1" fmla="*/ 490518 h 490658"/>
                <a:gd name="connsiteX2" fmla="*/ 1197958 w 1608424"/>
                <a:gd name="connsiteY2" fmla="*/ 490638 h 490658"/>
                <a:gd name="connsiteX3" fmla="*/ 1205003 w 1608424"/>
                <a:gd name="connsiteY3" fmla="*/ 490658 h 490658"/>
                <a:gd name="connsiteX4" fmla="*/ 1369032 w 1608424"/>
                <a:gd name="connsiteY4" fmla="*/ 490658 h 490658"/>
                <a:gd name="connsiteX5" fmla="*/ 1375516 w 1608424"/>
                <a:gd name="connsiteY5" fmla="*/ 490398 h 490658"/>
                <a:gd name="connsiteX6" fmla="*/ 1388245 w 1608424"/>
                <a:gd name="connsiteY6" fmla="*/ 489457 h 490658"/>
                <a:gd name="connsiteX7" fmla="*/ 1479245 w 1608424"/>
                <a:gd name="connsiteY7" fmla="*/ 446931 h 490658"/>
                <a:gd name="connsiteX8" fmla="*/ 1509946 w 1608424"/>
                <a:gd name="connsiteY8" fmla="*/ 406348 h 490658"/>
                <a:gd name="connsiteX9" fmla="*/ 1519992 w 1608424"/>
                <a:gd name="connsiteY9" fmla="*/ 382903 h 490658"/>
                <a:gd name="connsiteX10" fmla="*/ 1523575 w 1608424"/>
                <a:gd name="connsiteY10" fmla="*/ 370630 h 490658"/>
                <a:gd name="connsiteX11" fmla="*/ 1524395 w 1608424"/>
                <a:gd name="connsiteY11" fmla="*/ 367547 h 490658"/>
                <a:gd name="connsiteX12" fmla="*/ 1525196 w 1608424"/>
                <a:gd name="connsiteY12" fmla="*/ 364323 h 490658"/>
                <a:gd name="connsiteX13" fmla="*/ 1526697 w 1608424"/>
                <a:gd name="connsiteY13" fmla="*/ 357356 h 490658"/>
                <a:gd name="connsiteX14" fmla="*/ 1550733 w 1608424"/>
                <a:gd name="connsiteY14" fmla="*/ 245757 h 490658"/>
                <a:gd name="connsiteX15" fmla="*/ 1562761 w 1608424"/>
                <a:gd name="connsiteY15" fmla="*/ 189957 h 490658"/>
                <a:gd name="connsiteX16" fmla="*/ 1568765 w 1608424"/>
                <a:gd name="connsiteY16" fmla="*/ 162067 h 490658"/>
                <a:gd name="connsiteX17" fmla="*/ 1570486 w 1608424"/>
                <a:gd name="connsiteY17" fmla="*/ 154379 h 490658"/>
                <a:gd name="connsiteX18" fmla="*/ 1573328 w 1608424"/>
                <a:gd name="connsiteY18" fmla="*/ 145529 h 490658"/>
                <a:gd name="connsiteX19" fmla="*/ 1577191 w 1608424"/>
                <a:gd name="connsiteY19" fmla="*/ 137080 h 490658"/>
                <a:gd name="connsiteX20" fmla="*/ 1579432 w 1608424"/>
                <a:gd name="connsiteY20" fmla="*/ 133136 h 490658"/>
                <a:gd name="connsiteX21" fmla="*/ 1581273 w 1608424"/>
                <a:gd name="connsiteY21" fmla="*/ 130073 h 490658"/>
                <a:gd name="connsiteX22" fmla="*/ 1603088 w 1608424"/>
                <a:gd name="connsiteY22" fmla="*/ 93694 h 490658"/>
                <a:gd name="connsiteX23" fmla="*/ 1608151 w 1608424"/>
                <a:gd name="connsiteY23" fmla="*/ 78998 h 490658"/>
                <a:gd name="connsiteX24" fmla="*/ 1608411 w 1608424"/>
                <a:gd name="connsiteY24" fmla="*/ 75094 h 490658"/>
                <a:gd name="connsiteX25" fmla="*/ 1608411 w 1608424"/>
                <a:gd name="connsiteY25" fmla="*/ 30787 h 490658"/>
                <a:gd name="connsiteX26" fmla="*/ 1608331 w 1608424"/>
                <a:gd name="connsiteY26" fmla="*/ 28845 h 490658"/>
                <a:gd name="connsiteX27" fmla="*/ 1607111 w 1608424"/>
                <a:gd name="connsiteY27" fmla="*/ 27383 h 490658"/>
                <a:gd name="connsiteX28" fmla="*/ 1591900 w 1608424"/>
                <a:gd name="connsiteY28" fmla="*/ 23779 h 490658"/>
                <a:gd name="connsiteX29" fmla="*/ 1584235 w 1608424"/>
                <a:gd name="connsiteY29" fmla="*/ 22198 h 490658"/>
                <a:gd name="connsiteX30" fmla="*/ 1576110 w 1608424"/>
                <a:gd name="connsiteY30" fmla="*/ 20656 h 490658"/>
                <a:gd name="connsiteX31" fmla="*/ 1565022 w 1608424"/>
                <a:gd name="connsiteY31" fmla="*/ 18694 h 490658"/>
                <a:gd name="connsiteX32" fmla="*/ 1553775 w 1608424"/>
                <a:gd name="connsiteY32" fmla="*/ 16852 h 490658"/>
                <a:gd name="connsiteX33" fmla="*/ 1531200 w 1608424"/>
                <a:gd name="connsiteY33" fmla="*/ 13488 h 490658"/>
                <a:gd name="connsiteX34" fmla="*/ 1306410 w 1608424"/>
                <a:gd name="connsiteY34" fmla="*/ 1095 h 490658"/>
                <a:gd name="connsiteX35" fmla="*/ 1081481 w 1608424"/>
                <a:gd name="connsiteY35" fmla="*/ 19935 h 490658"/>
                <a:gd name="connsiteX36" fmla="*/ 1053562 w 1608424"/>
                <a:gd name="connsiteY36" fmla="*/ 24220 h 490658"/>
                <a:gd name="connsiteX37" fmla="*/ 1025723 w 1608424"/>
                <a:gd name="connsiteY37" fmla="*/ 29025 h 490658"/>
                <a:gd name="connsiteX38" fmla="*/ 997945 w 1608424"/>
                <a:gd name="connsiteY38" fmla="*/ 34211 h 490658"/>
                <a:gd name="connsiteX39" fmla="*/ 970226 w 1608424"/>
                <a:gd name="connsiteY39" fmla="*/ 39736 h 490658"/>
                <a:gd name="connsiteX40" fmla="*/ 942588 w 1608424"/>
                <a:gd name="connsiteY40" fmla="*/ 45663 h 490658"/>
                <a:gd name="connsiteX41" fmla="*/ 915070 w 1608424"/>
                <a:gd name="connsiteY41" fmla="*/ 52090 h 490658"/>
                <a:gd name="connsiteX42" fmla="*/ 901321 w 1608424"/>
                <a:gd name="connsiteY42" fmla="*/ 55333 h 490658"/>
                <a:gd name="connsiteX43" fmla="*/ 887591 w 1608424"/>
                <a:gd name="connsiteY43" fmla="*/ 58837 h 490658"/>
                <a:gd name="connsiteX44" fmla="*/ 860153 w 1608424"/>
                <a:gd name="connsiteY44" fmla="*/ 65904 h 490658"/>
                <a:gd name="connsiteX45" fmla="*/ 856131 w 1608424"/>
                <a:gd name="connsiteY45" fmla="*/ 66845 h 490658"/>
                <a:gd name="connsiteX46" fmla="*/ 852488 w 1608424"/>
                <a:gd name="connsiteY46" fmla="*/ 67546 h 490658"/>
                <a:gd name="connsiteX47" fmla="*/ 845503 w 1608424"/>
                <a:gd name="connsiteY47" fmla="*/ 68627 h 490658"/>
                <a:gd name="connsiteX48" fmla="*/ 831974 w 1608424"/>
                <a:gd name="connsiteY48" fmla="*/ 70109 h 490658"/>
                <a:gd name="connsiteX49" fmla="*/ 825210 w 1608424"/>
                <a:gd name="connsiteY49" fmla="*/ 70609 h 490658"/>
                <a:gd name="connsiteX50" fmla="*/ 818485 w 1608424"/>
                <a:gd name="connsiteY50" fmla="*/ 70890 h 490658"/>
                <a:gd name="connsiteX51" fmla="*/ 805097 w 1608424"/>
                <a:gd name="connsiteY51" fmla="*/ 71310 h 490658"/>
                <a:gd name="connsiteX52" fmla="*/ 801294 w 1608424"/>
                <a:gd name="connsiteY52" fmla="*/ 71170 h 490658"/>
                <a:gd name="connsiteX53" fmla="*/ 797552 w 1608424"/>
                <a:gd name="connsiteY53" fmla="*/ 70970 h 490658"/>
                <a:gd name="connsiteX54" fmla="*/ 790947 w 1608424"/>
                <a:gd name="connsiteY54" fmla="*/ 70449 h 490658"/>
                <a:gd name="connsiteX55" fmla="*/ 785083 w 1608424"/>
                <a:gd name="connsiteY55" fmla="*/ 70049 h 490658"/>
                <a:gd name="connsiteX56" fmla="*/ 778199 w 1608424"/>
                <a:gd name="connsiteY56" fmla="*/ 69528 h 490658"/>
                <a:gd name="connsiteX57" fmla="*/ 764309 w 1608424"/>
                <a:gd name="connsiteY57" fmla="*/ 67846 h 490658"/>
                <a:gd name="connsiteX58" fmla="*/ 756984 w 1608424"/>
                <a:gd name="connsiteY58" fmla="*/ 66465 h 490658"/>
                <a:gd name="connsiteX59" fmla="*/ 753042 w 1608424"/>
                <a:gd name="connsiteY59" fmla="*/ 65484 h 490658"/>
                <a:gd name="connsiteX60" fmla="*/ 750860 w 1608424"/>
                <a:gd name="connsiteY60" fmla="*/ 64843 h 490658"/>
                <a:gd name="connsiteX61" fmla="*/ 749600 w 1608424"/>
                <a:gd name="connsiteY61" fmla="*/ 64423 h 490658"/>
                <a:gd name="connsiteX62" fmla="*/ 749359 w 1608424"/>
                <a:gd name="connsiteY62" fmla="*/ 64343 h 490658"/>
                <a:gd name="connsiteX63" fmla="*/ 627819 w 1608424"/>
                <a:gd name="connsiteY63" fmla="*/ 35912 h 490658"/>
                <a:gd name="connsiteX64" fmla="*/ 600080 w 1608424"/>
                <a:gd name="connsiteY64" fmla="*/ 30487 h 490658"/>
                <a:gd name="connsiteX65" fmla="*/ 572262 w 1608424"/>
                <a:gd name="connsiteY65" fmla="*/ 25601 h 490658"/>
                <a:gd name="connsiteX66" fmla="*/ 544383 w 1608424"/>
                <a:gd name="connsiteY66" fmla="*/ 21096 h 490658"/>
                <a:gd name="connsiteX67" fmla="*/ 530434 w 1608424"/>
                <a:gd name="connsiteY67" fmla="*/ 18914 h 490658"/>
                <a:gd name="connsiteX68" fmla="*/ 516444 w 1608424"/>
                <a:gd name="connsiteY68" fmla="*/ 16972 h 490658"/>
                <a:gd name="connsiteX69" fmla="*/ 404170 w 1608424"/>
                <a:gd name="connsiteY69" fmla="*/ 4879 h 490658"/>
                <a:gd name="connsiteX70" fmla="*/ 178700 w 1608424"/>
                <a:gd name="connsiteY70" fmla="*/ 3057 h 490658"/>
                <a:gd name="connsiteX71" fmla="*/ 93703 w 1608424"/>
                <a:gd name="connsiteY71" fmla="*/ 11066 h 490658"/>
                <a:gd name="connsiteX72" fmla="*/ 51555 w 1608424"/>
                <a:gd name="connsiteY72" fmla="*/ 17192 h 490658"/>
                <a:gd name="connsiteX73" fmla="*/ 41088 w 1608424"/>
                <a:gd name="connsiteY73" fmla="*/ 18974 h 490658"/>
                <a:gd name="connsiteX74" fmla="*/ 30821 w 1608424"/>
                <a:gd name="connsiteY74" fmla="*/ 20836 h 490658"/>
                <a:gd name="connsiteX75" fmla="*/ 16492 w 1608424"/>
                <a:gd name="connsiteY75" fmla="*/ 23719 h 490658"/>
                <a:gd name="connsiteX76" fmla="*/ 7425 w 1608424"/>
                <a:gd name="connsiteY76" fmla="*/ 25761 h 490658"/>
                <a:gd name="connsiteX77" fmla="*/ 5164 w 1608424"/>
                <a:gd name="connsiteY77" fmla="*/ 26302 h 490658"/>
                <a:gd name="connsiteX78" fmla="*/ 2963 w 1608424"/>
                <a:gd name="connsiteY78" fmla="*/ 27023 h 490658"/>
                <a:gd name="connsiteX79" fmla="*/ 181 w 1608424"/>
                <a:gd name="connsiteY79" fmla="*/ 30587 h 490658"/>
                <a:gd name="connsiteX80" fmla="*/ 1 w 1608424"/>
                <a:gd name="connsiteY80" fmla="*/ 32889 h 490658"/>
                <a:gd name="connsiteX81" fmla="*/ 1 w 1608424"/>
                <a:gd name="connsiteY81" fmla="*/ 75995 h 490658"/>
                <a:gd name="connsiteX82" fmla="*/ 161 w 1608424"/>
                <a:gd name="connsiteY82" fmla="*/ 78398 h 490658"/>
                <a:gd name="connsiteX83" fmla="*/ 941 w 1608424"/>
                <a:gd name="connsiteY83" fmla="*/ 83143 h 490658"/>
                <a:gd name="connsiteX84" fmla="*/ 4403 w 1608424"/>
                <a:gd name="connsiteY84" fmla="*/ 92072 h 490658"/>
                <a:gd name="connsiteX85" fmla="*/ 18553 w 1608424"/>
                <a:gd name="connsiteY85" fmla="*/ 115718 h 490658"/>
                <a:gd name="connsiteX86" fmla="*/ 25898 w 1608424"/>
                <a:gd name="connsiteY86" fmla="*/ 127951 h 490658"/>
                <a:gd name="connsiteX87" fmla="*/ 27939 w 1608424"/>
                <a:gd name="connsiteY87" fmla="*/ 131414 h 490658"/>
                <a:gd name="connsiteX88" fmla="*/ 29981 w 1608424"/>
                <a:gd name="connsiteY88" fmla="*/ 135178 h 490658"/>
                <a:gd name="connsiteX89" fmla="*/ 33623 w 1608424"/>
                <a:gd name="connsiteY89" fmla="*/ 142947 h 490658"/>
                <a:gd name="connsiteX90" fmla="*/ 39007 w 1608424"/>
                <a:gd name="connsiteY90" fmla="*/ 159224 h 490658"/>
                <a:gd name="connsiteX91" fmla="*/ 39507 w 1608424"/>
                <a:gd name="connsiteY91" fmla="*/ 161306 h 490658"/>
                <a:gd name="connsiteX92" fmla="*/ 39927 w 1608424"/>
                <a:gd name="connsiteY92" fmla="*/ 163228 h 490658"/>
                <a:gd name="connsiteX93" fmla="*/ 40688 w 1608424"/>
                <a:gd name="connsiteY93" fmla="*/ 166712 h 490658"/>
                <a:gd name="connsiteX94" fmla="*/ 42189 w 1608424"/>
                <a:gd name="connsiteY94" fmla="*/ 173679 h 490658"/>
                <a:gd name="connsiteX95" fmla="*/ 48193 w 1608424"/>
                <a:gd name="connsiteY95" fmla="*/ 201569 h 490658"/>
                <a:gd name="connsiteX96" fmla="*/ 60221 w 1608424"/>
                <a:gd name="connsiteY96" fmla="*/ 257369 h 490658"/>
                <a:gd name="connsiteX97" fmla="*/ 72249 w 1608424"/>
                <a:gd name="connsiteY97" fmla="*/ 313169 h 490658"/>
                <a:gd name="connsiteX98" fmla="*/ 78253 w 1608424"/>
                <a:gd name="connsiteY98" fmla="*/ 341058 h 490658"/>
                <a:gd name="connsiteX99" fmla="*/ 81255 w 1608424"/>
                <a:gd name="connsiteY99" fmla="*/ 355013 h 490658"/>
                <a:gd name="connsiteX100" fmla="*/ 82756 w 1608424"/>
                <a:gd name="connsiteY100" fmla="*/ 361981 h 490658"/>
                <a:gd name="connsiteX101" fmla="*/ 83516 w 1608424"/>
                <a:gd name="connsiteY101" fmla="*/ 365464 h 490658"/>
                <a:gd name="connsiteX102" fmla="*/ 84337 w 1608424"/>
                <a:gd name="connsiteY102" fmla="*/ 368548 h 490658"/>
                <a:gd name="connsiteX103" fmla="*/ 103750 w 1608424"/>
                <a:gd name="connsiteY103" fmla="*/ 415598 h 490658"/>
                <a:gd name="connsiteX104" fmla="*/ 137232 w 1608424"/>
                <a:gd name="connsiteY104" fmla="*/ 453939 h 490658"/>
                <a:gd name="connsiteX105" fmla="*/ 181101 w 1608424"/>
                <a:gd name="connsiteY105" fmla="*/ 479726 h 490658"/>
                <a:gd name="connsiteX106" fmla="*/ 230854 w 1608424"/>
                <a:gd name="connsiteY106" fmla="*/ 490258 h 490658"/>
                <a:gd name="connsiteX107" fmla="*/ 237238 w 1608424"/>
                <a:gd name="connsiteY107" fmla="*/ 490538 h 490658"/>
                <a:gd name="connsiteX108" fmla="*/ 240661 w 1608424"/>
                <a:gd name="connsiteY108" fmla="*/ 490598 h 490658"/>
                <a:gd name="connsiteX109" fmla="*/ 408252 w 1608424"/>
                <a:gd name="connsiteY109" fmla="*/ 490598 h 490658"/>
                <a:gd name="connsiteX110" fmla="*/ 414977 w 1608424"/>
                <a:gd name="connsiteY110" fmla="*/ 490478 h 490658"/>
                <a:gd name="connsiteX111" fmla="*/ 428286 w 1608424"/>
                <a:gd name="connsiteY111" fmla="*/ 489877 h 490658"/>
                <a:gd name="connsiteX112" fmla="*/ 454723 w 1608424"/>
                <a:gd name="connsiteY112" fmla="*/ 486574 h 490658"/>
                <a:gd name="connsiteX113" fmla="*/ 553189 w 1608424"/>
                <a:gd name="connsiteY113" fmla="*/ 447592 h 490658"/>
                <a:gd name="connsiteX114" fmla="*/ 628299 w 1608424"/>
                <a:gd name="connsiteY114" fmla="*/ 372912 h 490658"/>
                <a:gd name="connsiteX115" fmla="*/ 641848 w 1608424"/>
                <a:gd name="connsiteY115" fmla="*/ 349968 h 490658"/>
                <a:gd name="connsiteX116" fmla="*/ 647772 w 1608424"/>
                <a:gd name="connsiteY116" fmla="*/ 338015 h 490658"/>
                <a:gd name="connsiteX117" fmla="*/ 650474 w 1608424"/>
                <a:gd name="connsiteY117" fmla="*/ 331909 h 490658"/>
                <a:gd name="connsiteX118" fmla="*/ 653135 w 1608424"/>
                <a:gd name="connsiteY118" fmla="*/ 325662 h 490658"/>
                <a:gd name="connsiteX119" fmla="*/ 674810 w 1608424"/>
                <a:gd name="connsiteY119" fmla="*/ 272865 h 490658"/>
                <a:gd name="connsiteX120" fmla="*/ 699646 w 1608424"/>
                <a:gd name="connsiteY120" fmla="*/ 212381 h 490658"/>
                <a:gd name="connsiteX121" fmla="*/ 705710 w 1608424"/>
                <a:gd name="connsiteY121" fmla="*/ 200308 h 490658"/>
                <a:gd name="connsiteX122" fmla="*/ 714376 w 1608424"/>
                <a:gd name="connsiteY122" fmla="*/ 189977 h 490658"/>
                <a:gd name="connsiteX123" fmla="*/ 725303 w 1608424"/>
                <a:gd name="connsiteY123" fmla="*/ 182108 h 490658"/>
                <a:gd name="connsiteX124" fmla="*/ 731407 w 1608424"/>
                <a:gd name="connsiteY124" fmla="*/ 179225 h 490658"/>
                <a:gd name="connsiteX125" fmla="*/ 737812 w 1608424"/>
                <a:gd name="connsiteY125" fmla="*/ 176983 h 490658"/>
                <a:gd name="connsiteX126" fmla="*/ 744216 w 1608424"/>
                <a:gd name="connsiteY126" fmla="*/ 175001 h 490658"/>
                <a:gd name="connsiteX127" fmla="*/ 747418 w 1608424"/>
                <a:gd name="connsiteY127" fmla="*/ 174080 h 490658"/>
                <a:gd name="connsiteX128" fmla="*/ 750120 w 1608424"/>
                <a:gd name="connsiteY128" fmla="*/ 173379 h 490658"/>
                <a:gd name="connsiteX129" fmla="*/ 760987 w 1608424"/>
                <a:gd name="connsiteY129" fmla="*/ 170816 h 490658"/>
                <a:gd name="connsiteX130" fmla="*/ 783102 w 1608424"/>
                <a:gd name="connsiteY130" fmla="*/ 167353 h 490658"/>
                <a:gd name="connsiteX131" fmla="*/ 828152 w 1608424"/>
                <a:gd name="connsiteY131" fmla="*/ 167433 h 490658"/>
                <a:gd name="connsiteX132" fmla="*/ 839379 w 1608424"/>
                <a:gd name="connsiteY132" fmla="*/ 169075 h 490658"/>
                <a:gd name="connsiteX133" fmla="*/ 850507 w 1608424"/>
                <a:gd name="connsiteY133" fmla="*/ 171377 h 490658"/>
                <a:gd name="connsiteX134" fmla="*/ 856030 w 1608424"/>
                <a:gd name="connsiteY134" fmla="*/ 172718 h 490658"/>
                <a:gd name="connsiteX135" fmla="*/ 861494 w 1608424"/>
                <a:gd name="connsiteY135" fmla="*/ 174340 h 490658"/>
                <a:gd name="connsiteX136" fmla="*/ 867358 w 1608424"/>
                <a:gd name="connsiteY136" fmla="*/ 176162 h 490658"/>
                <a:gd name="connsiteX137" fmla="*/ 873702 w 1608424"/>
                <a:gd name="connsiteY137" fmla="*/ 178605 h 490658"/>
                <a:gd name="connsiteX138" fmla="*/ 878085 w 1608424"/>
                <a:gd name="connsiteY138" fmla="*/ 180327 h 490658"/>
                <a:gd name="connsiteX139" fmla="*/ 882408 w 1608424"/>
                <a:gd name="connsiteY139" fmla="*/ 182169 h 490658"/>
                <a:gd name="connsiteX140" fmla="*/ 890353 w 1608424"/>
                <a:gd name="connsiteY140" fmla="*/ 187114 h 490658"/>
                <a:gd name="connsiteX141" fmla="*/ 903022 w 1608424"/>
                <a:gd name="connsiteY141" fmla="*/ 200808 h 490658"/>
                <a:gd name="connsiteX142" fmla="*/ 911027 w 1608424"/>
                <a:gd name="connsiteY142" fmla="*/ 217827 h 490658"/>
                <a:gd name="connsiteX143" fmla="*/ 916491 w 1608424"/>
                <a:gd name="connsiteY143" fmla="*/ 231141 h 490658"/>
                <a:gd name="connsiteX144" fmla="*/ 938165 w 1608424"/>
                <a:gd name="connsiteY144" fmla="*/ 283937 h 490658"/>
                <a:gd name="connsiteX145" fmla="*/ 949012 w 1608424"/>
                <a:gd name="connsiteY145" fmla="*/ 310345 h 490658"/>
                <a:gd name="connsiteX146" fmla="*/ 959759 w 1608424"/>
                <a:gd name="connsiteY146" fmla="*/ 336073 h 490658"/>
                <a:gd name="connsiteX147" fmla="*/ 971988 w 1608424"/>
                <a:gd name="connsiteY147" fmla="*/ 359758 h 490658"/>
                <a:gd name="connsiteX148" fmla="*/ 978932 w 1608424"/>
                <a:gd name="connsiteY148" fmla="*/ 371130 h 490658"/>
                <a:gd name="connsiteX149" fmla="*/ 986517 w 1608424"/>
                <a:gd name="connsiteY149" fmla="*/ 382082 h 490658"/>
                <a:gd name="connsiteX150" fmla="*/ 1064709 w 1608424"/>
                <a:gd name="connsiteY150" fmla="*/ 453518 h 490658"/>
                <a:gd name="connsiteX151" fmla="*/ 1112941 w 1608424"/>
                <a:gd name="connsiteY151" fmla="*/ 476043 h 490658"/>
                <a:gd name="connsiteX152" fmla="*/ 1164736 w 1608424"/>
                <a:gd name="connsiteY152" fmla="*/ 488276 h 490658"/>
                <a:gd name="connsiteX153" fmla="*/ 1017378 w 1608424"/>
                <a:gd name="connsiteY153" fmla="*/ 359758 h 490658"/>
                <a:gd name="connsiteX154" fmla="*/ 1010894 w 1608424"/>
                <a:gd name="connsiteY154" fmla="*/ 350388 h 490658"/>
                <a:gd name="connsiteX155" fmla="*/ 1004970 w 1608424"/>
                <a:gd name="connsiteY155" fmla="*/ 340658 h 490658"/>
                <a:gd name="connsiteX156" fmla="*/ 994523 w 1608424"/>
                <a:gd name="connsiteY156" fmla="*/ 320416 h 490658"/>
                <a:gd name="connsiteX157" fmla="*/ 992261 w 1608424"/>
                <a:gd name="connsiteY157" fmla="*/ 315171 h 490658"/>
                <a:gd name="connsiteX158" fmla="*/ 991681 w 1608424"/>
                <a:gd name="connsiteY158" fmla="*/ 313869 h 490658"/>
                <a:gd name="connsiteX159" fmla="*/ 991060 w 1608424"/>
                <a:gd name="connsiteY159" fmla="*/ 312408 h 490658"/>
                <a:gd name="connsiteX160" fmla="*/ 989699 w 1608424"/>
                <a:gd name="connsiteY160" fmla="*/ 309104 h 490658"/>
                <a:gd name="connsiteX161" fmla="*/ 984276 w 1608424"/>
                <a:gd name="connsiteY161" fmla="*/ 295910 h 490658"/>
                <a:gd name="connsiteX162" fmla="*/ 973429 w 1608424"/>
                <a:gd name="connsiteY162" fmla="*/ 269502 h 490658"/>
                <a:gd name="connsiteX163" fmla="*/ 951754 w 1608424"/>
                <a:gd name="connsiteY163" fmla="*/ 216705 h 490658"/>
                <a:gd name="connsiteX164" fmla="*/ 946191 w 1608424"/>
                <a:gd name="connsiteY164" fmla="*/ 203171 h 490658"/>
                <a:gd name="connsiteX165" fmla="*/ 940607 w 1608424"/>
                <a:gd name="connsiteY165" fmla="*/ 190057 h 490658"/>
                <a:gd name="connsiteX166" fmla="*/ 933562 w 1608424"/>
                <a:gd name="connsiteY166" fmla="*/ 177904 h 490658"/>
                <a:gd name="connsiteX167" fmla="*/ 914409 w 1608424"/>
                <a:gd name="connsiteY167" fmla="*/ 157562 h 490658"/>
                <a:gd name="connsiteX168" fmla="*/ 902742 w 1608424"/>
                <a:gd name="connsiteY168" fmla="*/ 149814 h 490658"/>
                <a:gd name="connsiteX169" fmla="*/ 896317 w 1608424"/>
                <a:gd name="connsiteY169" fmla="*/ 146891 h 490658"/>
                <a:gd name="connsiteX170" fmla="*/ 889753 w 1608424"/>
                <a:gd name="connsiteY170" fmla="*/ 144208 h 490658"/>
                <a:gd name="connsiteX171" fmla="*/ 880287 w 1608424"/>
                <a:gd name="connsiteY171" fmla="*/ 140364 h 490658"/>
                <a:gd name="connsiteX172" fmla="*/ 875844 w 1608424"/>
                <a:gd name="connsiteY172" fmla="*/ 138942 h 490658"/>
                <a:gd name="connsiteX173" fmla="*/ 872441 w 1608424"/>
                <a:gd name="connsiteY173" fmla="*/ 137901 h 490658"/>
                <a:gd name="connsiteX174" fmla="*/ 865877 w 1608424"/>
                <a:gd name="connsiteY174" fmla="*/ 135979 h 490658"/>
                <a:gd name="connsiteX175" fmla="*/ 859233 w 1608424"/>
                <a:gd name="connsiteY175" fmla="*/ 134357 h 490658"/>
                <a:gd name="connsiteX176" fmla="*/ 845864 w 1608424"/>
                <a:gd name="connsiteY176" fmla="*/ 131595 h 490658"/>
                <a:gd name="connsiteX177" fmla="*/ 832415 w 1608424"/>
                <a:gd name="connsiteY177" fmla="*/ 129632 h 490658"/>
                <a:gd name="connsiteX178" fmla="*/ 778979 w 1608424"/>
                <a:gd name="connsiteY178" fmla="*/ 129512 h 490658"/>
                <a:gd name="connsiteX179" fmla="*/ 753102 w 1608424"/>
                <a:gd name="connsiteY179" fmla="*/ 133577 h 490658"/>
                <a:gd name="connsiteX180" fmla="*/ 740454 w 1608424"/>
                <a:gd name="connsiteY180" fmla="*/ 136560 h 490658"/>
                <a:gd name="connsiteX181" fmla="*/ 737311 w 1608424"/>
                <a:gd name="connsiteY181" fmla="*/ 137381 h 490658"/>
                <a:gd name="connsiteX182" fmla="*/ 732608 w 1608424"/>
                <a:gd name="connsiteY182" fmla="*/ 138722 h 490658"/>
                <a:gd name="connsiteX183" fmla="*/ 723122 w 1608424"/>
                <a:gd name="connsiteY183" fmla="*/ 141805 h 490658"/>
                <a:gd name="connsiteX184" fmla="*/ 665524 w 1608424"/>
                <a:gd name="connsiteY184" fmla="*/ 195082 h 490658"/>
                <a:gd name="connsiteX185" fmla="*/ 639506 w 1608424"/>
                <a:gd name="connsiteY185" fmla="*/ 258470 h 490658"/>
                <a:gd name="connsiteX186" fmla="*/ 617832 w 1608424"/>
                <a:gd name="connsiteY186" fmla="*/ 311266 h 490658"/>
                <a:gd name="connsiteX187" fmla="*/ 617151 w 1608424"/>
                <a:gd name="connsiteY187" fmla="*/ 312908 h 490658"/>
                <a:gd name="connsiteX188" fmla="*/ 616571 w 1608424"/>
                <a:gd name="connsiteY188" fmla="*/ 314250 h 490658"/>
                <a:gd name="connsiteX189" fmla="*/ 615430 w 1608424"/>
                <a:gd name="connsiteY189" fmla="*/ 316872 h 490658"/>
                <a:gd name="connsiteX190" fmla="*/ 613129 w 1608424"/>
                <a:gd name="connsiteY190" fmla="*/ 322098 h 490658"/>
                <a:gd name="connsiteX191" fmla="*/ 608065 w 1608424"/>
                <a:gd name="connsiteY191" fmla="*/ 332309 h 490658"/>
                <a:gd name="connsiteX192" fmla="*/ 596478 w 1608424"/>
                <a:gd name="connsiteY192" fmla="*/ 351910 h 490658"/>
                <a:gd name="connsiteX193" fmla="*/ 532275 w 1608424"/>
                <a:gd name="connsiteY193" fmla="*/ 415738 h 490658"/>
                <a:gd name="connsiteX194" fmla="*/ 448119 w 1608424"/>
                <a:gd name="connsiteY194" fmla="*/ 449054 h 490658"/>
                <a:gd name="connsiteX195" fmla="*/ 425524 w 1608424"/>
                <a:gd name="connsiteY195" fmla="*/ 451877 h 490658"/>
                <a:gd name="connsiteX196" fmla="*/ 414136 w 1608424"/>
                <a:gd name="connsiteY196" fmla="*/ 452377 h 490658"/>
                <a:gd name="connsiteX197" fmla="*/ 408232 w 1608424"/>
                <a:gd name="connsiteY197" fmla="*/ 452477 h 490658"/>
                <a:gd name="connsiteX198" fmla="*/ 238860 w 1608424"/>
                <a:gd name="connsiteY198" fmla="*/ 452477 h 490658"/>
                <a:gd name="connsiteX199" fmla="*/ 238119 w 1608424"/>
                <a:gd name="connsiteY199" fmla="*/ 452457 h 490658"/>
                <a:gd name="connsiteX200" fmla="*/ 237519 w 1608424"/>
                <a:gd name="connsiteY200" fmla="*/ 452417 h 490658"/>
                <a:gd name="connsiteX201" fmla="*/ 232655 w 1608424"/>
                <a:gd name="connsiteY201" fmla="*/ 452177 h 490658"/>
                <a:gd name="connsiteX202" fmla="*/ 161588 w 1608424"/>
                <a:gd name="connsiteY202" fmla="*/ 424628 h 490658"/>
                <a:gd name="connsiteX203" fmla="*/ 136131 w 1608424"/>
                <a:gd name="connsiteY203" fmla="*/ 395516 h 490658"/>
                <a:gd name="connsiteX204" fmla="*/ 121421 w 1608424"/>
                <a:gd name="connsiteY204" fmla="*/ 359778 h 490658"/>
                <a:gd name="connsiteX205" fmla="*/ 120761 w 1608424"/>
                <a:gd name="connsiteY205" fmla="*/ 357436 h 490658"/>
                <a:gd name="connsiteX206" fmla="*/ 120000 w 1608424"/>
                <a:gd name="connsiteY206" fmla="*/ 353952 h 490658"/>
                <a:gd name="connsiteX207" fmla="*/ 118499 w 1608424"/>
                <a:gd name="connsiteY207" fmla="*/ 346985 h 490658"/>
                <a:gd name="connsiteX208" fmla="*/ 115497 w 1608424"/>
                <a:gd name="connsiteY208" fmla="*/ 333030 h 490658"/>
                <a:gd name="connsiteX209" fmla="*/ 109493 w 1608424"/>
                <a:gd name="connsiteY209" fmla="*/ 305140 h 490658"/>
                <a:gd name="connsiteX210" fmla="*/ 97465 w 1608424"/>
                <a:gd name="connsiteY210" fmla="*/ 249340 h 490658"/>
                <a:gd name="connsiteX211" fmla="*/ 85437 w 1608424"/>
                <a:gd name="connsiteY211" fmla="*/ 193541 h 490658"/>
                <a:gd name="connsiteX212" fmla="*/ 79433 w 1608424"/>
                <a:gd name="connsiteY212" fmla="*/ 165651 h 490658"/>
                <a:gd name="connsiteX213" fmla="*/ 77932 w 1608424"/>
                <a:gd name="connsiteY213" fmla="*/ 158683 h 490658"/>
                <a:gd name="connsiteX214" fmla="*/ 77172 w 1608424"/>
                <a:gd name="connsiteY214" fmla="*/ 155200 h 490658"/>
                <a:gd name="connsiteX215" fmla="*/ 76672 w 1608424"/>
                <a:gd name="connsiteY215" fmla="*/ 152897 h 490658"/>
                <a:gd name="connsiteX216" fmla="*/ 76011 w 1608424"/>
                <a:gd name="connsiteY216" fmla="*/ 150074 h 490658"/>
                <a:gd name="connsiteX217" fmla="*/ 68746 w 1608424"/>
                <a:gd name="connsiteY217" fmla="*/ 128131 h 490658"/>
                <a:gd name="connsiteX218" fmla="*/ 63843 w 1608424"/>
                <a:gd name="connsiteY218" fmla="*/ 117660 h 490658"/>
                <a:gd name="connsiteX219" fmla="*/ 61081 w 1608424"/>
                <a:gd name="connsiteY219" fmla="*/ 112574 h 490658"/>
                <a:gd name="connsiteX220" fmla="*/ 58580 w 1608424"/>
                <a:gd name="connsiteY220" fmla="*/ 108310 h 490658"/>
                <a:gd name="connsiteX221" fmla="*/ 51235 w 1608424"/>
                <a:gd name="connsiteY221" fmla="*/ 96077 h 490658"/>
                <a:gd name="connsiteX222" fmla="*/ 38106 w 1608424"/>
                <a:gd name="connsiteY222" fmla="*/ 74193 h 490658"/>
                <a:gd name="connsiteX223" fmla="*/ 38106 w 1608424"/>
                <a:gd name="connsiteY223" fmla="*/ 74193 h 490658"/>
                <a:gd name="connsiteX224" fmla="*/ 38106 w 1608424"/>
                <a:gd name="connsiteY224" fmla="*/ 74173 h 490658"/>
                <a:gd name="connsiteX225" fmla="*/ 38106 w 1608424"/>
                <a:gd name="connsiteY225" fmla="*/ 58236 h 490658"/>
                <a:gd name="connsiteX226" fmla="*/ 38186 w 1608424"/>
                <a:gd name="connsiteY226" fmla="*/ 58236 h 490658"/>
                <a:gd name="connsiteX227" fmla="*/ 47652 w 1608424"/>
                <a:gd name="connsiteY227" fmla="*/ 56514 h 490658"/>
                <a:gd name="connsiteX228" fmla="*/ 57739 w 1608424"/>
                <a:gd name="connsiteY228" fmla="*/ 54813 h 490658"/>
                <a:gd name="connsiteX229" fmla="*/ 98466 w 1608424"/>
                <a:gd name="connsiteY229" fmla="*/ 48886 h 490658"/>
                <a:gd name="connsiteX230" fmla="*/ 181081 w 1608424"/>
                <a:gd name="connsiteY230" fmla="*/ 41098 h 490658"/>
                <a:gd name="connsiteX231" fmla="*/ 401268 w 1608424"/>
                <a:gd name="connsiteY231" fmla="*/ 42900 h 490658"/>
                <a:gd name="connsiteX232" fmla="*/ 511181 w 1608424"/>
                <a:gd name="connsiteY232" fmla="*/ 54752 h 490658"/>
                <a:gd name="connsiteX233" fmla="*/ 524890 w 1608424"/>
                <a:gd name="connsiteY233" fmla="*/ 56654 h 490658"/>
                <a:gd name="connsiteX234" fmla="*/ 538559 w 1608424"/>
                <a:gd name="connsiteY234" fmla="*/ 58797 h 490658"/>
                <a:gd name="connsiteX235" fmla="*/ 565877 w 1608424"/>
                <a:gd name="connsiteY235" fmla="*/ 63221 h 490658"/>
                <a:gd name="connsiteX236" fmla="*/ 593135 w 1608424"/>
                <a:gd name="connsiteY236" fmla="*/ 68007 h 490658"/>
                <a:gd name="connsiteX237" fmla="*/ 620314 w 1608424"/>
                <a:gd name="connsiteY237" fmla="*/ 73312 h 490658"/>
                <a:gd name="connsiteX238" fmla="*/ 738492 w 1608424"/>
                <a:gd name="connsiteY238" fmla="*/ 100942 h 490658"/>
                <a:gd name="connsiteX239" fmla="*/ 739373 w 1608424"/>
                <a:gd name="connsiteY239" fmla="*/ 101242 h 490658"/>
                <a:gd name="connsiteX240" fmla="*/ 742915 w 1608424"/>
                <a:gd name="connsiteY240" fmla="*/ 102283 h 490658"/>
                <a:gd name="connsiteX241" fmla="*/ 744496 w 1608424"/>
                <a:gd name="connsiteY241" fmla="*/ 102704 h 490658"/>
                <a:gd name="connsiteX242" fmla="*/ 745937 w 1608424"/>
                <a:gd name="connsiteY242" fmla="*/ 103064 h 490658"/>
                <a:gd name="connsiteX243" fmla="*/ 748659 w 1608424"/>
                <a:gd name="connsiteY243" fmla="*/ 103705 h 490658"/>
                <a:gd name="connsiteX244" fmla="*/ 758245 w 1608424"/>
                <a:gd name="connsiteY244" fmla="*/ 105527 h 490658"/>
                <a:gd name="connsiteX245" fmla="*/ 774856 w 1608424"/>
                <a:gd name="connsiteY245" fmla="*/ 107549 h 490658"/>
                <a:gd name="connsiteX246" fmla="*/ 782942 w 1608424"/>
                <a:gd name="connsiteY246" fmla="*/ 108149 h 490658"/>
                <a:gd name="connsiteX247" fmla="*/ 785323 w 1608424"/>
                <a:gd name="connsiteY247" fmla="*/ 108290 h 490658"/>
                <a:gd name="connsiteX248" fmla="*/ 787865 w 1608424"/>
                <a:gd name="connsiteY248" fmla="*/ 108490 h 490658"/>
                <a:gd name="connsiteX249" fmla="*/ 795050 w 1608424"/>
                <a:gd name="connsiteY249" fmla="*/ 109050 h 490658"/>
                <a:gd name="connsiteX250" fmla="*/ 799993 w 1608424"/>
                <a:gd name="connsiteY250" fmla="*/ 109311 h 490658"/>
                <a:gd name="connsiteX251" fmla="*/ 805117 w 1608424"/>
                <a:gd name="connsiteY251" fmla="*/ 109471 h 490658"/>
                <a:gd name="connsiteX252" fmla="*/ 820006 w 1608424"/>
                <a:gd name="connsiteY252" fmla="*/ 109010 h 490658"/>
                <a:gd name="connsiteX253" fmla="*/ 827572 w 1608424"/>
                <a:gd name="connsiteY253" fmla="*/ 108690 h 490658"/>
                <a:gd name="connsiteX254" fmla="*/ 831534 w 1608424"/>
                <a:gd name="connsiteY254" fmla="*/ 108410 h 490658"/>
                <a:gd name="connsiteX255" fmla="*/ 835237 w 1608424"/>
                <a:gd name="connsiteY255" fmla="*/ 108109 h 490658"/>
                <a:gd name="connsiteX256" fmla="*/ 850667 w 1608424"/>
                <a:gd name="connsiteY256" fmla="*/ 106428 h 490658"/>
                <a:gd name="connsiteX257" fmla="*/ 859133 w 1608424"/>
                <a:gd name="connsiteY257" fmla="*/ 105106 h 490658"/>
                <a:gd name="connsiteX258" fmla="*/ 863896 w 1608424"/>
                <a:gd name="connsiteY258" fmla="*/ 104205 h 490658"/>
                <a:gd name="connsiteX259" fmla="*/ 866778 w 1608424"/>
                <a:gd name="connsiteY259" fmla="*/ 103585 h 490658"/>
                <a:gd name="connsiteX260" fmla="*/ 869860 w 1608424"/>
                <a:gd name="connsiteY260" fmla="*/ 102824 h 490658"/>
                <a:gd name="connsiteX261" fmla="*/ 896918 w 1608424"/>
                <a:gd name="connsiteY261" fmla="*/ 95856 h 490658"/>
                <a:gd name="connsiteX262" fmla="*/ 910447 w 1608424"/>
                <a:gd name="connsiteY262" fmla="*/ 92393 h 490658"/>
                <a:gd name="connsiteX263" fmla="*/ 923936 w 1608424"/>
                <a:gd name="connsiteY263" fmla="*/ 89209 h 490658"/>
                <a:gd name="connsiteX264" fmla="*/ 950934 w 1608424"/>
                <a:gd name="connsiteY264" fmla="*/ 82903 h 490658"/>
                <a:gd name="connsiteX265" fmla="*/ 978032 w 1608424"/>
                <a:gd name="connsiteY265" fmla="*/ 77096 h 490658"/>
                <a:gd name="connsiteX266" fmla="*/ 1005190 w 1608424"/>
                <a:gd name="connsiteY266" fmla="*/ 71671 h 490658"/>
                <a:gd name="connsiteX267" fmla="*/ 1032408 w 1608424"/>
                <a:gd name="connsiteY267" fmla="*/ 66605 h 490658"/>
                <a:gd name="connsiteX268" fmla="*/ 1059686 w 1608424"/>
                <a:gd name="connsiteY268" fmla="*/ 61900 h 490658"/>
                <a:gd name="connsiteX269" fmla="*/ 1087044 w 1608424"/>
                <a:gd name="connsiteY269" fmla="*/ 57696 h 490658"/>
                <a:gd name="connsiteX270" fmla="*/ 1307111 w 1608424"/>
                <a:gd name="connsiteY270" fmla="*/ 39256 h 490658"/>
                <a:gd name="connsiteX271" fmla="*/ 1525976 w 1608424"/>
                <a:gd name="connsiteY271" fmla="*/ 51289 h 490658"/>
                <a:gd name="connsiteX272" fmla="*/ 1547771 w 1608424"/>
                <a:gd name="connsiteY272" fmla="*/ 54532 h 490658"/>
                <a:gd name="connsiteX273" fmla="*/ 1558598 w 1608424"/>
                <a:gd name="connsiteY273" fmla="*/ 56314 h 490658"/>
                <a:gd name="connsiteX274" fmla="*/ 1568965 w 1608424"/>
                <a:gd name="connsiteY274" fmla="*/ 58136 h 490658"/>
                <a:gd name="connsiteX275" fmla="*/ 1570306 w 1608424"/>
                <a:gd name="connsiteY275" fmla="*/ 58396 h 490658"/>
                <a:gd name="connsiteX276" fmla="*/ 1570306 w 1608424"/>
                <a:gd name="connsiteY276" fmla="*/ 74273 h 490658"/>
                <a:gd name="connsiteX277" fmla="*/ 1570306 w 1608424"/>
                <a:gd name="connsiteY277" fmla="*/ 74273 h 490658"/>
                <a:gd name="connsiteX278" fmla="*/ 1548592 w 1608424"/>
                <a:gd name="connsiteY278" fmla="*/ 110472 h 490658"/>
                <a:gd name="connsiteX279" fmla="*/ 1546750 w 1608424"/>
                <a:gd name="connsiteY279" fmla="*/ 113535 h 490658"/>
                <a:gd name="connsiteX280" fmla="*/ 1545189 w 1608424"/>
                <a:gd name="connsiteY280" fmla="*/ 116198 h 490658"/>
                <a:gd name="connsiteX281" fmla="*/ 1543528 w 1608424"/>
                <a:gd name="connsiteY281" fmla="*/ 119221 h 490658"/>
                <a:gd name="connsiteX282" fmla="*/ 1537804 w 1608424"/>
                <a:gd name="connsiteY282" fmla="*/ 131755 h 490658"/>
                <a:gd name="connsiteX283" fmla="*/ 1533582 w 1608424"/>
                <a:gd name="connsiteY283" fmla="*/ 144869 h 490658"/>
                <a:gd name="connsiteX284" fmla="*/ 1532781 w 1608424"/>
                <a:gd name="connsiteY284" fmla="*/ 148212 h 490658"/>
                <a:gd name="connsiteX285" fmla="*/ 1532261 w 1608424"/>
                <a:gd name="connsiteY285" fmla="*/ 150575 h 490658"/>
                <a:gd name="connsiteX286" fmla="*/ 1531500 w 1608424"/>
                <a:gd name="connsiteY286" fmla="*/ 154059 h 490658"/>
                <a:gd name="connsiteX287" fmla="*/ 1525496 w 1608424"/>
                <a:gd name="connsiteY287" fmla="*/ 181948 h 490658"/>
                <a:gd name="connsiteX288" fmla="*/ 1513468 w 1608424"/>
                <a:gd name="connsiteY288" fmla="*/ 237748 h 490658"/>
                <a:gd name="connsiteX289" fmla="*/ 1489432 w 1608424"/>
                <a:gd name="connsiteY289" fmla="*/ 349347 h 490658"/>
                <a:gd name="connsiteX290" fmla="*/ 1487931 w 1608424"/>
                <a:gd name="connsiteY290" fmla="*/ 356315 h 490658"/>
                <a:gd name="connsiteX291" fmla="*/ 1487251 w 1608424"/>
                <a:gd name="connsiteY291" fmla="*/ 359037 h 490658"/>
                <a:gd name="connsiteX292" fmla="*/ 1486610 w 1608424"/>
                <a:gd name="connsiteY292" fmla="*/ 361380 h 490658"/>
                <a:gd name="connsiteX293" fmla="*/ 1483888 w 1608424"/>
                <a:gd name="connsiteY293" fmla="*/ 370710 h 490658"/>
                <a:gd name="connsiteX294" fmla="*/ 1476283 w 1608424"/>
                <a:gd name="connsiteY294" fmla="*/ 388509 h 490658"/>
                <a:gd name="connsiteX295" fmla="*/ 1452988 w 1608424"/>
                <a:gd name="connsiteY295" fmla="*/ 419342 h 490658"/>
                <a:gd name="connsiteX296" fmla="*/ 1383902 w 1608424"/>
                <a:gd name="connsiteY296" fmla="*/ 451616 h 490658"/>
                <a:gd name="connsiteX297" fmla="*/ 1374215 w 1608424"/>
                <a:gd name="connsiteY297" fmla="*/ 452317 h 490658"/>
                <a:gd name="connsiteX298" fmla="*/ 1371794 w 1608424"/>
                <a:gd name="connsiteY298" fmla="*/ 452437 h 490658"/>
                <a:gd name="connsiteX299" fmla="*/ 1370573 w 1608424"/>
                <a:gd name="connsiteY299" fmla="*/ 452517 h 490658"/>
                <a:gd name="connsiteX300" fmla="*/ 1369953 w 1608424"/>
                <a:gd name="connsiteY300" fmla="*/ 452557 h 490658"/>
                <a:gd name="connsiteX301" fmla="*/ 1201460 w 1608424"/>
                <a:gd name="connsiteY301" fmla="*/ 452557 h 490658"/>
                <a:gd name="connsiteX302" fmla="*/ 1198158 w 1608424"/>
                <a:gd name="connsiteY302" fmla="*/ 452537 h 490658"/>
                <a:gd name="connsiteX303" fmla="*/ 1192454 w 1608424"/>
                <a:gd name="connsiteY303" fmla="*/ 452437 h 490658"/>
                <a:gd name="connsiteX304" fmla="*/ 1169739 w 1608424"/>
                <a:gd name="connsiteY304" fmla="*/ 450595 h 490658"/>
                <a:gd name="connsiteX305" fmla="*/ 1017398 w 1608424"/>
                <a:gd name="connsiteY305" fmla="*/ 359818 h 490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</a:cxnLst>
              <a:rect l="l" t="t" r="r" b="b"/>
              <a:pathLst>
                <a:path w="1608424" h="490658">
                  <a:moveTo>
                    <a:pt x="1164736" y="488356"/>
                  </a:moveTo>
                  <a:cubicBezTo>
                    <a:pt x="1173542" y="489577"/>
                    <a:pt x="1182408" y="490218"/>
                    <a:pt x="1191294" y="490518"/>
                  </a:cubicBezTo>
                  <a:lnTo>
                    <a:pt x="1197958" y="490638"/>
                  </a:lnTo>
                  <a:cubicBezTo>
                    <a:pt x="1200160" y="490678"/>
                    <a:pt x="1202661" y="490638"/>
                    <a:pt x="1205003" y="490658"/>
                  </a:cubicBezTo>
                  <a:lnTo>
                    <a:pt x="1369032" y="490658"/>
                  </a:lnTo>
                  <a:cubicBezTo>
                    <a:pt x="1371353" y="490638"/>
                    <a:pt x="1373355" y="490478"/>
                    <a:pt x="1375516" y="490398"/>
                  </a:cubicBezTo>
                  <a:cubicBezTo>
                    <a:pt x="1379779" y="490178"/>
                    <a:pt x="1384042" y="490198"/>
                    <a:pt x="1388245" y="489457"/>
                  </a:cubicBezTo>
                  <a:cubicBezTo>
                    <a:pt x="1422087" y="485693"/>
                    <a:pt x="1454569" y="470537"/>
                    <a:pt x="1479245" y="446931"/>
                  </a:cubicBezTo>
                  <a:cubicBezTo>
                    <a:pt x="1491594" y="435159"/>
                    <a:pt x="1502001" y="421404"/>
                    <a:pt x="1509946" y="406348"/>
                  </a:cubicBezTo>
                  <a:cubicBezTo>
                    <a:pt x="1513848" y="398800"/>
                    <a:pt x="1517351" y="390992"/>
                    <a:pt x="1519992" y="382903"/>
                  </a:cubicBezTo>
                  <a:cubicBezTo>
                    <a:pt x="1521614" y="378939"/>
                    <a:pt x="1522434" y="374754"/>
                    <a:pt x="1523575" y="370630"/>
                  </a:cubicBezTo>
                  <a:lnTo>
                    <a:pt x="1524395" y="367547"/>
                  </a:lnTo>
                  <a:cubicBezTo>
                    <a:pt x="1524676" y="366505"/>
                    <a:pt x="1524956" y="365544"/>
                    <a:pt x="1525196" y="364323"/>
                  </a:cubicBezTo>
                  <a:lnTo>
                    <a:pt x="1526697" y="357356"/>
                  </a:lnTo>
                  <a:lnTo>
                    <a:pt x="1550733" y="245757"/>
                  </a:lnTo>
                  <a:lnTo>
                    <a:pt x="1562761" y="189957"/>
                  </a:lnTo>
                  <a:lnTo>
                    <a:pt x="1568765" y="162067"/>
                  </a:lnTo>
                  <a:cubicBezTo>
                    <a:pt x="1569305" y="159685"/>
                    <a:pt x="1569666" y="157682"/>
                    <a:pt x="1570486" y="154379"/>
                  </a:cubicBezTo>
                  <a:cubicBezTo>
                    <a:pt x="1571267" y="151376"/>
                    <a:pt x="1572207" y="148412"/>
                    <a:pt x="1573328" y="145529"/>
                  </a:cubicBezTo>
                  <a:cubicBezTo>
                    <a:pt x="1574449" y="142646"/>
                    <a:pt x="1575730" y="139803"/>
                    <a:pt x="1577191" y="137080"/>
                  </a:cubicBezTo>
                  <a:cubicBezTo>
                    <a:pt x="1577891" y="135759"/>
                    <a:pt x="1578752" y="134257"/>
                    <a:pt x="1579432" y="133136"/>
                  </a:cubicBezTo>
                  <a:lnTo>
                    <a:pt x="1581273" y="130073"/>
                  </a:lnTo>
                  <a:lnTo>
                    <a:pt x="1603088" y="93694"/>
                  </a:lnTo>
                  <a:cubicBezTo>
                    <a:pt x="1605810" y="89229"/>
                    <a:pt x="1607531" y="84184"/>
                    <a:pt x="1608151" y="78998"/>
                  </a:cubicBezTo>
                  <a:cubicBezTo>
                    <a:pt x="1608311" y="77697"/>
                    <a:pt x="1608391" y="76396"/>
                    <a:pt x="1608411" y="75094"/>
                  </a:cubicBezTo>
                  <a:lnTo>
                    <a:pt x="1608411" y="30787"/>
                  </a:lnTo>
                  <a:cubicBezTo>
                    <a:pt x="1608391" y="30146"/>
                    <a:pt x="1608491" y="29465"/>
                    <a:pt x="1608331" y="28845"/>
                  </a:cubicBezTo>
                  <a:cubicBezTo>
                    <a:pt x="1608151" y="28224"/>
                    <a:pt x="1607691" y="27664"/>
                    <a:pt x="1607111" y="27383"/>
                  </a:cubicBezTo>
                  <a:cubicBezTo>
                    <a:pt x="1602087" y="25982"/>
                    <a:pt x="1596984" y="24881"/>
                    <a:pt x="1591900" y="23779"/>
                  </a:cubicBezTo>
                  <a:lnTo>
                    <a:pt x="1584235" y="22198"/>
                  </a:lnTo>
                  <a:lnTo>
                    <a:pt x="1576110" y="20656"/>
                  </a:lnTo>
                  <a:lnTo>
                    <a:pt x="1565022" y="18694"/>
                  </a:lnTo>
                  <a:lnTo>
                    <a:pt x="1553775" y="16852"/>
                  </a:lnTo>
                  <a:cubicBezTo>
                    <a:pt x="1546270" y="15631"/>
                    <a:pt x="1538725" y="14550"/>
                    <a:pt x="1531200" y="13488"/>
                  </a:cubicBezTo>
                  <a:cubicBezTo>
                    <a:pt x="1456971" y="3338"/>
                    <a:pt x="1381620" y="-286"/>
                    <a:pt x="1306410" y="1095"/>
                  </a:cubicBezTo>
                  <a:cubicBezTo>
                    <a:pt x="1231180" y="2397"/>
                    <a:pt x="1156010" y="9064"/>
                    <a:pt x="1081481" y="19935"/>
                  </a:cubicBezTo>
                  <a:lnTo>
                    <a:pt x="1053562" y="24220"/>
                  </a:lnTo>
                  <a:lnTo>
                    <a:pt x="1025723" y="29025"/>
                  </a:lnTo>
                  <a:cubicBezTo>
                    <a:pt x="1016437" y="30567"/>
                    <a:pt x="1007191" y="32409"/>
                    <a:pt x="997945" y="34211"/>
                  </a:cubicBezTo>
                  <a:cubicBezTo>
                    <a:pt x="988699" y="36052"/>
                    <a:pt x="979433" y="37674"/>
                    <a:pt x="970226" y="39736"/>
                  </a:cubicBezTo>
                  <a:lnTo>
                    <a:pt x="942588" y="45663"/>
                  </a:lnTo>
                  <a:cubicBezTo>
                    <a:pt x="933382" y="47705"/>
                    <a:pt x="924236" y="49947"/>
                    <a:pt x="915070" y="52090"/>
                  </a:cubicBezTo>
                  <a:lnTo>
                    <a:pt x="901321" y="55333"/>
                  </a:lnTo>
                  <a:lnTo>
                    <a:pt x="887591" y="58837"/>
                  </a:lnTo>
                  <a:lnTo>
                    <a:pt x="860153" y="65904"/>
                  </a:lnTo>
                  <a:cubicBezTo>
                    <a:pt x="858832" y="66265"/>
                    <a:pt x="857371" y="66585"/>
                    <a:pt x="856131" y="66845"/>
                  </a:cubicBezTo>
                  <a:lnTo>
                    <a:pt x="852488" y="67546"/>
                  </a:lnTo>
                  <a:cubicBezTo>
                    <a:pt x="850106" y="67967"/>
                    <a:pt x="847805" y="68307"/>
                    <a:pt x="845503" y="68627"/>
                  </a:cubicBezTo>
                  <a:cubicBezTo>
                    <a:pt x="840920" y="69248"/>
                    <a:pt x="836437" y="69708"/>
                    <a:pt x="831974" y="70109"/>
                  </a:cubicBezTo>
                  <a:cubicBezTo>
                    <a:pt x="829773" y="70289"/>
                    <a:pt x="827511" y="70469"/>
                    <a:pt x="825210" y="70609"/>
                  </a:cubicBezTo>
                  <a:cubicBezTo>
                    <a:pt x="822928" y="70770"/>
                    <a:pt x="820727" y="70790"/>
                    <a:pt x="818485" y="70890"/>
                  </a:cubicBezTo>
                  <a:cubicBezTo>
                    <a:pt x="814022" y="71030"/>
                    <a:pt x="809519" y="71270"/>
                    <a:pt x="805097" y="71310"/>
                  </a:cubicBezTo>
                  <a:cubicBezTo>
                    <a:pt x="804216" y="71170"/>
                    <a:pt x="802535" y="71250"/>
                    <a:pt x="801294" y="71170"/>
                  </a:cubicBezTo>
                  <a:lnTo>
                    <a:pt x="797552" y="70970"/>
                  </a:lnTo>
                  <a:lnTo>
                    <a:pt x="790947" y="70449"/>
                  </a:lnTo>
                  <a:cubicBezTo>
                    <a:pt x="788866" y="70269"/>
                    <a:pt x="787125" y="70149"/>
                    <a:pt x="785083" y="70049"/>
                  </a:cubicBezTo>
                  <a:cubicBezTo>
                    <a:pt x="782842" y="69889"/>
                    <a:pt x="780420" y="69748"/>
                    <a:pt x="778199" y="69528"/>
                  </a:cubicBezTo>
                  <a:cubicBezTo>
                    <a:pt x="773656" y="69128"/>
                    <a:pt x="769053" y="68607"/>
                    <a:pt x="764309" y="67846"/>
                  </a:cubicBezTo>
                  <a:cubicBezTo>
                    <a:pt x="761948" y="67466"/>
                    <a:pt x="759526" y="67026"/>
                    <a:pt x="756984" y="66465"/>
                  </a:cubicBezTo>
                  <a:cubicBezTo>
                    <a:pt x="755724" y="66185"/>
                    <a:pt x="754423" y="65884"/>
                    <a:pt x="753042" y="65484"/>
                  </a:cubicBezTo>
                  <a:cubicBezTo>
                    <a:pt x="752361" y="65304"/>
                    <a:pt x="751621" y="65083"/>
                    <a:pt x="750860" y="64843"/>
                  </a:cubicBezTo>
                  <a:lnTo>
                    <a:pt x="749600" y="64423"/>
                  </a:lnTo>
                  <a:cubicBezTo>
                    <a:pt x="749600" y="64423"/>
                    <a:pt x="749439" y="64363"/>
                    <a:pt x="749359" y="64343"/>
                  </a:cubicBezTo>
                  <a:cubicBezTo>
                    <a:pt x="709133" y="53671"/>
                    <a:pt x="668606" y="44141"/>
                    <a:pt x="627819" y="35912"/>
                  </a:cubicBezTo>
                  <a:lnTo>
                    <a:pt x="600080" y="30487"/>
                  </a:lnTo>
                  <a:lnTo>
                    <a:pt x="572262" y="25601"/>
                  </a:lnTo>
                  <a:cubicBezTo>
                    <a:pt x="562995" y="23899"/>
                    <a:pt x="553669" y="22578"/>
                    <a:pt x="544383" y="21096"/>
                  </a:cubicBezTo>
                  <a:lnTo>
                    <a:pt x="530434" y="18914"/>
                  </a:lnTo>
                  <a:lnTo>
                    <a:pt x="516444" y="16972"/>
                  </a:lnTo>
                  <a:cubicBezTo>
                    <a:pt x="479160" y="11747"/>
                    <a:pt x="441695" y="7642"/>
                    <a:pt x="404170" y="4879"/>
                  </a:cubicBezTo>
                  <a:cubicBezTo>
                    <a:pt x="329120" y="-727"/>
                    <a:pt x="253689" y="-1728"/>
                    <a:pt x="178700" y="3057"/>
                  </a:cubicBezTo>
                  <a:cubicBezTo>
                    <a:pt x="150261" y="4859"/>
                    <a:pt x="121902" y="7502"/>
                    <a:pt x="93703" y="11066"/>
                  </a:cubicBezTo>
                  <a:cubicBezTo>
                    <a:pt x="79594" y="12828"/>
                    <a:pt x="65544" y="14890"/>
                    <a:pt x="51555" y="17192"/>
                  </a:cubicBezTo>
                  <a:cubicBezTo>
                    <a:pt x="48073" y="17793"/>
                    <a:pt x="44550" y="18334"/>
                    <a:pt x="41088" y="18974"/>
                  </a:cubicBezTo>
                  <a:lnTo>
                    <a:pt x="30821" y="20836"/>
                  </a:lnTo>
                  <a:cubicBezTo>
                    <a:pt x="26018" y="21757"/>
                    <a:pt x="21235" y="22698"/>
                    <a:pt x="16492" y="23719"/>
                  </a:cubicBezTo>
                  <a:cubicBezTo>
                    <a:pt x="13470" y="24380"/>
                    <a:pt x="10448" y="25061"/>
                    <a:pt x="7425" y="25761"/>
                  </a:cubicBezTo>
                  <a:lnTo>
                    <a:pt x="5164" y="26302"/>
                  </a:lnTo>
                  <a:cubicBezTo>
                    <a:pt x="4403" y="26482"/>
                    <a:pt x="3643" y="26642"/>
                    <a:pt x="2963" y="27023"/>
                  </a:cubicBezTo>
                  <a:cubicBezTo>
                    <a:pt x="1602" y="27764"/>
                    <a:pt x="561" y="29085"/>
                    <a:pt x="181" y="30587"/>
                  </a:cubicBezTo>
                  <a:cubicBezTo>
                    <a:pt x="-19" y="31347"/>
                    <a:pt x="1" y="32128"/>
                    <a:pt x="1" y="32889"/>
                  </a:cubicBezTo>
                  <a:lnTo>
                    <a:pt x="1" y="75995"/>
                  </a:lnTo>
                  <a:cubicBezTo>
                    <a:pt x="41" y="76796"/>
                    <a:pt x="81" y="77597"/>
                    <a:pt x="161" y="78398"/>
                  </a:cubicBezTo>
                  <a:cubicBezTo>
                    <a:pt x="301" y="79999"/>
                    <a:pt x="561" y="81581"/>
                    <a:pt x="941" y="83143"/>
                  </a:cubicBezTo>
                  <a:cubicBezTo>
                    <a:pt x="1682" y="86266"/>
                    <a:pt x="2842" y="89289"/>
                    <a:pt x="4403" y="92072"/>
                  </a:cubicBezTo>
                  <a:lnTo>
                    <a:pt x="18553" y="115718"/>
                  </a:lnTo>
                  <a:lnTo>
                    <a:pt x="25898" y="127951"/>
                  </a:lnTo>
                  <a:lnTo>
                    <a:pt x="27939" y="131414"/>
                  </a:lnTo>
                  <a:cubicBezTo>
                    <a:pt x="28640" y="132656"/>
                    <a:pt x="29320" y="133917"/>
                    <a:pt x="29981" y="135178"/>
                  </a:cubicBezTo>
                  <a:cubicBezTo>
                    <a:pt x="31301" y="137721"/>
                    <a:pt x="32502" y="140304"/>
                    <a:pt x="33623" y="142947"/>
                  </a:cubicBezTo>
                  <a:cubicBezTo>
                    <a:pt x="35844" y="148212"/>
                    <a:pt x="37646" y="153658"/>
                    <a:pt x="39007" y="159224"/>
                  </a:cubicBezTo>
                  <a:lnTo>
                    <a:pt x="39507" y="161306"/>
                  </a:lnTo>
                  <a:lnTo>
                    <a:pt x="39927" y="163228"/>
                  </a:lnTo>
                  <a:lnTo>
                    <a:pt x="40688" y="166712"/>
                  </a:lnTo>
                  <a:lnTo>
                    <a:pt x="42189" y="173679"/>
                  </a:lnTo>
                  <a:lnTo>
                    <a:pt x="48193" y="201569"/>
                  </a:lnTo>
                  <a:lnTo>
                    <a:pt x="60221" y="257369"/>
                  </a:lnTo>
                  <a:lnTo>
                    <a:pt x="72249" y="313169"/>
                  </a:lnTo>
                  <a:lnTo>
                    <a:pt x="78253" y="341058"/>
                  </a:lnTo>
                  <a:lnTo>
                    <a:pt x="81255" y="355013"/>
                  </a:lnTo>
                  <a:lnTo>
                    <a:pt x="82756" y="361981"/>
                  </a:lnTo>
                  <a:lnTo>
                    <a:pt x="83516" y="365464"/>
                  </a:lnTo>
                  <a:lnTo>
                    <a:pt x="84337" y="368548"/>
                  </a:lnTo>
                  <a:cubicBezTo>
                    <a:pt x="88219" y="385145"/>
                    <a:pt x="94744" y="401122"/>
                    <a:pt x="103750" y="415598"/>
                  </a:cubicBezTo>
                  <a:cubicBezTo>
                    <a:pt x="112756" y="430053"/>
                    <a:pt x="124123" y="443067"/>
                    <a:pt x="137232" y="453939"/>
                  </a:cubicBezTo>
                  <a:cubicBezTo>
                    <a:pt x="150341" y="464831"/>
                    <a:pt x="165231" y="473580"/>
                    <a:pt x="181101" y="479726"/>
                  </a:cubicBezTo>
                  <a:cubicBezTo>
                    <a:pt x="196972" y="485893"/>
                    <a:pt x="213823" y="489437"/>
                    <a:pt x="230854" y="490258"/>
                  </a:cubicBezTo>
                  <a:lnTo>
                    <a:pt x="237238" y="490538"/>
                  </a:lnTo>
                  <a:cubicBezTo>
                    <a:pt x="238259" y="490618"/>
                    <a:pt x="239460" y="490598"/>
                    <a:pt x="240661" y="490598"/>
                  </a:cubicBezTo>
                  <a:lnTo>
                    <a:pt x="408252" y="490598"/>
                  </a:lnTo>
                  <a:lnTo>
                    <a:pt x="414977" y="490478"/>
                  </a:lnTo>
                  <a:cubicBezTo>
                    <a:pt x="419420" y="490478"/>
                    <a:pt x="423863" y="490098"/>
                    <a:pt x="428286" y="489877"/>
                  </a:cubicBezTo>
                  <a:cubicBezTo>
                    <a:pt x="437132" y="489136"/>
                    <a:pt x="445997" y="488215"/>
                    <a:pt x="454723" y="486574"/>
                  </a:cubicBezTo>
                  <a:cubicBezTo>
                    <a:pt x="489727" y="480427"/>
                    <a:pt x="523489" y="467153"/>
                    <a:pt x="553189" y="447592"/>
                  </a:cubicBezTo>
                  <a:cubicBezTo>
                    <a:pt x="582909" y="428091"/>
                    <a:pt x="608746" y="402604"/>
                    <a:pt x="628299" y="372912"/>
                  </a:cubicBezTo>
                  <a:cubicBezTo>
                    <a:pt x="633162" y="365484"/>
                    <a:pt x="637785" y="357876"/>
                    <a:pt x="641848" y="349968"/>
                  </a:cubicBezTo>
                  <a:cubicBezTo>
                    <a:pt x="643989" y="346064"/>
                    <a:pt x="645851" y="342019"/>
                    <a:pt x="647772" y="338015"/>
                  </a:cubicBezTo>
                  <a:cubicBezTo>
                    <a:pt x="648752" y="336033"/>
                    <a:pt x="649553" y="333951"/>
                    <a:pt x="650474" y="331909"/>
                  </a:cubicBezTo>
                  <a:cubicBezTo>
                    <a:pt x="651354" y="329826"/>
                    <a:pt x="652235" y="327924"/>
                    <a:pt x="653135" y="325662"/>
                  </a:cubicBezTo>
                  <a:lnTo>
                    <a:pt x="674810" y="272865"/>
                  </a:lnTo>
                  <a:lnTo>
                    <a:pt x="699646" y="212381"/>
                  </a:lnTo>
                  <a:cubicBezTo>
                    <a:pt x="701387" y="208176"/>
                    <a:pt x="703249" y="204092"/>
                    <a:pt x="705710" y="200308"/>
                  </a:cubicBezTo>
                  <a:cubicBezTo>
                    <a:pt x="708152" y="196524"/>
                    <a:pt x="711094" y="193080"/>
                    <a:pt x="714376" y="189977"/>
                  </a:cubicBezTo>
                  <a:cubicBezTo>
                    <a:pt x="717698" y="186934"/>
                    <a:pt x="721341" y="184251"/>
                    <a:pt x="725303" y="182108"/>
                  </a:cubicBezTo>
                  <a:cubicBezTo>
                    <a:pt x="727285" y="181027"/>
                    <a:pt x="729326" y="180066"/>
                    <a:pt x="731407" y="179225"/>
                  </a:cubicBezTo>
                  <a:cubicBezTo>
                    <a:pt x="733529" y="178425"/>
                    <a:pt x="735670" y="177744"/>
                    <a:pt x="737812" y="176983"/>
                  </a:cubicBezTo>
                  <a:cubicBezTo>
                    <a:pt x="739953" y="176202"/>
                    <a:pt x="742075" y="175642"/>
                    <a:pt x="744216" y="175001"/>
                  </a:cubicBezTo>
                  <a:lnTo>
                    <a:pt x="747418" y="174080"/>
                  </a:lnTo>
                  <a:lnTo>
                    <a:pt x="750120" y="173379"/>
                  </a:lnTo>
                  <a:cubicBezTo>
                    <a:pt x="753702" y="172418"/>
                    <a:pt x="757345" y="171617"/>
                    <a:pt x="760987" y="170816"/>
                  </a:cubicBezTo>
                  <a:cubicBezTo>
                    <a:pt x="768292" y="169355"/>
                    <a:pt x="775637" y="168074"/>
                    <a:pt x="783102" y="167353"/>
                  </a:cubicBezTo>
                  <a:cubicBezTo>
                    <a:pt x="797972" y="165751"/>
                    <a:pt x="813122" y="165651"/>
                    <a:pt x="828152" y="167433"/>
                  </a:cubicBezTo>
                  <a:cubicBezTo>
                    <a:pt x="831894" y="167933"/>
                    <a:pt x="835677" y="168294"/>
                    <a:pt x="839379" y="169075"/>
                  </a:cubicBezTo>
                  <a:cubicBezTo>
                    <a:pt x="843102" y="169755"/>
                    <a:pt x="846844" y="170396"/>
                    <a:pt x="850507" y="171377"/>
                  </a:cubicBezTo>
                  <a:lnTo>
                    <a:pt x="856030" y="172718"/>
                  </a:lnTo>
                  <a:cubicBezTo>
                    <a:pt x="857872" y="173179"/>
                    <a:pt x="859673" y="173800"/>
                    <a:pt x="861494" y="174340"/>
                  </a:cubicBezTo>
                  <a:lnTo>
                    <a:pt x="867358" y="176162"/>
                  </a:lnTo>
                  <a:cubicBezTo>
                    <a:pt x="869499" y="176923"/>
                    <a:pt x="871581" y="177784"/>
                    <a:pt x="873702" y="178605"/>
                  </a:cubicBezTo>
                  <a:lnTo>
                    <a:pt x="878085" y="180327"/>
                  </a:lnTo>
                  <a:cubicBezTo>
                    <a:pt x="879546" y="180907"/>
                    <a:pt x="881027" y="181428"/>
                    <a:pt x="882408" y="182169"/>
                  </a:cubicBezTo>
                  <a:cubicBezTo>
                    <a:pt x="885190" y="183570"/>
                    <a:pt x="887872" y="185232"/>
                    <a:pt x="890353" y="187114"/>
                  </a:cubicBezTo>
                  <a:cubicBezTo>
                    <a:pt x="895337" y="190878"/>
                    <a:pt x="899660" y="195543"/>
                    <a:pt x="903022" y="200808"/>
                  </a:cubicBezTo>
                  <a:cubicBezTo>
                    <a:pt x="906424" y="206054"/>
                    <a:pt x="908585" y="212000"/>
                    <a:pt x="911027" y="217827"/>
                  </a:cubicBezTo>
                  <a:lnTo>
                    <a:pt x="916491" y="231141"/>
                  </a:lnTo>
                  <a:lnTo>
                    <a:pt x="938165" y="283937"/>
                  </a:lnTo>
                  <a:lnTo>
                    <a:pt x="949012" y="310345"/>
                  </a:lnTo>
                  <a:cubicBezTo>
                    <a:pt x="952615" y="319095"/>
                    <a:pt x="956277" y="328185"/>
                    <a:pt x="959759" y="336073"/>
                  </a:cubicBezTo>
                  <a:cubicBezTo>
                    <a:pt x="963522" y="344122"/>
                    <a:pt x="967425" y="352130"/>
                    <a:pt x="971988" y="359758"/>
                  </a:cubicBezTo>
                  <a:cubicBezTo>
                    <a:pt x="974129" y="363662"/>
                    <a:pt x="976631" y="367346"/>
                    <a:pt x="978932" y="371130"/>
                  </a:cubicBezTo>
                  <a:cubicBezTo>
                    <a:pt x="981474" y="374774"/>
                    <a:pt x="983816" y="378558"/>
                    <a:pt x="986517" y="382082"/>
                  </a:cubicBezTo>
                  <a:cubicBezTo>
                    <a:pt x="1007331" y="410913"/>
                    <a:pt x="1034169" y="435319"/>
                    <a:pt x="1064709" y="453518"/>
                  </a:cubicBezTo>
                  <a:cubicBezTo>
                    <a:pt x="1079940" y="462688"/>
                    <a:pt x="1096190" y="470116"/>
                    <a:pt x="1112941" y="476043"/>
                  </a:cubicBezTo>
                  <a:cubicBezTo>
                    <a:pt x="1129753" y="481769"/>
                    <a:pt x="1147104" y="486033"/>
                    <a:pt x="1164736" y="488276"/>
                  </a:cubicBezTo>
                  <a:close/>
                  <a:moveTo>
                    <a:pt x="1017378" y="359758"/>
                  </a:moveTo>
                  <a:cubicBezTo>
                    <a:pt x="1015056" y="356755"/>
                    <a:pt x="1013075" y="353512"/>
                    <a:pt x="1010894" y="350388"/>
                  </a:cubicBezTo>
                  <a:cubicBezTo>
                    <a:pt x="1008932" y="347125"/>
                    <a:pt x="1006771" y="344001"/>
                    <a:pt x="1004970" y="340658"/>
                  </a:cubicBezTo>
                  <a:cubicBezTo>
                    <a:pt x="1001067" y="334131"/>
                    <a:pt x="997745" y="327284"/>
                    <a:pt x="994523" y="320416"/>
                  </a:cubicBezTo>
                  <a:lnTo>
                    <a:pt x="992261" y="315171"/>
                  </a:lnTo>
                  <a:lnTo>
                    <a:pt x="991681" y="313869"/>
                  </a:lnTo>
                  <a:lnTo>
                    <a:pt x="991060" y="312408"/>
                  </a:lnTo>
                  <a:lnTo>
                    <a:pt x="989699" y="309104"/>
                  </a:lnTo>
                  <a:lnTo>
                    <a:pt x="984276" y="295910"/>
                  </a:lnTo>
                  <a:lnTo>
                    <a:pt x="973429" y="269502"/>
                  </a:lnTo>
                  <a:lnTo>
                    <a:pt x="951754" y="216705"/>
                  </a:lnTo>
                  <a:lnTo>
                    <a:pt x="946191" y="203171"/>
                  </a:lnTo>
                  <a:cubicBezTo>
                    <a:pt x="944369" y="198786"/>
                    <a:pt x="942628" y="194342"/>
                    <a:pt x="940607" y="190057"/>
                  </a:cubicBezTo>
                  <a:cubicBezTo>
                    <a:pt x="938585" y="185792"/>
                    <a:pt x="936204" y="181788"/>
                    <a:pt x="933562" y="177904"/>
                  </a:cubicBezTo>
                  <a:cubicBezTo>
                    <a:pt x="928279" y="170196"/>
                    <a:pt x="921794" y="163308"/>
                    <a:pt x="914409" y="157562"/>
                  </a:cubicBezTo>
                  <a:cubicBezTo>
                    <a:pt x="910727" y="154679"/>
                    <a:pt x="906824" y="152096"/>
                    <a:pt x="902742" y="149814"/>
                  </a:cubicBezTo>
                  <a:cubicBezTo>
                    <a:pt x="900760" y="148593"/>
                    <a:pt x="898499" y="147792"/>
                    <a:pt x="896317" y="146891"/>
                  </a:cubicBezTo>
                  <a:lnTo>
                    <a:pt x="889753" y="144208"/>
                  </a:lnTo>
                  <a:cubicBezTo>
                    <a:pt x="886591" y="142927"/>
                    <a:pt x="883469" y="141585"/>
                    <a:pt x="880287" y="140364"/>
                  </a:cubicBezTo>
                  <a:cubicBezTo>
                    <a:pt x="878726" y="139803"/>
                    <a:pt x="877345" y="139423"/>
                    <a:pt x="875844" y="138942"/>
                  </a:cubicBezTo>
                  <a:lnTo>
                    <a:pt x="872441" y="137901"/>
                  </a:lnTo>
                  <a:cubicBezTo>
                    <a:pt x="870260" y="137261"/>
                    <a:pt x="868078" y="136540"/>
                    <a:pt x="865877" y="135979"/>
                  </a:cubicBezTo>
                  <a:lnTo>
                    <a:pt x="859233" y="134357"/>
                  </a:lnTo>
                  <a:cubicBezTo>
                    <a:pt x="854810" y="133216"/>
                    <a:pt x="850347" y="132415"/>
                    <a:pt x="845864" y="131595"/>
                  </a:cubicBezTo>
                  <a:cubicBezTo>
                    <a:pt x="841401" y="130694"/>
                    <a:pt x="836898" y="130233"/>
                    <a:pt x="832415" y="129632"/>
                  </a:cubicBezTo>
                  <a:cubicBezTo>
                    <a:pt x="814443" y="127510"/>
                    <a:pt x="796471" y="127630"/>
                    <a:pt x="778979" y="129512"/>
                  </a:cubicBezTo>
                  <a:cubicBezTo>
                    <a:pt x="770213" y="130373"/>
                    <a:pt x="761608" y="131855"/>
                    <a:pt x="753102" y="133577"/>
                  </a:cubicBezTo>
                  <a:cubicBezTo>
                    <a:pt x="748859" y="134498"/>
                    <a:pt x="744616" y="135439"/>
                    <a:pt x="740454" y="136560"/>
                  </a:cubicBezTo>
                  <a:lnTo>
                    <a:pt x="737311" y="137381"/>
                  </a:lnTo>
                  <a:lnTo>
                    <a:pt x="732608" y="138722"/>
                  </a:lnTo>
                  <a:cubicBezTo>
                    <a:pt x="729426" y="139703"/>
                    <a:pt x="726324" y="140544"/>
                    <a:pt x="723122" y="141805"/>
                  </a:cubicBezTo>
                  <a:cubicBezTo>
                    <a:pt x="697125" y="149994"/>
                    <a:pt x="675851" y="169915"/>
                    <a:pt x="665524" y="195082"/>
                  </a:cubicBezTo>
                  <a:lnTo>
                    <a:pt x="639506" y="258470"/>
                  </a:lnTo>
                  <a:lnTo>
                    <a:pt x="617832" y="311266"/>
                  </a:lnTo>
                  <a:lnTo>
                    <a:pt x="617151" y="312908"/>
                  </a:lnTo>
                  <a:lnTo>
                    <a:pt x="616571" y="314250"/>
                  </a:lnTo>
                  <a:lnTo>
                    <a:pt x="615430" y="316872"/>
                  </a:lnTo>
                  <a:cubicBezTo>
                    <a:pt x="614650" y="318614"/>
                    <a:pt x="613969" y="320396"/>
                    <a:pt x="613129" y="322098"/>
                  </a:cubicBezTo>
                  <a:cubicBezTo>
                    <a:pt x="611468" y="325522"/>
                    <a:pt x="609907" y="328985"/>
                    <a:pt x="608065" y="332309"/>
                  </a:cubicBezTo>
                  <a:cubicBezTo>
                    <a:pt x="604603" y="339076"/>
                    <a:pt x="600640" y="345563"/>
                    <a:pt x="596478" y="351910"/>
                  </a:cubicBezTo>
                  <a:cubicBezTo>
                    <a:pt x="579767" y="377297"/>
                    <a:pt x="557672" y="399060"/>
                    <a:pt x="532275" y="415738"/>
                  </a:cubicBezTo>
                  <a:cubicBezTo>
                    <a:pt x="506878" y="432476"/>
                    <a:pt x="478019" y="443808"/>
                    <a:pt x="448119" y="449054"/>
                  </a:cubicBezTo>
                  <a:cubicBezTo>
                    <a:pt x="440654" y="450475"/>
                    <a:pt x="433089" y="451216"/>
                    <a:pt x="425524" y="451877"/>
                  </a:cubicBezTo>
                  <a:cubicBezTo>
                    <a:pt x="421721" y="452057"/>
                    <a:pt x="417939" y="452397"/>
                    <a:pt x="414136" y="452377"/>
                  </a:cubicBezTo>
                  <a:lnTo>
                    <a:pt x="408232" y="452477"/>
                  </a:lnTo>
                  <a:lnTo>
                    <a:pt x="238860" y="452477"/>
                  </a:lnTo>
                  <a:cubicBezTo>
                    <a:pt x="238519" y="452477"/>
                    <a:pt x="238299" y="452477"/>
                    <a:pt x="238119" y="452457"/>
                  </a:cubicBezTo>
                  <a:lnTo>
                    <a:pt x="237519" y="452417"/>
                  </a:lnTo>
                  <a:lnTo>
                    <a:pt x="232655" y="452177"/>
                  </a:lnTo>
                  <a:cubicBezTo>
                    <a:pt x="206778" y="451016"/>
                    <a:pt x="181561" y="441225"/>
                    <a:pt x="161588" y="424628"/>
                  </a:cubicBezTo>
                  <a:cubicBezTo>
                    <a:pt x="151601" y="416359"/>
                    <a:pt x="142976" y="406488"/>
                    <a:pt x="136131" y="395516"/>
                  </a:cubicBezTo>
                  <a:cubicBezTo>
                    <a:pt x="129307" y="384525"/>
                    <a:pt x="124383" y="372432"/>
                    <a:pt x="121421" y="359778"/>
                  </a:cubicBezTo>
                  <a:lnTo>
                    <a:pt x="120761" y="357436"/>
                  </a:lnTo>
                  <a:lnTo>
                    <a:pt x="120000" y="353952"/>
                  </a:lnTo>
                  <a:lnTo>
                    <a:pt x="118499" y="346985"/>
                  </a:lnTo>
                  <a:lnTo>
                    <a:pt x="115497" y="333030"/>
                  </a:lnTo>
                  <a:lnTo>
                    <a:pt x="109493" y="305140"/>
                  </a:lnTo>
                  <a:lnTo>
                    <a:pt x="97465" y="249340"/>
                  </a:lnTo>
                  <a:lnTo>
                    <a:pt x="85437" y="193541"/>
                  </a:lnTo>
                  <a:lnTo>
                    <a:pt x="79433" y="165651"/>
                  </a:lnTo>
                  <a:lnTo>
                    <a:pt x="77932" y="158683"/>
                  </a:lnTo>
                  <a:lnTo>
                    <a:pt x="77172" y="155200"/>
                  </a:lnTo>
                  <a:lnTo>
                    <a:pt x="76672" y="152897"/>
                  </a:lnTo>
                  <a:lnTo>
                    <a:pt x="76011" y="150074"/>
                  </a:lnTo>
                  <a:cubicBezTo>
                    <a:pt x="74170" y="142586"/>
                    <a:pt x="71728" y="135238"/>
                    <a:pt x="68746" y="128131"/>
                  </a:cubicBezTo>
                  <a:cubicBezTo>
                    <a:pt x="67245" y="124567"/>
                    <a:pt x="65624" y="121083"/>
                    <a:pt x="63843" y="117660"/>
                  </a:cubicBezTo>
                  <a:cubicBezTo>
                    <a:pt x="62962" y="115958"/>
                    <a:pt x="62042" y="114256"/>
                    <a:pt x="61081" y="112574"/>
                  </a:cubicBezTo>
                  <a:lnTo>
                    <a:pt x="58580" y="108310"/>
                  </a:lnTo>
                  <a:lnTo>
                    <a:pt x="51235" y="96077"/>
                  </a:lnTo>
                  <a:lnTo>
                    <a:pt x="38106" y="74193"/>
                  </a:lnTo>
                  <a:lnTo>
                    <a:pt x="38106" y="74193"/>
                  </a:lnTo>
                  <a:cubicBezTo>
                    <a:pt x="38106" y="74193"/>
                    <a:pt x="38106" y="74193"/>
                    <a:pt x="38106" y="74173"/>
                  </a:cubicBezTo>
                  <a:lnTo>
                    <a:pt x="38106" y="58236"/>
                  </a:lnTo>
                  <a:lnTo>
                    <a:pt x="38186" y="58236"/>
                  </a:lnTo>
                  <a:lnTo>
                    <a:pt x="47652" y="56514"/>
                  </a:lnTo>
                  <a:cubicBezTo>
                    <a:pt x="50995" y="55894"/>
                    <a:pt x="54377" y="55373"/>
                    <a:pt x="57739" y="54813"/>
                  </a:cubicBezTo>
                  <a:cubicBezTo>
                    <a:pt x="71208" y="52590"/>
                    <a:pt x="84797" y="50608"/>
                    <a:pt x="98466" y="48886"/>
                  </a:cubicBezTo>
                  <a:cubicBezTo>
                    <a:pt x="125804" y="45422"/>
                    <a:pt x="153383" y="42860"/>
                    <a:pt x="181081" y="41098"/>
                  </a:cubicBezTo>
                  <a:cubicBezTo>
                    <a:pt x="254130" y="36453"/>
                    <a:pt x="327839" y="37414"/>
                    <a:pt x="401268" y="42900"/>
                  </a:cubicBezTo>
                  <a:cubicBezTo>
                    <a:pt x="437992" y="45623"/>
                    <a:pt x="474657" y="49627"/>
                    <a:pt x="511181" y="54752"/>
                  </a:cubicBezTo>
                  <a:lnTo>
                    <a:pt x="524890" y="56654"/>
                  </a:lnTo>
                  <a:lnTo>
                    <a:pt x="538559" y="58797"/>
                  </a:lnTo>
                  <a:cubicBezTo>
                    <a:pt x="547665" y="60258"/>
                    <a:pt x="556811" y="61540"/>
                    <a:pt x="565877" y="63221"/>
                  </a:cubicBezTo>
                  <a:lnTo>
                    <a:pt x="593135" y="68007"/>
                  </a:lnTo>
                  <a:lnTo>
                    <a:pt x="620314" y="73312"/>
                  </a:lnTo>
                  <a:cubicBezTo>
                    <a:pt x="659940" y="81321"/>
                    <a:pt x="699346" y="90591"/>
                    <a:pt x="738492" y="100942"/>
                  </a:cubicBezTo>
                  <a:lnTo>
                    <a:pt x="739373" y="101242"/>
                  </a:lnTo>
                  <a:cubicBezTo>
                    <a:pt x="740654" y="101643"/>
                    <a:pt x="741914" y="102003"/>
                    <a:pt x="742915" y="102283"/>
                  </a:cubicBezTo>
                  <a:lnTo>
                    <a:pt x="744496" y="102704"/>
                  </a:lnTo>
                  <a:lnTo>
                    <a:pt x="745937" y="103064"/>
                  </a:lnTo>
                  <a:lnTo>
                    <a:pt x="748659" y="103705"/>
                  </a:lnTo>
                  <a:cubicBezTo>
                    <a:pt x="752141" y="104486"/>
                    <a:pt x="755283" y="105066"/>
                    <a:pt x="758245" y="105527"/>
                  </a:cubicBezTo>
                  <a:cubicBezTo>
                    <a:pt x="764189" y="106468"/>
                    <a:pt x="769593" y="107088"/>
                    <a:pt x="774856" y="107549"/>
                  </a:cubicBezTo>
                  <a:cubicBezTo>
                    <a:pt x="777358" y="107789"/>
                    <a:pt x="780400" y="107989"/>
                    <a:pt x="782942" y="108149"/>
                  </a:cubicBezTo>
                  <a:lnTo>
                    <a:pt x="785323" y="108290"/>
                  </a:lnTo>
                  <a:lnTo>
                    <a:pt x="787865" y="108490"/>
                  </a:lnTo>
                  <a:lnTo>
                    <a:pt x="795050" y="109050"/>
                  </a:lnTo>
                  <a:cubicBezTo>
                    <a:pt x="796551" y="109151"/>
                    <a:pt x="798212" y="109231"/>
                    <a:pt x="799993" y="109311"/>
                  </a:cubicBezTo>
                  <a:cubicBezTo>
                    <a:pt x="801614" y="109411"/>
                    <a:pt x="804576" y="109311"/>
                    <a:pt x="805117" y="109471"/>
                  </a:cubicBezTo>
                  <a:cubicBezTo>
                    <a:pt x="809960" y="109431"/>
                    <a:pt x="815043" y="109171"/>
                    <a:pt x="820006" y="109010"/>
                  </a:cubicBezTo>
                  <a:cubicBezTo>
                    <a:pt x="822528" y="108890"/>
                    <a:pt x="824910" y="108870"/>
                    <a:pt x="827572" y="108690"/>
                  </a:cubicBezTo>
                  <a:lnTo>
                    <a:pt x="831534" y="108410"/>
                  </a:lnTo>
                  <a:lnTo>
                    <a:pt x="835237" y="108109"/>
                  </a:lnTo>
                  <a:cubicBezTo>
                    <a:pt x="840220" y="107689"/>
                    <a:pt x="845283" y="107148"/>
                    <a:pt x="850667" y="106428"/>
                  </a:cubicBezTo>
                  <a:cubicBezTo>
                    <a:pt x="853389" y="106047"/>
                    <a:pt x="856110" y="105647"/>
                    <a:pt x="859133" y="105106"/>
                  </a:cubicBezTo>
                  <a:cubicBezTo>
                    <a:pt x="860634" y="104846"/>
                    <a:pt x="862195" y="104546"/>
                    <a:pt x="863896" y="104205"/>
                  </a:cubicBezTo>
                  <a:lnTo>
                    <a:pt x="866778" y="103585"/>
                  </a:lnTo>
                  <a:cubicBezTo>
                    <a:pt x="867798" y="103344"/>
                    <a:pt x="868839" y="103084"/>
                    <a:pt x="869860" y="102824"/>
                  </a:cubicBezTo>
                  <a:lnTo>
                    <a:pt x="896918" y="95856"/>
                  </a:lnTo>
                  <a:lnTo>
                    <a:pt x="910447" y="92393"/>
                  </a:lnTo>
                  <a:lnTo>
                    <a:pt x="923936" y="89209"/>
                  </a:lnTo>
                  <a:cubicBezTo>
                    <a:pt x="932942" y="87107"/>
                    <a:pt x="941908" y="84905"/>
                    <a:pt x="950934" y="82903"/>
                  </a:cubicBezTo>
                  <a:lnTo>
                    <a:pt x="978032" y="77096"/>
                  </a:lnTo>
                  <a:cubicBezTo>
                    <a:pt x="987038" y="75074"/>
                    <a:pt x="996144" y="73472"/>
                    <a:pt x="1005190" y="71671"/>
                  </a:cubicBezTo>
                  <a:cubicBezTo>
                    <a:pt x="1014256" y="69909"/>
                    <a:pt x="1023302" y="68087"/>
                    <a:pt x="1032408" y="66605"/>
                  </a:cubicBezTo>
                  <a:lnTo>
                    <a:pt x="1059686" y="61900"/>
                  </a:lnTo>
                  <a:lnTo>
                    <a:pt x="1087044" y="57696"/>
                  </a:lnTo>
                  <a:cubicBezTo>
                    <a:pt x="1160053" y="47044"/>
                    <a:pt x="1233602" y="40517"/>
                    <a:pt x="1307111" y="39256"/>
                  </a:cubicBezTo>
                  <a:cubicBezTo>
                    <a:pt x="1380560" y="37914"/>
                    <a:pt x="1454129" y="41478"/>
                    <a:pt x="1525976" y="51289"/>
                  </a:cubicBezTo>
                  <a:cubicBezTo>
                    <a:pt x="1533261" y="52310"/>
                    <a:pt x="1540546" y="53371"/>
                    <a:pt x="1547771" y="54532"/>
                  </a:cubicBezTo>
                  <a:lnTo>
                    <a:pt x="1558598" y="56314"/>
                  </a:lnTo>
                  <a:lnTo>
                    <a:pt x="1568965" y="58136"/>
                  </a:lnTo>
                  <a:lnTo>
                    <a:pt x="1570306" y="58396"/>
                  </a:lnTo>
                  <a:lnTo>
                    <a:pt x="1570306" y="74273"/>
                  </a:lnTo>
                  <a:lnTo>
                    <a:pt x="1570306" y="74273"/>
                  </a:lnTo>
                  <a:lnTo>
                    <a:pt x="1548592" y="110472"/>
                  </a:lnTo>
                  <a:lnTo>
                    <a:pt x="1546750" y="113535"/>
                  </a:lnTo>
                  <a:lnTo>
                    <a:pt x="1545189" y="116198"/>
                  </a:lnTo>
                  <a:cubicBezTo>
                    <a:pt x="1544629" y="117199"/>
                    <a:pt x="1544069" y="118200"/>
                    <a:pt x="1543528" y="119221"/>
                  </a:cubicBezTo>
                  <a:cubicBezTo>
                    <a:pt x="1541367" y="123286"/>
                    <a:pt x="1539465" y="127470"/>
                    <a:pt x="1537804" y="131755"/>
                  </a:cubicBezTo>
                  <a:cubicBezTo>
                    <a:pt x="1536143" y="136039"/>
                    <a:pt x="1534742" y="140424"/>
                    <a:pt x="1533582" y="144869"/>
                  </a:cubicBezTo>
                  <a:lnTo>
                    <a:pt x="1532781" y="148212"/>
                  </a:lnTo>
                  <a:lnTo>
                    <a:pt x="1532261" y="150575"/>
                  </a:lnTo>
                  <a:lnTo>
                    <a:pt x="1531500" y="154059"/>
                  </a:lnTo>
                  <a:lnTo>
                    <a:pt x="1525496" y="181948"/>
                  </a:lnTo>
                  <a:lnTo>
                    <a:pt x="1513468" y="237748"/>
                  </a:lnTo>
                  <a:lnTo>
                    <a:pt x="1489432" y="349347"/>
                  </a:lnTo>
                  <a:lnTo>
                    <a:pt x="1487931" y="356315"/>
                  </a:lnTo>
                  <a:cubicBezTo>
                    <a:pt x="1487671" y="357636"/>
                    <a:pt x="1487471" y="358217"/>
                    <a:pt x="1487251" y="359037"/>
                  </a:cubicBezTo>
                  <a:lnTo>
                    <a:pt x="1486610" y="361380"/>
                  </a:lnTo>
                  <a:cubicBezTo>
                    <a:pt x="1485730" y="364503"/>
                    <a:pt x="1485169" y="367727"/>
                    <a:pt x="1483888" y="370710"/>
                  </a:cubicBezTo>
                  <a:cubicBezTo>
                    <a:pt x="1481887" y="376877"/>
                    <a:pt x="1479225" y="382763"/>
                    <a:pt x="1476283" y="388509"/>
                  </a:cubicBezTo>
                  <a:cubicBezTo>
                    <a:pt x="1470259" y="399921"/>
                    <a:pt x="1462374" y="410372"/>
                    <a:pt x="1452988" y="419342"/>
                  </a:cubicBezTo>
                  <a:cubicBezTo>
                    <a:pt x="1434215" y="437281"/>
                    <a:pt x="1409559" y="448753"/>
                    <a:pt x="1383902" y="451616"/>
                  </a:cubicBezTo>
                  <a:cubicBezTo>
                    <a:pt x="1380720" y="452237"/>
                    <a:pt x="1377458" y="452137"/>
                    <a:pt x="1374215" y="452317"/>
                  </a:cubicBezTo>
                  <a:lnTo>
                    <a:pt x="1371794" y="452437"/>
                  </a:lnTo>
                  <a:lnTo>
                    <a:pt x="1370573" y="452517"/>
                  </a:lnTo>
                  <a:lnTo>
                    <a:pt x="1369953" y="452557"/>
                  </a:lnTo>
                  <a:lnTo>
                    <a:pt x="1201460" y="452557"/>
                  </a:lnTo>
                  <a:cubicBezTo>
                    <a:pt x="1200280" y="452557"/>
                    <a:pt x="1199019" y="452557"/>
                    <a:pt x="1198158" y="452537"/>
                  </a:cubicBezTo>
                  <a:lnTo>
                    <a:pt x="1192454" y="452437"/>
                  </a:lnTo>
                  <a:cubicBezTo>
                    <a:pt x="1184849" y="452177"/>
                    <a:pt x="1177264" y="451656"/>
                    <a:pt x="1169739" y="450595"/>
                  </a:cubicBezTo>
                  <a:cubicBezTo>
                    <a:pt x="1109419" y="442987"/>
                    <a:pt x="1052882" y="409191"/>
                    <a:pt x="1017398" y="359818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725A29B7-3563-C6FF-C813-E57FD919DCD6}"/>
                </a:ext>
              </a:extLst>
            </p:cNvPr>
            <p:cNvSpPr/>
            <p:nvPr/>
          </p:nvSpPr>
          <p:spPr>
            <a:xfrm>
              <a:off x="2443118" y="2707723"/>
              <a:ext cx="1758419" cy="640664"/>
            </a:xfrm>
            <a:custGeom>
              <a:avLst/>
              <a:gdLst>
                <a:gd name="connsiteX0" fmla="*/ 1229905 w 1758419"/>
                <a:gd name="connsiteY0" fmla="*/ 637741 h 640664"/>
                <a:gd name="connsiteX1" fmla="*/ 1264028 w 1758419"/>
                <a:gd name="connsiteY1" fmla="*/ 640504 h 640664"/>
                <a:gd name="connsiteX2" fmla="*/ 1272593 w 1758419"/>
                <a:gd name="connsiteY2" fmla="*/ 640664 h 640664"/>
                <a:gd name="connsiteX3" fmla="*/ 1446069 w 1758419"/>
                <a:gd name="connsiteY3" fmla="*/ 640664 h 640664"/>
                <a:gd name="connsiteX4" fmla="*/ 1448410 w 1758419"/>
                <a:gd name="connsiteY4" fmla="*/ 640564 h 640664"/>
                <a:gd name="connsiteX5" fmla="*/ 1453113 w 1758419"/>
                <a:gd name="connsiteY5" fmla="*/ 640384 h 640664"/>
                <a:gd name="connsiteX6" fmla="*/ 1471846 w 1758419"/>
                <a:gd name="connsiteY6" fmla="*/ 639003 h 640664"/>
                <a:gd name="connsiteX7" fmla="*/ 1544014 w 1758419"/>
                <a:gd name="connsiteY7" fmla="*/ 618581 h 640664"/>
                <a:gd name="connsiteX8" fmla="*/ 1605915 w 1758419"/>
                <a:gd name="connsiteY8" fmla="*/ 576316 h 640664"/>
                <a:gd name="connsiteX9" fmla="*/ 1651185 w 1758419"/>
                <a:gd name="connsiteY9" fmla="*/ 516512 h 640664"/>
                <a:gd name="connsiteX10" fmla="*/ 1666035 w 1758419"/>
                <a:gd name="connsiteY10" fmla="*/ 481935 h 640664"/>
                <a:gd name="connsiteX11" fmla="*/ 1671319 w 1758419"/>
                <a:gd name="connsiteY11" fmla="*/ 463896 h 640664"/>
                <a:gd name="connsiteX12" fmla="*/ 1672479 w 1758419"/>
                <a:gd name="connsiteY12" fmla="*/ 459351 h 640664"/>
                <a:gd name="connsiteX13" fmla="*/ 1673500 w 1758419"/>
                <a:gd name="connsiteY13" fmla="*/ 455146 h 640664"/>
                <a:gd name="connsiteX14" fmla="*/ 1675001 w 1758419"/>
                <a:gd name="connsiteY14" fmla="*/ 448179 h 640664"/>
                <a:gd name="connsiteX15" fmla="*/ 1699037 w 1758419"/>
                <a:gd name="connsiteY15" fmla="*/ 336580 h 640664"/>
                <a:gd name="connsiteX16" fmla="*/ 1711065 w 1758419"/>
                <a:gd name="connsiteY16" fmla="*/ 280780 h 640664"/>
                <a:gd name="connsiteX17" fmla="*/ 1717069 w 1758419"/>
                <a:gd name="connsiteY17" fmla="*/ 252890 h 640664"/>
                <a:gd name="connsiteX18" fmla="*/ 1718090 w 1758419"/>
                <a:gd name="connsiteY18" fmla="*/ 248165 h 640664"/>
                <a:gd name="connsiteX19" fmla="*/ 1718250 w 1758419"/>
                <a:gd name="connsiteY19" fmla="*/ 247705 h 640664"/>
                <a:gd name="connsiteX20" fmla="*/ 1718450 w 1758419"/>
                <a:gd name="connsiteY20" fmla="*/ 247264 h 640664"/>
                <a:gd name="connsiteX21" fmla="*/ 1718510 w 1758419"/>
                <a:gd name="connsiteY21" fmla="*/ 247164 h 640664"/>
                <a:gd name="connsiteX22" fmla="*/ 1718750 w 1758419"/>
                <a:gd name="connsiteY22" fmla="*/ 246744 h 640664"/>
                <a:gd name="connsiteX23" fmla="*/ 1720592 w 1758419"/>
                <a:gd name="connsiteY23" fmla="*/ 243680 h 640664"/>
                <a:gd name="connsiteX24" fmla="*/ 1742626 w 1758419"/>
                <a:gd name="connsiteY24" fmla="*/ 206921 h 640664"/>
                <a:gd name="connsiteX25" fmla="*/ 1757596 w 1758419"/>
                <a:gd name="connsiteY25" fmla="*/ 163334 h 640664"/>
                <a:gd name="connsiteX26" fmla="*/ 1758397 w 1758419"/>
                <a:gd name="connsiteY26" fmla="*/ 151762 h 640664"/>
                <a:gd name="connsiteX27" fmla="*/ 1758397 w 1758419"/>
                <a:gd name="connsiteY27" fmla="*/ 97985 h 640664"/>
                <a:gd name="connsiteX28" fmla="*/ 1758257 w 1758419"/>
                <a:gd name="connsiteY28" fmla="*/ 86452 h 640664"/>
                <a:gd name="connsiteX29" fmla="*/ 1753333 w 1758419"/>
                <a:gd name="connsiteY29" fmla="*/ 66331 h 640664"/>
                <a:gd name="connsiteX30" fmla="*/ 1751212 w 1758419"/>
                <a:gd name="connsiteY30" fmla="*/ 62327 h 640664"/>
                <a:gd name="connsiteX31" fmla="*/ 1748990 w 1758419"/>
                <a:gd name="connsiteY31" fmla="*/ 58502 h 640664"/>
                <a:gd name="connsiteX32" fmla="*/ 1746609 w 1758419"/>
                <a:gd name="connsiteY32" fmla="*/ 54738 h 640664"/>
                <a:gd name="connsiteX33" fmla="*/ 1743427 w 1758419"/>
                <a:gd name="connsiteY33" fmla="*/ 50814 h 640664"/>
                <a:gd name="connsiteX34" fmla="*/ 1740305 w 1758419"/>
                <a:gd name="connsiteY34" fmla="*/ 47631 h 640664"/>
                <a:gd name="connsiteX35" fmla="*/ 1738744 w 1758419"/>
                <a:gd name="connsiteY35" fmla="*/ 46069 h 640664"/>
                <a:gd name="connsiteX36" fmla="*/ 1736922 w 1758419"/>
                <a:gd name="connsiteY36" fmla="*/ 44608 h 640664"/>
                <a:gd name="connsiteX37" fmla="*/ 1733200 w 1758419"/>
                <a:gd name="connsiteY37" fmla="*/ 41725 h 640664"/>
                <a:gd name="connsiteX38" fmla="*/ 1731279 w 1758419"/>
                <a:gd name="connsiteY38" fmla="*/ 40323 h 640664"/>
                <a:gd name="connsiteX39" fmla="*/ 1728997 w 1758419"/>
                <a:gd name="connsiteY39" fmla="*/ 39122 h 640664"/>
                <a:gd name="connsiteX40" fmla="*/ 1724454 w 1758419"/>
                <a:gd name="connsiteY40" fmla="*/ 36739 h 640664"/>
                <a:gd name="connsiteX41" fmla="*/ 1722173 w 1758419"/>
                <a:gd name="connsiteY41" fmla="*/ 35538 h 640664"/>
                <a:gd name="connsiteX42" fmla="*/ 1719751 w 1758419"/>
                <a:gd name="connsiteY42" fmla="*/ 34497 h 640664"/>
                <a:gd name="connsiteX43" fmla="*/ 1708944 w 1758419"/>
                <a:gd name="connsiteY43" fmla="*/ 31414 h 640664"/>
                <a:gd name="connsiteX44" fmla="*/ 1697856 w 1758419"/>
                <a:gd name="connsiteY44" fmla="*/ 28691 h 640664"/>
                <a:gd name="connsiteX45" fmla="*/ 1686609 w 1758419"/>
                <a:gd name="connsiteY45" fmla="*/ 26188 h 640664"/>
                <a:gd name="connsiteX46" fmla="*/ 1665195 w 1758419"/>
                <a:gd name="connsiteY46" fmla="*/ 21963 h 640664"/>
                <a:gd name="connsiteX47" fmla="*/ 1652686 w 1758419"/>
                <a:gd name="connsiteY47" fmla="*/ 19741 h 640664"/>
                <a:gd name="connsiteX48" fmla="*/ 1640618 w 1758419"/>
                <a:gd name="connsiteY48" fmla="*/ 17759 h 640664"/>
                <a:gd name="connsiteX49" fmla="*/ 1616502 w 1758419"/>
                <a:gd name="connsiteY49" fmla="*/ 14175 h 640664"/>
                <a:gd name="connsiteX50" fmla="*/ 1498183 w 1758419"/>
                <a:gd name="connsiteY50" fmla="*/ 3063 h 640664"/>
                <a:gd name="connsiteX51" fmla="*/ 1380065 w 1758419"/>
                <a:gd name="connsiteY51" fmla="*/ 1081 h 640664"/>
                <a:gd name="connsiteX52" fmla="*/ 1145609 w 1758419"/>
                <a:gd name="connsiteY52" fmla="*/ 20702 h 640664"/>
                <a:gd name="connsiteX53" fmla="*/ 1116569 w 1758419"/>
                <a:gd name="connsiteY53" fmla="*/ 25167 h 640664"/>
                <a:gd name="connsiteX54" fmla="*/ 1087630 w 1758419"/>
                <a:gd name="connsiteY54" fmla="*/ 30152 h 640664"/>
                <a:gd name="connsiteX55" fmla="*/ 1058771 w 1758419"/>
                <a:gd name="connsiteY55" fmla="*/ 35538 h 640664"/>
                <a:gd name="connsiteX56" fmla="*/ 1029992 w 1758419"/>
                <a:gd name="connsiteY56" fmla="*/ 41284 h 640664"/>
                <a:gd name="connsiteX57" fmla="*/ 1001293 w 1758419"/>
                <a:gd name="connsiteY57" fmla="*/ 47451 h 640664"/>
                <a:gd name="connsiteX58" fmla="*/ 972734 w 1758419"/>
                <a:gd name="connsiteY58" fmla="*/ 54118 h 640664"/>
                <a:gd name="connsiteX59" fmla="*/ 958464 w 1758419"/>
                <a:gd name="connsiteY59" fmla="*/ 57481 h 640664"/>
                <a:gd name="connsiteX60" fmla="*/ 944355 w 1758419"/>
                <a:gd name="connsiteY60" fmla="*/ 61085 h 640664"/>
                <a:gd name="connsiteX61" fmla="*/ 916176 w 1758419"/>
                <a:gd name="connsiteY61" fmla="*/ 68353 h 640664"/>
                <a:gd name="connsiteX62" fmla="*/ 916176 w 1758419"/>
                <a:gd name="connsiteY62" fmla="*/ 68353 h 640664"/>
                <a:gd name="connsiteX63" fmla="*/ 915956 w 1758419"/>
                <a:gd name="connsiteY63" fmla="*/ 68393 h 640664"/>
                <a:gd name="connsiteX64" fmla="*/ 914495 w 1758419"/>
                <a:gd name="connsiteY64" fmla="*/ 68673 h 640664"/>
                <a:gd name="connsiteX65" fmla="*/ 910432 w 1758419"/>
                <a:gd name="connsiteY65" fmla="*/ 69294 h 640664"/>
                <a:gd name="connsiteX66" fmla="*/ 900666 w 1758419"/>
                <a:gd name="connsiteY66" fmla="*/ 70355 h 640664"/>
                <a:gd name="connsiteX67" fmla="*/ 895702 w 1758419"/>
                <a:gd name="connsiteY67" fmla="*/ 70736 h 640664"/>
                <a:gd name="connsiteX68" fmla="*/ 890599 w 1758419"/>
                <a:gd name="connsiteY68" fmla="*/ 70936 h 640664"/>
                <a:gd name="connsiteX69" fmla="*/ 880152 w 1758419"/>
                <a:gd name="connsiteY69" fmla="*/ 71296 h 640664"/>
                <a:gd name="connsiteX70" fmla="*/ 878931 w 1758419"/>
                <a:gd name="connsiteY70" fmla="*/ 71196 h 640664"/>
                <a:gd name="connsiteX71" fmla="*/ 877550 w 1758419"/>
                <a:gd name="connsiteY71" fmla="*/ 71116 h 640664"/>
                <a:gd name="connsiteX72" fmla="*/ 872107 w 1758419"/>
                <a:gd name="connsiteY72" fmla="*/ 70675 h 640664"/>
                <a:gd name="connsiteX73" fmla="*/ 868344 w 1758419"/>
                <a:gd name="connsiteY73" fmla="*/ 70395 h 640664"/>
                <a:gd name="connsiteX74" fmla="*/ 864402 w 1758419"/>
                <a:gd name="connsiteY74" fmla="*/ 70155 h 640664"/>
                <a:gd name="connsiteX75" fmla="*/ 859839 w 1758419"/>
                <a:gd name="connsiteY75" fmla="*/ 69795 h 640664"/>
                <a:gd name="connsiteX76" fmla="*/ 851273 w 1758419"/>
                <a:gd name="connsiteY76" fmla="*/ 68773 h 640664"/>
                <a:gd name="connsiteX77" fmla="*/ 848411 w 1758419"/>
                <a:gd name="connsiteY77" fmla="*/ 68233 h 640664"/>
                <a:gd name="connsiteX78" fmla="*/ 848051 w 1758419"/>
                <a:gd name="connsiteY78" fmla="*/ 68153 h 640664"/>
                <a:gd name="connsiteX79" fmla="*/ 847991 w 1758419"/>
                <a:gd name="connsiteY79" fmla="*/ 68153 h 640664"/>
                <a:gd name="connsiteX80" fmla="*/ 848491 w 1758419"/>
                <a:gd name="connsiteY80" fmla="*/ 68293 h 640664"/>
                <a:gd name="connsiteX81" fmla="*/ 849291 w 1758419"/>
                <a:gd name="connsiteY81" fmla="*/ 68553 h 640664"/>
                <a:gd name="connsiteX82" fmla="*/ 849992 w 1758419"/>
                <a:gd name="connsiteY82" fmla="*/ 68814 h 640664"/>
                <a:gd name="connsiteX83" fmla="*/ 850712 w 1758419"/>
                <a:gd name="connsiteY83" fmla="*/ 69094 h 640664"/>
                <a:gd name="connsiteX84" fmla="*/ 852434 w 1758419"/>
                <a:gd name="connsiteY84" fmla="*/ 69795 h 640664"/>
                <a:gd name="connsiteX85" fmla="*/ 844608 w 1758419"/>
                <a:gd name="connsiteY85" fmla="*/ 67072 h 640664"/>
                <a:gd name="connsiteX86" fmla="*/ 717624 w 1758419"/>
                <a:gd name="connsiteY86" fmla="*/ 37340 h 640664"/>
                <a:gd name="connsiteX87" fmla="*/ 688805 w 1758419"/>
                <a:gd name="connsiteY87" fmla="*/ 31714 h 640664"/>
                <a:gd name="connsiteX88" fmla="*/ 659865 w 1758419"/>
                <a:gd name="connsiteY88" fmla="*/ 26628 h 640664"/>
                <a:gd name="connsiteX89" fmla="*/ 630866 w 1758419"/>
                <a:gd name="connsiteY89" fmla="*/ 21943 h 640664"/>
                <a:gd name="connsiteX90" fmla="*/ 616356 w 1758419"/>
                <a:gd name="connsiteY90" fmla="*/ 19681 h 640664"/>
                <a:gd name="connsiteX91" fmla="*/ 601807 w 1758419"/>
                <a:gd name="connsiteY91" fmla="*/ 17659 h 640664"/>
                <a:gd name="connsiteX92" fmla="*/ 484849 w 1758419"/>
                <a:gd name="connsiteY92" fmla="*/ 5065 h 640664"/>
                <a:gd name="connsiteX93" fmla="*/ 248932 w 1758419"/>
                <a:gd name="connsiteY93" fmla="*/ 3203 h 640664"/>
                <a:gd name="connsiteX94" fmla="*/ 159232 w 1758419"/>
                <a:gd name="connsiteY94" fmla="*/ 11652 h 640664"/>
                <a:gd name="connsiteX95" fmla="*/ 114322 w 1758419"/>
                <a:gd name="connsiteY95" fmla="*/ 18179 h 640664"/>
                <a:gd name="connsiteX96" fmla="*/ 103075 w 1758419"/>
                <a:gd name="connsiteY96" fmla="*/ 20081 h 640664"/>
                <a:gd name="connsiteX97" fmla="*/ 91247 w 1758419"/>
                <a:gd name="connsiteY97" fmla="*/ 22244 h 640664"/>
                <a:gd name="connsiteX98" fmla="*/ 70133 w 1758419"/>
                <a:gd name="connsiteY98" fmla="*/ 26488 h 640664"/>
                <a:gd name="connsiteX99" fmla="*/ 49219 w 1758419"/>
                <a:gd name="connsiteY99" fmla="*/ 31293 h 640664"/>
                <a:gd name="connsiteX100" fmla="*/ 43075 w 1758419"/>
                <a:gd name="connsiteY100" fmla="*/ 33476 h 640664"/>
                <a:gd name="connsiteX101" fmla="*/ 39993 w 1758419"/>
                <a:gd name="connsiteY101" fmla="*/ 34557 h 640664"/>
                <a:gd name="connsiteX102" fmla="*/ 38452 w 1758419"/>
                <a:gd name="connsiteY102" fmla="*/ 35097 h 640664"/>
                <a:gd name="connsiteX103" fmla="*/ 37011 w 1758419"/>
                <a:gd name="connsiteY103" fmla="*/ 35718 h 640664"/>
                <a:gd name="connsiteX104" fmla="*/ 31827 w 1758419"/>
                <a:gd name="connsiteY104" fmla="*/ 38741 h 640664"/>
                <a:gd name="connsiteX105" fmla="*/ 29226 w 1758419"/>
                <a:gd name="connsiteY105" fmla="*/ 40243 h 640664"/>
                <a:gd name="connsiteX106" fmla="*/ 26764 w 1758419"/>
                <a:gd name="connsiteY106" fmla="*/ 41825 h 640664"/>
                <a:gd name="connsiteX107" fmla="*/ 22461 w 1758419"/>
                <a:gd name="connsiteY107" fmla="*/ 45308 h 640664"/>
                <a:gd name="connsiteX108" fmla="*/ 18338 w 1758419"/>
                <a:gd name="connsiteY108" fmla="*/ 49072 h 640664"/>
                <a:gd name="connsiteX109" fmla="*/ 10713 w 1758419"/>
                <a:gd name="connsiteY109" fmla="*/ 58583 h 640664"/>
                <a:gd name="connsiteX110" fmla="*/ 7931 w 1758419"/>
                <a:gd name="connsiteY110" fmla="*/ 63308 h 640664"/>
                <a:gd name="connsiteX111" fmla="*/ 5490 w 1758419"/>
                <a:gd name="connsiteY111" fmla="*/ 68233 h 640664"/>
                <a:gd name="connsiteX112" fmla="*/ 3408 w 1758419"/>
                <a:gd name="connsiteY112" fmla="*/ 73659 h 640664"/>
                <a:gd name="connsiteX113" fmla="*/ 2528 w 1758419"/>
                <a:gd name="connsiteY113" fmla="*/ 76562 h 640664"/>
                <a:gd name="connsiteX114" fmla="*/ 1747 w 1758419"/>
                <a:gd name="connsiteY114" fmla="*/ 79545 h 640664"/>
                <a:gd name="connsiteX115" fmla="*/ 626 w 1758419"/>
                <a:gd name="connsiteY115" fmla="*/ 85852 h 640664"/>
                <a:gd name="connsiteX116" fmla="*/ 226 w 1758419"/>
                <a:gd name="connsiteY116" fmla="*/ 89115 h 640664"/>
                <a:gd name="connsiteX117" fmla="*/ 86 w 1758419"/>
                <a:gd name="connsiteY117" fmla="*/ 92499 h 640664"/>
                <a:gd name="connsiteX118" fmla="*/ 6 w 1758419"/>
                <a:gd name="connsiteY118" fmla="*/ 106253 h 640664"/>
                <a:gd name="connsiteX119" fmla="*/ 6 w 1758419"/>
                <a:gd name="connsiteY119" fmla="*/ 150921 h 640664"/>
                <a:gd name="connsiteX120" fmla="*/ 86 w 1758419"/>
                <a:gd name="connsiteY120" fmla="*/ 154485 h 640664"/>
                <a:gd name="connsiteX121" fmla="*/ 566 w 1758419"/>
                <a:gd name="connsiteY121" fmla="*/ 161593 h 640664"/>
                <a:gd name="connsiteX122" fmla="*/ 2948 w 1758419"/>
                <a:gd name="connsiteY122" fmla="*/ 175628 h 640664"/>
                <a:gd name="connsiteX123" fmla="*/ 13115 w 1758419"/>
                <a:gd name="connsiteY123" fmla="*/ 202156 h 640664"/>
                <a:gd name="connsiteX124" fmla="*/ 14856 w 1758419"/>
                <a:gd name="connsiteY124" fmla="*/ 205259 h 640664"/>
                <a:gd name="connsiteX125" fmla="*/ 16397 w 1758419"/>
                <a:gd name="connsiteY125" fmla="*/ 207862 h 640664"/>
                <a:gd name="connsiteX126" fmla="*/ 18238 w 1758419"/>
                <a:gd name="connsiteY126" fmla="*/ 210925 h 640664"/>
                <a:gd name="connsiteX127" fmla="*/ 21901 w 1758419"/>
                <a:gd name="connsiteY127" fmla="*/ 217052 h 640664"/>
                <a:gd name="connsiteX128" fmla="*/ 29246 w 1758419"/>
                <a:gd name="connsiteY128" fmla="*/ 229285 h 640664"/>
                <a:gd name="connsiteX129" fmla="*/ 36590 w 1758419"/>
                <a:gd name="connsiteY129" fmla="*/ 241518 h 640664"/>
                <a:gd name="connsiteX130" fmla="*/ 37711 w 1758419"/>
                <a:gd name="connsiteY130" fmla="*/ 243400 h 640664"/>
                <a:gd name="connsiteX131" fmla="*/ 38352 w 1758419"/>
                <a:gd name="connsiteY131" fmla="*/ 244581 h 640664"/>
                <a:gd name="connsiteX132" fmla="*/ 39492 w 1758419"/>
                <a:gd name="connsiteY132" fmla="*/ 247024 h 640664"/>
                <a:gd name="connsiteX133" fmla="*/ 41193 w 1758419"/>
                <a:gd name="connsiteY133" fmla="*/ 252149 h 640664"/>
                <a:gd name="connsiteX134" fmla="*/ 43875 w 1758419"/>
                <a:gd name="connsiteY134" fmla="*/ 264463 h 640664"/>
                <a:gd name="connsiteX135" fmla="*/ 49879 w 1758419"/>
                <a:gd name="connsiteY135" fmla="*/ 292352 h 640664"/>
                <a:gd name="connsiteX136" fmla="*/ 61907 w 1758419"/>
                <a:gd name="connsiteY136" fmla="*/ 348152 h 640664"/>
                <a:gd name="connsiteX137" fmla="*/ 73935 w 1758419"/>
                <a:gd name="connsiteY137" fmla="*/ 403952 h 640664"/>
                <a:gd name="connsiteX138" fmla="*/ 79939 w 1758419"/>
                <a:gd name="connsiteY138" fmla="*/ 431841 h 640664"/>
                <a:gd name="connsiteX139" fmla="*/ 82941 w 1758419"/>
                <a:gd name="connsiteY139" fmla="*/ 445796 h 640664"/>
                <a:gd name="connsiteX140" fmla="*/ 84442 w 1758419"/>
                <a:gd name="connsiteY140" fmla="*/ 452764 h 640664"/>
                <a:gd name="connsiteX141" fmla="*/ 85203 w 1758419"/>
                <a:gd name="connsiteY141" fmla="*/ 456267 h 640664"/>
                <a:gd name="connsiteX142" fmla="*/ 86364 w 1758419"/>
                <a:gd name="connsiteY142" fmla="*/ 460832 h 640664"/>
                <a:gd name="connsiteX143" fmla="*/ 115023 w 1758419"/>
                <a:gd name="connsiteY143" fmla="*/ 530146 h 640664"/>
                <a:gd name="connsiteX144" fmla="*/ 164315 w 1758419"/>
                <a:gd name="connsiteY144" fmla="*/ 586647 h 640664"/>
                <a:gd name="connsiteX145" fmla="*/ 228918 w 1758419"/>
                <a:gd name="connsiteY145" fmla="*/ 624647 h 640664"/>
                <a:gd name="connsiteX146" fmla="*/ 302267 w 1758419"/>
                <a:gd name="connsiteY146" fmla="*/ 640184 h 640664"/>
                <a:gd name="connsiteX147" fmla="*/ 311654 w 1758419"/>
                <a:gd name="connsiteY147" fmla="*/ 640564 h 640664"/>
                <a:gd name="connsiteX148" fmla="*/ 312834 w 1758419"/>
                <a:gd name="connsiteY148" fmla="*/ 640604 h 640664"/>
                <a:gd name="connsiteX149" fmla="*/ 313875 w 1758419"/>
                <a:gd name="connsiteY149" fmla="*/ 640624 h 640664"/>
                <a:gd name="connsiteX150" fmla="*/ 483248 w 1758419"/>
                <a:gd name="connsiteY150" fmla="*/ 640624 h 640664"/>
                <a:gd name="connsiteX151" fmla="*/ 491593 w 1758419"/>
                <a:gd name="connsiteY151" fmla="*/ 640504 h 640664"/>
                <a:gd name="connsiteX152" fmla="*/ 508705 w 1758419"/>
                <a:gd name="connsiteY152" fmla="*/ 639743 h 640664"/>
                <a:gd name="connsiteX153" fmla="*/ 542687 w 1758419"/>
                <a:gd name="connsiteY153" fmla="*/ 635519 h 640664"/>
                <a:gd name="connsiteX154" fmla="*/ 669252 w 1758419"/>
                <a:gd name="connsiteY154" fmla="*/ 585425 h 640664"/>
                <a:gd name="connsiteX155" fmla="*/ 765796 w 1758419"/>
                <a:gd name="connsiteY155" fmla="*/ 489423 h 640664"/>
                <a:gd name="connsiteX156" fmla="*/ 783228 w 1758419"/>
                <a:gd name="connsiteY156" fmla="*/ 459931 h 640664"/>
                <a:gd name="connsiteX157" fmla="*/ 790833 w 1758419"/>
                <a:gd name="connsiteY157" fmla="*/ 444575 h 640664"/>
                <a:gd name="connsiteX158" fmla="*/ 794295 w 1758419"/>
                <a:gd name="connsiteY158" fmla="*/ 436747 h 640664"/>
                <a:gd name="connsiteX159" fmla="*/ 795996 w 1758419"/>
                <a:gd name="connsiteY159" fmla="*/ 432822 h 640664"/>
                <a:gd name="connsiteX160" fmla="*/ 796817 w 1758419"/>
                <a:gd name="connsiteY160" fmla="*/ 430900 h 640664"/>
                <a:gd name="connsiteX161" fmla="*/ 797497 w 1758419"/>
                <a:gd name="connsiteY161" fmla="*/ 429259 h 640664"/>
                <a:gd name="connsiteX162" fmla="*/ 819171 w 1758419"/>
                <a:gd name="connsiteY162" fmla="*/ 376462 h 640664"/>
                <a:gd name="connsiteX163" fmla="*/ 841666 w 1758419"/>
                <a:gd name="connsiteY163" fmla="*/ 321684 h 640664"/>
                <a:gd name="connsiteX164" fmla="*/ 841927 w 1758419"/>
                <a:gd name="connsiteY164" fmla="*/ 321604 h 640664"/>
                <a:gd name="connsiteX165" fmla="*/ 843988 w 1758419"/>
                <a:gd name="connsiteY165" fmla="*/ 321083 h 640664"/>
                <a:gd name="connsiteX166" fmla="*/ 851333 w 1758419"/>
                <a:gd name="connsiteY166" fmla="*/ 319341 h 640664"/>
                <a:gd name="connsiteX167" fmla="*/ 866023 w 1758419"/>
                <a:gd name="connsiteY167" fmla="*/ 317039 h 640664"/>
                <a:gd name="connsiteX168" fmla="*/ 894602 w 1758419"/>
                <a:gd name="connsiteY168" fmla="*/ 317059 h 640664"/>
                <a:gd name="connsiteX169" fmla="*/ 901466 w 1758419"/>
                <a:gd name="connsiteY169" fmla="*/ 318060 h 640664"/>
                <a:gd name="connsiteX170" fmla="*/ 908211 w 1758419"/>
                <a:gd name="connsiteY170" fmla="*/ 319461 h 640664"/>
                <a:gd name="connsiteX171" fmla="*/ 911553 w 1758419"/>
                <a:gd name="connsiteY171" fmla="*/ 320262 h 640664"/>
                <a:gd name="connsiteX172" fmla="*/ 914835 w 1758419"/>
                <a:gd name="connsiteY172" fmla="*/ 321263 h 640664"/>
                <a:gd name="connsiteX173" fmla="*/ 916356 w 1758419"/>
                <a:gd name="connsiteY173" fmla="*/ 321724 h 640664"/>
                <a:gd name="connsiteX174" fmla="*/ 916816 w 1758419"/>
                <a:gd name="connsiteY174" fmla="*/ 321844 h 640664"/>
                <a:gd name="connsiteX175" fmla="*/ 916816 w 1758419"/>
                <a:gd name="connsiteY175" fmla="*/ 321844 h 640664"/>
                <a:gd name="connsiteX176" fmla="*/ 943774 w 1758419"/>
                <a:gd name="connsiteY176" fmla="*/ 387494 h 640664"/>
                <a:gd name="connsiteX177" fmla="*/ 954622 w 1758419"/>
                <a:gd name="connsiteY177" fmla="*/ 413902 h 640664"/>
                <a:gd name="connsiteX178" fmla="*/ 960045 w 1758419"/>
                <a:gd name="connsiteY178" fmla="*/ 427096 h 640664"/>
                <a:gd name="connsiteX179" fmla="*/ 961406 w 1758419"/>
                <a:gd name="connsiteY179" fmla="*/ 430400 h 640664"/>
                <a:gd name="connsiteX180" fmla="*/ 963027 w 1758419"/>
                <a:gd name="connsiteY180" fmla="*/ 434184 h 640664"/>
                <a:gd name="connsiteX181" fmla="*/ 966429 w 1758419"/>
                <a:gd name="connsiteY181" fmla="*/ 442032 h 640664"/>
                <a:gd name="connsiteX182" fmla="*/ 982140 w 1758419"/>
                <a:gd name="connsiteY182" fmla="*/ 472485 h 640664"/>
                <a:gd name="connsiteX183" fmla="*/ 991086 w 1758419"/>
                <a:gd name="connsiteY183" fmla="*/ 487100 h 640664"/>
                <a:gd name="connsiteX184" fmla="*/ 1000832 w 1758419"/>
                <a:gd name="connsiteY184" fmla="*/ 501195 h 640664"/>
                <a:gd name="connsiteX185" fmla="*/ 1101339 w 1758419"/>
                <a:gd name="connsiteY185" fmla="*/ 593013 h 640664"/>
                <a:gd name="connsiteX186" fmla="*/ 1163321 w 1758419"/>
                <a:gd name="connsiteY186" fmla="*/ 621944 h 640664"/>
                <a:gd name="connsiteX187" fmla="*/ 1229925 w 1758419"/>
                <a:gd name="connsiteY187" fmla="*/ 637701 h 640664"/>
                <a:gd name="connsiteX188" fmla="*/ 1031673 w 1758419"/>
                <a:gd name="connsiteY188" fmla="*/ 478832 h 640664"/>
                <a:gd name="connsiteX189" fmla="*/ 1023027 w 1758419"/>
                <a:gd name="connsiteY189" fmla="*/ 466318 h 640664"/>
                <a:gd name="connsiteX190" fmla="*/ 1015102 w 1758419"/>
                <a:gd name="connsiteY190" fmla="*/ 453344 h 640664"/>
                <a:gd name="connsiteX191" fmla="*/ 1001173 w 1758419"/>
                <a:gd name="connsiteY191" fmla="*/ 426335 h 640664"/>
                <a:gd name="connsiteX192" fmla="*/ 989905 w 1758419"/>
                <a:gd name="connsiteY192" fmla="*/ 399407 h 640664"/>
                <a:gd name="connsiteX193" fmla="*/ 979058 w 1758419"/>
                <a:gd name="connsiteY193" fmla="*/ 372998 h 640664"/>
                <a:gd name="connsiteX194" fmla="*/ 957383 w 1758419"/>
                <a:gd name="connsiteY194" fmla="*/ 320202 h 640664"/>
                <a:gd name="connsiteX195" fmla="*/ 952000 w 1758419"/>
                <a:gd name="connsiteY195" fmla="*/ 307108 h 640664"/>
                <a:gd name="connsiteX196" fmla="*/ 950179 w 1758419"/>
                <a:gd name="connsiteY196" fmla="*/ 302663 h 640664"/>
                <a:gd name="connsiteX197" fmla="*/ 948117 w 1758419"/>
                <a:gd name="connsiteY197" fmla="*/ 298319 h 640664"/>
                <a:gd name="connsiteX198" fmla="*/ 941693 w 1758419"/>
                <a:gd name="connsiteY198" fmla="*/ 291251 h 640664"/>
                <a:gd name="connsiteX199" fmla="*/ 937550 w 1758419"/>
                <a:gd name="connsiteY199" fmla="*/ 288829 h 640664"/>
                <a:gd name="connsiteX200" fmla="*/ 933067 w 1758419"/>
                <a:gd name="connsiteY200" fmla="*/ 287107 h 640664"/>
                <a:gd name="connsiteX201" fmla="*/ 929805 w 1758419"/>
                <a:gd name="connsiteY201" fmla="*/ 285925 h 640664"/>
                <a:gd name="connsiteX202" fmla="*/ 925842 w 1758419"/>
                <a:gd name="connsiteY202" fmla="*/ 284724 h 640664"/>
                <a:gd name="connsiteX203" fmla="*/ 921459 w 1758419"/>
                <a:gd name="connsiteY203" fmla="*/ 283423 h 640664"/>
                <a:gd name="connsiteX204" fmla="*/ 916997 w 1758419"/>
                <a:gd name="connsiteY204" fmla="*/ 282342 h 640664"/>
                <a:gd name="connsiteX205" fmla="*/ 908011 w 1758419"/>
                <a:gd name="connsiteY205" fmla="*/ 280480 h 640664"/>
                <a:gd name="connsiteX206" fmla="*/ 898925 w 1758419"/>
                <a:gd name="connsiteY206" fmla="*/ 279158 h 640664"/>
                <a:gd name="connsiteX207" fmla="*/ 861960 w 1758419"/>
                <a:gd name="connsiteY207" fmla="*/ 279098 h 640664"/>
                <a:gd name="connsiteX208" fmla="*/ 843488 w 1758419"/>
                <a:gd name="connsiteY208" fmla="*/ 282001 h 640664"/>
                <a:gd name="connsiteX209" fmla="*/ 834362 w 1758419"/>
                <a:gd name="connsiteY209" fmla="*/ 284164 h 640664"/>
                <a:gd name="connsiteX210" fmla="*/ 832080 w 1758419"/>
                <a:gd name="connsiteY210" fmla="*/ 284744 h 640664"/>
                <a:gd name="connsiteX211" fmla="*/ 830339 w 1758419"/>
                <a:gd name="connsiteY211" fmla="*/ 285245 h 640664"/>
                <a:gd name="connsiteX212" fmla="*/ 826937 w 1758419"/>
                <a:gd name="connsiteY212" fmla="*/ 286266 h 640664"/>
                <a:gd name="connsiteX213" fmla="*/ 820452 w 1758419"/>
                <a:gd name="connsiteY213" fmla="*/ 288688 h 640664"/>
                <a:gd name="connsiteX214" fmla="*/ 814789 w 1758419"/>
                <a:gd name="connsiteY214" fmla="*/ 292653 h 640664"/>
                <a:gd name="connsiteX215" fmla="*/ 810446 w 1758419"/>
                <a:gd name="connsiteY215" fmla="*/ 298018 h 640664"/>
                <a:gd name="connsiteX216" fmla="*/ 807544 w 1758419"/>
                <a:gd name="connsiteY216" fmla="*/ 304305 h 640664"/>
                <a:gd name="connsiteX217" fmla="*/ 783868 w 1758419"/>
                <a:gd name="connsiteY217" fmla="*/ 361987 h 640664"/>
                <a:gd name="connsiteX218" fmla="*/ 762194 w 1758419"/>
                <a:gd name="connsiteY218" fmla="*/ 414783 h 640664"/>
                <a:gd name="connsiteX219" fmla="*/ 759272 w 1758419"/>
                <a:gd name="connsiteY219" fmla="*/ 421650 h 640664"/>
                <a:gd name="connsiteX220" fmla="*/ 756190 w 1758419"/>
                <a:gd name="connsiteY220" fmla="*/ 428598 h 640664"/>
                <a:gd name="connsiteX221" fmla="*/ 749445 w 1758419"/>
                <a:gd name="connsiteY221" fmla="*/ 442212 h 640664"/>
                <a:gd name="connsiteX222" fmla="*/ 733975 w 1758419"/>
                <a:gd name="connsiteY222" fmla="*/ 468380 h 640664"/>
                <a:gd name="connsiteX223" fmla="*/ 648338 w 1758419"/>
                <a:gd name="connsiteY223" fmla="*/ 553531 h 640664"/>
                <a:gd name="connsiteX224" fmla="*/ 536063 w 1758419"/>
                <a:gd name="connsiteY224" fmla="*/ 597979 h 640664"/>
                <a:gd name="connsiteX225" fmla="*/ 505903 w 1758419"/>
                <a:gd name="connsiteY225" fmla="*/ 601743 h 640664"/>
                <a:gd name="connsiteX226" fmla="*/ 490733 w 1758419"/>
                <a:gd name="connsiteY226" fmla="*/ 602424 h 640664"/>
                <a:gd name="connsiteX227" fmla="*/ 483208 w 1758419"/>
                <a:gd name="connsiteY227" fmla="*/ 602544 h 640664"/>
                <a:gd name="connsiteX228" fmla="*/ 315616 w 1758419"/>
                <a:gd name="connsiteY228" fmla="*/ 602544 h 640664"/>
                <a:gd name="connsiteX229" fmla="*/ 311914 w 1758419"/>
                <a:gd name="connsiteY229" fmla="*/ 602484 h 640664"/>
                <a:gd name="connsiteX230" fmla="*/ 304049 w 1758419"/>
                <a:gd name="connsiteY230" fmla="*/ 602143 h 640664"/>
                <a:gd name="connsiteX231" fmla="*/ 242708 w 1758419"/>
                <a:gd name="connsiteY231" fmla="*/ 589149 h 640664"/>
                <a:gd name="connsiteX232" fmla="*/ 188652 w 1758419"/>
                <a:gd name="connsiteY232" fmla="*/ 557355 h 640664"/>
                <a:gd name="connsiteX233" fmla="*/ 147384 w 1758419"/>
                <a:gd name="connsiteY233" fmla="*/ 510085 h 640664"/>
                <a:gd name="connsiteX234" fmla="*/ 123428 w 1758419"/>
                <a:gd name="connsiteY234" fmla="*/ 452083 h 640664"/>
                <a:gd name="connsiteX235" fmla="*/ 122448 w 1758419"/>
                <a:gd name="connsiteY235" fmla="*/ 448279 h 640664"/>
                <a:gd name="connsiteX236" fmla="*/ 121687 w 1758419"/>
                <a:gd name="connsiteY236" fmla="*/ 444795 h 640664"/>
                <a:gd name="connsiteX237" fmla="*/ 120186 w 1758419"/>
                <a:gd name="connsiteY237" fmla="*/ 437828 h 640664"/>
                <a:gd name="connsiteX238" fmla="*/ 117184 w 1758419"/>
                <a:gd name="connsiteY238" fmla="*/ 423873 h 640664"/>
                <a:gd name="connsiteX239" fmla="*/ 111180 w 1758419"/>
                <a:gd name="connsiteY239" fmla="*/ 395983 h 640664"/>
                <a:gd name="connsiteX240" fmla="*/ 99152 w 1758419"/>
                <a:gd name="connsiteY240" fmla="*/ 340183 h 640664"/>
                <a:gd name="connsiteX241" fmla="*/ 87124 w 1758419"/>
                <a:gd name="connsiteY241" fmla="*/ 284384 h 640664"/>
                <a:gd name="connsiteX242" fmla="*/ 81120 w 1758419"/>
                <a:gd name="connsiteY242" fmla="*/ 256494 h 640664"/>
                <a:gd name="connsiteX243" fmla="*/ 79619 w 1758419"/>
                <a:gd name="connsiteY243" fmla="*/ 249527 h 640664"/>
                <a:gd name="connsiteX244" fmla="*/ 78859 w 1758419"/>
                <a:gd name="connsiteY244" fmla="*/ 246043 h 640664"/>
                <a:gd name="connsiteX245" fmla="*/ 78518 w 1758419"/>
                <a:gd name="connsiteY245" fmla="*/ 244481 h 640664"/>
                <a:gd name="connsiteX246" fmla="*/ 78198 w 1758419"/>
                <a:gd name="connsiteY246" fmla="*/ 243100 h 640664"/>
                <a:gd name="connsiteX247" fmla="*/ 74616 w 1758419"/>
                <a:gd name="connsiteY247" fmla="*/ 232308 h 640664"/>
                <a:gd name="connsiteX248" fmla="*/ 72214 w 1758419"/>
                <a:gd name="connsiteY248" fmla="*/ 227163 h 640664"/>
                <a:gd name="connsiteX249" fmla="*/ 70853 w 1758419"/>
                <a:gd name="connsiteY249" fmla="*/ 224660 h 640664"/>
                <a:gd name="connsiteX250" fmla="*/ 69272 w 1758419"/>
                <a:gd name="connsiteY250" fmla="*/ 221977 h 640664"/>
                <a:gd name="connsiteX251" fmla="*/ 61927 w 1758419"/>
                <a:gd name="connsiteY251" fmla="*/ 209744 h 640664"/>
                <a:gd name="connsiteX252" fmla="*/ 54582 w 1758419"/>
                <a:gd name="connsiteY252" fmla="*/ 197511 h 640664"/>
                <a:gd name="connsiteX253" fmla="*/ 50920 w 1758419"/>
                <a:gd name="connsiteY253" fmla="*/ 191384 h 640664"/>
                <a:gd name="connsiteX254" fmla="*/ 49079 w 1758419"/>
                <a:gd name="connsiteY254" fmla="*/ 188321 h 640664"/>
                <a:gd name="connsiteX255" fmla="*/ 47958 w 1758419"/>
                <a:gd name="connsiteY255" fmla="*/ 186439 h 640664"/>
                <a:gd name="connsiteX256" fmla="*/ 46777 w 1758419"/>
                <a:gd name="connsiteY256" fmla="*/ 184377 h 640664"/>
                <a:gd name="connsiteX257" fmla="*/ 39993 w 1758419"/>
                <a:gd name="connsiteY257" fmla="*/ 166798 h 640664"/>
                <a:gd name="connsiteX258" fmla="*/ 38452 w 1758419"/>
                <a:gd name="connsiteY258" fmla="*/ 157488 h 640664"/>
                <a:gd name="connsiteX259" fmla="*/ 38151 w 1758419"/>
                <a:gd name="connsiteY259" fmla="*/ 152763 h 640664"/>
                <a:gd name="connsiteX260" fmla="*/ 38111 w 1758419"/>
                <a:gd name="connsiteY260" fmla="*/ 150401 h 640664"/>
                <a:gd name="connsiteX261" fmla="*/ 38111 w 1758419"/>
                <a:gd name="connsiteY261" fmla="*/ 115403 h 640664"/>
                <a:gd name="connsiteX262" fmla="*/ 38672 w 1758419"/>
                <a:gd name="connsiteY262" fmla="*/ 97404 h 640664"/>
                <a:gd name="connsiteX263" fmla="*/ 39893 w 1758419"/>
                <a:gd name="connsiteY263" fmla="*/ 89075 h 640664"/>
                <a:gd name="connsiteX264" fmla="*/ 40693 w 1758419"/>
                <a:gd name="connsiteY264" fmla="*/ 85151 h 640664"/>
                <a:gd name="connsiteX265" fmla="*/ 41774 w 1758419"/>
                <a:gd name="connsiteY265" fmla="*/ 81307 h 640664"/>
                <a:gd name="connsiteX266" fmla="*/ 47037 w 1758419"/>
                <a:gd name="connsiteY266" fmla="*/ 74640 h 640664"/>
                <a:gd name="connsiteX267" fmla="*/ 50580 w 1758419"/>
                <a:gd name="connsiteY267" fmla="*/ 72678 h 640664"/>
                <a:gd name="connsiteX268" fmla="*/ 54242 w 1758419"/>
                <a:gd name="connsiteY268" fmla="*/ 70996 h 640664"/>
                <a:gd name="connsiteX269" fmla="*/ 62107 w 1758419"/>
                <a:gd name="connsiteY269" fmla="*/ 67953 h 640664"/>
                <a:gd name="connsiteX270" fmla="*/ 70613 w 1758419"/>
                <a:gd name="connsiteY270" fmla="*/ 65510 h 640664"/>
                <a:gd name="connsiteX271" fmla="*/ 84562 w 1758419"/>
                <a:gd name="connsiteY271" fmla="*/ 62447 h 640664"/>
                <a:gd name="connsiteX272" fmla="*/ 98592 w 1758419"/>
                <a:gd name="connsiteY272" fmla="*/ 59684 h 640664"/>
                <a:gd name="connsiteX273" fmla="*/ 109619 w 1758419"/>
                <a:gd name="connsiteY273" fmla="*/ 57682 h 640664"/>
                <a:gd name="connsiteX274" fmla="*/ 120486 w 1758419"/>
                <a:gd name="connsiteY274" fmla="*/ 55840 h 640664"/>
                <a:gd name="connsiteX275" fmla="*/ 163995 w 1758419"/>
                <a:gd name="connsiteY275" fmla="*/ 49513 h 640664"/>
                <a:gd name="connsiteX276" fmla="*/ 251313 w 1758419"/>
                <a:gd name="connsiteY276" fmla="*/ 41284 h 640664"/>
                <a:gd name="connsiteX277" fmla="*/ 481887 w 1758419"/>
                <a:gd name="connsiteY277" fmla="*/ 43146 h 640664"/>
                <a:gd name="connsiteX278" fmla="*/ 596463 w 1758419"/>
                <a:gd name="connsiteY278" fmla="*/ 55499 h 640664"/>
                <a:gd name="connsiteX279" fmla="*/ 610733 w 1758419"/>
                <a:gd name="connsiteY279" fmla="*/ 57481 h 640664"/>
                <a:gd name="connsiteX280" fmla="*/ 624962 w 1758419"/>
                <a:gd name="connsiteY280" fmla="*/ 59704 h 640664"/>
                <a:gd name="connsiteX281" fmla="*/ 653401 w 1758419"/>
                <a:gd name="connsiteY281" fmla="*/ 64309 h 640664"/>
                <a:gd name="connsiteX282" fmla="*/ 681760 w 1758419"/>
                <a:gd name="connsiteY282" fmla="*/ 69294 h 640664"/>
                <a:gd name="connsiteX283" fmla="*/ 710019 w 1758419"/>
                <a:gd name="connsiteY283" fmla="*/ 74820 h 640664"/>
                <a:gd name="connsiteX284" fmla="*/ 834642 w 1758419"/>
                <a:gd name="connsiteY284" fmla="*/ 104011 h 640664"/>
                <a:gd name="connsiteX285" fmla="*/ 837183 w 1758419"/>
                <a:gd name="connsiteY285" fmla="*/ 104892 h 640664"/>
                <a:gd name="connsiteX286" fmla="*/ 836663 w 1758419"/>
                <a:gd name="connsiteY286" fmla="*/ 104672 h 640664"/>
                <a:gd name="connsiteX287" fmla="*/ 836663 w 1758419"/>
                <a:gd name="connsiteY287" fmla="*/ 104672 h 640664"/>
                <a:gd name="connsiteX288" fmla="*/ 836903 w 1758419"/>
                <a:gd name="connsiteY288" fmla="*/ 104752 h 640664"/>
                <a:gd name="connsiteX289" fmla="*/ 837764 w 1758419"/>
                <a:gd name="connsiteY289" fmla="*/ 104992 h 640664"/>
                <a:gd name="connsiteX290" fmla="*/ 839965 w 1758419"/>
                <a:gd name="connsiteY290" fmla="*/ 105533 h 640664"/>
                <a:gd name="connsiteX291" fmla="*/ 845089 w 1758419"/>
                <a:gd name="connsiteY291" fmla="*/ 106494 h 640664"/>
                <a:gd name="connsiteX292" fmla="*/ 856356 w 1758419"/>
                <a:gd name="connsiteY292" fmla="*/ 107855 h 640664"/>
                <a:gd name="connsiteX293" fmla="*/ 862100 w 1758419"/>
                <a:gd name="connsiteY293" fmla="*/ 108296 h 640664"/>
                <a:gd name="connsiteX294" fmla="*/ 868885 w 1758419"/>
                <a:gd name="connsiteY294" fmla="*/ 108756 h 640664"/>
                <a:gd name="connsiteX295" fmla="*/ 874929 w 1758419"/>
                <a:gd name="connsiteY295" fmla="*/ 109237 h 640664"/>
                <a:gd name="connsiteX296" fmla="*/ 877510 w 1758419"/>
                <a:gd name="connsiteY296" fmla="*/ 109377 h 640664"/>
                <a:gd name="connsiteX297" fmla="*/ 880032 w 1758419"/>
                <a:gd name="connsiteY297" fmla="*/ 109497 h 640664"/>
                <a:gd name="connsiteX298" fmla="*/ 891980 w 1758419"/>
                <a:gd name="connsiteY298" fmla="*/ 109097 h 640664"/>
                <a:gd name="connsiteX299" fmla="*/ 897904 w 1758419"/>
                <a:gd name="connsiteY299" fmla="*/ 108856 h 640664"/>
                <a:gd name="connsiteX300" fmla="*/ 903788 w 1758419"/>
                <a:gd name="connsiteY300" fmla="*/ 108416 h 640664"/>
                <a:gd name="connsiteX301" fmla="*/ 915456 w 1758419"/>
                <a:gd name="connsiteY301" fmla="*/ 107154 h 640664"/>
                <a:gd name="connsiteX302" fmla="*/ 920999 w 1758419"/>
                <a:gd name="connsiteY302" fmla="*/ 106294 h 640664"/>
                <a:gd name="connsiteX303" fmla="*/ 923581 w 1758419"/>
                <a:gd name="connsiteY303" fmla="*/ 105813 h 640664"/>
                <a:gd name="connsiteX304" fmla="*/ 925742 w 1758419"/>
                <a:gd name="connsiteY304" fmla="*/ 105312 h 640664"/>
                <a:gd name="connsiteX305" fmla="*/ 953541 w 1758419"/>
                <a:gd name="connsiteY305" fmla="*/ 98145 h 640664"/>
                <a:gd name="connsiteX306" fmla="*/ 967450 w 1758419"/>
                <a:gd name="connsiteY306" fmla="*/ 94581 h 640664"/>
                <a:gd name="connsiteX307" fmla="*/ 981459 w 1758419"/>
                <a:gd name="connsiteY307" fmla="*/ 91278 h 640664"/>
                <a:gd name="connsiteX308" fmla="*/ 1009498 w 1758419"/>
                <a:gd name="connsiteY308" fmla="*/ 84731 h 640664"/>
                <a:gd name="connsiteX309" fmla="*/ 1037657 w 1758419"/>
                <a:gd name="connsiteY309" fmla="*/ 78684 h 640664"/>
                <a:gd name="connsiteX310" fmla="*/ 1065896 w 1758419"/>
                <a:gd name="connsiteY310" fmla="*/ 73038 h 640664"/>
                <a:gd name="connsiteX311" fmla="*/ 1094215 w 1758419"/>
                <a:gd name="connsiteY311" fmla="*/ 67772 h 640664"/>
                <a:gd name="connsiteX312" fmla="*/ 1122593 w 1758419"/>
                <a:gd name="connsiteY312" fmla="*/ 62887 h 640664"/>
                <a:gd name="connsiteX313" fmla="*/ 1151072 w 1758419"/>
                <a:gd name="connsiteY313" fmla="*/ 58523 h 640664"/>
                <a:gd name="connsiteX314" fmla="*/ 1380685 w 1758419"/>
                <a:gd name="connsiteY314" fmla="*/ 39302 h 640664"/>
                <a:gd name="connsiteX315" fmla="*/ 1611199 w 1758419"/>
                <a:gd name="connsiteY315" fmla="*/ 52036 h 640664"/>
                <a:gd name="connsiteX316" fmla="*/ 1634534 w 1758419"/>
                <a:gd name="connsiteY316" fmla="*/ 55519 h 640664"/>
                <a:gd name="connsiteX317" fmla="*/ 1646182 w 1758419"/>
                <a:gd name="connsiteY317" fmla="*/ 57441 h 640664"/>
                <a:gd name="connsiteX318" fmla="*/ 1657970 w 1758419"/>
                <a:gd name="connsiteY318" fmla="*/ 59524 h 640664"/>
                <a:gd name="connsiteX319" fmla="*/ 1714027 w 1758419"/>
                <a:gd name="connsiteY319" fmla="*/ 75581 h 640664"/>
                <a:gd name="connsiteX320" fmla="*/ 1716289 w 1758419"/>
                <a:gd name="connsiteY320" fmla="*/ 78324 h 640664"/>
                <a:gd name="connsiteX321" fmla="*/ 1717169 w 1758419"/>
                <a:gd name="connsiteY321" fmla="*/ 81507 h 640664"/>
                <a:gd name="connsiteX322" fmla="*/ 1718590 w 1758419"/>
                <a:gd name="connsiteY322" fmla="*/ 87974 h 640664"/>
                <a:gd name="connsiteX323" fmla="*/ 1720191 w 1758419"/>
                <a:gd name="connsiteY323" fmla="*/ 102349 h 640664"/>
                <a:gd name="connsiteX324" fmla="*/ 1720251 w 1758419"/>
                <a:gd name="connsiteY324" fmla="*/ 133122 h 640664"/>
                <a:gd name="connsiteX325" fmla="*/ 1720251 w 1758419"/>
                <a:gd name="connsiteY325" fmla="*/ 151041 h 640664"/>
                <a:gd name="connsiteX326" fmla="*/ 1719711 w 1758419"/>
                <a:gd name="connsiteY326" fmla="*/ 158710 h 640664"/>
                <a:gd name="connsiteX327" fmla="*/ 1709784 w 1758419"/>
                <a:gd name="connsiteY327" fmla="*/ 187600 h 640664"/>
                <a:gd name="connsiteX328" fmla="*/ 1687850 w 1758419"/>
                <a:gd name="connsiteY328" fmla="*/ 224159 h 640664"/>
                <a:gd name="connsiteX329" fmla="*/ 1686008 w 1758419"/>
                <a:gd name="connsiteY329" fmla="*/ 227223 h 640664"/>
                <a:gd name="connsiteX330" fmla="*/ 1684728 w 1758419"/>
                <a:gd name="connsiteY330" fmla="*/ 229485 h 640664"/>
                <a:gd name="connsiteX331" fmla="*/ 1682666 w 1758419"/>
                <a:gd name="connsiteY331" fmla="*/ 233990 h 640664"/>
                <a:gd name="connsiteX332" fmla="*/ 1681145 w 1758419"/>
                <a:gd name="connsiteY332" fmla="*/ 238715 h 640664"/>
                <a:gd name="connsiteX333" fmla="*/ 1679764 w 1758419"/>
                <a:gd name="connsiteY333" fmla="*/ 244942 h 640664"/>
                <a:gd name="connsiteX334" fmla="*/ 1673760 w 1758419"/>
                <a:gd name="connsiteY334" fmla="*/ 272831 h 640664"/>
                <a:gd name="connsiteX335" fmla="*/ 1661732 w 1758419"/>
                <a:gd name="connsiteY335" fmla="*/ 328631 h 640664"/>
                <a:gd name="connsiteX336" fmla="*/ 1637696 w 1758419"/>
                <a:gd name="connsiteY336" fmla="*/ 440230 h 640664"/>
                <a:gd name="connsiteX337" fmla="*/ 1636195 w 1758419"/>
                <a:gd name="connsiteY337" fmla="*/ 447198 h 640664"/>
                <a:gd name="connsiteX338" fmla="*/ 1635295 w 1758419"/>
                <a:gd name="connsiteY338" fmla="*/ 450902 h 640664"/>
                <a:gd name="connsiteX339" fmla="*/ 1634314 w 1758419"/>
                <a:gd name="connsiteY339" fmla="*/ 454706 h 640664"/>
                <a:gd name="connsiteX340" fmla="*/ 1629891 w 1758419"/>
                <a:gd name="connsiteY340" fmla="*/ 469802 h 640664"/>
                <a:gd name="connsiteX341" fmla="*/ 1617483 w 1758419"/>
                <a:gd name="connsiteY341" fmla="*/ 498733 h 640664"/>
                <a:gd name="connsiteX342" fmla="*/ 1579618 w 1758419"/>
                <a:gd name="connsiteY342" fmla="*/ 548766 h 640664"/>
                <a:gd name="connsiteX343" fmla="*/ 1467443 w 1758419"/>
                <a:gd name="connsiteY343" fmla="*/ 601202 h 640664"/>
                <a:gd name="connsiteX344" fmla="*/ 1451753 w 1758419"/>
                <a:gd name="connsiteY344" fmla="*/ 602363 h 640664"/>
                <a:gd name="connsiteX345" fmla="*/ 1443987 w 1758419"/>
                <a:gd name="connsiteY345" fmla="*/ 602644 h 640664"/>
                <a:gd name="connsiteX346" fmla="*/ 1279958 w 1758419"/>
                <a:gd name="connsiteY346" fmla="*/ 602644 h 640664"/>
                <a:gd name="connsiteX347" fmla="*/ 1272733 w 1758419"/>
                <a:gd name="connsiteY347" fmla="*/ 602624 h 640664"/>
                <a:gd name="connsiteX348" fmla="*/ 1265128 w 1758419"/>
                <a:gd name="connsiteY348" fmla="*/ 602484 h 640664"/>
                <a:gd name="connsiteX349" fmla="*/ 1234848 w 1758419"/>
                <a:gd name="connsiteY349" fmla="*/ 600021 h 640664"/>
                <a:gd name="connsiteX350" fmla="*/ 1175789 w 1758419"/>
                <a:gd name="connsiteY350" fmla="*/ 586046 h 640664"/>
                <a:gd name="connsiteX351" fmla="*/ 1120792 w 1758419"/>
                <a:gd name="connsiteY351" fmla="*/ 560379 h 640664"/>
                <a:gd name="connsiteX352" fmla="*/ 1031633 w 1758419"/>
                <a:gd name="connsiteY352" fmla="*/ 478932 h 64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</a:cxnLst>
              <a:rect l="l" t="t" r="r" b="b"/>
              <a:pathLst>
                <a:path w="1758419" h="640664">
                  <a:moveTo>
                    <a:pt x="1229905" y="637741"/>
                  </a:moveTo>
                  <a:cubicBezTo>
                    <a:pt x="1241232" y="639303"/>
                    <a:pt x="1252620" y="640124"/>
                    <a:pt x="1264028" y="640504"/>
                  </a:cubicBezTo>
                  <a:lnTo>
                    <a:pt x="1272593" y="640664"/>
                  </a:lnTo>
                  <a:lnTo>
                    <a:pt x="1446069" y="640664"/>
                  </a:lnTo>
                  <a:lnTo>
                    <a:pt x="1448410" y="640564"/>
                  </a:lnTo>
                  <a:lnTo>
                    <a:pt x="1453113" y="640384"/>
                  </a:lnTo>
                  <a:cubicBezTo>
                    <a:pt x="1459378" y="640084"/>
                    <a:pt x="1465642" y="639964"/>
                    <a:pt x="1471846" y="639003"/>
                  </a:cubicBezTo>
                  <a:cubicBezTo>
                    <a:pt x="1496783" y="636160"/>
                    <a:pt x="1521279" y="629232"/>
                    <a:pt x="1544014" y="618581"/>
                  </a:cubicBezTo>
                  <a:cubicBezTo>
                    <a:pt x="1566749" y="607929"/>
                    <a:pt x="1587763" y="593654"/>
                    <a:pt x="1605915" y="576316"/>
                  </a:cubicBezTo>
                  <a:cubicBezTo>
                    <a:pt x="1624087" y="559017"/>
                    <a:pt x="1639457" y="538735"/>
                    <a:pt x="1651185" y="516512"/>
                  </a:cubicBezTo>
                  <a:cubicBezTo>
                    <a:pt x="1656989" y="505380"/>
                    <a:pt x="1662093" y="493848"/>
                    <a:pt x="1666035" y="481935"/>
                  </a:cubicBezTo>
                  <a:cubicBezTo>
                    <a:pt x="1668297" y="476069"/>
                    <a:pt x="1669698" y="469942"/>
                    <a:pt x="1671319" y="463896"/>
                  </a:cubicBezTo>
                  <a:lnTo>
                    <a:pt x="1672479" y="459351"/>
                  </a:lnTo>
                  <a:cubicBezTo>
                    <a:pt x="1672860" y="457869"/>
                    <a:pt x="1673300" y="456147"/>
                    <a:pt x="1673500" y="455146"/>
                  </a:cubicBezTo>
                  <a:lnTo>
                    <a:pt x="1675001" y="448179"/>
                  </a:lnTo>
                  <a:lnTo>
                    <a:pt x="1699037" y="336580"/>
                  </a:lnTo>
                  <a:lnTo>
                    <a:pt x="1711065" y="280780"/>
                  </a:lnTo>
                  <a:lnTo>
                    <a:pt x="1717069" y="252890"/>
                  </a:lnTo>
                  <a:lnTo>
                    <a:pt x="1718090" y="248165"/>
                  </a:lnTo>
                  <a:cubicBezTo>
                    <a:pt x="1718130" y="248005"/>
                    <a:pt x="1718170" y="247865"/>
                    <a:pt x="1718250" y="247705"/>
                  </a:cubicBezTo>
                  <a:cubicBezTo>
                    <a:pt x="1718310" y="247564"/>
                    <a:pt x="1718370" y="247404"/>
                    <a:pt x="1718450" y="247264"/>
                  </a:cubicBezTo>
                  <a:lnTo>
                    <a:pt x="1718510" y="247164"/>
                  </a:lnTo>
                  <a:lnTo>
                    <a:pt x="1718750" y="246744"/>
                  </a:lnTo>
                  <a:lnTo>
                    <a:pt x="1720592" y="243680"/>
                  </a:lnTo>
                  <a:lnTo>
                    <a:pt x="1742626" y="206921"/>
                  </a:lnTo>
                  <a:cubicBezTo>
                    <a:pt x="1750592" y="193647"/>
                    <a:pt x="1755715" y="178711"/>
                    <a:pt x="1757596" y="163334"/>
                  </a:cubicBezTo>
                  <a:cubicBezTo>
                    <a:pt x="1758056" y="159490"/>
                    <a:pt x="1758337" y="155626"/>
                    <a:pt x="1758397" y="151762"/>
                  </a:cubicBezTo>
                  <a:lnTo>
                    <a:pt x="1758397" y="97985"/>
                  </a:lnTo>
                  <a:cubicBezTo>
                    <a:pt x="1758417" y="94121"/>
                    <a:pt x="1758477" y="90216"/>
                    <a:pt x="1758257" y="86452"/>
                  </a:cubicBezTo>
                  <a:cubicBezTo>
                    <a:pt x="1757776" y="78904"/>
                    <a:pt x="1755875" y="72137"/>
                    <a:pt x="1753333" y="66331"/>
                  </a:cubicBezTo>
                  <a:cubicBezTo>
                    <a:pt x="1752713" y="64829"/>
                    <a:pt x="1751952" y="63588"/>
                    <a:pt x="1751212" y="62327"/>
                  </a:cubicBezTo>
                  <a:lnTo>
                    <a:pt x="1748990" y="58502"/>
                  </a:lnTo>
                  <a:cubicBezTo>
                    <a:pt x="1748210" y="57221"/>
                    <a:pt x="1747590" y="55980"/>
                    <a:pt x="1746609" y="54738"/>
                  </a:cubicBezTo>
                  <a:cubicBezTo>
                    <a:pt x="1745648" y="53437"/>
                    <a:pt x="1744467" y="51996"/>
                    <a:pt x="1743427" y="50814"/>
                  </a:cubicBezTo>
                  <a:cubicBezTo>
                    <a:pt x="1742426" y="49633"/>
                    <a:pt x="1741345" y="48692"/>
                    <a:pt x="1740305" y="47631"/>
                  </a:cubicBezTo>
                  <a:lnTo>
                    <a:pt x="1738744" y="46069"/>
                  </a:lnTo>
                  <a:cubicBezTo>
                    <a:pt x="1738183" y="45569"/>
                    <a:pt x="1737523" y="45108"/>
                    <a:pt x="1736922" y="44608"/>
                  </a:cubicBezTo>
                  <a:lnTo>
                    <a:pt x="1733200" y="41725"/>
                  </a:lnTo>
                  <a:cubicBezTo>
                    <a:pt x="1732559" y="41264"/>
                    <a:pt x="1732019" y="40723"/>
                    <a:pt x="1731279" y="40323"/>
                  </a:cubicBezTo>
                  <a:lnTo>
                    <a:pt x="1728997" y="39122"/>
                  </a:lnTo>
                  <a:lnTo>
                    <a:pt x="1724454" y="36739"/>
                  </a:lnTo>
                  <a:lnTo>
                    <a:pt x="1722173" y="35538"/>
                  </a:lnTo>
                  <a:cubicBezTo>
                    <a:pt x="1721392" y="35158"/>
                    <a:pt x="1720712" y="34677"/>
                    <a:pt x="1719751" y="34497"/>
                  </a:cubicBezTo>
                  <a:lnTo>
                    <a:pt x="1708944" y="31414"/>
                  </a:lnTo>
                  <a:cubicBezTo>
                    <a:pt x="1705401" y="30312"/>
                    <a:pt x="1701619" y="29512"/>
                    <a:pt x="1697856" y="28691"/>
                  </a:cubicBezTo>
                  <a:lnTo>
                    <a:pt x="1686609" y="26188"/>
                  </a:lnTo>
                  <a:lnTo>
                    <a:pt x="1665195" y="21963"/>
                  </a:lnTo>
                  <a:lnTo>
                    <a:pt x="1652686" y="19741"/>
                  </a:lnTo>
                  <a:lnTo>
                    <a:pt x="1640618" y="17759"/>
                  </a:lnTo>
                  <a:cubicBezTo>
                    <a:pt x="1632573" y="16458"/>
                    <a:pt x="1624528" y="15296"/>
                    <a:pt x="1616502" y="14175"/>
                  </a:cubicBezTo>
                  <a:cubicBezTo>
                    <a:pt x="1577016" y="8709"/>
                    <a:pt x="1537610" y="5206"/>
                    <a:pt x="1498183" y="3063"/>
                  </a:cubicBezTo>
                  <a:cubicBezTo>
                    <a:pt x="1458777" y="901"/>
                    <a:pt x="1419391" y="380"/>
                    <a:pt x="1380065" y="1081"/>
                  </a:cubicBezTo>
                  <a:cubicBezTo>
                    <a:pt x="1301433" y="2443"/>
                    <a:pt x="1223140" y="9390"/>
                    <a:pt x="1145609" y="20702"/>
                  </a:cubicBezTo>
                  <a:lnTo>
                    <a:pt x="1116569" y="25167"/>
                  </a:lnTo>
                  <a:lnTo>
                    <a:pt x="1087630" y="30152"/>
                  </a:lnTo>
                  <a:cubicBezTo>
                    <a:pt x="1077964" y="31754"/>
                    <a:pt x="1068377" y="33676"/>
                    <a:pt x="1058771" y="35538"/>
                  </a:cubicBezTo>
                  <a:cubicBezTo>
                    <a:pt x="1049185" y="37440"/>
                    <a:pt x="1039538" y="39142"/>
                    <a:pt x="1029992" y="41284"/>
                  </a:cubicBezTo>
                  <a:lnTo>
                    <a:pt x="1001293" y="47451"/>
                  </a:lnTo>
                  <a:cubicBezTo>
                    <a:pt x="991746" y="49573"/>
                    <a:pt x="982240" y="51895"/>
                    <a:pt x="972734" y="54118"/>
                  </a:cubicBezTo>
                  <a:lnTo>
                    <a:pt x="958464" y="57481"/>
                  </a:lnTo>
                  <a:lnTo>
                    <a:pt x="944355" y="61085"/>
                  </a:lnTo>
                  <a:lnTo>
                    <a:pt x="916176" y="68353"/>
                  </a:lnTo>
                  <a:lnTo>
                    <a:pt x="916176" y="68353"/>
                  </a:lnTo>
                  <a:cubicBezTo>
                    <a:pt x="916176" y="68353"/>
                    <a:pt x="916176" y="68353"/>
                    <a:pt x="915956" y="68393"/>
                  </a:cubicBezTo>
                  <a:lnTo>
                    <a:pt x="914495" y="68673"/>
                  </a:lnTo>
                  <a:cubicBezTo>
                    <a:pt x="913354" y="68874"/>
                    <a:pt x="911893" y="69094"/>
                    <a:pt x="910432" y="69294"/>
                  </a:cubicBezTo>
                  <a:cubicBezTo>
                    <a:pt x="907430" y="69694"/>
                    <a:pt x="904108" y="70055"/>
                    <a:pt x="900666" y="70355"/>
                  </a:cubicBezTo>
                  <a:lnTo>
                    <a:pt x="895702" y="70736"/>
                  </a:lnTo>
                  <a:cubicBezTo>
                    <a:pt x="894141" y="70856"/>
                    <a:pt x="892280" y="70856"/>
                    <a:pt x="890599" y="70936"/>
                  </a:cubicBezTo>
                  <a:cubicBezTo>
                    <a:pt x="887117" y="71036"/>
                    <a:pt x="883754" y="71256"/>
                    <a:pt x="880152" y="71296"/>
                  </a:cubicBezTo>
                  <a:cubicBezTo>
                    <a:pt x="878571" y="71156"/>
                    <a:pt x="879432" y="71236"/>
                    <a:pt x="878931" y="71196"/>
                  </a:cubicBezTo>
                  <a:lnTo>
                    <a:pt x="877550" y="71116"/>
                  </a:lnTo>
                  <a:lnTo>
                    <a:pt x="872107" y="70675"/>
                  </a:lnTo>
                  <a:lnTo>
                    <a:pt x="868344" y="70395"/>
                  </a:lnTo>
                  <a:lnTo>
                    <a:pt x="864402" y="70155"/>
                  </a:lnTo>
                  <a:cubicBezTo>
                    <a:pt x="862720" y="70035"/>
                    <a:pt x="861540" y="69975"/>
                    <a:pt x="859839" y="69795"/>
                  </a:cubicBezTo>
                  <a:cubicBezTo>
                    <a:pt x="856676" y="69514"/>
                    <a:pt x="853674" y="69174"/>
                    <a:pt x="851273" y="68773"/>
                  </a:cubicBezTo>
                  <a:cubicBezTo>
                    <a:pt x="850052" y="68593"/>
                    <a:pt x="849031" y="68373"/>
                    <a:pt x="848411" y="68233"/>
                  </a:cubicBezTo>
                  <a:lnTo>
                    <a:pt x="848051" y="68153"/>
                  </a:lnTo>
                  <a:lnTo>
                    <a:pt x="847991" y="68153"/>
                  </a:lnTo>
                  <a:lnTo>
                    <a:pt x="848491" y="68293"/>
                  </a:lnTo>
                  <a:lnTo>
                    <a:pt x="849291" y="68553"/>
                  </a:lnTo>
                  <a:lnTo>
                    <a:pt x="849992" y="68814"/>
                  </a:lnTo>
                  <a:lnTo>
                    <a:pt x="850712" y="69094"/>
                  </a:lnTo>
                  <a:lnTo>
                    <a:pt x="852434" y="69795"/>
                  </a:lnTo>
                  <a:lnTo>
                    <a:pt x="844608" y="67072"/>
                  </a:lnTo>
                  <a:cubicBezTo>
                    <a:pt x="802600" y="55920"/>
                    <a:pt x="760252" y="45949"/>
                    <a:pt x="717624" y="37340"/>
                  </a:cubicBezTo>
                  <a:lnTo>
                    <a:pt x="688805" y="31714"/>
                  </a:lnTo>
                  <a:lnTo>
                    <a:pt x="659865" y="26628"/>
                  </a:lnTo>
                  <a:cubicBezTo>
                    <a:pt x="650239" y="24847"/>
                    <a:pt x="640532" y="23485"/>
                    <a:pt x="630866" y="21943"/>
                  </a:cubicBezTo>
                  <a:lnTo>
                    <a:pt x="616356" y="19681"/>
                  </a:lnTo>
                  <a:lnTo>
                    <a:pt x="601807" y="17659"/>
                  </a:lnTo>
                  <a:cubicBezTo>
                    <a:pt x="563001" y="12213"/>
                    <a:pt x="523995" y="7948"/>
                    <a:pt x="484849" y="5065"/>
                  </a:cubicBezTo>
                  <a:cubicBezTo>
                    <a:pt x="406517" y="-761"/>
                    <a:pt x="327744" y="-1802"/>
                    <a:pt x="248932" y="3203"/>
                  </a:cubicBezTo>
                  <a:cubicBezTo>
                    <a:pt x="219032" y="5085"/>
                    <a:pt x="189152" y="7868"/>
                    <a:pt x="159232" y="11652"/>
                  </a:cubicBezTo>
                  <a:cubicBezTo>
                    <a:pt x="144282" y="13514"/>
                    <a:pt x="129312" y="15717"/>
                    <a:pt x="114322" y="18179"/>
                  </a:cubicBezTo>
                  <a:cubicBezTo>
                    <a:pt x="110580" y="18820"/>
                    <a:pt x="106837" y="19401"/>
                    <a:pt x="103075" y="20081"/>
                  </a:cubicBezTo>
                  <a:lnTo>
                    <a:pt x="91247" y="22244"/>
                  </a:lnTo>
                  <a:lnTo>
                    <a:pt x="70133" y="26488"/>
                  </a:lnTo>
                  <a:cubicBezTo>
                    <a:pt x="63168" y="28090"/>
                    <a:pt x="56143" y="29612"/>
                    <a:pt x="49219" y="31293"/>
                  </a:cubicBezTo>
                  <a:lnTo>
                    <a:pt x="43075" y="33476"/>
                  </a:lnTo>
                  <a:lnTo>
                    <a:pt x="39993" y="34557"/>
                  </a:lnTo>
                  <a:lnTo>
                    <a:pt x="38452" y="35097"/>
                  </a:lnTo>
                  <a:cubicBezTo>
                    <a:pt x="37931" y="35278"/>
                    <a:pt x="37411" y="35438"/>
                    <a:pt x="37011" y="35718"/>
                  </a:cubicBezTo>
                  <a:lnTo>
                    <a:pt x="31827" y="38741"/>
                  </a:lnTo>
                  <a:lnTo>
                    <a:pt x="29226" y="40243"/>
                  </a:lnTo>
                  <a:cubicBezTo>
                    <a:pt x="28405" y="40764"/>
                    <a:pt x="27404" y="41204"/>
                    <a:pt x="26764" y="41825"/>
                  </a:cubicBezTo>
                  <a:lnTo>
                    <a:pt x="22461" y="45308"/>
                  </a:lnTo>
                  <a:cubicBezTo>
                    <a:pt x="20980" y="46450"/>
                    <a:pt x="19699" y="47651"/>
                    <a:pt x="18338" y="49072"/>
                  </a:cubicBezTo>
                  <a:cubicBezTo>
                    <a:pt x="15576" y="51895"/>
                    <a:pt x="12855" y="55319"/>
                    <a:pt x="10713" y="58583"/>
                  </a:cubicBezTo>
                  <a:cubicBezTo>
                    <a:pt x="9632" y="60224"/>
                    <a:pt x="8752" y="61726"/>
                    <a:pt x="7931" y="63308"/>
                  </a:cubicBezTo>
                  <a:cubicBezTo>
                    <a:pt x="7071" y="64849"/>
                    <a:pt x="6250" y="66511"/>
                    <a:pt x="5490" y="68233"/>
                  </a:cubicBezTo>
                  <a:cubicBezTo>
                    <a:pt x="4809" y="70055"/>
                    <a:pt x="4029" y="71777"/>
                    <a:pt x="3408" y="73659"/>
                  </a:cubicBezTo>
                  <a:lnTo>
                    <a:pt x="2528" y="76562"/>
                  </a:lnTo>
                  <a:cubicBezTo>
                    <a:pt x="2228" y="77523"/>
                    <a:pt x="1947" y="78504"/>
                    <a:pt x="1747" y="79545"/>
                  </a:cubicBezTo>
                  <a:cubicBezTo>
                    <a:pt x="1287" y="81607"/>
                    <a:pt x="847" y="83649"/>
                    <a:pt x="626" y="85852"/>
                  </a:cubicBezTo>
                  <a:cubicBezTo>
                    <a:pt x="506" y="86933"/>
                    <a:pt x="326" y="88014"/>
                    <a:pt x="226" y="89115"/>
                  </a:cubicBezTo>
                  <a:lnTo>
                    <a:pt x="86" y="92499"/>
                  </a:lnTo>
                  <a:cubicBezTo>
                    <a:pt x="-74" y="97024"/>
                    <a:pt x="46" y="101669"/>
                    <a:pt x="6" y="106253"/>
                  </a:cubicBezTo>
                  <a:lnTo>
                    <a:pt x="6" y="150921"/>
                  </a:lnTo>
                  <a:lnTo>
                    <a:pt x="86" y="154485"/>
                  </a:lnTo>
                  <a:cubicBezTo>
                    <a:pt x="166" y="156868"/>
                    <a:pt x="326" y="159230"/>
                    <a:pt x="566" y="161593"/>
                  </a:cubicBezTo>
                  <a:cubicBezTo>
                    <a:pt x="1047" y="166318"/>
                    <a:pt x="1847" y="171003"/>
                    <a:pt x="2948" y="175628"/>
                  </a:cubicBezTo>
                  <a:cubicBezTo>
                    <a:pt x="5149" y="184877"/>
                    <a:pt x="8572" y="193807"/>
                    <a:pt x="13115" y="202156"/>
                  </a:cubicBezTo>
                  <a:lnTo>
                    <a:pt x="14856" y="205259"/>
                  </a:lnTo>
                  <a:lnTo>
                    <a:pt x="16397" y="207862"/>
                  </a:lnTo>
                  <a:lnTo>
                    <a:pt x="18238" y="210925"/>
                  </a:lnTo>
                  <a:lnTo>
                    <a:pt x="21901" y="217052"/>
                  </a:lnTo>
                  <a:lnTo>
                    <a:pt x="29246" y="229285"/>
                  </a:lnTo>
                  <a:lnTo>
                    <a:pt x="36590" y="241518"/>
                  </a:lnTo>
                  <a:lnTo>
                    <a:pt x="37711" y="243400"/>
                  </a:lnTo>
                  <a:lnTo>
                    <a:pt x="38352" y="244581"/>
                  </a:lnTo>
                  <a:cubicBezTo>
                    <a:pt x="38772" y="245382"/>
                    <a:pt x="39152" y="246203"/>
                    <a:pt x="39492" y="247024"/>
                  </a:cubicBezTo>
                  <a:cubicBezTo>
                    <a:pt x="40193" y="248686"/>
                    <a:pt x="40753" y="250407"/>
                    <a:pt x="41193" y="252149"/>
                  </a:cubicBezTo>
                  <a:lnTo>
                    <a:pt x="43875" y="264463"/>
                  </a:lnTo>
                  <a:lnTo>
                    <a:pt x="49879" y="292352"/>
                  </a:lnTo>
                  <a:lnTo>
                    <a:pt x="61907" y="348152"/>
                  </a:lnTo>
                  <a:lnTo>
                    <a:pt x="73935" y="403952"/>
                  </a:lnTo>
                  <a:lnTo>
                    <a:pt x="79939" y="431841"/>
                  </a:lnTo>
                  <a:lnTo>
                    <a:pt x="82941" y="445796"/>
                  </a:lnTo>
                  <a:lnTo>
                    <a:pt x="84442" y="452764"/>
                  </a:lnTo>
                  <a:lnTo>
                    <a:pt x="85203" y="456267"/>
                  </a:lnTo>
                  <a:lnTo>
                    <a:pt x="86364" y="460832"/>
                  </a:lnTo>
                  <a:cubicBezTo>
                    <a:pt x="92087" y="485218"/>
                    <a:pt x="101754" y="508804"/>
                    <a:pt x="115023" y="530146"/>
                  </a:cubicBezTo>
                  <a:cubicBezTo>
                    <a:pt x="128291" y="551489"/>
                    <a:pt x="145023" y="570630"/>
                    <a:pt x="164315" y="586647"/>
                  </a:cubicBezTo>
                  <a:cubicBezTo>
                    <a:pt x="183608" y="602664"/>
                    <a:pt x="205503" y="615558"/>
                    <a:pt x="228918" y="624647"/>
                  </a:cubicBezTo>
                  <a:cubicBezTo>
                    <a:pt x="252314" y="633757"/>
                    <a:pt x="277231" y="639003"/>
                    <a:pt x="302267" y="640184"/>
                  </a:cubicBezTo>
                  <a:lnTo>
                    <a:pt x="311654" y="640564"/>
                  </a:lnTo>
                  <a:lnTo>
                    <a:pt x="312834" y="640604"/>
                  </a:lnTo>
                  <a:cubicBezTo>
                    <a:pt x="313255" y="640604"/>
                    <a:pt x="313615" y="640624"/>
                    <a:pt x="313875" y="640624"/>
                  </a:cubicBezTo>
                  <a:lnTo>
                    <a:pt x="483248" y="640624"/>
                  </a:lnTo>
                  <a:lnTo>
                    <a:pt x="491593" y="640504"/>
                  </a:lnTo>
                  <a:cubicBezTo>
                    <a:pt x="497297" y="640484"/>
                    <a:pt x="503001" y="640044"/>
                    <a:pt x="508705" y="639743"/>
                  </a:cubicBezTo>
                  <a:cubicBezTo>
                    <a:pt x="520072" y="638802"/>
                    <a:pt x="531460" y="637581"/>
                    <a:pt x="542687" y="635519"/>
                  </a:cubicBezTo>
                  <a:cubicBezTo>
                    <a:pt x="587697" y="627630"/>
                    <a:pt x="631106" y="610532"/>
                    <a:pt x="669252" y="585425"/>
                  </a:cubicBezTo>
                  <a:cubicBezTo>
                    <a:pt x="707437" y="560379"/>
                    <a:pt x="740619" y="527624"/>
                    <a:pt x="765796" y="489423"/>
                  </a:cubicBezTo>
                  <a:cubicBezTo>
                    <a:pt x="772080" y="479873"/>
                    <a:pt x="777984" y="470082"/>
                    <a:pt x="783228" y="459931"/>
                  </a:cubicBezTo>
                  <a:cubicBezTo>
                    <a:pt x="785949" y="454906"/>
                    <a:pt x="788371" y="449740"/>
                    <a:pt x="790833" y="444575"/>
                  </a:cubicBezTo>
                  <a:cubicBezTo>
                    <a:pt x="792093" y="442012"/>
                    <a:pt x="793154" y="439349"/>
                    <a:pt x="794295" y="436747"/>
                  </a:cubicBezTo>
                  <a:lnTo>
                    <a:pt x="795996" y="432822"/>
                  </a:lnTo>
                  <a:lnTo>
                    <a:pt x="796817" y="430900"/>
                  </a:lnTo>
                  <a:lnTo>
                    <a:pt x="797497" y="429259"/>
                  </a:lnTo>
                  <a:lnTo>
                    <a:pt x="819171" y="376462"/>
                  </a:lnTo>
                  <a:lnTo>
                    <a:pt x="841666" y="321684"/>
                  </a:lnTo>
                  <a:lnTo>
                    <a:pt x="841927" y="321604"/>
                  </a:lnTo>
                  <a:lnTo>
                    <a:pt x="843988" y="321083"/>
                  </a:lnTo>
                  <a:cubicBezTo>
                    <a:pt x="846430" y="320422"/>
                    <a:pt x="848871" y="319902"/>
                    <a:pt x="851333" y="319341"/>
                  </a:cubicBezTo>
                  <a:cubicBezTo>
                    <a:pt x="856236" y="318380"/>
                    <a:pt x="861159" y="317499"/>
                    <a:pt x="866023" y="317039"/>
                  </a:cubicBezTo>
                  <a:cubicBezTo>
                    <a:pt x="875769" y="315978"/>
                    <a:pt x="885375" y="315938"/>
                    <a:pt x="894602" y="317059"/>
                  </a:cubicBezTo>
                  <a:cubicBezTo>
                    <a:pt x="896903" y="317399"/>
                    <a:pt x="899225" y="317559"/>
                    <a:pt x="901466" y="318060"/>
                  </a:cubicBezTo>
                  <a:cubicBezTo>
                    <a:pt x="903728" y="318480"/>
                    <a:pt x="906009" y="318841"/>
                    <a:pt x="908211" y="319461"/>
                  </a:cubicBezTo>
                  <a:lnTo>
                    <a:pt x="911553" y="320262"/>
                  </a:lnTo>
                  <a:cubicBezTo>
                    <a:pt x="912674" y="320522"/>
                    <a:pt x="913734" y="320943"/>
                    <a:pt x="914835" y="321263"/>
                  </a:cubicBezTo>
                  <a:lnTo>
                    <a:pt x="916356" y="321724"/>
                  </a:lnTo>
                  <a:cubicBezTo>
                    <a:pt x="916496" y="321764"/>
                    <a:pt x="916756" y="321824"/>
                    <a:pt x="916816" y="321844"/>
                  </a:cubicBezTo>
                  <a:lnTo>
                    <a:pt x="916816" y="321844"/>
                  </a:lnTo>
                  <a:lnTo>
                    <a:pt x="943774" y="387494"/>
                  </a:lnTo>
                  <a:lnTo>
                    <a:pt x="954622" y="413902"/>
                  </a:lnTo>
                  <a:lnTo>
                    <a:pt x="960045" y="427096"/>
                  </a:lnTo>
                  <a:lnTo>
                    <a:pt x="961406" y="430400"/>
                  </a:lnTo>
                  <a:lnTo>
                    <a:pt x="963027" y="434184"/>
                  </a:lnTo>
                  <a:lnTo>
                    <a:pt x="966429" y="442032"/>
                  </a:lnTo>
                  <a:cubicBezTo>
                    <a:pt x="971233" y="452383"/>
                    <a:pt x="976296" y="462634"/>
                    <a:pt x="982140" y="472485"/>
                  </a:cubicBezTo>
                  <a:cubicBezTo>
                    <a:pt x="984922" y="477490"/>
                    <a:pt x="988084" y="482255"/>
                    <a:pt x="991086" y="487100"/>
                  </a:cubicBezTo>
                  <a:cubicBezTo>
                    <a:pt x="994308" y="491805"/>
                    <a:pt x="997390" y="496631"/>
                    <a:pt x="1000832" y="501195"/>
                  </a:cubicBezTo>
                  <a:cubicBezTo>
                    <a:pt x="1027610" y="538275"/>
                    <a:pt x="1062093" y="569649"/>
                    <a:pt x="1101339" y="593013"/>
                  </a:cubicBezTo>
                  <a:cubicBezTo>
                    <a:pt x="1120932" y="604766"/>
                    <a:pt x="1141786" y="614356"/>
                    <a:pt x="1163321" y="621944"/>
                  </a:cubicBezTo>
                  <a:cubicBezTo>
                    <a:pt x="1184935" y="629352"/>
                    <a:pt x="1207250" y="634798"/>
                    <a:pt x="1229925" y="637701"/>
                  </a:cubicBezTo>
                  <a:close/>
                  <a:moveTo>
                    <a:pt x="1031673" y="478832"/>
                  </a:moveTo>
                  <a:cubicBezTo>
                    <a:pt x="1028611" y="474787"/>
                    <a:pt x="1025909" y="470503"/>
                    <a:pt x="1023027" y="466318"/>
                  </a:cubicBezTo>
                  <a:cubicBezTo>
                    <a:pt x="1020385" y="461994"/>
                    <a:pt x="1017543" y="457789"/>
                    <a:pt x="1015102" y="453344"/>
                  </a:cubicBezTo>
                  <a:cubicBezTo>
                    <a:pt x="1009918" y="444635"/>
                    <a:pt x="1005435" y="435525"/>
                    <a:pt x="1001173" y="426335"/>
                  </a:cubicBezTo>
                  <a:cubicBezTo>
                    <a:pt x="996970" y="416825"/>
                    <a:pt x="993547" y="408256"/>
                    <a:pt x="989905" y="399407"/>
                  </a:cubicBezTo>
                  <a:lnTo>
                    <a:pt x="979058" y="372998"/>
                  </a:lnTo>
                  <a:lnTo>
                    <a:pt x="957383" y="320202"/>
                  </a:lnTo>
                  <a:lnTo>
                    <a:pt x="952000" y="307108"/>
                  </a:lnTo>
                  <a:lnTo>
                    <a:pt x="950179" y="302663"/>
                  </a:lnTo>
                  <a:cubicBezTo>
                    <a:pt x="949578" y="301182"/>
                    <a:pt x="948958" y="299700"/>
                    <a:pt x="948117" y="298319"/>
                  </a:cubicBezTo>
                  <a:cubicBezTo>
                    <a:pt x="946476" y="295556"/>
                    <a:pt x="944275" y="293133"/>
                    <a:pt x="941693" y="291251"/>
                  </a:cubicBezTo>
                  <a:cubicBezTo>
                    <a:pt x="940392" y="290310"/>
                    <a:pt x="939011" y="289489"/>
                    <a:pt x="937550" y="288829"/>
                  </a:cubicBezTo>
                  <a:cubicBezTo>
                    <a:pt x="936089" y="288188"/>
                    <a:pt x="934548" y="287687"/>
                    <a:pt x="933067" y="287107"/>
                  </a:cubicBezTo>
                  <a:cubicBezTo>
                    <a:pt x="931987" y="286706"/>
                    <a:pt x="930906" y="286286"/>
                    <a:pt x="929805" y="285925"/>
                  </a:cubicBezTo>
                  <a:lnTo>
                    <a:pt x="925842" y="284724"/>
                  </a:lnTo>
                  <a:cubicBezTo>
                    <a:pt x="924381" y="284304"/>
                    <a:pt x="922941" y="283783"/>
                    <a:pt x="921459" y="283423"/>
                  </a:cubicBezTo>
                  <a:lnTo>
                    <a:pt x="916997" y="282342"/>
                  </a:lnTo>
                  <a:cubicBezTo>
                    <a:pt x="914055" y="281541"/>
                    <a:pt x="911033" y="281040"/>
                    <a:pt x="908011" y="280480"/>
                  </a:cubicBezTo>
                  <a:cubicBezTo>
                    <a:pt x="905009" y="279839"/>
                    <a:pt x="901947" y="279579"/>
                    <a:pt x="898925" y="279158"/>
                  </a:cubicBezTo>
                  <a:cubicBezTo>
                    <a:pt x="886736" y="277697"/>
                    <a:pt x="874328" y="277757"/>
                    <a:pt x="861960" y="279098"/>
                  </a:cubicBezTo>
                  <a:cubicBezTo>
                    <a:pt x="855776" y="279679"/>
                    <a:pt x="849612" y="280780"/>
                    <a:pt x="843488" y="282001"/>
                  </a:cubicBezTo>
                  <a:cubicBezTo>
                    <a:pt x="840426" y="282682"/>
                    <a:pt x="837384" y="283343"/>
                    <a:pt x="834362" y="284164"/>
                  </a:cubicBezTo>
                  <a:lnTo>
                    <a:pt x="832080" y="284744"/>
                  </a:lnTo>
                  <a:lnTo>
                    <a:pt x="830339" y="285245"/>
                  </a:lnTo>
                  <a:cubicBezTo>
                    <a:pt x="829198" y="285585"/>
                    <a:pt x="828017" y="285885"/>
                    <a:pt x="826937" y="286266"/>
                  </a:cubicBezTo>
                  <a:cubicBezTo>
                    <a:pt x="824735" y="286967"/>
                    <a:pt x="822514" y="287607"/>
                    <a:pt x="820452" y="288688"/>
                  </a:cubicBezTo>
                  <a:cubicBezTo>
                    <a:pt x="818391" y="289730"/>
                    <a:pt x="816510" y="291091"/>
                    <a:pt x="814789" y="292653"/>
                  </a:cubicBezTo>
                  <a:cubicBezTo>
                    <a:pt x="813107" y="294234"/>
                    <a:pt x="811626" y="296036"/>
                    <a:pt x="810446" y="298018"/>
                  </a:cubicBezTo>
                  <a:cubicBezTo>
                    <a:pt x="809225" y="299980"/>
                    <a:pt x="808424" y="302163"/>
                    <a:pt x="807544" y="304305"/>
                  </a:cubicBezTo>
                  <a:lnTo>
                    <a:pt x="783868" y="361987"/>
                  </a:lnTo>
                  <a:lnTo>
                    <a:pt x="762194" y="414783"/>
                  </a:lnTo>
                  <a:cubicBezTo>
                    <a:pt x="761333" y="416925"/>
                    <a:pt x="760252" y="419368"/>
                    <a:pt x="759272" y="421650"/>
                  </a:cubicBezTo>
                  <a:cubicBezTo>
                    <a:pt x="758251" y="423973"/>
                    <a:pt x="757310" y="426315"/>
                    <a:pt x="756190" y="428598"/>
                  </a:cubicBezTo>
                  <a:cubicBezTo>
                    <a:pt x="754008" y="433163"/>
                    <a:pt x="751867" y="437768"/>
                    <a:pt x="749445" y="442212"/>
                  </a:cubicBezTo>
                  <a:cubicBezTo>
                    <a:pt x="744802" y="451222"/>
                    <a:pt x="739538" y="459911"/>
                    <a:pt x="733975" y="468380"/>
                  </a:cubicBezTo>
                  <a:cubicBezTo>
                    <a:pt x="711660" y="502257"/>
                    <a:pt x="682200" y="531308"/>
                    <a:pt x="648338" y="553531"/>
                  </a:cubicBezTo>
                  <a:cubicBezTo>
                    <a:pt x="614475" y="575815"/>
                    <a:pt x="575990" y="590971"/>
                    <a:pt x="536063" y="597979"/>
                  </a:cubicBezTo>
                  <a:cubicBezTo>
                    <a:pt x="526096" y="599821"/>
                    <a:pt x="516010" y="600902"/>
                    <a:pt x="505903" y="601743"/>
                  </a:cubicBezTo>
                  <a:cubicBezTo>
                    <a:pt x="500840" y="602003"/>
                    <a:pt x="495796" y="602404"/>
                    <a:pt x="490733" y="602424"/>
                  </a:cubicBezTo>
                  <a:lnTo>
                    <a:pt x="483208" y="602544"/>
                  </a:lnTo>
                  <a:lnTo>
                    <a:pt x="315616" y="602544"/>
                  </a:lnTo>
                  <a:cubicBezTo>
                    <a:pt x="314435" y="602544"/>
                    <a:pt x="313275" y="602544"/>
                    <a:pt x="311914" y="602484"/>
                  </a:cubicBezTo>
                  <a:lnTo>
                    <a:pt x="304049" y="602143"/>
                  </a:lnTo>
                  <a:cubicBezTo>
                    <a:pt x="283095" y="601142"/>
                    <a:pt x="262281" y="596757"/>
                    <a:pt x="242708" y="589149"/>
                  </a:cubicBezTo>
                  <a:cubicBezTo>
                    <a:pt x="223135" y="581561"/>
                    <a:pt x="204802" y="570770"/>
                    <a:pt x="188652" y="557355"/>
                  </a:cubicBezTo>
                  <a:cubicBezTo>
                    <a:pt x="172481" y="543961"/>
                    <a:pt x="158492" y="527944"/>
                    <a:pt x="147384" y="510085"/>
                  </a:cubicBezTo>
                  <a:cubicBezTo>
                    <a:pt x="136297" y="492226"/>
                    <a:pt x="128211" y="472505"/>
                    <a:pt x="123428" y="452083"/>
                  </a:cubicBezTo>
                  <a:lnTo>
                    <a:pt x="122448" y="448279"/>
                  </a:lnTo>
                  <a:lnTo>
                    <a:pt x="121687" y="444795"/>
                  </a:lnTo>
                  <a:lnTo>
                    <a:pt x="120186" y="437828"/>
                  </a:lnTo>
                  <a:lnTo>
                    <a:pt x="117184" y="423873"/>
                  </a:lnTo>
                  <a:lnTo>
                    <a:pt x="111180" y="395983"/>
                  </a:lnTo>
                  <a:lnTo>
                    <a:pt x="99152" y="340183"/>
                  </a:lnTo>
                  <a:lnTo>
                    <a:pt x="87124" y="284384"/>
                  </a:lnTo>
                  <a:lnTo>
                    <a:pt x="81120" y="256494"/>
                  </a:lnTo>
                  <a:lnTo>
                    <a:pt x="79619" y="249527"/>
                  </a:lnTo>
                  <a:lnTo>
                    <a:pt x="78859" y="246043"/>
                  </a:lnTo>
                  <a:lnTo>
                    <a:pt x="78518" y="244481"/>
                  </a:lnTo>
                  <a:lnTo>
                    <a:pt x="78198" y="243100"/>
                  </a:lnTo>
                  <a:cubicBezTo>
                    <a:pt x="77298" y="239416"/>
                    <a:pt x="76097" y="235812"/>
                    <a:pt x="74616" y="232308"/>
                  </a:cubicBezTo>
                  <a:cubicBezTo>
                    <a:pt x="73875" y="230566"/>
                    <a:pt x="73075" y="228844"/>
                    <a:pt x="72214" y="227163"/>
                  </a:cubicBezTo>
                  <a:cubicBezTo>
                    <a:pt x="71774" y="226322"/>
                    <a:pt x="71334" y="225481"/>
                    <a:pt x="70853" y="224660"/>
                  </a:cubicBezTo>
                  <a:lnTo>
                    <a:pt x="69272" y="221977"/>
                  </a:lnTo>
                  <a:lnTo>
                    <a:pt x="61927" y="209744"/>
                  </a:lnTo>
                  <a:lnTo>
                    <a:pt x="54582" y="197511"/>
                  </a:lnTo>
                  <a:lnTo>
                    <a:pt x="50920" y="191384"/>
                  </a:lnTo>
                  <a:lnTo>
                    <a:pt x="49079" y="188321"/>
                  </a:lnTo>
                  <a:lnTo>
                    <a:pt x="47958" y="186439"/>
                  </a:lnTo>
                  <a:lnTo>
                    <a:pt x="46777" y="184377"/>
                  </a:lnTo>
                  <a:cubicBezTo>
                    <a:pt x="43735" y="178851"/>
                    <a:pt x="41454" y="172925"/>
                    <a:pt x="39993" y="166798"/>
                  </a:cubicBezTo>
                  <a:cubicBezTo>
                    <a:pt x="39272" y="163735"/>
                    <a:pt x="38752" y="160612"/>
                    <a:pt x="38452" y="157488"/>
                  </a:cubicBezTo>
                  <a:cubicBezTo>
                    <a:pt x="38292" y="155927"/>
                    <a:pt x="38191" y="154345"/>
                    <a:pt x="38151" y="152763"/>
                  </a:cubicBezTo>
                  <a:lnTo>
                    <a:pt x="38111" y="150401"/>
                  </a:lnTo>
                  <a:lnTo>
                    <a:pt x="38111" y="115403"/>
                  </a:lnTo>
                  <a:cubicBezTo>
                    <a:pt x="38111" y="109317"/>
                    <a:pt x="38011" y="103150"/>
                    <a:pt x="38672" y="97404"/>
                  </a:cubicBezTo>
                  <a:cubicBezTo>
                    <a:pt x="38972" y="94521"/>
                    <a:pt x="39412" y="91758"/>
                    <a:pt x="39893" y="89075"/>
                  </a:cubicBezTo>
                  <a:cubicBezTo>
                    <a:pt x="40133" y="87734"/>
                    <a:pt x="40413" y="86432"/>
                    <a:pt x="40693" y="85151"/>
                  </a:cubicBezTo>
                  <a:cubicBezTo>
                    <a:pt x="40953" y="83870"/>
                    <a:pt x="41234" y="82588"/>
                    <a:pt x="41774" y="81307"/>
                  </a:cubicBezTo>
                  <a:cubicBezTo>
                    <a:pt x="42855" y="78744"/>
                    <a:pt x="44776" y="76302"/>
                    <a:pt x="47037" y="74640"/>
                  </a:cubicBezTo>
                  <a:cubicBezTo>
                    <a:pt x="48158" y="73799"/>
                    <a:pt x="49339" y="73238"/>
                    <a:pt x="50580" y="72678"/>
                  </a:cubicBezTo>
                  <a:lnTo>
                    <a:pt x="54242" y="70996"/>
                  </a:lnTo>
                  <a:cubicBezTo>
                    <a:pt x="56784" y="69935"/>
                    <a:pt x="59486" y="68974"/>
                    <a:pt x="62107" y="67953"/>
                  </a:cubicBezTo>
                  <a:cubicBezTo>
                    <a:pt x="64889" y="67092"/>
                    <a:pt x="67791" y="66331"/>
                    <a:pt x="70613" y="65510"/>
                  </a:cubicBezTo>
                  <a:lnTo>
                    <a:pt x="84562" y="62447"/>
                  </a:lnTo>
                  <a:lnTo>
                    <a:pt x="98592" y="59684"/>
                  </a:lnTo>
                  <a:lnTo>
                    <a:pt x="109619" y="57682"/>
                  </a:lnTo>
                  <a:cubicBezTo>
                    <a:pt x="113241" y="57021"/>
                    <a:pt x="116864" y="56460"/>
                    <a:pt x="120486" y="55840"/>
                  </a:cubicBezTo>
                  <a:cubicBezTo>
                    <a:pt x="134976" y="53457"/>
                    <a:pt x="149466" y="51335"/>
                    <a:pt x="163995" y="49513"/>
                  </a:cubicBezTo>
                  <a:cubicBezTo>
                    <a:pt x="193035" y="45829"/>
                    <a:pt x="222154" y="43126"/>
                    <a:pt x="251313" y="41284"/>
                  </a:cubicBezTo>
                  <a:cubicBezTo>
                    <a:pt x="328185" y="36399"/>
                    <a:pt x="405256" y="37420"/>
                    <a:pt x="481887" y="43146"/>
                  </a:cubicBezTo>
                  <a:cubicBezTo>
                    <a:pt x="520212" y="45989"/>
                    <a:pt x="558438" y="50154"/>
                    <a:pt x="596463" y="55499"/>
                  </a:cubicBezTo>
                  <a:lnTo>
                    <a:pt x="610733" y="57481"/>
                  </a:lnTo>
                  <a:lnTo>
                    <a:pt x="624962" y="59704"/>
                  </a:lnTo>
                  <a:cubicBezTo>
                    <a:pt x="634448" y="61225"/>
                    <a:pt x="643955" y="62567"/>
                    <a:pt x="653401" y="64309"/>
                  </a:cubicBezTo>
                  <a:lnTo>
                    <a:pt x="681760" y="69294"/>
                  </a:lnTo>
                  <a:lnTo>
                    <a:pt x="710019" y="74820"/>
                  </a:lnTo>
                  <a:cubicBezTo>
                    <a:pt x="751847" y="83269"/>
                    <a:pt x="793394" y="93059"/>
                    <a:pt x="834642" y="104011"/>
                  </a:cubicBezTo>
                  <a:lnTo>
                    <a:pt x="837183" y="104892"/>
                  </a:lnTo>
                  <a:cubicBezTo>
                    <a:pt x="836863" y="104752"/>
                    <a:pt x="836723" y="104692"/>
                    <a:pt x="836663" y="104672"/>
                  </a:cubicBezTo>
                  <a:lnTo>
                    <a:pt x="836663" y="104672"/>
                  </a:lnTo>
                  <a:lnTo>
                    <a:pt x="836903" y="104752"/>
                  </a:lnTo>
                  <a:lnTo>
                    <a:pt x="837764" y="104992"/>
                  </a:lnTo>
                  <a:cubicBezTo>
                    <a:pt x="838404" y="105172"/>
                    <a:pt x="839185" y="105353"/>
                    <a:pt x="839965" y="105533"/>
                  </a:cubicBezTo>
                  <a:cubicBezTo>
                    <a:pt x="841566" y="105893"/>
                    <a:pt x="843287" y="106213"/>
                    <a:pt x="845089" y="106494"/>
                  </a:cubicBezTo>
                  <a:cubicBezTo>
                    <a:pt x="848691" y="107074"/>
                    <a:pt x="852494" y="107515"/>
                    <a:pt x="856356" y="107855"/>
                  </a:cubicBezTo>
                  <a:cubicBezTo>
                    <a:pt x="858317" y="108035"/>
                    <a:pt x="860139" y="108156"/>
                    <a:pt x="862100" y="108296"/>
                  </a:cubicBezTo>
                  <a:cubicBezTo>
                    <a:pt x="864281" y="108416"/>
                    <a:pt x="866743" y="108596"/>
                    <a:pt x="868885" y="108756"/>
                  </a:cubicBezTo>
                  <a:lnTo>
                    <a:pt x="874929" y="109237"/>
                  </a:lnTo>
                  <a:lnTo>
                    <a:pt x="877510" y="109377"/>
                  </a:lnTo>
                  <a:cubicBezTo>
                    <a:pt x="878391" y="109437"/>
                    <a:pt x="878811" y="109337"/>
                    <a:pt x="880032" y="109497"/>
                  </a:cubicBezTo>
                  <a:cubicBezTo>
                    <a:pt x="884055" y="109437"/>
                    <a:pt x="887997" y="109217"/>
                    <a:pt x="891980" y="109097"/>
                  </a:cubicBezTo>
                  <a:cubicBezTo>
                    <a:pt x="893961" y="109016"/>
                    <a:pt x="895983" y="108996"/>
                    <a:pt x="897904" y="108856"/>
                  </a:cubicBezTo>
                  <a:lnTo>
                    <a:pt x="903788" y="108416"/>
                  </a:lnTo>
                  <a:cubicBezTo>
                    <a:pt x="907750" y="108075"/>
                    <a:pt x="911673" y="107655"/>
                    <a:pt x="915456" y="107154"/>
                  </a:cubicBezTo>
                  <a:cubicBezTo>
                    <a:pt x="917337" y="106894"/>
                    <a:pt x="919218" y="106614"/>
                    <a:pt x="920999" y="106294"/>
                  </a:cubicBezTo>
                  <a:lnTo>
                    <a:pt x="923581" y="105813"/>
                  </a:lnTo>
                  <a:cubicBezTo>
                    <a:pt x="924401" y="105633"/>
                    <a:pt x="925022" y="105513"/>
                    <a:pt x="925742" y="105312"/>
                  </a:cubicBezTo>
                  <a:lnTo>
                    <a:pt x="953541" y="98145"/>
                  </a:lnTo>
                  <a:lnTo>
                    <a:pt x="967450" y="94581"/>
                  </a:lnTo>
                  <a:lnTo>
                    <a:pt x="981459" y="91278"/>
                  </a:lnTo>
                  <a:cubicBezTo>
                    <a:pt x="990806" y="89095"/>
                    <a:pt x="1000132" y="86813"/>
                    <a:pt x="1009498" y="84731"/>
                  </a:cubicBezTo>
                  <a:lnTo>
                    <a:pt x="1037657" y="78684"/>
                  </a:lnTo>
                  <a:cubicBezTo>
                    <a:pt x="1047023" y="76582"/>
                    <a:pt x="1056489" y="74920"/>
                    <a:pt x="1065896" y="73038"/>
                  </a:cubicBezTo>
                  <a:cubicBezTo>
                    <a:pt x="1075322" y="71216"/>
                    <a:pt x="1084728" y="69334"/>
                    <a:pt x="1094215" y="67772"/>
                  </a:cubicBezTo>
                  <a:lnTo>
                    <a:pt x="1122593" y="62887"/>
                  </a:lnTo>
                  <a:lnTo>
                    <a:pt x="1151072" y="58523"/>
                  </a:lnTo>
                  <a:cubicBezTo>
                    <a:pt x="1227083" y="47431"/>
                    <a:pt x="1303774" y="40623"/>
                    <a:pt x="1380685" y="39302"/>
                  </a:cubicBezTo>
                  <a:cubicBezTo>
                    <a:pt x="1457576" y="37900"/>
                    <a:pt x="1534648" y="41584"/>
                    <a:pt x="1611199" y="52036"/>
                  </a:cubicBezTo>
                  <a:cubicBezTo>
                    <a:pt x="1618984" y="53137"/>
                    <a:pt x="1626769" y="54258"/>
                    <a:pt x="1634534" y="55519"/>
                  </a:cubicBezTo>
                  <a:lnTo>
                    <a:pt x="1646182" y="57441"/>
                  </a:lnTo>
                  <a:lnTo>
                    <a:pt x="1657970" y="59524"/>
                  </a:lnTo>
                  <a:cubicBezTo>
                    <a:pt x="1676842" y="63268"/>
                    <a:pt x="1699377" y="66711"/>
                    <a:pt x="1714027" y="75581"/>
                  </a:cubicBezTo>
                  <a:cubicBezTo>
                    <a:pt x="1714948" y="76261"/>
                    <a:pt x="1715788" y="77263"/>
                    <a:pt x="1716289" y="78324"/>
                  </a:cubicBezTo>
                  <a:cubicBezTo>
                    <a:pt x="1716789" y="79365"/>
                    <a:pt x="1716869" y="80426"/>
                    <a:pt x="1717169" y="81507"/>
                  </a:cubicBezTo>
                  <a:cubicBezTo>
                    <a:pt x="1717630" y="83669"/>
                    <a:pt x="1718170" y="85712"/>
                    <a:pt x="1718590" y="87974"/>
                  </a:cubicBezTo>
                  <a:cubicBezTo>
                    <a:pt x="1719411" y="92479"/>
                    <a:pt x="1720031" y="97284"/>
                    <a:pt x="1720191" y="102349"/>
                  </a:cubicBezTo>
                  <a:cubicBezTo>
                    <a:pt x="1720311" y="112560"/>
                    <a:pt x="1720231" y="122871"/>
                    <a:pt x="1720251" y="133122"/>
                  </a:cubicBezTo>
                  <a:lnTo>
                    <a:pt x="1720251" y="151041"/>
                  </a:lnTo>
                  <a:cubicBezTo>
                    <a:pt x="1720211" y="153604"/>
                    <a:pt x="1720031" y="156167"/>
                    <a:pt x="1719711" y="158710"/>
                  </a:cubicBezTo>
                  <a:cubicBezTo>
                    <a:pt x="1718490" y="168900"/>
                    <a:pt x="1715088" y="178811"/>
                    <a:pt x="1709784" y="187600"/>
                  </a:cubicBezTo>
                  <a:lnTo>
                    <a:pt x="1687850" y="224159"/>
                  </a:lnTo>
                  <a:lnTo>
                    <a:pt x="1686008" y="227223"/>
                  </a:lnTo>
                  <a:cubicBezTo>
                    <a:pt x="1685468" y="228144"/>
                    <a:pt x="1685128" y="228704"/>
                    <a:pt x="1684728" y="229485"/>
                  </a:cubicBezTo>
                  <a:cubicBezTo>
                    <a:pt x="1683947" y="230947"/>
                    <a:pt x="1683267" y="232448"/>
                    <a:pt x="1682666" y="233990"/>
                  </a:cubicBezTo>
                  <a:cubicBezTo>
                    <a:pt x="1682066" y="235532"/>
                    <a:pt x="1681566" y="237113"/>
                    <a:pt x="1681145" y="238715"/>
                  </a:cubicBezTo>
                  <a:cubicBezTo>
                    <a:pt x="1680805" y="240016"/>
                    <a:pt x="1680265" y="242679"/>
                    <a:pt x="1679764" y="244942"/>
                  </a:cubicBezTo>
                  <a:lnTo>
                    <a:pt x="1673760" y="272831"/>
                  </a:lnTo>
                  <a:lnTo>
                    <a:pt x="1661732" y="328631"/>
                  </a:lnTo>
                  <a:lnTo>
                    <a:pt x="1637696" y="440230"/>
                  </a:lnTo>
                  <a:lnTo>
                    <a:pt x="1636195" y="447198"/>
                  </a:lnTo>
                  <a:cubicBezTo>
                    <a:pt x="1635975" y="448319"/>
                    <a:pt x="1635615" y="449640"/>
                    <a:pt x="1635295" y="450902"/>
                  </a:cubicBezTo>
                  <a:lnTo>
                    <a:pt x="1634314" y="454706"/>
                  </a:lnTo>
                  <a:cubicBezTo>
                    <a:pt x="1632953" y="459771"/>
                    <a:pt x="1631832" y="464917"/>
                    <a:pt x="1629891" y="469802"/>
                  </a:cubicBezTo>
                  <a:cubicBezTo>
                    <a:pt x="1626609" y="479773"/>
                    <a:pt x="1622326" y="489403"/>
                    <a:pt x="1617483" y="498733"/>
                  </a:cubicBezTo>
                  <a:cubicBezTo>
                    <a:pt x="1607676" y="517313"/>
                    <a:pt x="1594828" y="534271"/>
                    <a:pt x="1579618" y="548766"/>
                  </a:cubicBezTo>
                  <a:cubicBezTo>
                    <a:pt x="1549237" y="577817"/>
                    <a:pt x="1509211" y="596537"/>
                    <a:pt x="1467443" y="601202"/>
                  </a:cubicBezTo>
                  <a:cubicBezTo>
                    <a:pt x="1462260" y="602063"/>
                    <a:pt x="1456996" y="602103"/>
                    <a:pt x="1451753" y="602363"/>
                  </a:cubicBezTo>
                  <a:cubicBezTo>
                    <a:pt x="1449171" y="602464"/>
                    <a:pt x="1446409" y="602624"/>
                    <a:pt x="1443987" y="602644"/>
                  </a:cubicBezTo>
                  <a:lnTo>
                    <a:pt x="1279958" y="602644"/>
                  </a:lnTo>
                  <a:cubicBezTo>
                    <a:pt x="1277537" y="602644"/>
                    <a:pt x="1275295" y="602664"/>
                    <a:pt x="1272733" y="602624"/>
                  </a:cubicBezTo>
                  <a:lnTo>
                    <a:pt x="1265128" y="602484"/>
                  </a:lnTo>
                  <a:cubicBezTo>
                    <a:pt x="1255002" y="602143"/>
                    <a:pt x="1244895" y="601423"/>
                    <a:pt x="1234848" y="600021"/>
                  </a:cubicBezTo>
                  <a:cubicBezTo>
                    <a:pt x="1214735" y="597458"/>
                    <a:pt x="1194962" y="592613"/>
                    <a:pt x="1175789" y="586046"/>
                  </a:cubicBezTo>
                  <a:cubicBezTo>
                    <a:pt x="1156676" y="579299"/>
                    <a:pt x="1138164" y="570810"/>
                    <a:pt x="1120792" y="560379"/>
                  </a:cubicBezTo>
                  <a:cubicBezTo>
                    <a:pt x="1085969" y="539657"/>
                    <a:pt x="1055369" y="511807"/>
                    <a:pt x="1031633" y="478932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DD364A47-20C7-CB3D-32CF-CD809D2825EA}"/>
                </a:ext>
              </a:extLst>
            </p:cNvPr>
            <p:cNvSpPr/>
            <p:nvPr/>
          </p:nvSpPr>
          <p:spPr>
            <a:xfrm>
              <a:off x="3561849" y="3494903"/>
              <a:ext cx="714095" cy="1291499"/>
            </a:xfrm>
            <a:custGeom>
              <a:avLst/>
              <a:gdLst>
                <a:gd name="connsiteX0" fmla="*/ 714055 w 714095"/>
                <a:gd name="connsiteY0" fmla="*/ 152102 h 1291499"/>
                <a:gd name="connsiteX1" fmla="*/ 714015 w 714095"/>
                <a:gd name="connsiteY1" fmla="*/ 150701 h 1291499"/>
                <a:gd name="connsiteX2" fmla="*/ 713455 w 714095"/>
                <a:gd name="connsiteY2" fmla="*/ 139529 h 1291499"/>
                <a:gd name="connsiteX3" fmla="*/ 712854 w 714095"/>
                <a:gd name="connsiteY3" fmla="*/ 133963 h 1291499"/>
                <a:gd name="connsiteX4" fmla="*/ 712034 w 714095"/>
                <a:gd name="connsiteY4" fmla="*/ 128397 h 1291499"/>
                <a:gd name="connsiteX5" fmla="*/ 711133 w 714095"/>
                <a:gd name="connsiteY5" fmla="*/ 122851 h 1291499"/>
                <a:gd name="connsiteX6" fmla="*/ 709852 w 714095"/>
                <a:gd name="connsiteY6" fmla="*/ 117365 h 1291499"/>
                <a:gd name="connsiteX7" fmla="*/ 693181 w 714095"/>
                <a:gd name="connsiteY7" fmla="*/ 75741 h 1291499"/>
                <a:gd name="connsiteX8" fmla="*/ 665243 w 714095"/>
                <a:gd name="connsiteY8" fmla="*/ 40884 h 1291499"/>
                <a:gd name="connsiteX9" fmla="*/ 661080 w 714095"/>
                <a:gd name="connsiteY9" fmla="*/ 37120 h 1291499"/>
                <a:gd name="connsiteX10" fmla="*/ 656797 w 714095"/>
                <a:gd name="connsiteY10" fmla="*/ 33516 h 1291499"/>
                <a:gd name="connsiteX11" fmla="*/ 647811 w 714095"/>
                <a:gd name="connsiteY11" fmla="*/ 26809 h 1291499"/>
                <a:gd name="connsiteX12" fmla="*/ 638305 w 714095"/>
                <a:gd name="connsiteY12" fmla="*/ 20842 h 1291499"/>
                <a:gd name="connsiteX13" fmla="*/ 633442 w 714095"/>
                <a:gd name="connsiteY13" fmla="*/ 18039 h 1291499"/>
                <a:gd name="connsiteX14" fmla="*/ 628398 w 714095"/>
                <a:gd name="connsiteY14" fmla="*/ 15557 h 1291499"/>
                <a:gd name="connsiteX15" fmla="*/ 623315 w 714095"/>
                <a:gd name="connsiteY15" fmla="*/ 13134 h 1291499"/>
                <a:gd name="connsiteX16" fmla="*/ 620773 w 714095"/>
                <a:gd name="connsiteY16" fmla="*/ 11953 h 1291499"/>
                <a:gd name="connsiteX17" fmla="*/ 618152 w 714095"/>
                <a:gd name="connsiteY17" fmla="*/ 10952 h 1291499"/>
                <a:gd name="connsiteX18" fmla="*/ 607564 w 714095"/>
                <a:gd name="connsiteY18" fmla="*/ 7108 h 1291499"/>
                <a:gd name="connsiteX19" fmla="*/ 596697 w 714095"/>
                <a:gd name="connsiteY19" fmla="*/ 4184 h 1291499"/>
                <a:gd name="connsiteX20" fmla="*/ 591214 w 714095"/>
                <a:gd name="connsiteY20" fmla="*/ 2923 h 1291499"/>
                <a:gd name="connsiteX21" fmla="*/ 585670 w 714095"/>
                <a:gd name="connsiteY21" fmla="*/ 2022 h 1291499"/>
                <a:gd name="connsiteX22" fmla="*/ 580106 w 714095"/>
                <a:gd name="connsiteY22" fmla="*/ 1201 h 1291499"/>
                <a:gd name="connsiteX23" fmla="*/ 574542 w 714095"/>
                <a:gd name="connsiteY23" fmla="*/ 601 h 1291499"/>
                <a:gd name="connsiteX24" fmla="*/ 563375 w 714095"/>
                <a:gd name="connsiteY24" fmla="*/ 40 h 1291499"/>
                <a:gd name="connsiteX25" fmla="*/ 561974 w 714095"/>
                <a:gd name="connsiteY25" fmla="*/ 0 h 1291499"/>
                <a:gd name="connsiteX26" fmla="*/ 152722 w 714095"/>
                <a:gd name="connsiteY26" fmla="*/ 0 h 1291499"/>
                <a:gd name="connsiteX27" fmla="*/ 108472 w 714095"/>
                <a:gd name="connsiteY27" fmla="*/ 6547 h 1291499"/>
                <a:gd name="connsiteX28" fmla="*/ 67945 w 714095"/>
                <a:gd name="connsiteY28" fmla="*/ 25687 h 1291499"/>
                <a:gd name="connsiteX29" fmla="*/ 34803 w 714095"/>
                <a:gd name="connsiteY29" fmla="*/ 55659 h 1291499"/>
                <a:gd name="connsiteX30" fmla="*/ 11728 w 714095"/>
                <a:gd name="connsiteY30" fmla="*/ 94020 h 1291499"/>
                <a:gd name="connsiteX31" fmla="*/ 760 w 714095"/>
                <a:gd name="connsiteY31" fmla="*/ 137507 h 1291499"/>
                <a:gd name="connsiteX32" fmla="*/ 140 w 714095"/>
                <a:gd name="connsiteY32" fmla="*/ 148679 h 1291499"/>
                <a:gd name="connsiteX33" fmla="*/ 40 w 714095"/>
                <a:gd name="connsiteY33" fmla="*/ 151462 h 1291499"/>
                <a:gd name="connsiteX34" fmla="*/ 0 w 714095"/>
                <a:gd name="connsiteY34" fmla="*/ 152823 h 1291499"/>
                <a:gd name="connsiteX35" fmla="*/ 0 w 714095"/>
                <a:gd name="connsiteY35" fmla="*/ 1139397 h 1291499"/>
                <a:gd name="connsiteX36" fmla="*/ 80 w 714095"/>
                <a:gd name="connsiteY36" fmla="*/ 1140799 h 1291499"/>
                <a:gd name="connsiteX37" fmla="*/ 640 w 714095"/>
                <a:gd name="connsiteY37" fmla="*/ 1151971 h 1291499"/>
                <a:gd name="connsiteX38" fmla="*/ 1241 w 714095"/>
                <a:gd name="connsiteY38" fmla="*/ 1157537 h 1291499"/>
                <a:gd name="connsiteX39" fmla="*/ 2061 w 714095"/>
                <a:gd name="connsiteY39" fmla="*/ 1163102 h 1291499"/>
                <a:gd name="connsiteX40" fmla="*/ 2962 w 714095"/>
                <a:gd name="connsiteY40" fmla="*/ 1168648 h 1291499"/>
                <a:gd name="connsiteX41" fmla="*/ 4243 w 714095"/>
                <a:gd name="connsiteY41" fmla="*/ 1174134 h 1291499"/>
                <a:gd name="connsiteX42" fmla="*/ 20914 w 714095"/>
                <a:gd name="connsiteY42" fmla="*/ 1215759 h 1291499"/>
                <a:gd name="connsiteX43" fmla="*/ 48852 w 714095"/>
                <a:gd name="connsiteY43" fmla="*/ 1250616 h 1291499"/>
                <a:gd name="connsiteX44" fmla="*/ 53015 w 714095"/>
                <a:gd name="connsiteY44" fmla="*/ 1254380 h 1291499"/>
                <a:gd name="connsiteX45" fmla="*/ 57298 w 714095"/>
                <a:gd name="connsiteY45" fmla="*/ 1257984 h 1291499"/>
                <a:gd name="connsiteX46" fmla="*/ 66284 w 714095"/>
                <a:gd name="connsiteY46" fmla="*/ 1264691 h 1291499"/>
                <a:gd name="connsiteX47" fmla="*/ 75790 w 714095"/>
                <a:gd name="connsiteY47" fmla="*/ 1270657 h 1291499"/>
                <a:gd name="connsiteX48" fmla="*/ 80654 w 714095"/>
                <a:gd name="connsiteY48" fmla="*/ 1273460 h 1291499"/>
                <a:gd name="connsiteX49" fmla="*/ 85697 w 714095"/>
                <a:gd name="connsiteY49" fmla="*/ 1275943 h 1291499"/>
                <a:gd name="connsiteX50" fmla="*/ 90780 w 714095"/>
                <a:gd name="connsiteY50" fmla="*/ 1278366 h 1291499"/>
                <a:gd name="connsiteX51" fmla="*/ 93322 w 714095"/>
                <a:gd name="connsiteY51" fmla="*/ 1279547 h 1291499"/>
                <a:gd name="connsiteX52" fmla="*/ 95944 w 714095"/>
                <a:gd name="connsiteY52" fmla="*/ 1280548 h 1291499"/>
                <a:gd name="connsiteX53" fmla="*/ 106531 w 714095"/>
                <a:gd name="connsiteY53" fmla="*/ 1284392 h 1291499"/>
                <a:gd name="connsiteX54" fmla="*/ 117398 w 714095"/>
                <a:gd name="connsiteY54" fmla="*/ 1287315 h 1291499"/>
                <a:gd name="connsiteX55" fmla="*/ 122882 w 714095"/>
                <a:gd name="connsiteY55" fmla="*/ 1288577 h 1291499"/>
                <a:gd name="connsiteX56" fmla="*/ 128425 w 714095"/>
                <a:gd name="connsiteY56" fmla="*/ 1289477 h 1291499"/>
                <a:gd name="connsiteX57" fmla="*/ 133989 w 714095"/>
                <a:gd name="connsiteY57" fmla="*/ 1290298 h 1291499"/>
                <a:gd name="connsiteX58" fmla="*/ 139553 w 714095"/>
                <a:gd name="connsiteY58" fmla="*/ 1290899 h 1291499"/>
                <a:gd name="connsiteX59" fmla="*/ 150720 w 714095"/>
                <a:gd name="connsiteY59" fmla="*/ 1291460 h 1291499"/>
                <a:gd name="connsiteX60" fmla="*/ 152121 w 714095"/>
                <a:gd name="connsiteY60" fmla="*/ 1291500 h 1291499"/>
                <a:gd name="connsiteX61" fmla="*/ 561374 w 714095"/>
                <a:gd name="connsiteY61" fmla="*/ 1291500 h 1291499"/>
                <a:gd name="connsiteX62" fmla="*/ 605623 w 714095"/>
                <a:gd name="connsiteY62" fmla="*/ 1284953 h 1291499"/>
                <a:gd name="connsiteX63" fmla="*/ 646150 w 714095"/>
                <a:gd name="connsiteY63" fmla="*/ 1265812 h 1291499"/>
                <a:gd name="connsiteX64" fmla="*/ 679292 w 714095"/>
                <a:gd name="connsiteY64" fmla="*/ 1235840 h 1291499"/>
                <a:gd name="connsiteX65" fmla="*/ 702368 w 714095"/>
                <a:gd name="connsiteY65" fmla="*/ 1197479 h 1291499"/>
                <a:gd name="connsiteX66" fmla="*/ 713335 w 714095"/>
                <a:gd name="connsiteY66" fmla="*/ 1153993 h 1291499"/>
                <a:gd name="connsiteX67" fmla="*/ 713955 w 714095"/>
                <a:gd name="connsiteY67" fmla="*/ 1142821 h 1291499"/>
                <a:gd name="connsiteX68" fmla="*/ 714055 w 714095"/>
                <a:gd name="connsiteY68" fmla="*/ 1140038 h 1291499"/>
                <a:gd name="connsiteX69" fmla="*/ 714095 w 714095"/>
                <a:gd name="connsiteY69" fmla="*/ 1138676 h 1291499"/>
                <a:gd name="connsiteX70" fmla="*/ 714095 w 714095"/>
                <a:gd name="connsiteY70" fmla="*/ 152102 h 1291499"/>
                <a:gd name="connsiteX71" fmla="*/ 675930 w 714095"/>
                <a:gd name="connsiteY71" fmla="*/ 384791 h 1291499"/>
                <a:gd name="connsiteX72" fmla="*/ 675930 w 714095"/>
                <a:gd name="connsiteY72" fmla="*/ 1138676 h 1291499"/>
                <a:gd name="connsiteX73" fmla="*/ 675890 w 714095"/>
                <a:gd name="connsiteY73" fmla="*/ 1139717 h 1291499"/>
                <a:gd name="connsiteX74" fmla="*/ 675790 w 714095"/>
                <a:gd name="connsiteY74" fmla="*/ 1141820 h 1291499"/>
                <a:gd name="connsiteX75" fmla="*/ 675350 w 714095"/>
                <a:gd name="connsiteY75" fmla="*/ 1150209 h 1291499"/>
                <a:gd name="connsiteX76" fmla="*/ 667124 w 714095"/>
                <a:gd name="connsiteY76" fmla="*/ 1182804 h 1291499"/>
                <a:gd name="connsiteX77" fmla="*/ 649812 w 714095"/>
                <a:gd name="connsiteY77" fmla="*/ 1211594 h 1291499"/>
                <a:gd name="connsiteX78" fmla="*/ 624916 w 714095"/>
                <a:gd name="connsiteY78" fmla="*/ 1234098 h 1291499"/>
                <a:gd name="connsiteX79" fmla="*/ 594536 w 714095"/>
                <a:gd name="connsiteY79" fmla="*/ 1248454 h 1291499"/>
                <a:gd name="connsiteX80" fmla="*/ 561334 w 714095"/>
                <a:gd name="connsiteY80" fmla="*/ 1253379 h 1291499"/>
                <a:gd name="connsiteX81" fmla="*/ 154943 w 714095"/>
                <a:gd name="connsiteY81" fmla="*/ 1253379 h 1291499"/>
                <a:gd name="connsiteX82" fmla="*/ 151181 w 714095"/>
                <a:gd name="connsiteY82" fmla="*/ 1253319 h 1291499"/>
                <a:gd name="connsiteX83" fmla="*/ 142775 w 714095"/>
                <a:gd name="connsiteY83" fmla="*/ 1252898 h 1291499"/>
                <a:gd name="connsiteX84" fmla="*/ 138592 w 714095"/>
                <a:gd name="connsiteY84" fmla="*/ 1252438 h 1291499"/>
                <a:gd name="connsiteX85" fmla="*/ 134429 w 714095"/>
                <a:gd name="connsiteY85" fmla="*/ 1251817 h 1291499"/>
                <a:gd name="connsiteX86" fmla="*/ 130267 w 714095"/>
                <a:gd name="connsiteY86" fmla="*/ 1251157 h 1291499"/>
                <a:gd name="connsiteX87" fmla="*/ 126164 w 714095"/>
                <a:gd name="connsiteY87" fmla="*/ 1250195 h 1291499"/>
                <a:gd name="connsiteX88" fmla="*/ 118019 w 714095"/>
                <a:gd name="connsiteY88" fmla="*/ 1248013 h 1291499"/>
                <a:gd name="connsiteX89" fmla="*/ 110093 w 714095"/>
                <a:gd name="connsiteY89" fmla="*/ 1245130 h 1291499"/>
                <a:gd name="connsiteX90" fmla="*/ 108112 w 714095"/>
                <a:gd name="connsiteY90" fmla="*/ 1244389 h 1291499"/>
                <a:gd name="connsiteX91" fmla="*/ 106211 w 714095"/>
                <a:gd name="connsiteY91" fmla="*/ 1243488 h 1291499"/>
                <a:gd name="connsiteX92" fmla="*/ 102408 w 714095"/>
                <a:gd name="connsiteY92" fmla="*/ 1241666 h 1291499"/>
                <a:gd name="connsiteX93" fmla="*/ 98626 w 714095"/>
                <a:gd name="connsiteY93" fmla="*/ 1239824 h 1291499"/>
                <a:gd name="connsiteX94" fmla="*/ 94983 w 714095"/>
                <a:gd name="connsiteY94" fmla="*/ 1237702 h 1291499"/>
                <a:gd name="connsiteX95" fmla="*/ 87838 w 714095"/>
                <a:gd name="connsiteY95" fmla="*/ 1233237 h 1291499"/>
                <a:gd name="connsiteX96" fmla="*/ 81094 w 714095"/>
                <a:gd name="connsiteY96" fmla="*/ 1228192 h 1291499"/>
                <a:gd name="connsiteX97" fmla="*/ 77872 w 714095"/>
                <a:gd name="connsiteY97" fmla="*/ 1225489 h 1291499"/>
                <a:gd name="connsiteX98" fmla="*/ 74750 w 714095"/>
                <a:gd name="connsiteY98" fmla="*/ 1222666 h 1291499"/>
                <a:gd name="connsiteX99" fmla="*/ 53776 w 714095"/>
                <a:gd name="connsiteY99" fmla="*/ 1196498 h 1291499"/>
                <a:gd name="connsiteX100" fmla="*/ 41287 w 714095"/>
                <a:gd name="connsiteY100" fmla="*/ 1165325 h 1291499"/>
                <a:gd name="connsiteX101" fmla="*/ 40307 w 714095"/>
                <a:gd name="connsiteY101" fmla="*/ 1161220 h 1291499"/>
                <a:gd name="connsiteX102" fmla="*/ 39646 w 714095"/>
                <a:gd name="connsiteY102" fmla="*/ 1157056 h 1291499"/>
                <a:gd name="connsiteX103" fmla="*/ 39026 w 714095"/>
                <a:gd name="connsiteY103" fmla="*/ 1152892 h 1291499"/>
                <a:gd name="connsiteX104" fmla="*/ 38566 w 714095"/>
                <a:gd name="connsiteY104" fmla="*/ 1148707 h 1291499"/>
                <a:gd name="connsiteX105" fmla="*/ 38145 w 714095"/>
                <a:gd name="connsiteY105" fmla="*/ 1140298 h 1291499"/>
                <a:gd name="connsiteX106" fmla="*/ 38085 w 714095"/>
                <a:gd name="connsiteY106" fmla="*/ 1136514 h 1291499"/>
                <a:gd name="connsiteX107" fmla="*/ 38085 w 714095"/>
                <a:gd name="connsiteY107" fmla="*/ 152843 h 1291499"/>
                <a:gd name="connsiteX108" fmla="*/ 38125 w 714095"/>
                <a:gd name="connsiteY108" fmla="*/ 151802 h 1291499"/>
                <a:gd name="connsiteX109" fmla="*/ 38225 w 714095"/>
                <a:gd name="connsiteY109" fmla="*/ 149700 h 1291499"/>
                <a:gd name="connsiteX110" fmla="*/ 38666 w 714095"/>
                <a:gd name="connsiteY110" fmla="*/ 141311 h 1291499"/>
                <a:gd name="connsiteX111" fmla="*/ 46891 w 714095"/>
                <a:gd name="connsiteY111" fmla="*/ 108716 h 1291499"/>
                <a:gd name="connsiteX112" fmla="*/ 64203 w 714095"/>
                <a:gd name="connsiteY112" fmla="*/ 79925 h 1291499"/>
                <a:gd name="connsiteX113" fmla="*/ 89099 w 714095"/>
                <a:gd name="connsiteY113" fmla="*/ 57421 h 1291499"/>
                <a:gd name="connsiteX114" fmla="*/ 119479 w 714095"/>
                <a:gd name="connsiteY114" fmla="*/ 43066 h 1291499"/>
                <a:gd name="connsiteX115" fmla="*/ 152682 w 714095"/>
                <a:gd name="connsiteY115" fmla="*/ 38141 h 1291499"/>
                <a:gd name="connsiteX116" fmla="*/ 559072 w 714095"/>
                <a:gd name="connsiteY116" fmla="*/ 38141 h 1291499"/>
                <a:gd name="connsiteX117" fmla="*/ 562835 w 714095"/>
                <a:gd name="connsiteY117" fmla="*/ 38201 h 1291499"/>
                <a:gd name="connsiteX118" fmla="*/ 571240 w 714095"/>
                <a:gd name="connsiteY118" fmla="*/ 38621 h 1291499"/>
                <a:gd name="connsiteX119" fmla="*/ 575423 w 714095"/>
                <a:gd name="connsiteY119" fmla="*/ 39082 h 1291499"/>
                <a:gd name="connsiteX120" fmla="*/ 579586 w 714095"/>
                <a:gd name="connsiteY120" fmla="*/ 39702 h 1291499"/>
                <a:gd name="connsiteX121" fmla="*/ 583749 w 714095"/>
                <a:gd name="connsiteY121" fmla="*/ 40363 h 1291499"/>
                <a:gd name="connsiteX122" fmla="*/ 587851 w 714095"/>
                <a:gd name="connsiteY122" fmla="*/ 41324 h 1291499"/>
                <a:gd name="connsiteX123" fmla="*/ 595997 w 714095"/>
                <a:gd name="connsiteY123" fmla="*/ 43506 h 1291499"/>
                <a:gd name="connsiteX124" fmla="*/ 603922 w 714095"/>
                <a:gd name="connsiteY124" fmla="*/ 46390 h 1291499"/>
                <a:gd name="connsiteX125" fmla="*/ 605903 w 714095"/>
                <a:gd name="connsiteY125" fmla="*/ 47130 h 1291499"/>
                <a:gd name="connsiteX126" fmla="*/ 607805 w 714095"/>
                <a:gd name="connsiteY126" fmla="*/ 48031 h 1291499"/>
                <a:gd name="connsiteX127" fmla="*/ 611607 w 714095"/>
                <a:gd name="connsiteY127" fmla="*/ 49853 h 1291499"/>
                <a:gd name="connsiteX128" fmla="*/ 615390 w 714095"/>
                <a:gd name="connsiteY128" fmla="*/ 51695 h 1291499"/>
                <a:gd name="connsiteX129" fmla="*/ 619032 w 714095"/>
                <a:gd name="connsiteY129" fmla="*/ 53817 h 1291499"/>
                <a:gd name="connsiteX130" fmla="*/ 626177 w 714095"/>
                <a:gd name="connsiteY130" fmla="*/ 58282 h 1291499"/>
                <a:gd name="connsiteX131" fmla="*/ 632921 w 714095"/>
                <a:gd name="connsiteY131" fmla="*/ 63328 h 1291499"/>
                <a:gd name="connsiteX132" fmla="*/ 636143 w 714095"/>
                <a:gd name="connsiteY132" fmla="*/ 66031 h 1291499"/>
                <a:gd name="connsiteX133" fmla="*/ 639266 w 714095"/>
                <a:gd name="connsiteY133" fmla="*/ 68854 h 1291499"/>
                <a:gd name="connsiteX134" fmla="*/ 660239 w 714095"/>
                <a:gd name="connsiteY134" fmla="*/ 95021 h 1291499"/>
                <a:gd name="connsiteX135" fmla="*/ 672728 w 714095"/>
                <a:gd name="connsiteY135" fmla="*/ 126195 h 1291499"/>
                <a:gd name="connsiteX136" fmla="*/ 673708 w 714095"/>
                <a:gd name="connsiteY136" fmla="*/ 130299 h 1291499"/>
                <a:gd name="connsiteX137" fmla="*/ 674369 w 714095"/>
                <a:gd name="connsiteY137" fmla="*/ 134464 h 1291499"/>
                <a:gd name="connsiteX138" fmla="*/ 674989 w 714095"/>
                <a:gd name="connsiteY138" fmla="*/ 138628 h 1291499"/>
                <a:gd name="connsiteX139" fmla="*/ 675450 w 714095"/>
                <a:gd name="connsiteY139" fmla="*/ 142813 h 1291499"/>
                <a:gd name="connsiteX140" fmla="*/ 675870 w 714095"/>
                <a:gd name="connsiteY140" fmla="*/ 151222 h 1291499"/>
                <a:gd name="connsiteX141" fmla="*/ 675930 w 714095"/>
                <a:gd name="connsiteY141" fmla="*/ 155006 h 1291499"/>
                <a:gd name="connsiteX142" fmla="*/ 675930 w 714095"/>
                <a:gd name="connsiteY142" fmla="*/ 384791 h 1291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</a:cxnLst>
              <a:rect l="l" t="t" r="r" b="b"/>
              <a:pathLst>
                <a:path w="714095" h="1291499">
                  <a:moveTo>
                    <a:pt x="714055" y="152102"/>
                  </a:moveTo>
                  <a:lnTo>
                    <a:pt x="714015" y="150701"/>
                  </a:lnTo>
                  <a:cubicBezTo>
                    <a:pt x="713875" y="146977"/>
                    <a:pt x="713695" y="143253"/>
                    <a:pt x="713455" y="139529"/>
                  </a:cubicBezTo>
                  <a:cubicBezTo>
                    <a:pt x="713375" y="137667"/>
                    <a:pt x="713135" y="135805"/>
                    <a:pt x="712854" y="133963"/>
                  </a:cubicBezTo>
                  <a:lnTo>
                    <a:pt x="712034" y="128397"/>
                  </a:lnTo>
                  <a:lnTo>
                    <a:pt x="711133" y="122851"/>
                  </a:lnTo>
                  <a:cubicBezTo>
                    <a:pt x="710813" y="121009"/>
                    <a:pt x="710293" y="119207"/>
                    <a:pt x="709852" y="117365"/>
                  </a:cubicBezTo>
                  <a:cubicBezTo>
                    <a:pt x="706590" y="102690"/>
                    <a:pt x="700626" y="88695"/>
                    <a:pt x="693181" y="75741"/>
                  </a:cubicBezTo>
                  <a:cubicBezTo>
                    <a:pt x="685756" y="62707"/>
                    <a:pt x="676130" y="51075"/>
                    <a:pt x="665243" y="40884"/>
                  </a:cubicBezTo>
                  <a:lnTo>
                    <a:pt x="661080" y="37120"/>
                  </a:lnTo>
                  <a:cubicBezTo>
                    <a:pt x="659699" y="35878"/>
                    <a:pt x="658298" y="34617"/>
                    <a:pt x="656797" y="33516"/>
                  </a:cubicBezTo>
                  <a:cubicBezTo>
                    <a:pt x="653835" y="31233"/>
                    <a:pt x="650833" y="29011"/>
                    <a:pt x="647811" y="26809"/>
                  </a:cubicBezTo>
                  <a:cubicBezTo>
                    <a:pt x="644749" y="24686"/>
                    <a:pt x="641487" y="22804"/>
                    <a:pt x="638305" y="20842"/>
                  </a:cubicBezTo>
                  <a:cubicBezTo>
                    <a:pt x="636684" y="19901"/>
                    <a:pt x="635123" y="18880"/>
                    <a:pt x="633442" y="18039"/>
                  </a:cubicBezTo>
                  <a:lnTo>
                    <a:pt x="628398" y="15557"/>
                  </a:lnTo>
                  <a:lnTo>
                    <a:pt x="623315" y="13134"/>
                  </a:lnTo>
                  <a:lnTo>
                    <a:pt x="620773" y="11953"/>
                  </a:lnTo>
                  <a:lnTo>
                    <a:pt x="618152" y="10952"/>
                  </a:lnTo>
                  <a:cubicBezTo>
                    <a:pt x="614649" y="9630"/>
                    <a:pt x="611107" y="8349"/>
                    <a:pt x="607564" y="7108"/>
                  </a:cubicBezTo>
                  <a:cubicBezTo>
                    <a:pt x="603982" y="6006"/>
                    <a:pt x="600340" y="5105"/>
                    <a:pt x="596697" y="4184"/>
                  </a:cubicBezTo>
                  <a:cubicBezTo>
                    <a:pt x="594876" y="3764"/>
                    <a:pt x="593055" y="3223"/>
                    <a:pt x="591214" y="2923"/>
                  </a:cubicBezTo>
                  <a:lnTo>
                    <a:pt x="585670" y="2022"/>
                  </a:lnTo>
                  <a:lnTo>
                    <a:pt x="580106" y="1201"/>
                  </a:lnTo>
                  <a:cubicBezTo>
                    <a:pt x="578245" y="921"/>
                    <a:pt x="576404" y="681"/>
                    <a:pt x="574542" y="601"/>
                  </a:cubicBezTo>
                  <a:cubicBezTo>
                    <a:pt x="570820" y="360"/>
                    <a:pt x="567098" y="180"/>
                    <a:pt x="563375" y="40"/>
                  </a:cubicBezTo>
                  <a:lnTo>
                    <a:pt x="561974" y="0"/>
                  </a:lnTo>
                  <a:lnTo>
                    <a:pt x="152722" y="0"/>
                  </a:lnTo>
                  <a:cubicBezTo>
                    <a:pt x="137852" y="200"/>
                    <a:pt x="122882" y="2222"/>
                    <a:pt x="108472" y="6547"/>
                  </a:cubicBezTo>
                  <a:cubicBezTo>
                    <a:pt x="94143" y="11032"/>
                    <a:pt x="80433" y="17419"/>
                    <a:pt x="67945" y="25687"/>
                  </a:cubicBezTo>
                  <a:cubicBezTo>
                    <a:pt x="55577" y="34116"/>
                    <a:pt x="44409" y="44207"/>
                    <a:pt x="34803" y="55659"/>
                  </a:cubicBezTo>
                  <a:cubicBezTo>
                    <a:pt x="25397" y="67292"/>
                    <a:pt x="17632" y="80226"/>
                    <a:pt x="11728" y="94020"/>
                  </a:cubicBezTo>
                  <a:cubicBezTo>
                    <a:pt x="6004" y="107915"/>
                    <a:pt x="2422" y="122631"/>
                    <a:pt x="760" y="137507"/>
                  </a:cubicBezTo>
                  <a:cubicBezTo>
                    <a:pt x="500" y="141231"/>
                    <a:pt x="300" y="144955"/>
                    <a:pt x="140" y="148679"/>
                  </a:cubicBezTo>
                  <a:lnTo>
                    <a:pt x="40" y="151462"/>
                  </a:lnTo>
                  <a:lnTo>
                    <a:pt x="0" y="152823"/>
                  </a:lnTo>
                  <a:lnTo>
                    <a:pt x="0" y="1139397"/>
                  </a:lnTo>
                  <a:lnTo>
                    <a:pt x="80" y="1140799"/>
                  </a:lnTo>
                  <a:cubicBezTo>
                    <a:pt x="220" y="1144523"/>
                    <a:pt x="400" y="1148247"/>
                    <a:pt x="640" y="1151971"/>
                  </a:cubicBezTo>
                  <a:cubicBezTo>
                    <a:pt x="720" y="1153833"/>
                    <a:pt x="961" y="1155695"/>
                    <a:pt x="1241" y="1157537"/>
                  </a:cubicBezTo>
                  <a:lnTo>
                    <a:pt x="2061" y="1163102"/>
                  </a:lnTo>
                  <a:lnTo>
                    <a:pt x="2962" y="1168648"/>
                  </a:lnTo>
                  <a:cubicBezTo>
                    <a:pt x="3282" y="1170490"/>
                    <a:pt x="3802" y="1172292"/>
                    <a:pt x="4243" y="1174134"/>
                  </a:cubicBezTo>
                  <a:cubicBezTo>
                    <a:pt x="7505" y="1188810"/>
                    <a:pt x="13469" y="1202805"/>
                    <a:pt x="20914" y="1215759"/>
                  </a:cubicBezTo>
                  <a:cubicBezTo>
                    <a:pt x="28339" y="1228793"/>
                    <a:pt x="37965" y="1240425"/>
                    <a:pt x="48852" y="1250616"/>
                  </a:cubicBezTo>
                  <a:lnTo>
                    <a:pt x="53015" y="1254380"/>
                  </a:lnTo>
                  <a:cubicBezTo>
                    <a:pt x="54396" y="1255621"/>
                    <a:pt x="55797" y="1256883"/>
                    <a:pt x="57298" y="1257984"/>
                  </a:cubicBezTo>
                  <a:cubicBezTo>
                    <a:pt x="60260" y="1260266"/>
                    <a:pt x="63262" y="1262489"/>
                    <a:pt x="66284" y="1264691"/>
                  </a:cubicBezTo>
                  <a:cubicBezTo>
                    <a:pt x="69346" y="1266813"/>
                    <a:pt x="72608" y="1268695"/>
                    <a:pt x="75790" y="1270657"/>
                  </a:cubicBezTo>
                  <a:cubicBezTo>
                    <a:pt x="77412" y="1271598"/>
                    <a:pt x="78972" y="1272620"/>
                    <a:pt x="80654" y="1273460"/>
                  </a:cubicBezTo>
                  <a:lnTo>
                    <a:pt x="85697" y="1275943"/>
                  </a:lnTo>
                  <a:lnTo>
                    <a:pt x="90780" y="1278366"/>
                  </a:lnTo>
                  <a:lnTo>
                    <a:pt x="93322" y="1279547"/>
                  </a:lnTo>
                  <a:lnTo>
                    <a:pt x="95944" y="1280548"/>
                  </a:lnTo>
                  <a:cubicBezTo>
                    <a:pt x="99446" y="1281869"/>
                    <a:pt x="102988" y="1283151"/>
                    <a:pt x="106531" y="1284392"/>
                  </a:cubicBezTo>
                  <a:cubicBezTo>
                    <a:pt x="110113" y="1285493"/>
                    <a:pt x="113756" y="1286394"/>
                    <a:pt x="117398" y="1287315"/>
                  </a:cubicBezTo>
                  <a:cubicBezTo>
                    <a:pt x="119219" y="1287736"/>
                    <a:pt x="121041" y="1288276"/>
                    <a:pt x="122882" y="1288577"/>
                  </a:cubicBezTo>
                  <a:lnTo>
                    <a:pt x="128425" y="1289477"/>
                  </a:lnTo>
                  <a:lnTo>
                    <a:pt x="133989" y="1290298"/>
                  </a:lnTo>
                  <a:cubicBezTo>
                    <a:pt x="135850" y="1290579"/>
                    <a:pt x="137692" y="1290819"/>
                    <a:pt x="139553" y="1290899"/>
                  </a:cubicBezTo>
                  <a:cubicBezTo>
                    <a:pt x="143275" y="1291139"/>
                    <a:pt x="146998" y="1291319"/>
                    <a:pt x="150720" y="1291460"/>
                  </a:cubicBezTo>
                  <a:lnTo>
                    <a:pt x="152121" y="1291500"/>
                  </a:lnTo>
                  <a:lnTo>
                    <a:pt x="561374" y="1291500"/>
                  </a:lnTo>
                  <a:cubicBezTo>
                    <a:pt x="576244" y="1291299"/>
                    <a:pt x="591214" y="1289277"/>
                    <a:pt x="605623" y="1284953"/>
                  </a:cubicBezTo>
                  <a:cubicBezTo>
                    <a:pt x="619953" y="1280468"/>
                    <a:pt x="633662" y="1274081"/>
                    <a:pt x="646150" y="1265812"/>
                  </a:cubicBezTo>
                  <a:cubicBezTo>
                    <a:pt x="658518" y="1257383"/>
                    <a:pt x="669686" y="1247292"/>
                    <a:pt x="679292" y="1235840"/>
                  </a:cubicBezTo>
                  <a:cubicBezTo>
                    <a:pt x="688698" y="1224208"/>
                    <a:pt x="696464" y="1211274"/>
                    <a:pt x="702368" y="1197479"/>
                  </a:cubicBezTo>
                  <a:cubicBezTo>
                    <a:pt x="708091" y="1183584"/>
                    <a:pt x="711674" y="1168869"/>
                    <a:pt x="713335" y="1153993"/>
                  </a:cubicBezTo>
                  <a:cubicBezTo>
                    <a:pt x="713595" y="1150269"/>
                    <a:pt x="713795" y="1146545"/>
                    <a:pt x="713955" y="1142821"/>
                  </a:cubicBezTo>
                  <a:lnTo>
                    <a:pt x="714055" y="1140038"/>
                  </a:lnTo>
                  <a:lnTo>
                    <a:pt x="714095" y="1138676"/>
                  </a:lnTo>
                  <a:lnTo>
                    <a:pt x="714095" y="152102"/>
                  </a:lnTo>
                  <a:close/>
                  <a:moveTo>
                    <a:pt x="675930" y="384791"/>
                  </a:moveTo>
                  <a:lnTo>
                    <a:pt x="675930" y="1138676"/>
                  </a:lnTo>
                  <a:lnTo>
                    <a:pt x="675890" y="1139717"/>
                  </a:lnTo>
                  <a:lnTo>
                    <a:pt x="675790" y="1141820"/>
                  </a:lnTo>
                  <a:lnTo>
                    <a:pt x="675350" y="1150209"/>
                  </a:lnTo>
                  <a:cubicBezTo>
                    <a:pt x="674049" y="1161361"/>
                    <a:pt x="671407" y="1172372"/>
                    <a:pt x="667124" y="1182804"/>
                  </a:cubicBezTo>
                  <a:cubicBezTo>
                    <a:pt x="662681" y="1193135"/>
                    <a:pt x="656857" y="1202845"/>
                    <a:pt x="649812" y="1211594"/>
                  </a:cubicBezTo>
                  <a:cubicBezTo>
                    <a:pt x="642568" y="1220183"/>
                    <a:pt x="634182" y="1227752"/>
                    <a:pt x="624916" y="1234098"/>
                  </a:cubicBezTo>
                  <a:cubicBezTo>
                    <a:pt x="615530" y="1240305"/>
                    <a:pt x="605263" y="1245050"/>
                    <a:pt x="594536" y="1248454"/>
                  </a:cubicBezTo>
                  <a:cubicBezTo>
                    <a:pt x="583749" y="1251697"/>
                    <a:pt x="572521" y="1253159"/>
                    <a:pt x="561334" y="1253379"/>
                  </a:cubicBezTo>
                  <a:lnTo>
                    <a:pt x="154943" y="1253379"/>
                  </a:lnTo>
                  <a:cubicBezTo>
                    <a:pt x="153762" y="1253379"/>
                    <a:pt x="152662" y="1253399"/>
                    <a:pt x="151181" y="1253319"/>
                  </a:cubicBezTo>
                  <a:lnTo>
                    <a:pt x="142775" y="1252898"/>
                  </a:lnTo>
                  <a:cubicBezTo>
                    <a:pt x="141374" y="1252858"/>
                    <a:pt x="139993" y="1252678"/>
                    <a:pt x="138592" y="1252438"/>
                  </a:cubicBezTo>
                  <a:lnTo>
                    <a:pt x="134429" y="1251817"/>
                  </a:lnTo>
                  <a:lnTo>
                    <a:pt x="130267" y="1251157"/>
                  </a:lnTo>
                  <a:cubicBezTo>
                    <a:pt x="128886" y="1250936"/>
                    <a:pt x="127525" y="1250516"/>
                    <a:pt x="126164" y="1250195"/>
                  </a:cubicBezTo>
                  <a:cubicBezTo>
                    <a:pt x="123442" y="1249475"/>
                    <a:pt x="120700" y="1248854"/>
                    <a:pt x="118019" y="1248013"/>
                  </a:cubicBezTo>
                  <a:lnTo>
                    <a:pt x="110093" y="1245130"/>
                  </a:lnTo>
                  <a:lnTo>
                    <a:pt x="108112" y="1244389"/>
                  </a:lnTo>
                  <a:lnTo>
                    <a:pt x="106211" y="1243488"/>
                  </a:lnTo>
                  <a:lnTo>
                    <a:pt x="102408" y="1241666"/>
                  </a:lnTo>
                  <a:lnTo>
                    <a:pt x="98626" y="1239824"/>
                  </a:lnTo>
                  <a:cubicBezTo>
                    <a:pt x="97365" y="1239204"/>
                    <a:pt x="96204" y="1238403"/>
                    <a:pt x="94983" y="1237702"/>
                  </a:cubicBezTo>
                  <a:cubicBezTo>
                    <a:pt x="92602" y="1236221"/>
                    <a:pt x="90140" y="1234839"/>
                    <a:pt x="87838" y="1233237"/>
                  </a:cubicBezTo>
                  <a:lnTo>
                    <a:pt x="81094" y="1228192"/>
                  </a:lnTo>
                  <a:cubicBezTo>
                    <a:pt x="79953" y="1227371"/>
                    <a:pt x="78913" y="1226430"/>
                    <a:pt x="77872" y="1225489"/>
                  </a:cubicBezTo>
                  <a:lnTo>
                    <a:pt x="74750" y="1222666"/>
                  </a:lnTo>
                  <a:cubicBezTo>
                    <a:pt x="66584" y="1214998"/>
                    <a:pt x="59299" y="1206289"/>
                    <a:pt x="53776" y="1196498"/>
                  </a:cubicBezTo>
                  <a:cubicBezTo>
                    <a:pt x="48212" y="1186768"/>
                    <a:pt x="43689" y="1176317"/>
                    <a:pt x="41287" y="1165325"/>
                  </a:cubicBezTo>
                  <a:cubicBezTo>
                    <a:pt x="40967" y="1163963"/>
                    <a:pt x="40547" y="1162602"/>
                    <a:pt x="40307" y="1161220"/>
                  </a:cubicBezTo>
                  <a:lnTo>
                    <a:pt x="39646" y="1157056"/>
                  </a:lnTo>
                  <a:lnTo>
                    <a:pt x="39026" y="1152892"/>
                  </a:lnTo>
                  <a:cubicBezTo>
                    <a:pt x="38806" y="1151510"/>
                    <a:pt x="38606" y="1150109"/>
                    <a:pt x="38566" y="1148707"/>
                  </a:cubicBezTo>
                  <a:lnTo>
                    <a:pt x="38145" y="1140298"/>
                  </a:lnTo>
                  <a:cubicBezTo>
                    <a:pt x="38065" y="1138797"/>
                    <a:pt x="38085" y="1137695"/>
                    <a:pt x="38085" y="1136514"/>
                  </a:cubicBezTo>
                  <a:lnTo>
                    <a:pt x="38085" y="152843"/>
                  </a:lnTo>
                  <a:lnTo>
                    <a:pt x="38125" y="151802"/>
                  </a:lnTo>
                  <a:lnTo>
                    <a:pt x="38225" y="149700"/>
                  </a:lnTo>
                  <a:lnTo>
                    <a:pt x="38666" y="141311"/>
                  </a:lnTo>
                  <a:cubicBezTo>
                    <a:pt x="39967" y="130159"/>
                    <a:pt x="42608" y="119147"/>
                    <a:pt x="46891" y="108716"/>
                  </a:cubicBezTo>
                  <a:cubicBezTo>
                    <a:pt x="51334" y="98385"/>
                    <a:pt x="57158" y="88675"/>
                    <a:pt x="64203" y="79925"/>
                  </a:cubicBezTo>
                  <a:cubicBezTo>
                    <a:pt x="71447" y="71336"/>
                    <a:pt x="79833" y="63768"/>
                    <a:pt x="89099" y="57421"/>
                  </a:cubicBezTo>
                  <a:cubicBezTo>
                    <a:pt x="98485" y="51215"/>
                    <a:pt x="108752" y="46470"/>
                    <a:pt x="119479" y="43066"/>
                  </a:cubicBezTo>
                  <a:cubicBezTo>
                    <a:pt x="130267" y="39823"/>
                    <a:pt x="141494" y="38361"/>
                    <a:pt x="152682" y="38141"/>
                  </a:cubicBezTo>
                  <a:lnTo>
                    <a:pt x="559072" y="38141"/>
                  </a:lnTo>
                  <a:cubicBezTo>
                    <a:pt x="560253" y="38141"/>
                    <a:pt x="561354" y="38121"/>
                    <a:pt x="562835" y="38201"/>
                  </a:cubicBezTo>
                  <a:lnTo>
                    <a:pt x="571240" y="38621"/>
                  </a:lnTo>
                  <a:cubicBezTo>
                    <a:pt x="572641" y="38661"/>
                    <a:pt x="574022" y="38841"/>
                    <a:pt x="575423" y="39082"/>
                  </a:cubicBezTo>
                  <a:lnTo>
                    <a:pt x="579586" y="39702"/>
                  </a:lnTo>
                  <a:lnTo>
                    <a:pt x="583749" y="40363"/>
                  </a:lnTo>
                  <a:cubicBezTo>
                    <a:pt x="585130" y="40583"/>
                    <a:pt x="586490" y="41004"/>
                    <a:pt x="587851" y="41324"/>
                  </a:cubicBezTo>
                  <a:cubicBezTo>
                    <a:pt x="590573" y="42045"/>
                    <a:pt x="593315" y="42666"/>
                    <a:pt x="595997" y="43506"/>
                  </a:cubicBezTo>
                  <a:lnTo>
                    <a:pt x="603922" y="46390"/>
                  </a:lnTo>
                  <a:lnTo>
                    <a:pt x="605903" y="47130"/>
                  </a:lnTo>
                  <a:lnTo>
                    <a:pt x="607805" y="48031"/>
                  </a:lnTo>
                  <a:lnTo>
                    <a:pt x="611607" y="49853"/>
                  </a:lnTo>
                  <a:lnTo>
                    <a:pt x="615390" y="51695"/>
                  </a:lnTo>
                  <a:cubicBezTo>
                    <a:pt x="616651" y="52316"/>
                    <a:pt x="617811" y="53117"/>
                    <a:pt x="619032" y="53817"/>
                  </a:cubicBezTo>
                  <a:cubicBezTo>
                    <a:pt x="621414" y="55299"/>
                    <a:pt x="623875" y="56681"/>
                    <a:pt x="626177" y="58282"/>
                  </a:cubicBezTo>
                  <a:lnTo>
                    <a:pt x="632921" y="63328"/>
                  </a:lnTo>
                  <a:cubicBezTo>
                    <a:pt x="634062" y="64148"/>
                    <a:pt x="635103" y="65089"/>
                    <a:pt x="636143" y="66031"/>
                  </a:cubicBezTo>
                  <a:lnTo>
                    <a:pt x="639266" y="68854"/>
                  </a:lnTo>
                  <a:cubicBezTo>
                    <a:pt x="647431" y="76522"/>
                    <a:pt x="654716" y="85231"/>
                    <a:pt x="660239" y="95021"/>
                  </a:cubicBezTo>
                  <a:cubicBezTo>
                    <a:pt x="665803" y="104752"/>
                    <a:pt x="670326" y="115203"/>
                    <a:pt x="672728" y="126195"/>
                  </a:cubicBezTo>
                  <a:cubicBezTo>
                    <a:pt x="673048" y="127556"/>
                    <a:pt x="673468" y="128918"/>
                    <a:pt x="673708" y="130299"/>
                  </a:cubicBezTo>
                  <a:lnTo>
                    <a:pt x="674369" y="134464"/>
                  </a:lnTo>
                  <a:lnTo>
                    <a:pt x="674989" y="138628"/>
                  </a:lnTo>
                  <a:cubicBezTo>
                    <a:pt x="675209" y="140010"/>
                    <a:pt x="675410" y="141411"/>
                    <a:pt x="675450" y="142813"/>
                  </a:cubicBezTo>
                  <a:lnTo>
                    <a:pt x="675870" y="151222"/>
                  </a:lnTo>
                  <a:cubicBezTo>
                    <a:pt x="675950" y="152723"/>
                    <a:pt x="675930" y="153824"/>
                    <a:pt x="675930" y="155006"/>
                  </a:cubicBezTo>
                  <a:lnTo>
                    <a:pt x="675930" y="384791"/>
                  </a:ln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B3CAA67-4DA2-9C64-DCEB-A604E86F1A01}"/>
                </a:ext>
              </a:extLst>
            </p:cNvPr>
            <p:cNvSpPr/>
            <p:nvPr/>
          </p:nvSpPr>
          <p:spPr>
            <a:xfrm>
              <a:off x="3636798" y="3569941"/>
              <a:ext cx="564095" cy="1141443"/>
            </a:xfrm>
            <a:custGeom>
              <a:avLst/>
              <a:gdLst>
                <a:gd name="connsiteX0" fmla="*/ 563775 w 564095"/>
                <a:gd name="connsiteY0" fmla="*/ 70958 h 1141443"/>
                <a:gd name="connsiteX1" fmla="*/ 563455 w 564095"/>
                <a:gd name="connsiteY1" fmla="*/ 68115 h 1141443"/>
                <a:gd name="connsiteX2" fmla="*/ 563015 w 564095"/>
                <a:gd name="connsiteY2" fmla="*/ 65292 h 1141443"/>
                <a:gd name="connsiteX3" fmla="*/ 562595 w 564095"/>
                <a:gd name="connsiteY3" fmla="*/ 62469 h 1141443"/>
                <a:gd name="connsiteX4" fmla="*/ 561914 w 564095"/>
                <a:gd name="connsiteY4" fmla="*/ 59706 h 1141443"/>
                <a:gd name="connsiteX5" fmla="*/ 553469 w 564095"/>
                <a:gd name="connsiteY5" fmla="*/ 38603 h 1141443"/>
                <a:gd name="connsiteX6" fmla="*/ 539219 w 564095"/>
                <a:gd name="connsiteY6" fmla="*/ 20844 h 1141443"/>
                <a:gd name="connsiteX7" fmla="*/ 537098 w 564095"/>
                <a:gd name="connsiteY7" fmla="*/ 18922 h 1141443"/>
                <a:gd name="connsiteX8" fmla="*/ 534916 w 564095"/>
                <a:gd name="connsiteY8" fmla="*/ 17080 h 1141443"/>
                <a:gd name="connsiteX9" fmla="*/ 530333 w 564095"/>
                <a:gd name="connsiteY9" fmla="*/ 13657 h 1141443"/>
                <a:gd name="connsiteX10" fmla="*/ 525470 w 564095"/>
                <a:gd name="connsiteY10" fmla="*/ 10654 h 1141443"/>
                <a:gd name="connsiteX11" fmla="*/ 523008 w 564095"/>
                <a:gd name="connsiteY11" fmla="*/ 9192 h 1141443"/>
                <a:gd name="connsiteX12" fmla="*/ 520427 w 564095"/>
                <a:gd name="connsiteY12" fmla="*/ 7971 h 1141443"/>
                <a:gd name="connsiteX13" fmla="*/ 517865 w 564095"/>
                <a:gd name="connsiteY13" fmla="*/ 6729 h 1141443"/>
                <a:gd name="connsiteX14" fmla="*/ 516584 w 564095"/>
                <a:gd name="connsiteY14" fmla="*/ 6109 h 1141443"/>
                <a:gd name="connsiteX15" fmla="*/ 515243 w 564095"/>
                <a:gd name="connsiteY15" fmla="*/ 5628 h 1141443"/>
                <a:gd name="connsiteX16" fmla="*/ 509900 w 564095"/>
                <a:gd name="connsiteY16" fmla="*/ 3666 h 1141443"/>
                <a:gd name="connsiteX17" fmla="*/ 504376 w 564095"/>
                <a:gd name="connsiteY17" fmla="*/ 2225 h 1141443"/>
                <a:gd name="connsiteX18" fmla="*/ 501614 w 564095"/>
                <a:gd name="connsiteY18" fmla="*/ 1544 h 1141443"/>
                <a:gd name="connsiteX19" fmla="*/ 498792 w 564095"/>
                <a:gd name="connsiteY19" fmla="*/ 1123 h 1141443"/>
                <a:gd name="connsiteX20" fmla="*/ 495970 w 564095"/>
                <a:gd name="connsiteY20" fmla="*/ 683 h 1141443"/>
                <a:gd name="connsiteX21" fmla="*/ 493128 w 564095"/>
                <a:gd name="connsiteY21" fmla="*/ 363 h 1141443"/>
                <a:gd name="connsiteX22" fmla="*/ 487405 w 564095"/>
                <a:gd name="connsiteY22" fmla="*/ 62 h 1141443"/>
                <a:gd name="connsiteX23" fmla="*/ 484102 w 564095"/>
                <a:gd name="connsiteY23" fmla="*/ 2 h 1141443"/>
                <a:gd name="connsiteX24" fmla="*/ 77712 w 564095"/>
                <a:gd name="connsiteY24" fmla="*/ 2 h 1141443"/>
                <a:gd name="connsiteX25" fmla="*/ 55177 w 564095"/>
                <a:gd name="connsiteY25" fmla="*/ 3346 h 1141443"/>
                <a:gd name="connsiteX26" fmla="*/ 34603 w 564095"/>
                <a:gd name="connsiteY26" fmla="*/ 13056 h 1141443"/>
                <a:gd name="connsiteX27" fmla="*/ 17692 w 564095"/>
                <a:gd name="connsiteY27" fmla="*/ 28353 h 1141443"/>
                <a:gd name="connsiteX28" fmla="*/ 5964 w 564095"/>
                <a:gd name="connsiteY28" fmla="*/ 47873 h 1141443"/>
                <a:gd name="connsiteX29" fmla="*/ 400 w 564095"/>
                <a:gd name="connsiteY29" fmla="*/ 69937 h 1141443"/>
                <a:gd name="connsiteX30" fmla="*/ 120 w 564095"/>
                <a:gd name="connsiteY30" fmla="*/ 75663 h 1141443"/>
                <a:gd name="connsiteX31" fmla="*/ 40 w 564095"/>
                <a:gd name="connsiteY31" fmla="*/ 77085 h 1141443"/>
                <a:gd name="connsiteX32" fmla="*/ 0 w 564095"/>
                <a:gd name="connsiteY32" fmla="*/ 77805 h 1141443"/>
                <a:gd name="connsiteX33" fmla="*/ 0 w 564095"/>
                <a:gd name="connsiteY33" fmla="*/ 1061476 h 1141443"/>
                <a:gd name="connsiteX34" fmla="*/ 60 w 564095"/>
                <a:gd name="connsiteY34" fmla="*/ 1064760 h 1141443"/>
                <a:gd name="connsiteX35" fmla="*/ 340 w 564095"/>
                <a:gd name="connsiteY35" fmla="*/ 1070486 h 1141443"/>
                <a:gd name="connsiteX36" fmla="*/ 660 w 564095"/>
                <a:gd name="connsiteY36" fmla="*/ 1073329 h 1141443"/>
                <a:gd name="connsiteX37" fmla="*/ 1101 w 564095"/>
                <a:gd name="connsiteY37" fmla="*/ 1076152 h 1141443"/>
                <a:gd name="connsiteX38" fmla="*/ 1521 w 564095"/>
                <a:gd name="connsiteY38" fmla="*/ 1078975 h 1141443"/>
                <a:gd name="connsiteX39" fmla="*/ 2202 w 564095"/>
                <a:gd name="connsiteY39" fmla="*/ 1081738 h 1141443"/>
                <a:gd name="connsiteX40" fmla="*/ 10647 w 564095"/>
                <a:gd name="connsiteY40" fmla="*/ 1102840 h 1141443"/>
                <a:gd name="connsiteX41" fmla="*/ 24897 w 564095"/>
                <a:gd name="connsiteY41" fmla="*/ 1120599 h 1141443"/>
                <a:gd name="connsiteX42" fmla="*/ 27018 w 564095"/>
                <a:gd name="connsiteY42" fmla="*/ 1122521 h 1141443"/>
                <a:gd name="connsiteX43" fmla="*/ 29199 w 564095"/>
                <a:gd name="connsiteY43" fmla="*/ 1124363 h 1141443"/>
                <a:gd name="connsiteX44" fmla="*/ 33783 w 564095"/>
                <a:gd name="connsiteY44" fmla="*/ 1127787 h 1141443"/>
                <a:gd name="connsiteX45" fmla="*/ 38646 w 564095"/>
                <a:gd name="connsiteY45" fmla="*/ 1130790 h 1141443"/>
                <a:gd name="connsiteX46" fmla="*/ 41107 w 564095"/>
                <a:gd name="connsiteY46" fmla="*/ 1132252 h 1141443"/>
                <a:gd name="connsiteX47" fmla="*/ 43689 w 564095"/>
                <a:gd name="connsiteY47" fmla="*/ 1133473 h 1141443"/>
                <a:gd name="connsiteX48" fmla="*/ 46251 w 564095"/>
                <a:gd name="connsiteY48" fmla="*/ 1134714 h 1141443"/>
                <a:gd name="connsiteX49" fmla="*/ 47532 w 564095"/>
                <a:gd name="connsiteY49" fmla="*/ 1135335 h 1141443"/>
                <a:gd name="connsiteX50" fmla="*/ 48873 w 564095"/>
                <a:gd name="connsiteY50" fmla="*/ 1135816 h 1141443"/>
                <a:gd name="connsiteX51" fmla="*/ 54216 w 564095"/>
                <a:gd name="connsiteY51" fmla="*/ 1137778 h 1141443"/>
                <a:gd name="connsiteX52" fmla="*/ 59740 w 564095"/>
                <a:gd name="connsiteY52" fmla="*/ 1139219 h 1141443"/>
                <a:gd name="connsiteX53" fmla="*/ 62502 w 564095"/>
                <a:gd name="connsiteY53" fmla="*/ 1139900 h 1141443"/>
                <a:gd name="connsiteX54" fmla="*/ 65324 w 564095"/>
                <a:gd name="connsiteY54" fmla="*/ 1140320 h 1141443"/>
                <a:gd name="connsiteX55" fmla="*/ 68145 w 564095"/>
                <a:gd name="connsiteY55" fmla="*/ 1140761 h 1141443"/>
                <a:gd name="connsiteX56" fmla="*/ 70987 w 564095"/>
                <a:gd name="connsiteY56" fmla="*/ 1141081 h 1141443"/>
                <a:gd name="connsiteX57" fmla="*/ 76711 w 564095"/>
                <a:gd name="connsiteY57" fmla="*/ 1141381 h 1141443"/>
                <a:gd name="connsiteX58" fmla="*/ 79993 w 564095"/>
                <a:gd name="connsiteY58" fmla="*/ 1141442 h 1141443"/>
                <a:gd name="connsiteX59" fmla="*/ 486384 w 564095"/>
                <a:gd name="connsiteY59" fmla="*/ 1141442 h 1141443"/>
                <a:gd name="connsiteX60" fmla="*/ 508919 w 564095"/>
                <a:gd name="connsiteY60" fmla="*/ 1138098 h 1141443"/>
                <a:gd name="connsiteX61" fmla="*/ 529493 w 564095"/>
                <a:gd name="connsiteY61" fmla="*/ 1128388 h 1141443"/>
                <a:gd name="connsiteX62" fmla="*/ 546404 w 564095"/>
                <a:gd name="connsiteY62" fmla="*/ 1113091 h 1141443"/>
                <a:gd name="connsiteX63" fmla="*/ 558132 w 564095"/>
                <a:gd name="connsiteY63" fmla="*/ 1093570 h 1141443"/>
                <a:gd name="connsiteX64" fmla="*/ 563695 w 564095"/>
                <a:gd name="connsiteY64" fmla="*/ 1071507 h 1141443"/>
                <a:gd name="connsiteX65" fmla="*/ 563976 w 564095"/>
                <a:gd name="connsiteY65" fmla="*/ 1065781 h 1141443"/>
                <a:gd name="connsiteX66" fmla="*/ 564056 w 564095"/>
                <a:gd name="connsiteY66" fmla="*/ 1064359 h 1141443"/>
                <a:gd name="connsiteX67" fmla="*/ 564096 w 564095"/>
                <a:gd name="connsiteY67" fmla="*/ 1063639 h 1141443"/>
                <a:gd name="connsiteX68" fmla="*/ 564096 w 564095"/>
                <a:gd name="connsiteY68" fmla="*/ 79968 h 1141443"/>
                <a:gd name="connsiteX69" fmla="*/ 564036 w 564095"/>
                <a:gd name="connsiteY69" fmla="*/ 76684 h 1141443"/>
                <a:gd name="connsiteX70" fmla="*/ 563755 w 564095"/>
                <a:gd name="connsiteY70" fmla="*/ 70958 h 1141443"/>
                <a:gd name="connsiteX71" fmla="*/ 525990 w 564095"/>
                <a:gd name="connsiteY71" fmla="*/ 309753 h 1141443"/>
                <a:gd name="connsiteX72" fmla="*/ 525990 w 564095"/>
                <a:gd name="connsiteY72" fmla="*/ 1063639 h 1141443"/>
                <a:gd name="connsiteX73" fmla="*/ 525950 w 564095"/>
                <a:gd name="connsiteY73" fmla="*/ 1064059 h 1141443"/>
                <a:gd name="connsiteX74" fmla="*/ 525870 w 564095"/>
                <a:gd name="connsiteY74" fmla="*/ 1064800 h 1141443"/>
                <a:gd name="connsiteX75" fmla="*/ 525770 w 564095"/>
                <a:gd name="connsiteY75" fmla="*/ 1067763 h 1141443"/>
                <a:gd name="connsiteX76" fmla="*/ 522948 w 564095"/>
                <a:gd name="connsiteY76" fmla="*/ 1078935 h 1141443"/>
                <a:gd name="connsiteX77" fmla="*/ 516984 w 564095"/>
                <a:gd name="connsiteY77" fmla="*/ 1088885 h 1141443"/>
                <a:gd name="connsiteX78" fmla="*/ 508318 w 564095"/>
                <a:gd name="connsiteY78" fmla="*/ 1096714 h 1141443"/>
                <a:gd name="connsiteX79" fmla="*/ 497892 w 564095"/>
                <a:gd name="connsiteY79" fmla="*/ 1101639 h 1141443"/>
                <a:gd name="connsiteX80" fmla="*/ 486404 w 564095"/>
                <a:gd name="connsiteY80" fmla="*/ 1103361 h 1141443"/>
                <a:gd name="connsiteX81" fmla="*/ 77812 w 564095"/>
                <a:gd name="connsiteY81" fmla="*/ 1103361 h 1141443"/>
                <a:gd name="connsiteX82" fmla="*/ 77592 w 564095"/>
                <a:gd name="connsiteY82" fmla="*/ 1103361 h 1141443"/>
                <a:gd name="connsiteX83" fmla="*/ 77231 w 564095"/>
                <a:gd name="connsiteY83" fmla="*/ 1103321 h 1141443"/>
                <a:gd name="connsiteX84" fmla="*/ 74270 w 564095"/>
                <a:gd name="connsiteY84" fmla="*/ 1103161 h 1141443"/>
                <a:gd name="connsiteX85" fmla="*/ 72829 w 564095"/>
                <a:gd name="connsiteY85" fmla="*/ 1103001 h 1141443"/>
                <a:gd name="connsiteX86" fmla="*/ 71408 w 564095"/>
                <a:gd name="connsiteY86" fmla="*/ 1102760 h 1141443"/>
                <a:gd name="connsiteX87" fmla="*/ 69967 w 564095"/>
                <a:gd name="connsiteY87" fmla="*/ 1102600 h 1141443"/>
                <a:gd name="connsiteX88" fmla="*/ 68586 w 564095"/>
                <a:gd name="connsiteY88" fmla="*/ 1102220 h 1141443"/>
                <a:gd name="connsiteX89" fmla="*/ 65784 w 564095"/>
                <a:gd name="connsiteY89" fmla="*/ 1101519 h 1141443"/>
                <a:gd name="connsiteX90" fmla="*/ 63082 w 564095"/>
                <a:gd name="connsiteY90" fmla="*/ 1100498 h 1141443"/>
                <a:gd name="connsiteX91" fmla="*/ 62382 w 564095"/>
                <a:gd name="connsiteY91" fmla="*/ 1100298 h 1141443"/>
                <a:gd name="connsiteX92" fmla="*/ 61741 w 564095"/>
                <a:gd name="connsiteY92" fmla="*/ 1099957 h 1141443"/>
                <a:gd name="connsiteX93" fmla="*/ 60460 w 564095"/>
                <a:gd name="connsiteY93" fmla="*/ 1099317 h 1141443"/>
                <a:gd name="connsiteX94" fmla="*/ 59139 w 564095"/>
                <a:gd name="connsiteY94" fmla="*/ 1098736 h 1141443"/>
                <a:gd name="connsiteX95" fmla="*/ 57919 w 564095"/>
                <a:gd name="connsiteY95" fmla="*/ 1097955 h 1141443"/>
                <a:gd name="connsiteX96" fmla="*/ 55437 w 564095"/>
                <a:gd name="connsiteY96" fmla="*/ 1096453 h 1141443"/>
                <a:gd name="connsiteX97" fmla="*/ 53095 w 564095"/>
                <a:gd name="connsiteY97" fmla="*/ 1094692 h 1141443"/>
                <a:gd name="connsiteX98" fmla="*/ 51995 w 564095"/>
                <a:gd name="connsiteY98" fmla="*/ 1093731 h 1141443"/>
                <a:gd name="connsiteX99" fmla="*/ 50914 w 564095"/>
                <a:gd name="connsiteY99" fmla="*/ 1092730 h 1141443"/>
                <a:gd name="connsiteX100" fmla="*/ 43629 w 564095"/>
                <a:gd name="connsiteY100" fmla="*/ 1083660 h 1141443"/>
                <a:gd name="connsiteX101" fmla="*/ 39346 w 564095"/>
                <a:gd name="connsiteY101" fmla="*/ 1073009 h 1141443"/>
                <a:gd name="connsiteX102" fmla="*/ 38966 w 564095"/>
                <a:gd name="connsiteY102" fmla="*/ 1071627 h 1141443"/>
                <a:gd name="connsiteX103" fmla="*/ 38806 w 564095"/>
                <a:gd name="connsiteY103" fmla="*/ 1070185 h 1141443"/>
                <a:gd name="connsiteX104" fmla="*/ 38566 w 564095"/>
                <a:gd name="connsiteY104" fmla="*/ 1068764 h 1141443"/>
                <a:gd name="connsiteX105" fmla="*/ 38386 w 564095"/>
                <a:gd name="connsiteY105" fmla="*/ 1067322 h 1141443"/>
                <a:gd name="connsiteX106" fmla="*/ 38226 w 564095"/>
                <a:gd name="connsiteY106" fmla="*/ 1064359 h 1141443"/>
                <a:gd name="connsiteX107" fmla="*/ 38185 w 564095"/>
                <a:gd name="connsiteY107" fmla="*/ 1063999 h 1141443"/>
                <a:gd name="connsiteX108" fmla="*/ 38185 w 564095"/>
                <a:gd name="connsiteY108" fmla="*/ 77805 h 1141443"/>
                <a:gd name="connsiteX109" fmla="*/ 38185 w 564095"/>
                <a:gd name="connsiteY109" fmla="*/ 77385 h 1141443"/>
                <a:gd name="connsiteX110" fmla="*/ 38265 w 564095"/>
                <a:gd name="connsiteY110" fmla="*/ 76644 h 1141443"/>
                <a:gd name="connsiteX111" fmla="*/ 38366 w 564095"/>
                <a:gd name="connsiteY111" fmla="*/ 73681 h 1141443"/>
                <a:gd name="connsiteX112" fmla="*/ 41187 w 564095"/>
                <a:gd name="connsiteY112" fmla="*/ 62509 h 1141443"/>
                <a:gd name="connsiteX113" fmla="*/ 47151 w 564095"/>
                <a:gd name="connsiteY113" fmla="*/ 52558 h 1141443"/>
                <a:gd name="connsiteX114" fmla="*/ 55817 w 564095"/>
                <a:gd name="connsiteY114" fmla="*/ 44730 h 1141443"/>
                <a:gd name="connsiteX115" fmla="*/ 66244 w 564095"/>
                <a:gd name="connsiteY115" fmla="*/ 39805 h 1141443"/>
                <a:gd name="connsiteX116" fmla="*/ 77732 w 564095"/>
                <a:gd name="connsiteY116" fmla="*/ 38083 h 1141443"/>
                <a:gd name="connsiteX117" fmla="*/ 486324 w 564095"/>
                <a:gd name="connsiteY117" fmla="*/ 38083 h 1141443"/>
                <a:gd name="connsiteX118" fmla="*/ 486544 w 564095"/>
                <a:gd name="connsiteY118" fmla="*/ 38083 h 1141443"/>
                <a:gd name="connsiteX119" fmla="*/ 486904 w 564095"/>
                <a:gd name="connsiteY119" fmla="*/ 38123 h 1141443"/>
                <a:gd name="connsiteX120" fmla="*/ 489866 w 564095"/>
                <a:gd name="connsiteY120" fmla="*/ 38283 h 1141443"/>
                <a:gd name="connsiteX121" fmla="*/ 491307 w 564095"/>
                <a:gd name="connsiteY121" fmla="*/ 38443 h 1141443"/>
                <a:gd name="connsiteX122" fmla="*/ 492728 w 564095"/>
                <a:gd name="connsiteY122" fmla="*/ 38684 h 1141443"/>
                <a:gd name="connsiteX123" fmla="*/ 494169 w 564095"/>
                <a:gd name="connsiteY123" fmla="*/ 38844 h 1141443"/>
                <a:gd name="connsiteX124" fmla="*/ 495550 w 564095"/>
                <a:gd name="connsiteY124" fmla="*/ 39224 h 1141443"/>
                <a:gd name="connsiteX125" fmla="*/ 498352 w 564095"/>
                <a:gd name="connsiteY125" fmla="*/ 39925 h 1141443"/>
                <a:gd name="connsiteX126" fmla="*/ 501054 w 564095"/>
                <a:gd name="connsiteY126" fmla="*/ 40946 h 1141443"/>
                <a:gd name="connsiteX127" fmla="*/ 501754 w 564095"/>
                <a:gd name="connsiteY127" fmla="*/ 41146 h 1141443"/>
                <a:gd name="connsiteX128" fmla="*/ 502395 w 564095"/>
                <a:gd name="connsiteY128" fmla="*/ 41487 h 1141443"/>
                <a:gd name="connsiteX129" fmla="*/ 503675 w 564095"/>
                <a:gd name="connsiteY129" fmla="*/ 42127 h 1141443"/>
                <a:gd name="connsiteX130" fmla="*/ 504996 w 564095"/>
                <a:gd name="connsiteY130" fmla="*/ 42708 h 1141443"/>
                <a:gd name="connsiteX131" fmla="*/ 506217 w 564095"/>
                <a:gd name="connsiteY131" fmla="*/ 43489 h 1141443"/>
                <a:gd name="connsiteX132" fmla="*/ 508699 w 564095"/>
                <a:gd name="connsiteY132" fmla="*/ 44990 h 1141443"/>
                <a:gd name="connsiteX133" fmla="*/ 511040 w 564095"/>
                <a:gd name="connsiteY133" fmla="*/ 46752 h 1141443"/>
                <a:gd name="connsiteX134" fmla="*/ 512141 w 564095"/>
                <a:gd name="connsiteY134" fmla="*/ 47713 h 1141443"/>
                <a:gd name="connsiteX135" fmla="*/ 513222 w 564095"/>
                <a:gd name="connsiteY135" fmla="*/ 48714 h 1141443"/>
                <a:gd name="connsiteX136" fmla="*/ 520507 w 564095"/>
                <a:gd name="connsiteY136" fmla="*/ 57784 h 1141443"/>
                <a:gd name="connsiteX137" fmla="*/ 524789 w 564095"/>
                <a:gd name="connsiteY137" fmla="*/ 68435 h 1141443"/>
                <a:gd name="connsiteX138" fmla="*/ 525170 w 564095"/>
                <a:gd name="connsiteY138" fmla="*/ 69817 h 1141443"/>
                <a:gd name="connsiteX139" fmla="*/ 525330 w 564095"/>
                <a:gd name="connsiteY139" fmla="*/ 71258 h 1141443"/>
                <a:gd name="connsiteX140" fmla="*/ 525570 w 564095"/>
                <a:gd name="connsiteY140" fmla="*/ 72680 h 1141443"/>
                <a:gd name="connsiteX141" fmla="*/ 525750 w 564095"/>
                <a:gd name="connsiteY141" fmla="*/ 74121 h 1141443"/>
                <a:gd name="connsiteX142" fmla="*/ 525910 w 564095"/>
                <a:gd name="connsiteY142" fmla="*/ 77085 h 1141443"/>
                <a:gd name="connsiteX143" fmla="*/ 525950 w 564095"/>
                <a:gd name="connsiteY143" fmla="*/ 77445 h 1141443"/>
                <a:gd name="connsiteX144" fmla="*/ 525950 w 564095"/>
                <a:gd name="connsiteY144" fmla="*/ 309633 h 1141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564095" h="1141443">
                  <a:moveTo>
                    <a:pt x="563775" y="70958"/>
                  </a:moveTo>
                  <a:cubicBezTo>
                    <a:pt x="563775" y="69997"/>
                    <a:pt x="563615" y="69056"/>
                    <a:pt x="563455" y="68115"/>
                  </a:cubicBezTo>
                  <a:lnTo>
                    <a:pt x="563015" y="65292"/>
                  </a:lnTo>
                  <a:lnTo>
                    <a:pt x="562595" y="62469"/>
                  </a:lnTo>
                  <a:cubicBezTo>
                    <a:pt x="562455" y="61528"/>
                    <a:pt x="562134" y="60627"/>
                    <a:pt x="561914" y="59706"/>
                  </a:cubicBezTo>
                  <a:cubicBezTo>
                    <a:pt x="560353" y="52238"/>
                    <a:pt x="557191" y="45211"/>
                    <a:pt x="553469" y="38603"/>
                  </a:cubicBezTo>
                  <a:cubicBezTo>
                    <a:pt x="549766" y="31936"/>
                    <a:pt x="544763" y="26050"/>
                    <a:pt x="539219" y="20844"/>
                  </a:cubicBezTo>
                  <a:lnTo>
                    <a:pt x="537098" y="18922"/>
                  </a:lnTo>
                  <a:cubicBezTo>
                    <a:pt x="536397" y="18282"/>
                    <a:pt x="535717" y="17601"/>
                    <a:pt x="534916" y="17080"/>
                  </a:cubicBezTo>
                  <a:lnTo>
                    <a:pt x="530333" y="13657"/>
                  </a:lnTo>
                  <a:cubicBezTo>
                    <a:pt x="528772" y="12556"/>
                    <a:pt x="527091" y="11675"/>
                    <a:pt x="525470" y="10654"/>
                  </a:cubicBezTo>
                  <a:cubicBezTo>
                    <a:pt x="524649" y="10173"/>
                    <a:pt x="523869" y="9613"/>
                    <a:pt x="523008" y="9192"/>
                  </a:cubicBezTo>
                  <a:lnTo>
                    <a:pt x="520427" y="7971"/>
                  </a:lnTo>
                  <a:lnTo>
                    <a:pt x="517865" y="6729"/>
                  </a:lnTo>
                  <a:lnTo>
                    <a:pt x="516584" y="6109"/>
                  </a:lnTo>
                  <a:lnTo>
                    <a:pt x="515243" y="5628"/>
                  </a:lnTo>
                  <a:lnTo>
                    <a:pt x="509900" y="3666"/>
                  </a:lnTo>
                  <a:cubicBezTo>
                    <a:pt x="508078" y="3126"/>
                    <a:pt x="506217" y="2725"/>
                    <a:pt x="504376" y="2225"/>
                  </a:cubicBezTo>
                  <a:cubicBezTo>
                    <a:pt x="503455" y="2004"/>
                    <a:pt x="502555" y="1684"/>
                    <a:pt x="501614" y="1544"/>
                  </a:cubicBezTo>
                  <a:lnTo>
                    <a:pt x="498792" y="1123"/>
                  </a:lnTo>
                  <a:lnTo>
                    <a:pt x="495970" y="683"/>
                  </a:lnTo>
                  <a:cubicBezTo>
                    <a:pt x="495030" y="523"/>
                    <a:pt x="494089" y="363"/>
                    <a:pt x="493128" y="363"/>
                  </a:cubicBezTo>
                  <a:lnTo>
                    <a:pt x="487405" y="62"/>
                  </a:lnTo>
                  <a:cubicBezTo>
                    <a:pt x="486544" y="-18"/>
                    <a:pt x="485283" y="2"/>
                    <a:pt x="484102" y="2"/>
                  </a:cubicBezTo>
                  <a:lnTo>
                    <a:pt x="77712" y="2"/>
                  </a:lnTo>
                  <a:cubicBezTo>
                    <a:pt x="70067" y="222"/>
                    <a:pt x="62482" y="1183"/>
                    <a:pt x="55177" y="3346"/>
                  </a:cubicBezTo>
                  <a:cubicBezTo>
                    <a:pt x="47952" y="5688"/>
                    <a:pt x="40987" y="8872"/>
                    <a:pt x="34603" y="13056"/>
                  </a:cubicBezTo>
                  <a:cubicBezTo>
                    <a:pt x="28339" y="17401"/>
                    <a:pt x="22635" y="22546"/>
                    <a:pt x="17692" y="28353"/>
                  </a:cubicBezTo>
                  <a:cubicBezTo>
                    <a:pt x="12929" y="34319"/>
                    <a:pt x="9006" y="40906"/>
                    <a:pt x="5964" y="47873"/>
                  </a:cubicBezTo>
                  <a:cubicBezTo>
                    <a:pt x="3102" y="54941"/>
                    <a:pt x="1341" y="62369"/>
                    <a:pt x="400" y="69937"/>
                  </a:cubicBezTo>
                  <a:lnTo>
                    <a:pt x="120" y="75663"/>
                  </a:lnTo>
                  <a:lnTo>
                    <a:pt x="40" y="77085"/>
                  </a:lnTo>
                  <a:lnTo>
                    <a:pt x="0" y="77805"/>
                  </a:lnTo>
                  <a:lnTo>
                    <a:pt x="0" y="1061476"/>
                  </a:lnTo>
                  <a:cubicBezTo>
                    <a:pt x="0" y="1062657"/>
                    <a:pt x="0" y="1063899"/>
                    <a:pt x="60" y="1064760"/>
                  </a:cubicBezTo>
                  <a:lnTo>
                    <a:pt x="340" y="1070486"/>
                  </a:lnTo>
                  <a:cubicBezTo>
                    <a:pt x="340" y="1071447"/>
                    <a:pt x="500" y="1072388"/>
                    <a:pt x="660" y="1073329"/>
                  </a:cubicBezTo>
                  <a:lnTo>
                    <a:pt x="1101" y="1076152"/>
                  </a:lnTo>
                  <a:lnTo>
                    <a:pt x="1521" y="1078975"/>
                  </a:lnTo>
                  <a:cubicBezTo>
                    <a:pt x="1661" y="1079916"/>
                    <a:pt x="1981" y="1080817"/>
                    <a:pt x="2202" y="1081738"/>
                  </a:cubicBezTo>
                  <a:cubicBezTo>
                    <a:pt x="3763" y="1089206"/>
                    <a:pt x="6925" y="1096233"/>
                    <a:pt x="10647" y="1102840"/>
                  </a:cubicBezTo>
                  <a:cubicBezTo>
                    <a:pt x="14350" y="1109507"/>
                    <a:pt x="19353" y="1115394"/>
                    <a:pt x="24897" y="1120599"/>
                  </a:cubicBezTo>
                  <a:lnTo>
                    <a:pt x="27018" y="1122521"/>
                  </a:lnTo>
                  <a:cubicBezTo>
                    <a:pt x="27719" y="1123162"/>
                    <a:pt x="28399" y="1123843"/>
                    <a:pt x="29199" y="1124363"/>
                  </a:cubicBezTo>
                  <a:lnTo>
                    <a:pt x="33783" y="1127787"/>
                  </a:lnTo>
                  <a:cubicBezTo>
                    <a:pt x="35344" y="1128888"/>
                    <a:pt x="37025" y="1129769"/>
                    <a:pt x="38646" y="1130790"/>
                  </a:cubicBezTo>
                  <a:cubicBezTo>
                    <a:pt x="39466" y="1131271"/>
                    <a:pt x="40247" y="1131831"/>
                    <a:pt x="41107" y="1132252"/>
                  </a:cubicBezTo>
                  <a:lnTo>
                    <a:pt x="43689" y="1133473"/>
                  </a:lnTo>
                  <a:lnTo>
                    <a:pt x="46251" y="1134714"/>
                  </a:lnTo>
                  <a:lnTo>
                    <a:pt x="47532" y="1135335"/>
                  </a:lnTo>
                  <a:lnTo>
                    <a:pt x="48873" y="1135816"/>
                  </a:lnTo>
                  <a:lnTo>
                    <a:pt x="54216" y="1137778"/>
                  </a:lnTo>
                  <a:cubicBezTo>
                    <a:pt x="56037" y="1138318"/>
                    <a:pt x="57899" y="1138719"/>
                    <a:pt x="59740" y="1139219"/>
                  </a:cubicBezTo>
                  <a:cubicBezTo>
                    <a:pt x="60660" y="1139439"/>
                    <a:pt x="61561" y="1139760"/>
                    <a:pt x="62502" y="1139900"/>
                  </a:cubicBezTo>
                  <a:lnTo>
                    <a:pt x="65324" y="1140320"/>
                  </a:lnTo>
                  <a:lnTo>
                    <a:pt x="68145" y="1140761"/>
                  </a:lnTo>
                  <a:cubicBezTo>
                    <a:pt x="69086" y="1140921"/>
                    <a:pt x="70027" y="1141081"/>
                    <a:pt x="70987" y="1141081"/>
                  </a:cubicBezTo>
                  <a:lnTo>
                    <a:pt x="76711" y="1141381"/>
                  </a:lnTo>
                  <a:cubicBezTo>
                    <a:pt x="77572" y="1141462"/>
                    <a:pt x="78833" y="1141442"/>
                    <a:pt x="79993" y="1141442"/>
                  </a:cubicBezTo>
                  <a:lnTo>
                    <a:pt x="486384" y="1141442"/>
                  </a:lnTo>
                  <a:cubicBezTo>
                    <a:pt x="494029" y="1141221"/>
                    <a:pt x="501614" y="1140260"/>
                    <a:pt x="508919" y="1138098"/>
                  </a:cubicBezTo>
                  <a:cubicBezTo>
                    <a:pt x="516144" y="1135755"/>
                    <a:pt x="523108" y="1132572"/>
                    <a:pt x="529493" y="1128388"/>
                  </a:cubicBezTo>
                  <a:cubicBezTo>
                    <a:pt x="535757" y="1124043"/>
                    <a:pt x="541461" y="1118898"/>
                    <a:pt x="546404" y="1113091"/>
                  </a:cubicBezTo>
                  <a:cubicBezTo>
                    <a:pt x="551167" y="1107125"/>
                    <a:pt x="555090" y="1100538"/>
                    <a:pt x="558132" y="1093570"/>
                  </a:cubicBezTo>
                  <a:cubicBezTo>
                    <a:pt x="560993" y="1086503"/>
                    <a:pt x="562755" y="1079075"/>
                    <a:pt x="563695" y="1071507"/>
                  </a:cubicBezTo>
                  <a:lnTo>
                    <a:pt x="563976" y="1065781"/>
                  </a:lnTo>
                  <a:lnTo>
                    <a:pt x="564056" y="1064359"/>
                  </a:lnTo>
                  <a:lnTo>
                    <a:pt x="564096" y="1063639"/>
                  </a:lnTo>
                  <a:lnTo>
                    <a:pt x="564096" y="79968"/>
                  </a:lnTo>
                  <a:cubicBezTo>
                    <a:pt x="564096" y="78786"/>
                    <a:pt x="564096" y="77545"/>
                    <a:pt x="564036" y="76684"/>
                  </a:cubicBezTo>
                  <a:lnTo>
                    <a:pt x="563755" y="70958"/>
                  </a:lnTo>
                  <a:close/>
                  <a:moveTo>
                    <a:pt x="525990" y="309753"/>
                  </a:moveTo>
                  <a:lnTo>
                    <a:pt x="525990" y="1063639"/>
                  </a:lnTo>
                  <a:cubicBezTo>
                    <a:pt x="525990" y="1063839"/>
                    <a:pt x="525970" y="1063899"/>
                    <a:pt x="525950" y="1064059"/>
                  </a:cubicBezTo>
                  <a:lnTo>
                    <a:pt x="525870" y="1064800"/>
                  </a:lnTo>
                  <a:cubicBezTo>
                    <a:pt x="525790" y="1065781"/>
                    <a:pt x="525750" y="1066762"/>
                    <a:pt x="525770" y="1067763"/>
                  </a:cubicBezTo>
                  <a:cubicBezTo>
                    <a:pt x="525190" y="1071607"/>
                    <a:pt x="524369" y="1075351"/>
                    <a:pt x="522948" y="1078935"/>
                  </a:cubicBezTo>
                  <a:cubicBezTo>
                    <a:pt x="521347" y="1082439"/>
                    <a:pt x="519366" y="1085782"/>
                    <a:pt x="516984" y="1088885"/>
                  </a:cubicBezTo>
                  <a:cubicBezTo>
                    <a:pt x="514382" y="1091829"/>
                    <a:pt x="511481" y="1094451"/>
                    <a:pt x="508318" y="1096714"/>
                  </a:cubicBezTo>
                  <a:cubicBezTo>
                    <a:pt x="505036" y="1098836"/>
                    <a:pt x="501514" y="1100378"/>
                    <a:pt x="497892" y="1101639"/>
                  </a:cubicBezTo>
                  <a:cubicBezTo>
                    <a:pt x="494209" y="1102720"/>
                    <a:pt x="490366" y="1103121"/>
                    <a:pt x="486404" y="1103361"/>
                  </a:cubicBezTo>
                  <a:lnTo>
                    <a:pt x="77812" y="1103361"/>
                  </a:lnTo>
                  <a:cubicBezTo>
                    <a:pt x="77692" y="1103361"/>
                    <a:pt x="77672" y="1103361"/>
                    <a:pt x="77592" y="1103361"/>
                  </a:cubicBezTo>
                  <a:lnTo>
                    <a:pt x="77231" y="1103321"/>
                  </a:lnTo>
                  <a:cubicBezTo>
                    <a:pt x="76251" y="1103221"/>
                    <a:pt x="75270" y="1103161"/>
                    <a:pt x="74270" y="1103161"/>
                  </a:cubicBezTo>
                  <a:cubicBezTo>
                    <a:pt x="73769" y="1103201"/>
                    <a:pt x="73289" y="1103101"/>
                    <a:pt x="72829" y="1103001"/>
                  </a:cubicBezTo>
                  <a:cubicBezTo>
                    <a:pt x="72348" y="1102900"/>
                    <a:pt x="71868" y="1102820"/>
                    <a:pt x="71408" y="1102760"/>
                  </a:cubicBezTo>
                  <a:cubicBezTo>
                    <a:pt x="70927" y="1102700"/>
                    <a:pt x="70447" y="1102640"/>
                    <a:pt x="69967" y="1102600"/>
                  </a:cubicBezTo>
                  <a:cubicBezTo>
                    <a:pt x="69486" y="1102560"/>
                    <a:pt x="69046" y="1102320"/>
                    <a:pt x="68586" y="1102220"/>
                  </a:cubicBezTo>
                  <a:cubicBezTo>
                    <a:pt x="67665" y="1101939"/>
                    <a:pt x="66724" y="1101799"/>
                    <a:pt x="65784" y="1101519"/>
                  </a:cubicBezTo>
                  <a:cubicBezTo>
                    <a:pt x="64903" y="1101139"/>
                    <a:pt x="64003" y="1100798"/>
                    <a:pt x="63082" y="1100498"/>
                  </a:cubicBezTo>
                  <a:lnTo>
                    <a:pt x="62382" y="1100298"/>
                  </a:lnTo>
                  <a:lnTo>
                    <a:pt x="61741" y="1099957"/>
                  </a:lnTo>
                  <a:cubicBezTo>
                    <a:pt x="61321" y="1099737"/>
                    <a:pt x="60881" y="1099517"/>
                    <a:pt x="60460" y="1099317"/>
                  </a:cubicBezTo>
                  <a:cubicBezTo>
                    <a:pt x="60020" y="1099116"/>
                    <a:pt x="59580" y="1098916"/>
                    <a:pt x="59139" y="1098736"/>
                  </a:cubicBezTo>
                  <a:cubicBezTo>
                    <a:pt x="58699" y="1098536"/>
                    <a:pt x="58319" y="1098195"/>
                    <a:pt x="57919" y="1097955"/>
                  </a:cubicBezTo>
                  <a:cubicBezTo>
                    <a:pt x="57118" y="1097395"/>
                    <a:pt x="56217" y="1097014"/>
                    <a:pt x="55437" y="1096453"/>
                  </a:cubicBezTo>
                  <a:cubicBezTo>
                    <a:pt x="54696" y="1095833"/>
                    <a:pt x="53916" y="1095232"/>
                    <a:pt x="53095" y="1094692"/>
                  </a:cubicBezTo>
                  <a:cubicBezTo>
                    <a:pt x="52655" y="1094451"/>
                    <a:pt x="52335" y="1094091"/>
                    <a:pt x="51995" y="1093731"/>
                  </a:cubicBezTo>
                  <a:cubicBezTo>
                    <a:pt x="51654" y="1093390"/>
                    <a:pt x="51294" y="1093050"/>
                    <a:pt x="50914" y="1092730"/>
                  </a:cubicBezTo>
                  <a:cubicBezTo>
                    <a:pt x="48092" y="1090047"/>
                    <a:pt x="45430" y="1087084"/>
                    <a:pt x="43629" y="1083660"/>
                  </a:cubicBezTo>
                  <a:cubicBezTo>
                    <a:pt x="41788" y="1080276"/>
                    <a:pt x="40047" y="1076792"/>
                    <a:pt x="39346" y="1073009"/>
                  </a:cubicBezTo>
                  <a:cubicBezTo>
                    <a:pt x="39246" y="1072548"/>
                    <a:pt x="39026" y="1072108"/>
                    <a:pt x="38966" y="1071627"/>
                  </a:cubicBezTo>
                  <a:cubicBezTo>
                    <a:pt x="38926" y="1071147"/>
                    <a:pt x="38866" y="1070666"/>
                    <a:pt x="38806" y="1070185"/>
                  </a:cubicBezTo>
                  <a:cubicBezTo>
                    <a:pt x="38746" y="1069705"/>
                    <a:pt x="38666" y="1069224"/>
                    <a:pt x="38566" y="1068764"/>
                  </a:cubicBezTo>
                  <a:cubicBezTo>
                    <a:pt x="38466" y="1068283"/>
                    <a:pt x="38346" y="1067823"/>
                    <a:pt x="38386" y="1067322"/>
                  </a:cubicBezTo>
                  <a:cubicBezTo>
                    <a:pt x="38386" y="1066341"/>
                    <a:pt x="38326" y="1065360"/>
                    <a:pt x="38226" y="1064359"/>
                  </a:cubicBezTo>
                  <a:lnTo>
                    <a:pt x="38185" y="1063999"/>
                  </a:lnTo>
                  <a:lnTo>
                    <a:pt x="38185" y="77805"/>
                  </a:lnTo>
                  <a:cubicBezTo>
                    <a:pt x="38185" y="77605"/>
                    <a:pt x="38185" y="77545"/>
                    <a:pt x="38185" y="77385"/>
                  </a:cubicBezTo>
                  <a:lnTo>
                    <a:pt x="38265" y="76644"/>
                  </a:lnTo>
                  <a:cubicBezTo>
                    <a:pt x="38346" y="75663"/>
                    <a:pt x="38386" y="74682"/>
                    <a:pt x="38366" y="73681"/>
                  </a:cubicBezTo>
                  <a:cubicBezTo>
                    <a:pt x="38946" y="69837"/>
                    <a:pt x="39766" y="66093"/>
                    <a:pt x="41187" y="62509"/>
                  </a:cubicBezTo>
                  <a:cubicBezTo>
                    <a:pt x="42788" y="59005"/>
                    <a:pt x="44770" y="55662"/>
                    <a:pt x="47151" y="52558"/>
                  </a:cubicBezTo>
                  <a:cubicBezTo>
                    <a:pt x="49753" y="49615"/>
                    <a:pt x="52655" y="46992"/>
                    <a:pt x="55817" y="44730"/>
                  </a:cubicBezTo>
                  <a:cubicBezTo>
                    <a:pt x="59099" y="42608"/>
                    <a:pt x="62622" y="41066"/>
                    <a:pt x="66244" y="39805"/>
                  </a:cubicBezTo>
                  <a:cubicBezTo>
                    <a:pt x="69927" y="38724"/>
                    <a:pt x="73769" y="38323"/>
                    <a:pt x="77732" y="38083"/>
                  </a:cubicBezTo>
                  <a:lnTo>
                    <a:pt x="486324" y="38083"/>
                  </a:lnTo>
                  <a:cubicBezTo>
                    <a:pt x="486444" y="38083"/>
                    <a:pt x="486464" y="38083"/>
                    <a:pt x="486544" y="38083"/>
                  </a:cubicBezTo>
                  <a:lnTo>
                    <a:pt x="486904" y="38123"/>
                  </a:lnTo>
                  <a:cubicBezTo>
                    <a:pt x="487885" y="38223"/>
                    <a:pt x="488865" y="38283"/>
                    <a:pt x="489866" y="38283"/>
                  </a:cubicBezTo>
                  <a:cubicBezTo>
                    <a:pt x="490366" y="38243"/>
                    <a:pt x="490847" y="38343"/>
                    <a:pt x="491307" y="38443"/>
                  </a:cubicBezTo>
                  <a:cubicBezTo>
                    <a:pt x="491787" y="38543"/>
                    <a:pt x="492268" y="38623"/>
                    <a:pt x="492728" y="38684"/>
                  </a:cubicBezTo>
                  <a:cubicBezTo>
                    <a:pt x="493208" y="38744"/>
                    <a:pt x="493689" y="38804"/>
                    <a:pt x="494169" y="38844"/>
                  </a:cubicBezTo>
                  <a:cubicBezTo>
                    <a:pt x="494649" y="38884"/>
                    <a:pt x="495090" y="39124"/>
                    <a:pt x="495550" y="39224"/>
                  </a:cubicBezTo>
                  <a:cubicBezTo>
                    <a:pt x="496471" y="39504"/>
                    <a:pt x="497411" y="39645"/>
                    <a:pt x="498352" y="39925"/>
                  </a:cubicBezTo>
                  <a:cubicBezTo>
                    <a:pt x="499232" y="40305"/>
                    <a:pt x="500133" y="40646"/>
                    <a:pt x="501054" y="40946"/>
                  </a:cubicBezTo>
                  <a:lnTo>
                    <a:pt x="501754" y="41146"/>
                  </a:lnTo>
                  <a:lnTo>
                    <a:pt x="502395" y="41487"/>
                  </a:lnTo>
                  <a:cubicBezTo>
                    <a:pt x="502815" y="41707"/>
                    <a:pt x="503255" y="41927"/>
                    <a:pt x="503675" y="42127"/>
                  </a:cubicBezTo>
                  <a:cubicBezTo>
                    <a:pt x="504116" y="42327"/>
                    <a:pt x="504556" y="42528"/>
                    <a:pt x="504996" y="42708"/>
                  </a:cubicBezTo>
                  <a:cubicBezTo>
                    <a:pt x="505437" y="42908"/>
                    <a:pt x="505817" y="43248"/>
                    <a:pt x="506217" y="43489"/>
                  </a:cubicBezTo>
                  <a:cubicBezTo>
                    <a:pt x="507018" y="44049"/>
                    <a:pt x="507918" y="44430"/>
                    <a:pt x="508699" y="44990"/>
                  </a:cubicBezTo>
                  <a:cubicBezTo>
                    <a:pt x="509439" y="45611"/>
                    <a:pt x="510220" y="46212"/>
                    <a:pt x="511040" y="46752"/>
                  </a:cubicBezTo>
                  <a:cubicBezTo>
                    <a:pt x="511481" y="46992"/>
                    <a:pt x="511801" y="47353"/>
                    <a:pt x="512141" y="47713"/>
                  </a:cubicBezTo>
                  <a:cubicBezTo>
                    <a:pt x="512481" y="48054"/>
                    <a:pt x="512841" y="48394"/>
                    <a:pt x="513222" y="48714"/>
                  </a:cubicBezTo>
                  <a:cubicBezTo>
                    <a:pt x="516044" y="51397"/>
                    <a:pt x="518705" y="54360"/>
                    <a:pt x="520507" y="57784"/>
                  </a:cubicBezTo>
                  <a:cubicBezTo>
                    <a:pt x="522348" y="61168"/>
                    <a:pt x="524089" y="64651"/>
                    <a:pt x="524789" y="68435"/>
                  </a:cubicBezTo>
                  <a:cubicBezTo>
                    <a:pt x="524889" y="68896"/>
                    <a:pt x="525110" y="69336"/>
                    <a:pt x="525170" y="69817"/>
                  </a:cubicBezTo>
                  <a:cubicBezTo>
                    <a:pt x="525210" y="70297"/>
                    <a:pt x="525270" y="70778"/>
                    <a:pt x="525330" y="71258"/>
                  </a:cubicBezTo>
                  <a:cubicBezTo>
                    <a:pt x="525390" y="71739"/>
                    <a:pt x="525470" y="72219"/>
                    <a:pt x="525570" y="72680"/>
                  </a:cubicBezTo>
                  <a:cubicBezTo>
                    <a:pt x="525670" y="73160"/>
                    <a:pt x="525790" y="73621"/>
                    <a:pt x="525750" y="74121"/>
                  </a:cubicBezTo>
                  <a:cubicBezTo>
                    <a:pt x="525750" y="75102"/>
                    <a:pt x="525810" y="76083"/>
                    <a:pt x="525910" y="77085"/>
                  </a:cubicBezTo>
                  <a:lnTo>
                    <a:pt x="525950" y="77445"/>
                  </a:lnTo>
                  <a:lnTo>
                    <a:pt x="525950" y="309633"/>
                  </a:ln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0D8DCFB0-7489-420B-92E8-9D316F49AC5E}"/>
                </a:ext>
              </a:extLst>
            </p:cNvPr>
            <p:cNvSpPr/>
            <p:nvPr/>
          </p:nvSpPr>
          <p:spPr>
            <a:xfrm>
              <a:off x="3822722" y="4535835"/>
              <a:ext cx="192308" cy="40042"/>
            </a:xfrm>
            <a:custGeom>
              <a:avLst/>
              <a:gdLst>
                <a:gd name="connsiteX0" fmla="*/ 0 w 192308"/>
                <a:gd name="connsiteY0" fmla="*/ 0 h 40042"/>
                <a:gd name="connsiteX1" fmla="*/ 192308 w 192308"/>
                <a:gd name="connsiteY1" fmla="*/ 0 h 40042"/>
                <a:gd name="connsiteX2" fmla="*/ 192308 w 192308"/>
                <a:gd name="connsiteY2" fmla="*/ 40043 h 40042"/>
                <a:gd name="connsiteX3" fmla="*/ 0 w 192308"/>
                <a:gd name="connsiteY3" fmla="*/ 40043 h 40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308" h="40042">
                  <a:moveTo>
                    <a:pt x="0" y="0"/>
                  </a:moveTo>
                  <a:lnTo>
                    <a:pt x="192308" y="0"/>
                  </a:lnTo>
                  <a:lnTo>
                    <a:pt x="192308" y="40043"/>
                  </a:lnTo>
                  <a:lnTo>
                    <a:pt x="0" y="40043"/>
                  </a:ln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80ED0EBA-97E7-4F06-80B2-9824002C20B0}"/>
                </a:ext>
              </a:extLst>
            </p:cNvPr>
            <p:cNvSpPr/>
            <p:nvPr/>
          </p:nvSpPr>
          <p:spPr>
            <a:xfrm>
              <a:off x="3129903" y="3660824"/>
              <a:ext cx="253478" cy="938378"/>
            </a:xfrm>
            <a:custGeom>
              <a:avLst/>
              <a:gdLst>
                <a:gd name="connsiteX0" fmla="*/ 47990 w 253478"/>
                <a:gd name="connsiteY0" fmla="*/ 5062 h 938378"/>
                <a:gd name="connsiteX1" fmla="*/ 19731 w 253478"/>
                <a:gd name="connsiteY1" fmla="*/ 6704 h 938378"/>
                <a:gd name="connsiteX2" fmla="*/ 21372 w 253478"/>
                <a:gd name="connsiteY2" fmla="*/ 34974 h 938378"/>
                <a:gd name="connsiteX3" fmla="*/ 213360 w 253478"/>
                <a:gd name="connsiteY3" fmla="*/ 471600 h 938378"/>
                <a:gd name="connsiteX4" fmla="*/ 7203 w 253478"/>
                <a:gd name="connsiteY4" fmla="*/ 902981 h 938378"/>
                <a:gd name="connsiteX5" fmla="*/ 4641 w 253478"/>
                <a:gd name="connsiteY5" fmla="*/ 931171 h 938378"/>
                <a:gd name="connsiteX6" fmla="*/ 20031 w 253478"/>
                <a:gd name="connsiteY6" fmla="*/ 938379 h 938378"/>
                <a:gd name="connsiteX7" fmla="*/ 32840 w 253478"/>
                <a:gd name="connsiteY7" fmla="*/ 933734 h 938378"/>
                <a:gd name="connsiteX8" fmla="*/ 253407 w 253478"/>
                <a:gd name="connsiteY8" fmla="*/ 472181 h 938378"/>
                <a:gd name="connsiteX9" fmla="*/ 48010 w 253478"/>
                <a:gd name="connsiteY9" fmla="*/ 5022 h 938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3478" h="938378">
                  <a:moveTo>
                    <a:pt x="47990" y="5062"/>
                  </a:moveTo>
                  <a:cubicBezTo>
                    <a:pt x="39725" y="-2286"/>
                    <a:pt x="27076" y="-1545"/>
                    <a:pt x="19731" y="6704"/>
                  </a:cubicBezTo>
                  <a:cubicBezTo>
                    <a:pt x="12386" y="14973"/>
                    <a:pt x="13127" y="27626"/>
                    <a:pt x="21372" y="34974"/>
                  </a:cubicBezTo>
                  <a:cubicBezTo>
                    <a:pt x="145915" y="145852"/>
                    <a:pt x="215902" y="305002"/>
                    <a:pt x="213360" y="471600"/>
                  </a:cubicBezTo>
                  <a:cubicBezTo>
                    <a:pt x="210819" y="638699"/>
                    <a:pt x="135668" y="795927"/>
                    <a:pt x="7203" y="902981"/>
                  </a:cubicBezTo>
                  <a:cubicBezTo>
                    <a:pt x="-1283" y="910069"/>
                    <a:pt x="-2443" y="922682"/>
                    <a:pt x="4641" y="931171"/>
                  </a:cubicBezTo>
                  <a:cubicBezTo>
                    <a:pt x="8604" y="935916"/>
                    <a:pt x="14288" y="938379"/>
                    <a:pt x="20031" y="938379"/>
                  </a:cubicBezTo>
                  <a:cubicBezTo>
                    <a:pt x="24555" y="938379"/>
                    <a:pt x="29098" y="936857"/>
                    <a:pt x="32840" y="933734"/>
                  </a:cubicBezTo>
                  <a:cubicBezTo>
                    <a:pt x="170292" y="819192"/>
                    <a:pt x="250685" y="650972"/>
                    <a:pt x="253407" y="472181"/>
                  </a:cubicBezTo>
                  <a:cubicBezTo>
                    <a:pt x="256129" y="293931"/>
                    <a:pt x="181259" y="123649"/>
                    <a:pt x="48010" y="5022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38" name="Freeform 14">
              <a:extLst>
                <a:ext uri="{FF2B5EF4-FFF2-40B4-BE49-F238E27FC236}">
                  <a16:creationId xmlns:a16="http://schemas.microsoft.com/office/drawing/2014/main" id="{FA5A124D-7DA1-B704-50AD-4186FBEAB574}"/>
                </a:ext>
              </a:extLst>
            </p:cNvPr>
            <p:cNvSpPr/>
            <p:nvPr/>
          </p:nvSpPr>
          <p:spPr>
            <a:xfrm>
              <a:off x="3026591" y="3781715"/>
              <a:ext cx="195244" cy="693395"/>
            </a:xfrm>
            <a:custGeom>
              <a:avLst/>
              <a:gdLst>
                <a:gd name="connsiteX0" fmla="*/ 43971 w 195244"/>
                <a:gd name="connsiteY0" fmla="*/ 5060 h 693395"/>
                <a:gd name="connsiteX1" fmla="*/ 15712 w 195244"/>
                <a:gd name="connsiteY1" fmla="*/ 6722 h 693395"/>
                <a:gd name="connsiteX2" fmla="*/ 17373 w 195244"/>
                <a:gd name="connsiteY2" fmla="*/ 34992 h 693395"/>
                <a:gd name="connsiteX3" fmla="*/ 155185 w 195244"/>
                <a:gd name="connsiteY3" fmla="*/ 348387 h 693395"/>
                <a:gd name="connsiteX4" fmla="*/ 7206 w 195244"/>
                <a:gd name="connsiteY4" fmla="*/ 657997 h 693395"/>
                <a:gd name="connsiteX5" fmla="*/ 4625 w 195244"/>
                <a:gd name="connsiteY5" fmla="*/ 686188 h 693395"/>
                <a:gd name="connsiteX6" fmla="*/ 20015 w 195244"/>
                <a:gd name="connsiteY6" fmla="*/ 693395 h 693395"/>
                <a:gd name="connsiteX7" fmla="*/ 32804 w 195244"/>
                <a:gd name="connsiteY7" fmla="*/ 688750 h 693395"/>
                <a:gd name="connsiteX8" fmla="*/ 195192 w 195244"/>
                <a:gd name="connsiteY8" fmla="*/ 348967 h 693395"/>
                <a:gd name="connsiteX9" fmla="*/ 43951 w 195244"/>
                <a:gd name="connsiteY9" fmla="*/ 5040 h 69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5244" h="693395">
                  <a:moveTo>
                    <a:pt x="43971" y="5060"/>
                  </a:moveTo>
                  <a:cubicBezTo>
                    <a:pt x="35705" y="-2288"/>
                    <a:pt x="23057" y="-1547"/>
                    <a:pt x="15712" y="6722"/>
                  </a:cubicBezTo>
                  <a:cubicBezTo>
                    <a:pt x="8367" y="14990"/>
                    <a:pt x="9108" y="27644"/>
                    <a:pt x="17373" y="34992"/>
                  </a:cubicBezTo>
                  <a:cubicBezTo>
                    <a:pt x="106773" y="114557"/>
                    <a:pt x="157006" y="228779"/>
                    <a:pt x="155185" y="348387"/>
                  </a:cubicBezTo>
                  <a:cubicBezTo>
                    <a:pt x="153364" y="468335"/>
                    <a:pt x="99428" y="581195"/>
                    <a:pt x="7206" y="657997"/>
                  </a:cubicBezTo>
                  <a:cubicBezTo>
                    <a:pt x="-1279" y="665065"/>
                    <a:pt x="-2440" y="677698"/>
                    <a:pt x="4625" y="686188"/>
                  </a:cubicBezTo>
                  <a:cubicBezTo>
                    <a:pt x="8587" y="690953"/>
                    <a:pt x="14271" y="693395"/>
                    <a:pt x="20015" y="693395"/>
                  </a:cubicBezTo>
                  <a:cubicBezTo>
                    <a:pt x="24538" y="693395"/>
                    <a:pt x="29061" y="691874"/>
                    <a:pt x="32804" y="688750"/>
                  </a:cubicBezTo>
                  <a:cubicBezTo>
                    <a:pt x="134011" y="604460"/>
                    <a:pt x="193190" y="480608"/>
                    <a:pt x="195192" y="348967"/>
                  </a:cubicBezTo>
                  <a:cubicBezTo>
                    <a:pt x="197193" y="217727"/>
                    <a:pt x="142076" y="92373"/>
                    <a:pt x="43951" y="5040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39" name="Freeform 15">
              <a:extLst>
                <a:ext uri="{FF2B5EF4-FFF2-40B4-BE49-F238E27FC236}">
                  <a16:creationId xmlns:a16="http://schemas.microsoft.com/office/drawing/2014/main" id="{6A5AE7AB-1CC3-333D-818C-4A75E1814224}"/>
                </a:ext>
              </a:extLst>
            </p:cNvPr>
            <p:cNvSpPr/>
            <p:nvPr/>
          </p:nvSpPr>
          <p:spPr>
            <a:xfrm>
              <a:off x="2925335" y="3900166"/>
              <a:ext cx="131354" cy="453314"/>
            </a:xfrm>
            <a:custGeom>
              <a:avLst/>
              <a:gdLst>
                <a:gd name="connsiteX0" fmla="*/ 40838 w 131354"/>
                <a:gd name="connsiteY0" fmla="*/ 5816 h 453314"/>
                <a:gd name="connsiteX1" fmla="*/ 12539 w 131354"/>
                <a:gd name="connsiteY1" fmla="*/ 5896 h 453314"/>
                <a:gd name="connsiteX2" fmla="*/ 12619 w 131354"/>
                <a:gd name="connsiteY2" fmla="*/ 34207 h 453314"/>
                <a:gd name="connsiteX3" fmla="*/ 91291 w 131354"/>
                <a:gd name="connsiteY3" fmla="*/ 227473 h 453314"/>
                <a:gd name="connsiteX4" fmla="*/ 6375 w 131354"/>
                <a:gd name="connsiteY4" fmla="*/ 418637 h 453314"/>
                <a:gd name="connsiteX5" fmla="*/ 5374 w 131354"/>
                <a:gd name="connsiteY5" fmla="*/ 446928 h 453314"/>
                <a:gd name="connsiteX6" fmla="*/ 20024 w 131354"/>
                <a:gd name="connsiteY6" fmla="*/ 453314 h 453314"/>
                <a:gd name="connsiteX7" fmla="*/ 33653 w 131354"/>
                <a:gd name="connsiteY7" fmla="*/ 447949 h 453314"/>
                <a:gd name="connsiteX8" fmla="*/ 131318 w 131354"/>
                <a:gd name="connsiteY8" fmla="*/ 228094 h 453314"/>
                <a:gd name="connsiteX9" fmla="*/ 40838 w 131354"/>
                <a:gd name="connsiteY9" fmla="*/ 5796 h 453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1354" h="453314">
                  <a:moveTo>
                    <a:pt x="40838" y="5816"/>
                  </a:moveTo>
                  <a:cubicBezTo>
                    <a:pt x="32992" y="-1972"/>
                    <a:pt x="20324" y="-1932"/>
                    <a:pt x="12539" y="5896"/>
                  </a:cubicBezTo>
                  <a:cubicBezTo>
                    <a:pt x="4753" y="13745"/>
                    <a:pt x="4793" y="26418"/>
                    <a:pt x="12619" y="34207"/>
                  </a:cubicBezTo>
                  <a:cubicBezTo>
                    <a:pt x="64473" y="85742"/>
                    <a:pt x="92412" y="154375"/>
                    <a:pt x="91291" y="227473"/>
                  </a:cubicBezTo>
                  <a:cubicBezTo>
                    <a:pt x="90170" y="300791"/>
                    <a:pt x="60010" y="368684"/>
                    <a:pt x="6375" y="418637"/>
                  </a:cubicBezTo>
                  <a:cubicBezTo>
                    <a:pt x="-1711" y="426165"/>
                    <a:pt x="-2171" y="438839"/>
                    <a:pt x="5374" y="446928"/>
                  </a:cubicBezTo>
                  <a:cubicBezTo>
                    <a:pt x="9317" y="451172"/>
                    <a:pt x="14660" y="453314"/>
                    <a:pt x="20024" y="453314"/>
                  </a:cubicBezTo>
                  <a:cubicBezTo>
                    <a:pt x="24907" y="453314"/>
                    <a:pt x="29810" y="451532"/>
                    <a:pt x="33653" y="447949"/>
                  </a:cubicBezTo>
                  <a:cubicBezTo>
                    <a:pt x="95354" y="390487"/>
                    <a:pt x="130017" y="312404"/>
                    <a:pt x="131318" y="228094"/>
                  </a:cubicBezTo>
                  <a:cubicBezTo>
                    <a:pt x="132599" y="144024"/>
                    <a:pt x="100457" y="65080"/>
                    <a:pt x="40838" y="5796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40" name="Freeform 16">
              <a:extLst>
                <a:ext uri="{FF2B5EF4-FFF2-40B4-BE49-F238E27FC236}">
                  <a16:creationId xmlns:a16="http://schemas.microsoft.com/office/drawing/2014/main" id="{1EA7E21A-ECE2-F441-0BA6-E14CA70BEF1B}"/>
                </a:ext>
              </a:extLst>
            </p:cNvPr>
            <p:cNvSpPr/>
            <p:nvPr/>
          </p:nvSpPr>
          <p:spPr>
            <a:xfrm>
              <a:off x="2359997" y="3660802"/>
              <a:ext cx="253438" cy="938380"/>
            </a:xfrm>
            <a:custGeom>
              <a:avLst/>
              <a:gdLst>
                <a:gd name="connsiteX0" fmla="*/ 232066 w 253438"/>
                <a:gd name="connsiteY0" fmla="*/ 903403 h 938380"/>
                <a:gd name="connsiteX1" fmla="*/ 40078 w 253438"/>
                <a:gd name="connsiteY1" fmla="*/ 466777 h 938380"/>
                <a:gd name="connsiteX2" fmla="*/ 246236 w 253438"/>
                <a:gd name="connsiteY2" fmla="*/ 35396 h 938380"/>
                <a:gd name="connsiteX3" fmla="*/ 248797 w 253438"/>
                <a:gd name="connsiteY3" fmla="*/ 7206 h 938380"/>
                <a:gd name="connsiteX4" fmla="*/ 220619 w 253438"/>
                <a:gd name="connsiteY4" fmla="*/ 4643 h 938380"/>
                <a:gd name="connsiteX5" fmla="*/ 72 w 253438"/>
                <a:gd name="connsiteY5" fmla="*/ 466156 h 938380"/>
                <a:gd name="connsiteX6" fmla="*/ 205468 w 253438"/>
                <a:gd name="connsiteY6" fmla="*/ 933315 h 938380"/>
                <a:gd name="connsiteX7" fmla="*/ 218757 w 253438"/>
                <a:gd name="connsiteY7" fmla="*/ 938381 h 938380"/>
                <a:gd name="connsiteX8" fmla="*/ 233707 w 253438"/>
                <a:gd name="connsiteY8" fmla="*/ 931673 h 938380"/>
                <a:gd name="connsiteX9" fmla="*/ 232066 w 253438"/>
                <a:gd name="connsiteY9" fmla="*/ 903403 h 938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3438" h="938380">
                  <a:moveTo>
                    <a:pt x="232066" y="903403"/>
                  </a:moveTo>
                  <a:cubicBezTo>
                    <a:pt x="107523" y="792525"/>
                    <a:pt x="37537" y="633375"/>
                    <a:pt x="40078" y="466777"/>
                  </a:cubicBezTo>
                  <a:cubicBezTo>
                    <a:pt x="42620" y="299678"/>
                    <a:pt x="117770" y="142450"/>
                    <a:pt x="246236" y="35396"/>
                  </a:cubicBezTo>
                  <a:cubicBezTo>
                    <a:pt x="254721" y="28328"/>
                    <a:pt x="255882" y="15695"/>
                    <a:pt x="248797" y="7206"/>
                  </a:cubicBezTo>
                  <a:cubicBezTo>
                    <a:pt x="241713" y="-1283"/>
                    <a:pt x="229104" y="-2444"/>
                    <a:pt x="220619" y="4643"/>
                  </a:cubicBezTo>
                  <a:cubicBezTo>
                    <a:pt x="83187" y="119145"/>
                    <a:pt x="2794" y="287365"/>
                    <a:pt x="72" y="466156"/>
                  </a:cubicBezTo>
                  <a:cubicBezTo>
                    <a:pt x="-2650" y="644407"/>
                    <a:pt x="72220" y="814688"/>
                    <a:pt x="205468" y="933315"/>
                  </a:cubicBezTo>
                  <a:cubicBezTo>
                    <a:pt x="209291" y="936719"/>
                    <a:pt x="214034" y="938381"/>
                    <a:pt x="218757" y="938381"/>
                  </a:cubicBezTo>
                  <a:cubicBezTo>
                    <a:pt x="224261" y="938381"/>
                    <a:pt x="229765" y="936118"/>
                    <a:pt x="233707" y="931673"/>
                  </a:cubicBezTo>
                  <a:cubicBezTo>
                    <a:pt x="241052" y="923405"/>
                    <a:pt x="240312" y="910751"/>
                    <a:pt x="232066" y="90340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:a16="http://schemas.microsoft.com/office/drawing/2014/main" id="{C7A8EC1F-B831-EBA5-E18E-78FBDABF89AE}"/>
                </a:ext>
              </a:extLst>
            </p:cNvPr>
            <p:cNvSpPr/>
            <p:nvPr/>
          </p:nvSpPr>
          <p:spPr>
            <a:xfrm>
              <a:off x="2521523" y="3784885"/>
              <a:ext cx="195264" cy="693408"/>
            </a:xfrm>
            <a:custGeom>
              <a:avLst/>
              <a:gdLst>
                <a:gd name="connsiteX0" fmla="*/ 177891 w 195264"/>
                <a:gd name="connsiteY0" fmla="*/ 658412 h 693408"/>
                <a:gd name="connsiteX1" fmla="*/ 40079 w 195264"/>
                <a:gd name="connsiteY1" fmla="*/ 345017 h 693408"/>
                <a:gd name="connsiteX2" fmla="*/ 188058 w 195264"/>
                <a:gd name="connsiteY2" fmla="*/ 35406 h 693408"/>
                <a:gd name="connsiteX3" fmla="*/ 190640 w 195264"/>
                <a:gd name="connsiteY3" fmla="*/ 7216 h 693408"/>
                <a:gd name="connsiteX4" fmla="*/ 162461 w 195264"/>
                <a:gd name="connsiteY4" fmla="*/ 4633 h 693408"/>
                <a:gd name="connsiteX5" fmla="*/ 53 w 195264"/>
                <a:gd name="connsiteY5" fmla="*/ 344416 h 693408"/>
                <a:gd name="connsiteX6" fmla="*/ 151293 w 195264"/>
                <a:gd name="connsiteY6" fmla="*/ 688344 h 693408"/>
                <a:gd name="connsiteX7" fmla="*/ 164582 w 195264"/>
                <a:gd name="connsiteY7" fmla="*/ 693409 h 693408"/>
                <a:gd name="connsiteX8" fmla="*/ 179552 w 195264"/>
                <a:gd name="connsiteY8" fmla="*/ 686702 h 693408"/>
                <a:gd name="connsiteX9" fmla="*/ 177891 w 195264"/>
                <a:gd name="connsiteY9" fmla="*/ 658432 h 69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5264" h="693408">
                  <a:moveTo>
                    <a:pt x="177891" y="658412"/>
                  </a:moveTo>
                  <a:cubicBezTo>
                    <a:pt x="88492" y="578847"/>
                    <a:pt x="38258" y="464625"/>
                    <a:pt x="40079" y="345017"/>
                  </a:cubicBezTo>
                  <a:cubicBezTo>
                    <a:pt x="41901" y="225069"/>
                    <a:pt x="95836" y="112208"/>
                    <a:pt x="188058" y="35406"/>
                  </a:cubicBezTo>
                  <a:cubicBezTo>
                    <a:pt x="196543" y="28338"/>
                    <a:pt x="197704" y="15705"/>
                    <a:pt x="190640" y="7216"/>
                  </a:cubicBezTo>
                  <a:cubicBezTo>
                    <a:pt x="183575" y="-1293"/>
                    <a:pt x="170946" y="-2434"/>
                    <a:pt x="162461" y="4633"/>
                  </a:cubicBezTo>
                  <a:cubicBezTo>
                    <a:pt x="61253" y="88923"/>
                    <a:pt x="2074" y="212776"/>
                    <a:pt x="53" y="344416"/>
                  </a:cubicBezTo>
                  <a:cubicBezTo>
                    <a:pt x="-1949" y="475656"/>
                    <a:pt x="53168" y="601010"/>
                    <a:pt x="151293" y="688344"/>
                  </a:cubicBezTo>
                  <a:cubicBezTo>
                    <a:pt x="155116" y="691747"/>
                    <a:pt x="159859" y="693409"/>
                    <a:pt x="164582" y="693409"/>
                  </a:cubicBezTo>
                  <a:cubicBezTo>
                    <a:pt x="170106" y="693409"/>
                    <a:pt x="175590" y="691147"/>
                    <a:pt x="179552" y="686702"/>
                  </a:cubicBezTo>
                  <a:cubicBezTo>
                    <a:pt x="186897" y="678433"/>
                    <a:pt x="186157" y="665779"/>
                    <a:pt x="177891" y="658432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:a16="http://schemas.microsoft.com/office/drawing/2014/main" id="{4FAF269F-105C-7F05-2F99-9CBBAE1886D7}"/>
                </a:ext>
              </a:extLst>
            </p:cNvPr>
            <p:cNvSpPr/>
            <p:nvPr/>
          </p:nvSpPr>
          <p:spPr>
            <a:xfrm>
              <a:off x="2686669" y="3906513"/>
              <a:ext cx="131354" cy="453314"/>
            </a:xfrm>
            <a:custGeom>
              <a:avLst/>
              <a:gdLst>
                <a:gd name="connsiteX0" fmla="*/ 97702 w 131354"/>
                <a:gd name="connsiteY0" fmla="*/ 5336 h 453314"/>
                <a:gd name="connsiteX1" fmla="*/ 37 w 131354"/>
                <a:gd name="connsiteY1" fmla="*/ 225191 h 453314"/>
                <a:gd name="connsiteX2" fmla="*/ 90517 w 131354"/>
                <a:gd name="connsiteY2" fmla="*/ 447488 h 453314"/>
                <a:gd name="connsiteX3" fmla="*/ 104626 w 131354"/>
                <a:gd name="connsiteY3" fmla="*/ 453315 h 453314"/>
                <a:gd name="connsiteX4" fmla="*/ 118816 w 131354"/>
                <a:gd name="connsiteY4" fmla="*/ 447408 h 453314"/>
                <a:gd name="connsiteX5" fmla="*/ 118736 w 131354"/>
                <a:gd name="connsiteY5" fmla="*/ 419098 h 453314"/>
                <a:gd name="connsiteX6" fmla="*/ 40064 w 131354"/>
                <a:gd name="connsiteY6" fmla="*/ 225832 h 453314"/>
                <a:gd name="connsiteX7" fmla="*/ 124980 w 131354"/>
                <a:gd name="connsiteY7" fmla="*/ 34667 h 453314"/>
                <a:gd name="connsiteX8" fmla="*/ 125981 w 131354"/>
                <a:gd name="connsiteY8" fmla="*/ 6377 h 453314"/>
                <a:gd name="connsiteX9" fmla="*/ 97702 w 131354"/>
                <a:gd name="connsiteY9" fmla="*/ 5376 h 453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1354" h="453314">
                  <a:moveTo>
                    <a:pt x="97702" y="5336"/>
                  </a:moveTo>
                  <a:cubicBezTo>
                    <a:pt x="36001" y="62797"/>
                    <a:pt x="1338" y="140881"/>
                    <a:pt x="37" y="225191"/>
                  </a:cubicBezTo>
                  <a:cubicBezTo>
                    <a:pt x="-1244" y="309261"/>
                    <a:pt x="30897" y="388205"/>
                    <a:pt x="90517" y="447488"/>
                  </a:cubicBezTo>
                  <a:cubicBezTo>
                    <a:pt x="94420" y="451372"/>
                    <a:pt x="99523" y="453315"/>
                    <a:pt x="104626" y="453315"/>
                  </a:cubicBezTo>
                  <a:cubicBezTo>
                    <a:pt x="109730" y="453315"/>
                    <a:pt x="114913" y="451352"/>
                    <a:pt x="118816" y="447408"/>
                  </a:cubicBezTo>
                  <a:cubicBezTo>
                    <a:pt x="126601" y="439560"/>
                    <a:pt x="126561" y="426886"/>
                    <a:pt x="118736" y="419098"/>
                  </a:cubicBezTo>
                  <a:cubicBezTo>
                    <a:pt x="66881" y="367563"/>
                    <a:pt x="38943" y="298930"/>
                    <a:pt x="40064" y="225832"/>
                  </a:cubicBezTo>
                  <a:cubicBezTo>
                    <a:pt x="41184" y="152513"/>
                    <a:pt x="71344" y="84621"/>
                    <a:pt x="124980" y="34667"/>
                  </a:cubicBezTo>
                  <a:cubicBezTo>
                    <a:pt x="133065" y="27139"/>
                    <a:pt x="133526" y="14466"/>
                    <a:pt x="125981" y="6377"/>
                  </a:cubicBezTo>
                  <a:cubicBezTo>
                    <a:pt x="118456" y="-1711"/>
                    <a:pt x="105787" y="-2172"/>
                    <a:pt x="97702" y="5376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BF9D298-884F-2480-1947-ACD71F7A48C2}"/>
              </a:ext>
            </a:extLst>
          </p:cNvPr>
          <p:cNvGrpSpPr/>
          <p:nvPr/>
        </p:nvGrpSpPr>
        <p:grpSpPr>
          <a:xfrm>
            <a:off x="5069534" y="4869260"/>
            <a:ext cx="519166" cy="412348"/>
            <a:chOff x="3996480" y="5654552"/>
            <a:chExt cx="387698" cy="307930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3EE3B9FE-3324-E79C-DFF7-8839B1D268D1}"/>
                </a:ext>
              </a:extLst>
            </p:cNvPr>
            <p:cNvGrpSpPr/>
            <p:nvPr/>
          </p:nvGrpSpPr>
          <p:grpSpPr>
            <a:xfrm>
              <a:off x="3996480" y="5779749"/>
              <a:ext cx="104636" cy="165070"/>
              <a:chOff x="2792529" y="2686675"/>
              <a:chExt cx="1318152" cy="2079481"/>
            </a:xfrm>
            <a:solidFill>
              <a:schemeClr val="accent1"/>
            </a:solidFill>
          </p:grpSpPr>
          <p:sp>
            <p:nvSpPr>
              <p:cNvPr id="49" name="Freeform 4">
                <a:extLst>
                  <a:ext uri="{FF2B5EF4-FFF2-40B4-BE49-F238E27FC236}">
                    <a16:creationId xmlns:a16="http://schemas.microsoft.com/office/drawing/2014/main" id="{5C2F851A-FF12-65FF-F20D-5479E350228E}"/>
                  </a:ext>
                </a:extLst>
              </p:cNvPr>
              <p:cNvSpPr/>
              <p:nvPr/>
            </p:nvSpPr>
            <p:spPr>
              <a:xfrm>
                <a:off x="2792529" y="3064477"/>
                <a:ext cx="926459" cy="1701679"/>
              </a:xfrm>
              <a:custGeom>
                <a:avLst/>
                <a:gdLst>
                  <a:gd name="connsiteX0" fmla="*/ 926380 w 926459"/>
                  <a:gd name="connsiteY0" fmla="*/ 185894 h 1701679"/>
                  <a:gd name="connsiteX1" fmla="*/ 920604 w 926459"/>
                  <a:gd name="connsiteY1" fmla="*/ 142489 h 1701679"/>
                  <a:gd name="connsiteX2" fmla="*/ 880217 w 926459"/>
                  <a:gd name="connsiteY2" fmla="*/ 65326 h 1701679"/>
                  <a:gd name="connsiteX3" fmla="*/ 809718 w 926459"/>
                  <a:gd name="connsiteY3" fmla="*/ 14408 h 1701679"/>
                  <a:gd name="connsiteX4" fmla="*/ 767499 w 926459"/>
                  <a:gd name="connsiteY4" fmla="*/ 2431 h 1701679"/>
                  <a:gd name="connsiteX5" fmla="*/ 756625 w 926459"/>
                  <a:gd name="connsiteY5" fmla="*/ 977 h 1701679"/>
                  <a:gd name="connsiteX6" fmla="*/ 745712 w 926459"/>
                  <a:gd name="connsiteY6" fmla="*/ 199 h 1701679"/>
                  <a:gd name="connsiteX7" fmla="*/ 740255 w 926459"/>
                  <a:gd name="connsiteY7" fmla="*/ 60 h 1701679"/>
                  <a:gd name="connsiteX8" fmla="*/ 737527 w 926459"/>
                  <a:gd name="connsiteY8" fmla="*/ 0 h 1701679"/>
                  <a:gd name="connsiteX9" fmla="*/ 189092 w 926459"/>
                  <a:gd name="connsiteY9" fmla="*/ 0 h 1701679"/>
                  <a:gd name="connsiteX10" fmla="*/ 104394 w 926459"/>
                  <a:gd name="connsiteY10" fmla="*/ 20048 h 1701679"/>
                  <a:gd name="connsiteX11" fmla="*/ 67790 w 926459"/>
                  <a:gd name="connsiteY11" fmla="*/ 44082 h 1701679"/>
                  <a:gd name="connsiteX12" fmla="*/ 37699 w 926459"/>
                  <a:gd name="connsiteY12" fmla="*/ 75828 h 1701679"/>
                  <a:gd name="connsiteX13" fmla="*/ 2987 w 926459"/>
                  <a:gd name="connsiteY13" fmla="*/ 155762 h 1701679"/>
                  <a:gd name="connsiteX14" fmla="*/ 1374 w 926459"/>
                  <a:gd name="connsiteY14" fmla="*/ 166623 h 1701679"/>
                  <a:gd name="connsiteX15" fmla="*/ 378 w 926459"/>
                  <a:gd name="connsiteY15" fmla="*/ 177544 h 1701679"/>
                  <a:gd name="connsiteX16" fmla="*/ 0 w 926459"/>
                  <a:gd name="connsiteY16" fmla="*/ 188464 h 1701679"/>
                  <a:gd name="connsiteX17" fmla="*/ 0 w 926459"/>
                  <a:gd name="connsiteY17" fmla="*/ 1513036 h 1701679"/>
                  <a:gd name="connsiteX18" fmla="*/ 60 w 926459"/>
                  <a:gd name="connsiteY18" fmla="*/ 1515766 h 1701679"/>
                  <a:gd name="connsiteX19" fmla="*/ 5835 w 926459"/>
                  <a:gd name="connsiteY19" fmla="*/ 1559191 h 1701679"/>
                  <a:gd name="connsiteX20" fmla="*/ 46222 w 926459"/>
                  <a:gd name="connsiteY20" fmla="*/ 1636354 h 1701679"/>
                  <a:gd name="connsiteX21" fmla="*/ 116721 w 926459"/>
                  <a:gd name="connsiteY21" fmla="*/ 1687272 h 1701679"/>
                  <a:gd name="connsiteX22" fmla="*/ 158941 w 926459"/>
                  <a:gd name="connsiteY22" fmla="*/ 1699249 h 1701679"/>
                  <a:gd name="connsiteX23" fmla="*/ 169814 w 926459"/>
                  <a:gd name="connsiteY23" fmla="*/ 1700703 h 1701679"/>
                  <a:gd name="connsiteX24" fmla="*/ 180727 w 926459"/>
                  <a:gd name="connsiteY24" fmla="*/ 1701481 h 1701679"/>
                  <a:gd name="connsiteX25" fmla="*/ 186184 w 926459"/>
                  <a:gd name="connsiteY25" fmla="*/ 1701620 h 1701679"/>
                  <a:gd name="connsiteX26" fmla="*/ 188912 w 926459"/>
                  <a:gd name="connsiteY26" fmla="*/ 1701680 h 1701679"/>
                  <a:gd name="connsiteX27" fmla="*/ 737368 w 926459"/>
                  <a:gd name="connsiteY27" fmla="*/ 1701680 h 1701679"/>
                  <a:gd name="connsiteX28" fmla="*/ 822066 w 926459"/>
                  <a:gd name="connsiteY28" fmla="*/ 1681632 h 1701679"/>
                  <a:gd name="connsiteX29" fmla="*/ 858669 w 926459"/>
                  <a:gd name="connsiteY29" fmla="*/ 1657598 h 1701679"/>
                  <a:gd name="connsiteX30" fmla="*/ 888761 w 926459"/>
                  <a:gd name="connsiteY30" fmla="*/ 1625852 h 1701679"/>
                  <a:gd name="connsiteX31" fmla="*/ 923472 w 926459"/>
                  <a:gd name="connsiteY31" fmla="*/ 1545918 h 1701679"/>
                  <a:gd name="connsiteX32" fmla="*/ 925085 w 926459"/>
                  <a:gd name="connsiteY32" fmla="*/ 1535057 h 1701679"/>
                  <a:gd name="connsiteX33" fmla="*/ 926081 w 926459"/>
                  <a:gd name="connsiteY33" fmla="*/ 1524136 h 1701679"/>
                  <a:gd name="connsiteX34" fmla="*/ 926459 w 926459"/>
                  <a:gd name="connsiteY34" fmla="*/ 1513216 h 1701679"/>
                  <a:gd name="connsiteX35" fmla="*/ 926459 w 926459"/>
                  <a:gd name="connsiteY35" fmla="*/ 188624 h 1701679"/>
                  <a:gd name="connsiteX36" fmla="*/ 926400 w 926459"/>
                  <a:gd name="connsiteY36" fmla="*/ 185894 h 1701679"/>
                  <a:gd name="connsiteX37" fmla="*/ 885933 w 926459"/>
                  <a:gd name="connsiteY37" fmla="*/ 516568 h 1701679"/>
                  <a:gd name="connsiteX38" fmla="*/ 885933 w 926459"/>
                  <a:gd name="connsiteY38" fmla="*/ 1513036 h 1701679"/>
                  <a:gd name="connsiteX39" fmla="*/ 885634 w 926459"/>
                  <a:gd name="connsiteY39" fmla="*/ 1521645 h 1701679"/>
                  <a:gd name="connsiteX40" fmla="*/ 884857 w 926459"/>
                  <a:gd name="connsiteY40" fmla="*/ 1530235 h 1701679"/>
                  <a:gd name="connsiteX41" fmla="*/ 883583 w 926459"/>
                  <a:gd name="connsiteY41" fmla="*/ 1538764 h 1701679"/>
                  <a:gd name="connsiteX42" fmla="*/ 856339 w 926459"/>
                  <a:gd name="connsiteY42" fmla="*/ 1601539 h 1701679"/>
                  <a:gd name="connsiteX43" fmla="*/ 832680 w 926459"/>
                  <a:gd name="connsiteY43" fmla="*/ 1626509 h 1701679"/>
                  <a:gd name="connsiteX44" fmla="*/ 803923 w 926459"/>
                  <a:gd name="connsiteY44" fmla="*/ 1645402 h 1701679"/>
                  <a:gd name="connsiteX45" fmla="*/ 737388 w 926459"/>
                  <a:gd name="connsiteY45" fmla="*/ 1661145 h 1701679"/>
                  <a:gd name="connsiteX46" fmla="*/ 188972 w 926459"/>
                  <a:gd name="connsiteY46" fmla="*/ 1661145 h 1701679"/>
                  <a:gd name="connsiteX47" fmla="*/ 186821 w 926459"/>
                  <a:gd name="connsiteY47" fmla="*/ 1661085 h 1701679"/>
                  <a:gd name="connsiteX48" fmla="*/ 182520 w 926459"/>
                  <a:gd name="connsiteY48" fmla="*/ 1660966 h 1701679"/>
                  <a:gd name="connsiteX49" fmla="*/ 173936 w 926459"/>
                  <a:gd name="connsiteY49" fmla="*/ 1660368 h 1701679"/>
                  <a:gd name="connsiteX50" fmla="*/ 165393 w 926459"/>
                  <a:gd name="connsiteY50" fmla="*/ 1659232 h 1701679"/>
                  <a:gd name="connsiteX51" fmla="*/ 132255 w 926459"/>
                  <a:gd name="connsiteY51" fmla="*/ 1649846 h 1701679"/>
                  <a:gd name="connsiteX52" fmla="*/ 76851 w 926459"/>
                  <a:gd name="connsiteY52" fmla="*/ 1609809 h 1701679"/>
                  <a:gd name="connsiteX53" fmla="*/ 45107 w 926459"/>
                  <a:gd name="connsiteY53" fmla="*/ 1549207 h 1701679"/>
                  <a:gd name="connsiteX54" fmla="*/ 40586 w 926459"/>
                  <a:gd name="connsiteY54" fmla="*/ 1515089 h 1701679"/>
                  <a:gd name="connsiteX55" fmla="*/ 40527 w 926459"/>
                  <a:gd name="connsiteY55" fmla="*/ 1507257 h 1701679"/>
                  <a:gd name="connsiteX56" fmla="*/ 40527 w 926459"/>
                  <a:gd name="connsiteY56" fmla="*/ 188624 h 1701679"/>
                  <a:gd name="connsiteX57" fmla="*/ 40825 w 926459"/>
                  <a:gd name="connsiteY57" fmla="*/ 180015 h 1701679"/>
                  <a:gd name="connsiteX58" fmla="*/ 41602 w 926459"/>
                  <a:gd name="connsiteY58" fmla="*/ 171426 h 1701679"/>
                  <a:gd name="connsiteX59" fmla="*/ 42877 w 926459"/>
                  <a:gd name="connsiteY59" fmla="*/ 162896 h 1701679"/>
                  <a:gd name="connsiteX60" fmla="*/ 70120 w 926459"/>
                  <a:gd name="connsiteY60" fmla="*/ 100121 h 1701679"/>
                  <a:gd name="connsiteX61" fmla="*/ 93779 w 926459"/>
                  <a:gd name="connsiteY61" fmla="*/ 75151 h 1701679"/>
                  <a:gd name="connsiteX62" fmla="*/ 122536 w 926459"/>
                  <a:gd name="connsiteY62" fmla="*/ 56258 h 1701679"/>
                  <a:gd name="connsiteX63" fmla="*/ 189072 w 926459"/>
                  <a:gd name="connsiteY63" fmla="*/ 40515 h 1701679"/>
                  <a:gd name="connsiteX64" fmla="*/ 737487 w 926459"/>
                  <a:gd name="connsiteY64" fmla="*/ 40515 h 1701679"/>
                  <a:gd name="connsiteX65" fmla="*/ 739638 w 926459"/>
                  <a:gd name="connsiteY65" fmla="*/ 40575 h 1701679"/>
                  <a:gd name="connsiteX66" fmla="*/ 743940 w 926459"/>
                  <a:gd name="connsiteY66" fmla="*/ 40694 h 1701679"/>
                  <a:gd name="connsiteX67" fmla="*/ 752523 w 926459"/>
                  <a:gd name="connsiteY67" fmla="*/ 41292 h 1701679"/>
                  <a:gd name="connsiteX68" fmla="*/ 761066 w 926459"/>
                  <a:gd name="connsiteY68" fmla="*/ 42428 h 1701679"/>
                  <a:gd name="connsiteX69" fmla="*/ 794205 w 926459"/>
                  <a:gd name="connsiteY69" fmla="*/ 51814 h 1701679"/>
                  <a:gd name="connsiteX70" fmla="*/ 849608 w 926459"/>
                  <a:gd name="connsiteY70" fmla="*/ 91851 h 1701679"/>
                  <a:gd name="connsiteX71" fmla="*/ 881352 w 926459"/>
                  <a:gd name="connsiteY71" fmla="*/ 152453 h 1701679"/>
                  <a:gd name="connsiteX72" fmla="*/ 885873 w 926459"/>
                  <a:gd name="connsiteY72" fmla="*/ 186571 h 1701679"/>
                  <a:gd name="connsiteX73" fmla="*/ 885933 w 926459"/>
                  <a:gd name="connsiteY73" fmla="*/ 194403 h 1701679"/>
                  <a:gd name="connsiteX74" fmla="*/ 885933 w 926459"/>
                  <a:gd name="connsiteY74" fmla="*/ 516548 h 1701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926459" h="1701679">
                    <a:moveTo>
                      <a:pt x="926380" y="185894"/>
                    </a:moveTo>
                    <a:cubicBezTo>
                      <a:pt x="926121" y="171346"/>
                      <a:pt x="924189" y="156698"/>
                      <a:pt x="920604" y="142489"/>
                    </a:cubicBezTo>
                    <a:cubicBezTo>
                      <a:pt x="913336" y="114051"/>
                      <a:pt x="899415" y="87327"/>
                      <a:pt x="880217" y="65326"/>
                    </a:cubicBezTo>
                    <a:cubicBezTo>
                      <a:pt x="861139" y="43185"/>
                      <a:pt x="836803" y="25668"/>
                      <a:pt x="809718" y="14408"/>
                    </a:cubicBezTo>
                    <a:cubicBezTo>
                      <a:pt x="796156" y="8808"/>
                      <a:pt x="781957" y="4783"/>
                      <a:pt x="767499" y="2431"/>
                    </a:cubicBezTo>
                    <a:cubicBezTo>
                      <a:pt x="763894" y="1833"/>
                      <a:pt x="760250" y="1435"/>
                      <a:pt x="756625" y="977"/>
                    </a:cubicBezTo>
                    <a:cubicBezTo>
                      <a:pt x="752981" y="697"/>
                      <a:pt x="749357" y="359"/>
                      <a:pt x="745712" y="199"/>
                    </a:cubicBezTo>
                    <a:lnTo>
                      <a:pt x="740255" y="60"/>
                    </a:lnTo>
                    <a:lnTo>
                      <a:pt x="737527" y="0"/>
                    </a:lnTo>
                    <a:lnTo>
                      <a:pt x="189092" y="0"/>
                    </a:lnTo>
                    <a:cubicBezTo>
                      <a:pt x="160016" y="40"/>
                      <a:pt x="130522" y="6796"/>
                      <a:pt x="104394" y="20048"/>
                    </a:cubicBezTo>
                    <a:cubicBezTo>
                      <a:pt x="91310" y="26644"/>
                      <a:pt x="78982" y="34676"/>
                      <a:pt x="67790" y="44082"/>
                    </a:cubicBezTo>
                    <a:cubicBezTo>
                      <a:pt x="56598" y="53488"/>
                      <a:pt x="46501" y="64150"/>
                      <a:pt x="37699" y="75828"/>
                    </a:cubicBezTo>
                    <a:cubicBezTo>
                      <a:pt x="20214" y="99244"/>
                      <a:pt x="8046" y="126845"/>
                      <a:pt x="2987" y="155762"/>
                    </a:cubicBezTo>
                    <a:cubicBezTo>
                      <a:pt x="2290" y="159369"/>
                      <a:pt x="1792" y="162996"/>
                      <a:pt x="1374" y="166623"/>
                    </a:cubicBezTo>
                    <a:cubicBezTo>
                      <a:pt x="856" y="170250"/>
                      <a:pt x="657" y="173897"/>
                      <a:pt x="378" y="177544"/>
                    </a:cubicBezTo>
                    <a:cubicBezTo>
                      <a:pt x="100" y="181190"/>
                      <a:pt x="100" y="184818"/>
                      <a:pt x="0" y="188464"/>
                    </a:cubicBezTo>
                    <a:lnTo>
                      <a:pt x="0" y="1513036"/>
                    </a:lnTo>
                    <a:lnTo>
                      <a:pt x="60" y="1515766"/>
                    </a:lnTo>
                    <a:cubicBezTo>
                      <a:pt x="319" y="1530314"/>
                      <a:pt x="2250" y="1544962"/>
                      <a:pt x="5835" y="1559191"/>
                    </a:cubicBezTo>
                    <a:cubicBezTo>
                      <a:pt x="13104" y="1587629"/>
                      <a:pt x="27024" y="1614353"/>
                      <a:pt x="46222" y="1636354"/>
                    </a:cubicBezTo>
                    <a:cubicBezTo>
                      <a:pt x="65301" y="1658495"/>
                      <a:pt x="89637" y="1676012"/>
                      <a:pt x="116721" y="1687272"/>
                    </a:cubicBezTo>
                    <a:cubicBezTo>
                      <a:pt x="130283" y="1692872"/>
                      <a:pt x="144482" y="1696897"/>
                      <a:pt x="158941" y="1699249"/>
                    </a:cubicBezTo>
                    <a:cubicBezTo>
                      <a:pt x="162545" y="1699847"/>
                      <a:pt x="166190" y="1700245"/>
                      <a:pt x="169814" y="1700703"/>
                    </a:cubicBezTo>
                    <a:cubicBezTo>
                      <a:pt x="173458" y="1700983"/>
                      <a:pt x="177083" y="1701321"/>
                      <a:pt x="180727" y="1701481"/>
                    </a:cubicBezTo>
                    <a:lnTo>
                      <a:pt x="186184" y="1701620"/>
                    </a:lnTo>
                    <a:lnTo>
                      <a:pt x="188912" y="1701680"/>
                    </a:lnTo>
                    <a:lnTo>
                      <a:pt x="737368" y="1701680"/>
                    </a:lnTo>
                    <a:cubicBezTo>
                      <a:pt x="766443" y="1701640"/>
                      <a:pt x="795937" y="1694885"/>
                      <a:pt x="822066" y="1681632"/>
                    </a:cubicBezTo>
                    <a:cubicBezTo>
                      <a:pt x="835150" y="1675035"/>
                      <a:pt x="847477" y="1667004"/>
                      <a:pt x="858669" y="1657598"/>
                    </a:cubicBezTo>
                    <a:cubicBezTo>
                      <a:pt x="869861" y="1648192"/>
                      <a:pt x="879958" y="1637530"/>
                      <a:pt x="888761" y="1625852"/>
                    </a:cubicBezTo>
                    <a:cubicBezTo>
                      <a:pt x="906246" y="1602436"/>
                      <a:pt x="918414" y="1574835"/>
                      <a:pt x="923472" y="1545918"/>
                    </a:cubicBezTo>
                    <a:cubicBezTo>
                      <a:pt x="924169" y="1542311"/>
                      <a:pt x="924667" y="1538684"/>
                      <a:pt x="925085" y="1535057"/>
                    </a:cubicBezTo>
                    <a:cubicBezTo>
                      <a:pt x="925603" y="1531430"/>
                      <a:pt x="925802" y="1527783"/>
                      <a:pt x="926081" y="1524136"/>
                    </a:cubicBezTo>
                    <a:cubicBezTo>
                      <a:pt x="926360" y="1520490"/>
                      <a:pt x="926360" y="1516863"/>
                      <a:pt x="926459" y="1513216"/>
                    </a:cubicBezTo>
                    <a:lnTo>
                      <a:pt x="926459" y="188624"/>
                    </a:lnTo>
                    <a:lnTo>
                      <a:pt x="926400" y="185894"/>
                    </a:lnTo>
                    <a:close/>
                    <a:moveTo>
                      <a:pt x="885933" y="516568"/>
                    </a:moveTo>
                    <a:lnTo>
                      <a:pt x="885933" y="1513036"/>
                    </a:lnTo>
                    <a:cubicBezTo>
                      <a:pt x="885833" y="1515906"/>
                      <a:pt x="885853" y="1518776"/>
                      <a:pt x="885634" y="1521645"/>
                    </a:cubicBezTo>
                    <a:cubicBezTo>
                      <a:pt x="885395" y="1524515"/>
                      <a:pt x="885275" y="1527385"/>
                      <a:pt x="884857" y="1530235"/>
                    </a:cubicBezTo>
                    <a:cubicBezTo>
                      <a:pt x="884519" y="1533084"/>
                      <a:pt x="884140" y="1535934"/>
                      <a:pt x="883583" y="1538764"/>
                    </a:cubicBezTo>
                    <a:cubicBezTo>
                      <a:pt x="879620" y="1561463"/>
                      <a:pt x="870061" y="1583105"/>
                      <a:pt x="856339" y="1601539"/>
                    </a:cubicBezTo>
                    <a:cubicBezTo>
                      <a:pt x="849409" y="1610726"/>
                      <a:pt x="841463" y="1619116"/>
                      <a:pt x="832680" y="1626509"/>
                    </a:cubicBezTo>
                    <a:cubicBezTo>
                      <a:pt x="823898" y="1633923"/>
                      <a:pt x="814179" y="1640200"/>
                      <a:pt x="803923" y="1645402"/>
                    </a:cubicBezTo>
                    <a:cubicBezTo>
                      <a:pt x="783391" y="1655824"/>
                      <a:pt x="760310" y="1661085"/>
                      <a:pt x="737388" y="1661145"/>
                    </a:cubicBezTo>
                    <a:lnTo>
                      <a:pt x="188972" y="1661145"/>
                    </a:lnTo>
                    <a:lnTo>
                      <a:pt x="186821" y="1661085"/>
                    </a:lnTo>
                    <a:lnTo>
                      <a:pt x="182520" y="1660966"/>
                    </a:lnTo>
                    <a:cubicBezTo>
                      <a:pt x="179652" y="1660846"/>
                      <a:pt x="176784" y="1660567"/>
                      <a:pt x="173936" y="1660368"/>
                    </a:cubicBezTo>
                    <a:cubicBezTo>
                      <a:pt x="171089" y="1659989"/>
                      <a:pt x="168221" y="1659691"/>
                      <a:pt x="165393" y="1659232"/>
                    </a:cubicBezTo>
                    <a:cubicBezTo>
                      <a:pt x="154041" y="1657379"/>
                      <a:pt x="142889" y="1654230"/>
                      <a:pt x="132255" y="1649846"/>
                    </a:cubicBezTo>
                    <a:cubicBezTo>
                      <a:pt x="111005" y="1640998"/>
                      <a:pt x="91847" y="1627227"/>
                      <a:pt x="76851" y="1609809"/>
                    </a:cubicBezTo>
                    <a:cubicBezTo>
                      <a:pt x="61736" y="1592491"/>
                      <a:pt x="50843" y="1571507"/>
                      <a:pt x="45107" y="1549207"/>
                    </a:cubicBezTo>
                    <a:cubicBezTo>
                      <a:pt x="42299" y="1538047"/>
                      <a:pt x="40786" y="1526548"/>
                      <a:pt x="40586" y="1515089"/>
                    </a:cubicBezTo>
                    <a:cubicBezTo>
                      <a:pt x="40487" y="1512040"/>
                      <a:pt x="40547" y="1509828"/>
                      <a:pt x="40527" y="1507257"/>
                    </a:cubicBezTo>
                    <a:lnTo>
                      <a:pt x="40527" y="188624"/>
                    </a:lnTo>
                    <a:cubicBezTo>
                      <a:pt x="40626" y="185754"/>
                      <a:pt x="40606" y="182884"/>
                      <a:pt x="40825" y="180015"/>
                    </a:cubicBezTo>
                    <a:cubicBezTo>
                      <a:pt x="41064" y="177145"/>
                      <a:pt x="41184" y="174275"/>
                      <a:pt x="41602" y="171426"/>
                    </a:cubicBezTo>
                    <a:cubicBezTo>
                      <a:pt x="41941" y="168576"/>
                      <a:pt x="42319" y="165726"/>
                      <a:pt x="42877" y="162896"/>
                    </a:cubicBezTo>
                    <a:cubicBezTo>
                      <a:pt x="46840" y="140197"/>
                      <a:pt x="56399" y="118555"/>
                      <a:pt x="70120" y="100121"/>
                    </a:cubicBezTo>
                    <a:cubicBezTo>
                      <a:pt x="77051" y="90934"/>
                      <a:pt x="84997" y="82544"/>
                      <a:pt x="93779" y="75151"/>
                    </a:cubicBezTo>
                    <a:cubicBezTo>
                      <a:pt x="102562" y="67737"/>
                      <a:pt x="112280" y="61460"/>
                      <a:pt x="122536" y="56258"/>
                    </a:cubicBezTo>
                    <a:cubicBezTo>
                      <a:pt x="143068" y="45836"/>
                      <a:pt x="166150" y="40575"/>
                      <a:pt x="189072" y="40515"/>
                    </a:cubicBezTo>
                    <a:lnTo>
                      <a:pt x="737487" y="40515"/>
                    </a:lnTo>
                    <a:lnTo>
                      <a:pt x="739638" y="40575"/>
                    </a:lnTo>
                    <a:lnTo>
                      <a:pt x="743940" y="40694"/>
                    </a:lnTo>
                    <a:cubicBezTo>
                      <a:pt x="746807" y="40814"/>
                      <a:pt x="749675" y="41093"/>
                      <a:pt x="752523" y="41292"/>
                    </a:cubicBezTo>
                    <a:cubicBezTo>
                      <a:pt x="755371" y="41671"/>
                      <a:pt x="758239" y="41970"/>
                      <a:pt x="761066" y="42428"/>
                    </a:cubicBezTo>
                    <a:cubicBezTo>
                      <a:pt x="772418" y="44281"/>
                      <a:pt x="783570" y="47430"/>
                      <a:pt x="794205" y="51814"/>
                    </a:cubicBezTo>
                    <a:cubicBezTo>
                      <a:pt x="815454" y="60663"/>
                      <a:pt x="834612" y="74433"/>
                      <a:pt x="849608" y="91851"/>
                    </a:cubicBezTo>
                    <a:cubicBezTo>
                      <a:pt x="864723" y="109169"/>
                      <a:pt x="875617" y="130153"/>
                      <a:pt x="881352" y="152453"/>
                    </a:cubicBezTo>
                    <a:cubicBezTo>
                      <a:pt x="884160" y="163613"/>
                      <a:pt x="885674" y="175112"/>
                      <a:pt x="885873" y="186571"/>
                    </a:cubicBezTo>
                    <a:cubicBezTo>
                      <a:pt x="885973" y="189620"/>
                      <a:pt x="885913" y="191832"/>
                      <a:pt x="885933" y="194403"/>
                    </a:cubicBezTo>
                    <a:lnTo>
                      <a:pt x="885933" y="516548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Microsoft Sans Serif"/>
                </a:endParaRPr>
              </a:p>
            </p:txBody>
          </p:sp>
          <p:sp>
            <p:nvSpPr>
              <p:cNvPr id="50" name="Freeform 5">
                <a:extLst>
                  <a:ext uri="{FF2B5EF4-FFF2-40B4-BE49-F238E27FC236}">
                    <a16:creationId xmlns:a16="http://schemas.microsoft.com/office/drawing/2014/main" id="{27CEFD74-9D9B-8E42-4F52-9B4A4E432540}"/>
                  </a:ext>
                </a:extLst>
              </p:cNvPr>
              <p:cNvSpPr/>
              <p:nvPr/>
            </p:nvSpPr>
            <p:spPr>
              <a:xfrm>
                <a:off x="2872218" y="3144211"/>
                <a:ext cx="767080" cy="1542211"/>
              </a:xfrm>
              <a:custGeom>
                <a:avLst/>
                <a:gdLst>
                  <a:gd name="connsiteX0" fmla="*/ 767051 w 767080"/>
                  <a:gd name="connsiteY0" fmla="*/ 107554 h 1542211"/>
                  <a:gd name="connsiteX1" fmla="*/ 763725 w 767080"/>
                  <a:gd name="connsiteY1" fmla="*/ 82405 h 1542211"/>
                  <a:gd name="connsiteX2" fmla="*/ 740345 w 767080"/>
                  <a:gd name="connsiteY2" fmla="*/ 37804 h 1542211"/>
                  <a:gd name="connsiteX3" fmla="*/ 699520 w 767080"/>
                  <a:gd name="connsiteY3" fmla="*/ 8290 h 1542211"/>
                  <a:gd name="connsiteX4" fmla="*/ 675164 w 767080"/>
                  <a:gd name="connsiteY4" fmla="*/ 1395 h 1542211"/>
                  <a:gd name="connsiteX5" fmla="*/ 668871 w 767080"/>
                  <a:gd name="connsiteY5" fmla="*/ 558 h 1542211"/>
                  <a:gd name="connsiteX6" fmla="*/ 662518 w 767080"/>
                  <a:gd name="connsiteY6" fmla="*/ 120 h 1542211"/>
                  <a:gd name="connsiteX7" fmla="*/ 659331 w 767080"/>
                  <a:gd name="connsiteY7" fmla="*/ 40 h 1542211"/>
                  <a:gd name="connsiteX8" fmla="*/ 657738 w 767080"/>
                  <a:gd name="connsiteY8" fmla="*/ 0 h 1542211"/>
                  <a:gd name="connsiteX9" fmla="*/ 109402 w 767080"/>
                  <a:gd name="connsiteY9" fmla="*/ 0 h 1542211"/>
                  <a:gd name="connsiteX10" fmla="*/ 60432 w 767080"/>
                  <a:gd name="connsiteY10" fmla="*/ 11578 h 1542211"/>
                  <a:gd name="connsiteX11" fmla="*/ 39242 w 767080"/>
                  <a:gd name="connsiteY11" fmla="*/ 25489 h 1542211"/>
                  <a:gd name="connsiteX12" fmla="*/ 21777 w 767080"/>
                  <a:gd name="connsiteY12" fmla="*/ 43903 h 1542211"/>
                  <a:gd name="connsiteX13" fmla="*/ 1743 w 767080"/>
                  <a:gd name="connsiteY13" fmla="*/ 90077 h 1542211"/>
                  <a:gd name="connsiteX14" fmla="*/ 807 w 767080"/>
                  <a:gd name="connsiteY14" fmla="*/ 96355 h 1542211"/>
                  <a:gd name="connsiteX15" fmla="*/ 229 w 767080"/>
                  <a:gd name="connsiteY15" fmla="*/ 102692 h 1542211"/>
                  <a:gd name="connsiteX16" fmla="*/ 10 w 767080"/>
                  <a:gd name="connsiteY16" fmla="*/ 109049 h 1542211"/>
                  <a:gd name="connsiteX17" fmla="*/ 10 w 767080"/>
                  <a:gd name="connsiteY17" fmla="*/ 1427503 h 1542211"/>
                  <a:gd name="connsiteX18" fmla="*/ 50 w 767080"/>
                  <a:gd name="connsiteY18" fmla="*/ 1434657 h 1542211"/>
                  <a:gd name="connsiteX19" fmla="*/ 3376 w 767080"/>
                  <a:gd name="connsiteY19" fmla="*/ 1459807 h 1542211"/>
                  <a:gd name="connsiteX20" fmla="*/ 26756 w 767080"/>
                  <a:gd name="connsiteY20" fmla="*/ 1504407 h 1542211"/>
                  <a:gd name="connsiteX21" fmla="*/ 67581 w 767080"/>
                  <a:gd name="connsiteY21" fmla="*/ 1533921 h 1542211"/>
                  <a:gd name="connsiteX22" fmla="*/ 91937 w 767080"/>
                  <a:gd name="connsiteY22" fmla="*/ 1540817 h 1542211"/>
                  <a:gd name="connsiteX23" fmla="*/ 98230 w 767080"/>
                  <a:gd name="connsiteY23" fmla="*/ 1541654 h 1542211"/>
                  <a:gd name="connsiteX24" fmla="*/ 104583 w 767080"/>
                  <a:gd name="connsiteY24" fmla="*/ 1542092 h 1542211"/>
                  <a:gd name="connsiteX25" fmla="*/ 107769 w 767080"/>
                  <a:gd name="connsiteY25" fmla="*/ 1542172 h 1542211"/>
                  <a:gd name="connsiteX26" fmla="*/ 109362 w 767080"/>
                  <a:gd name="connsiteY26" fmla="*/ 1542212 h 1542211"/>
                  <a:gd name="connsiteX27" fmla="*/ 657678 w 767080"/>
                  <a:gd name="connsiteY27" fmla="*/ 1542212 h 1542211"/>
                  <a:gd name="connsiteX28" fmla="*/ 706649 w 767080"/>
                  <a:gd name="connsiteY28" fmla="*/ 1530633 h 1542211"/>
                  <a:gd name="connsiteX29" fmla="*/ 727839 w 767080"/>
                  <a:gd name="connsiteY29" fmla="*/ 1516723 h 1542211"/>
                  <a:gd name="connsiteX30" fmla="*/ 745304 w 767080"/>
                  <a:gd name="connsiteY30" fmla="*/ 1498309 h 1542211"/>
                  <a:gd name="connsiteX31" fmla="*/ 765338 w 767080"/>
                  <a:gd name="connsiteY31" fmla="*/ 1452135 h 1542211"/>
                  <a:gd name="connsiteX32" fmla="*/ 766274 w 767080"/>
                  <a:gd name="connsiteY32" fmla="*/ 1445857 h 1542211"/>
                  <a:gd name="connsiteX33" fmla="*/ 766852 w 767080"/>
                  <a:gd name="connsiteY33" fmla="*/ 1439520 h 1542211"/>
                  <a:gd name="connsiteX34" fmla="*/ 767071 w 767080"/>
                  <a:gd name="connsiteY34" fmla="*/ 1433163 h 1542211"/>
                  <a:gd name="connsiteX35" fmla="*/ 767071 w 767080"/>
                  <a:gd name="connsiteY35" fmla="*/ 114689 h 1542211"/>
                  <a:gd name="connsiteX36" fmla="*/ 767031 w 767080"/>
                  <a:gd name="connsiteY36" fmla="*/ 107535 h 1542211"/>
                  <a:gd name="connsiteX37" fmla="*/ 726604 w 767080"/>
                  <a:gd name="connsiteY37" fmla="*/ 436854 h 1542211"/>
                  <a:gd name="connsiteX38" fmla="*/ 726604 w 767080"/>
                  <a:gd name="connsiteY38" fmla="*/ 1433003 h 1542211"/>
                  <a:gd name="connsiteX39" fmla="*/ 726445 w 767080"/>
                  <a:gd name="connsiteY39" fmla="*/ 1437049 h 1542211"/>
                  <a:gd name="connsiteX40" fmla="*/ 726066 w 767080"/>
                  <a:gd name="connsiteY40" fmla="*/ 1441054 h 1542211"/>
                  <a:gd name="connsiteX41" fmla="*/ 725469 w 767080"/>
                  <a:gd name="connsiteY41" fmla="*/ 1445000 h 1542211"/>
                  <a:gd name="connsiteX42" fmla="*/ 712882 w 767080"/>
                  <a:gd name="connsiteY42" fmla="*/ 1473996 h 1542211"/>
                  <a:gd name="connsiteX43" fmla="*/ 701830 w 767080"/>
                  <a:gd name="connsiteY43" fmla="*/ 1485635 h 1542211"/>
                  <a:gd name="connsiteX44" fmla="*/ 688467 w 767080"/>
                  <a:gd name="connsiteY44" fmla="*/ 1494403 h 1542211"/>
                  <a:gd name="connsiteX45" fmla="*/ 657659 w 767080"/>
                  <a:gd name="connsiteY45" fmla="*/ 1501677 h 1542211"/>
                  <a:gd name="connsiteX46" fmla="*/ 109343 w 767080"/>
                  <a:gd name="connsiteY46" fmla="*/ 1501677 h 1542211"/>
                  <a:gd name="connsiteX47" fmla="*/ 108327 w 767080"/>
                  <a:gd name="connsiteY47" fmla="*/ 1501637 h 1542211"/>
                  <a:gd name="connsiteX48" fmla="*/ 106296 w 767080"/>
                  <a:gd name="connsiteY48" fmla="*/ 1501597 h 1542211"/>
                  <a:gd name="connsiteX49" fmla="*/ 102273 w 767080"/>
                  <a:gd name="connsiteY49" fmla="*/ 1501318 h 1542211"/>
                  <a:gd name="connsiteX50" fmla="*/ 98310 w 767080"/>
                  <a:gd name="connsiteY50" fmla="*/ 1500780 h 1542211"/>
                  <a:gd name="connsiteX51" fmla="*/ 83035 w 767080"/>
                  <a:gd name="connsiteY51" fmla="*/ 1496456 h 1542211"/>
                  <a:gd name="connsiteX52" fmla="*/ 57305 w 767080"/>
                  <a:gd name="connsiteY52" fmla="*/ 1477842 h 1542211"/>
                  <a:gd name="connsiteX53" fmla="*/ 42588 w 767080"/>
                  <a:gd name="connsiteY53" fmla="*/ 1449823 h 1542211"/>
                  <a:gd name="connsiteX54" fmla="*/ 40517 w 767080"/>
                  <a:gd name="connsiteY54" fmla="*/ 1433960 h 1542211"/>
                  <a:gd name="connsiteX55" fmla="*/ 40477 w 767080"/>
                  <a:gd name="connsiteY55" fmla="*/ 1432943 h 1542211"/>
                  <a:gd name="connsiteX56" fmla="*/ 40477 w 767080"/>
                  <a:gd name="connsiteY56" fmla="*/ 109209 h 1542211"/>
                  <a:gd name="connsiteX57" fmla="*/ 40616 w 767080"/>
                  <a:gd name="connsiteY57" fmla="*/ 105163 h 1542211"/>
                  <a:gd name="connsiteX58" fmla="*/ 40995 w 767080"/>
                  <a:gd name="connsiteY58" fmla="*/ 101157 h 1542211"/>
                  <a:gd name="connsiteX59" fmla="*/ 41592 w 767080"/>
                  <a:gd name="connsiteY59" fmla="*/ 97212 h 1542211"/>
                  <a:gd name="connsiteX60" fmla="*/ 54178 w 767080"/>
                  <a:gd name="connsiteY60" fmla="*/ 68215 h 1542211"/>
                  <a:gd name="connsiteX61" fmla="*/ 65231 w 767080"/>
                  <a:gd name="connsiteY61" fmla="*/ 56577 h 1542211"/>
                  <a:gd name="connsiteX62" fmla="*/ 78594 w 767080"/>
                  <a:gd name="connsiteY62" fmla="*/ 47809 h 1542211"/>
                  <a:gd name="connsiteX63" fmla="*/ 109402 w 767080"/>
                  <a:gd name="connsiteY63" fmla="*/ 40535 h 1542211"/>
                  <a:gd name="connsiteX64" fmla="*/ 657738 w 767080"/>
                  <a:gd name="connsiteY64" fmla="*/ 40535 h 1542211"/>
                  <a:gd name="connsiteX65" fmla="*/ 658754 w 767080"/>
                  <a:gd name="connsiteY65" fmla="*/ 40575 h 1542211"/>
                  <a:gd name="connsiteX66" fmla="*/ 660785 w 767080"/>
                  <a:gd name="connsiteY66" fmla="*/ 40614 h 1542211"/>
                  <a:gd name="connsiteX67" fmla="*/ 664808 w 767080"/>
                  <a:gd name="connsiteY67" fmla="*/ 40893 h 1542211"/>
                  <a:gd name="connsiteX68" fmla="*/ 668771 w 767080"/>
                  <a:gd name="connsiteY68" fmla="*/ 41431 h 1542211"/>
                  <a:gd name="connsiteX69" fmla="*/ 684046 w 767080"/>
                  <a:gd name="connsiteY69" fmla="*/ 45756 h 1542211"/>
                  <a:gd name="connsiteX70" fmla="*/ 709776 w 767080"/>
                  <a:gd name="connsiteY70" fmla="*/ 64369 h 1542211"/>
                  <a:gd name="connsiteX71" fmla="*/ 724493 w 767080"/>
                  <a:gd name="connsiteY71" fmla="*/ 92389 h 1542211"/>
                  <a:gd name="connsiteX72" fmla="*/ 726564 w 767080"/>
                  <a:gd name="connsiteY72" fmla="*/ 108252 h 1542211"/>
                  <a:gd name="connsiteX73" fmla="*/ 726604 w 767080"/>
                  <a:gd name="connsiteY73" fmla="*/ 109268 h 1542211"/>
                  <a:gd name="connsiteX74" fmla="*/ 726604 w 767080"/>
                  <a:gd name="connsiteY74" fmla="*/ 436834 h 1542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767080" h="1542211">
                    <a:moveTo>
                      <a:pt x="767051" y="107554"/>
                    </a:moveTo>
                    <a:cubicBezTo>
                      <a:pt x="766892" y="99065"/>
                      <a:pt x="765776" y="90615"/>
                      <a:pt x="763725" y="82405"/>
                    </a:cubicBezTo>
                    <a:cubicBezTo>
                      <a:pt x="759503" y="66023"/>
                      <a:pt x="751517" y="50579"/>
                      <a:pt x="740345" y="37804"/>
                    </a:cubicBezTo>
                    <a:cubicBezTo>
                      <a:pt x="729292" y="24931"/>
                      <a:pt x="715133" y="14807"/>
                      <a:pt x="699520" y="8290"/>
                    </a:cubicBezTo>
                    <a:cubicBezTo>
                      <a:pt x="691693" y="5082"/>
                      <a:pt x="683508" y="2750"/>
                      <a:pt x="675164" y="1395"/>
                    </a:cubicBezTo>
                    <a:cubicBezTo>
                      <a:pt x="673073" y="1036"/>
                      <a:pt x="670962" y="857"/>
                      <a:pt x="668871" y="558"/>
                    </a:cubicBezTo>
                    <a:cubicBezTo>
                      <a:pt x="666760" y="419"/>
                      <a:pt x="664649" y="199"/>
                      <a:pt x="662518" y="120"/>
                    </a:cubicBezTo>
                    <a:lnTo>
                      <a:pt x="659331" y="40"/>
                    </a:lnTo>
                    <a:lnTo>
                      <a:pt x="657738" y="0"/>
                    </a:lnTo>
                    <a:lnTo>
                      <a:pt x="109402" y="0"/>
                    </a:lnTo>
                    <a:cubicBezTo>
                      <a:pt x="92415" y="80"/>
                      <a:pt x="75527" y="3906"/>
                      <a:pt x="60432" y="11578"/>
                    </a:cubicBezTo>
                    <a:cubicBezTo>
                      <a:pt x="52884" y="15405"/>
                      <a:pt x="45715" y="20028"/>
                      <a:pt x="39242" y="25489"/>
                    </a:cubicBezTo>
                    <a:cubicBezTo>
                      <a:pt x="32770" y="30949"/>
                      <a:pt x="26895" y="37147"/>
                      <a:pt x="21777" y="43903"/>
                    </a:cubicBezTo>
                    <a:cubicBezTo>
                      <a:pt x="11660" y="57514"/>
                      <a:pt x="4630" y="73377"/>
                      <a:pt x="1743" y="90077"/>
                    </a:cubicBezTo>
                    <a:cubicBezTo>
                      <a:pt x="1324" y="92150"/>
                      <a:pt x="1046" y="94262"/>
                      <a:pt x="807" y="96355"/>
                    </a:cubicBezTo>
                    <a:cubicBezTo>
                      <a:pt x="488" y="98447"/>
                      <a:pt x="408" y="100579"/>
                      <a:pt x="229" y="102692"/>
                    </a:cubicBezTo>
                    <a:cubicBezTo>
                      <a:pt x="50" y="104804"/>
                      <a:pt x="90" y="106937"/>
                      <a:pt x="10" y="109049"/>
                    </a:cubicBezTo>
                    <a:lnTo>
                      <a:pt x="10" y="1427503"/>
                    </a:lnTo>
                    <a:cubicBezTo>
                      <a:pt x="10" y="1429934"/>
                      <a:pt x="-30" y="1432704"/>
                      <a:pt x="50" y="1434657"/>
                    </a:cubicBezTo>
                    <a:cubicBezTo>
                      <a:pt x="209" y="1443147"/>
                      <a:pt x="1324" y="1451596"/>
                      <a:pt x="3376" y="1459807"/>
                    </a:cubicBezTo>
                    <a:cubicBezTo>
                      <a:pt x="7598" y="1476188"/>
                      <a:pt x="15583" y="1491633"/>
                      <a:pt x="26756" y="1504407"/>
                    </a:cubicBezTo>
                    <a:cubicBezTo>
                      <a:pt x="37808" y="1517281"/>
                      <a:pt x="51968" y="1527405"/>
                      <a:pt x="67581" y="1533921"/>
                    </a:cubicBezTo>
                    <a:cubicBezTo>
                      <a:pt x="75408" y="1537130"/>
                      <a:pt x="83593" y="1539462"/>
                      <a:pt x="91937" y="1540817"/>
                    </a:cubicBezTo>
                    <a:cubicBezTo>
                      <a:pt x="94028" y="1541175"/>
                      <a:pt x="96139" y="1541355"/>
                      <a:pt x="98230" y="1541654"/>
                    </a:cubicBezTo>
                    <a:cubicBezTo>
                      <a:pt x="100341" y="1541793"/>
                      <a:pt x="102452" y="1542012"/>
                      <a:pt x="104583" y="1542092"/>
                    </a:cubicBezTo>
                    <a:lnTo>
                      <a:pt x="107769" y="1542172"/>
                    </a:lnTo>
                    <a:lnTo>
                      <a:pt x="109362" y="1542212"/>
                    </a:lnTo>
                    <a:lnTo>
                      <a:pt x="657678" y="1542212"/>
                    </a:lnTo>
                    <a:cubicBezTo>
                      <a:pt x="674666" y="1542132"/>
                      <a:pt x="691554" y="1538306"/>
                      <a:pt x="706649" y="1530633"/>
                    </a:cubicBezTo>
                    <a:cubicBezTo>
                      <a:pt x="714197" y="1526807"/>
                      <a:pt x="721366" y="1522183"/>
                      <a:pt x="727839" y="1516723"/>
                    </a:cubicBezTo>
                    <a:cubicBezTo>
                      <a:pt x="734311" y="1511263"/>
                      <a:pt x="740186" y="1505065"/>
                      <a:pt x="745304" y="1498309"/>
                    </a:cubicBezTo>
                    <a:cubicBezTo>
                      <a:pt x="755421" y="1484698"/>
                      <a:pt x="762451" y="1468835"/>
                      <a:pt x="765338" y="1452135"/>
                    </a:cubicBezTo>
                    <a:cubicBezTo>
                      <a:pt x="765756" y="1450062"/>
                      <a:pt x="766035" y="1447950"/>
                      <a:pt x="766274" y="1445857"/>
                    </a:cubicBezTo>
                    <a:cubicBezTo>
                      <a:pt x="766593" y="1443765"/>
                      <a:pt x="766672" y="1441632"/>
                      <a:pt x="766852" y="1439520"/>
                    </a:cubicBezTo>
                    <a:cubicBezTo>
                      <a:pt x="767031" y="1437407"/>
                      <a:pt x="766971" y="1435275"/>
                      <a:pt x="767071" y="1433163"/>
                    </a:cubicBezTo>
                    <a:lnTo>
                      <a:pt x="767071" y="114689"/>
                    </a:lnTo>
                    <a:cubicBezTo>
                      <a:pt x="767071" y="112258"/>
                      <a:pt x="767111" y="109488"/>
                      <a:pt x="767031" y="107535"/>
                    </a:cubicBezTo>
                    <a:close/>
                    <a:moveTo>
                      <a:pt x="726604" y="436854"/>
                    </a:moveTo>
                    <a:lnTo>
                      <a:pt x="726604" y="1433003"/>
                    </a:lnTo>
                    <a:cubicBezTo>
                      <a:pt x="726504" y="1434358"/>
                      <a:pt x="726584" y="1435713"/>
                      <a:pt x="726445" y="1437049"/>
                    </a:cubicBezTo>
                    <a:cubicBezTo>
                      <a:pt x="726305" y="1438384"/>
                      <a:pt x="726305" y="1439739"/>
                      <a:pt x="726066" y="1441054"/>
                    </a:cubicBezTo>
                    <a:cubicBezTo>
                      <a:pt x="725907" y="1442390"/>
                      <a:pt x="725747" y="1443705"/>
                      <a:pt x="725469" y="1445000"/>
                    </a:cubicBezTo>
                    <a:cubicBezTo>
                      <a:pt x="723676" y="1455483"/>
                      <a:pt x="719235" y="1465387"/>
                      <a:pt x="712882" y="1473996"/>
                    </a:cubicBezTo>
                    <a:cubicBezTo>
                      <a:pt x="709636" y="1478261"/>
                      <a:pt x="705932" y="1482167"/>
                      <a:pt x="701830" y="1485635"/>
                    </a:cubicBezTo>
                    <a:cubicBezTo>
                      <a:pt x="697747" y="1489102"/>
                      <a:pt x="693207" y="1491992"/>
                      <a:pt x="688467" y="1494403"/>
                    </a:cubicBezTo>
                    <a:cubicBezTo>
                      <a:pt x="678967" y="1499246"/>
                      <a:pt x="668472" y="1501597"/>
                      <a:pt x="657659" y="1501677"/>
                    </a:cubicBezTo>
                    <a:lnTo>
                      <a:pt x="109343" y="1501677"/>
                    </a:lnTo>
                    <a:lnTo>
                      <a:pt x="108327" y="1501637"/>
                    </a:lnTo>
                    <a:lnTo>
                      <a:pt x="106296" y="1501597"/>
                    </a:lnTo>
                    <a:cubicBezTo>
                      <a:pt x="104941" y="1501557"/>
                      <a:pt x="103627" y="1501378"/>
                      <a:pt x="102273" y="1501318"/>
                    </a:cubicBezTo>
                    <a:cubicBezTo>
                      <a:pt x="100958" y="1501099"/>
                      <a:pt x="99624" y="1500999"/>
                      <a:pt x="98310" y="1500780"/>
                    </a:cubicBezTo>
                    <a:cubicBezTo>
                      <a:pt x="93052" y="1499903"/>
                      <a:pt x="87954" y="1498469"/>
                      <a:pt x="83035" y="1496456"/>
                    </a:cubicBezTo>
                    <a:cubicBezTo>
                      <a:pt x="73277" y="1492370"/>
                      <a:pt x="64275" y="1485993"/>
                      <a:pt x="57305" y="1477842"/>
                    </a:cubicBezTo>
                    <a:cubicBezTo>
                      <a:pt x="50215" y="1469771"/>
                      <a:pt x="45257" y="1460046"/>
                      <a:pt x="42588" y="1449823"/>
                    </a:cubicBezTo>
                    <a:cubicBezTo>
                      <a:pt x="41313" y="1444681"/>
                      <a:pt x="40616" y="1439380"/>
                      <a:pt x="40517" y="1433960"/>
                    </a:cubicBezTo>
                    <a:lnTo>
                      <a:pt x="40477" y="1432943"/>
                    </a:lnTo>
                    <a:lnTo>
                      <a:pt x="40477" y="109209"/>
                    </a:lnTo>
                    <a:cubicBezTo>
                      <a:pt x="40577" y="107853"/>
                      <a:pt x="40477" y="106498"/>
                      <a:pt x="40616" y="105163"/>
                    </a:cubicBezTo>
                    <a:cubicBezTo>
                      <a:pt x="40756" y="103828"/>
                      <a:pt x="40756" y="102473"/>
                      <a:pt x="40995" y="101157"/>
                    </a:cubicBezTo>
                    <a:cubicBezTo>
                      <a:pt x="41154" y="99822"/>
                      <a:pt x="41313" y="98507"/>
                      <a:pt x="41592" y="97212"/>
                    </a:cubicBezTo>
                    <a:cubicBezTo>
                      <a:pt x="43385" y="86729"/>
                      <a:pt x="47826" y="76825"/>
                      <a:pt x="54178" y="68215"/>
                    </a:cubicBezTo>
                    <a:cubicBezTo>
                      <a:pt x="57425" y="63951"/>
                      <a:pt x="61129" y="60045"/>
                      <a:pt x="65231" y="56577"/>
                    </a:cubicBezTo>
                    <a:cubicBezTo>
                      <a:pt x="69314" y="53110"/>
                      <a:pt x="73854" y="50220"/>
                      <a:pt x="78594" y="47809"/>
                    </a:cubicBezTo>
                    <a:cubicBezTo>
                      <a:pt x="88093" y="42966"/>
                      <a:pt x="98589" y="40614"/>
                      <a:pt x="109402" y="40535"/>
                    </a:cubicBezTo>
                    <a:lnTo>
                      <a:pt x="657738" y="40535"/>
                    </a:lnTo>
                    <a:lnTo>
                      <a:pt x="658754" y="40575"/>
                    </a:lnTo>
                    <a:lnTo>
                      <a:pt x="660785" y="40614"/>
                    </a:lnTo>
                    <a:cubicBezTo>
                      <a:pt x="662139" y="40654"/>
                      <a:pt x="663454" y="40834"/>
                      <a:pt x="664808" y="40893"/>
                    </a:cubicBezTo>
                    <a:cubicBezTo>
                      <a:pt x="666122" y="41113"/>
                      <a:pt x="667457" y="41212"/>
                      <a:pt x="668771" y="41431"/>
                    </a:cubicBezTo>
                    <a:cubicBezTo>
                      <a:pt x="674029" y="42308"/>
                      <a:pt x="679127" y="43743"/>
                      <a:pt x="684046" y="45756"/>
                    </a:cubicBezTo>
                    <a:cubicBezTo>
                      <a:pt x="693804" y="49841"/>
                      <a:pt x="702806" y="56218"/>
                      <a:pt x="709776" y="64369"/>
                    </a:cubicBezTo>
                    <a:cubicBezTo>
                      <a:pt x="716865" y="72440"/>
                      <a:pt x="721824" y="82165"/>
                      <a:pt x="724493" y="92389"/>
                    </a:cubicBezTo>
                    <a:cubicBezTo>
                      <a:pt x="725767" y="97530"/>
                      <a:pt x="726464" y="102831"/>
                      <a:pt x="726564" y="108252"/>
                    </a:cubicBezTo>
                    <a:lnTo>
                      <a:pt x="726604" y="109268"/>
                    </a:lnTo>
                    <a:lnTo>
                      <a:pt x="726604" y="436834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Microsoft Sans Serif"/>
                </a:endParaRPr>
              </a:p>
            </p:txBody>
          </p:sp>
          <p:sp>
            <p:nvSpPr>
              <p:cNvPr id="51" name="Freeform 6">
                <a:extLst>
                  <a:ext uri="{FF2B5EF4-FFF2-40B4-BE49-F238E27FC236}">
                    <a16:creationId xmlns:a16="http://schemas.microsoft.com/office/drawing/2014/main" id="{AD3DA53A-4563-5238-FD26-76ED5F586FF1}"/>
                  </a:ext>
                </a:extLst>
              </p:cNvPr>
              <p:cNvSpPr/>
              <p:nvPr/>
            </p:nvSpPr>
            <p:spPr>
              <a:xfrm>
                <a:off x="3124748" y="4525799"/>
                <a:ext cx="261999" cy="36250"/>
              </a:xfrm>
              <a:custGeom>
                <a:avLst/>
                <a:gdLst>
                  <a:gd name="connsiteX0" fmla="*/ 0 w 261999"/>
                  <a:gd name="connsiteY0" fmla="*/ 0 h 36250"/>
                  <a:gd name="connsiteX1" fmla="*/ 262000 w 261999"/>
                  <a:gd name="connsiteY1" fmla="*/ 0 h 36250"/>
                  <a:gd name="connsiteX2" fmla="*/ 262000 w 261999"/>
                  <a:gd name="connsiteY2" fmla="*/ 36250 h 36250"/>
                  <a:gd name="connsiteX3" fmla="*/ 0 w 261999"/>
                  <a:gd name="connsiteY3" fmla="*/ 36250 h 36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1999" h="36250">
                    <a:moveTo>
                      <a:pt x="0" y="0"/>
                    </a:moveTo>
                    <a:lnTo>
                      <a:pt x="262000" y="0"/>
                    </a:lnTo>
                    <a:lnTo>
                      <a:pt x="262000" y="36250"/>
                    </a:lnTo>
                    <a:lnTo>
                      <a:pt x="0" y="36250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Microsoft Sans Serif"/>
                </a:endParaRPr>
              </a:p>
            </p:txBody>
          </p:sp>
          <p:sp>
            <p:nvSpPr>
              <p:cNvPr id="52" name="Freeform 7">
                <a:extLst>
                  <a:ext uri="{FF2B5EF4-FFF2-40B4-BE49-F238E27FC236}">
                    <a16:creationId xmlns:a16="http://schemas.microsoft.com/office/drawing/2014/main" id="{45CA033E-5B43-D508-B76A-E9AF43F819F2}"/>
                  </a:ext>
                </a:extLst>
              </p:cNvPr>
              <p:cNvSpPr/>
              <p:nvPr/>
            </p:nvSpPr>
            <p:spPr>
              <a:xfrm>
                <a:off x="3548564" y="2686675"/>
                <a:ext cx="562117" cy="602735"/>
              </a:xfrm>
              <a:custGeom>
                <a:avLst/>
                <a:gdLst>
                  <a:gd name="connsiteX0" fmla="*/ 422625 w 562117"/>
                  <a:gd name="connsiteY0" fmla="*/ 168433 h 602735"/>
                  <a:gd name="connsiteX1" fmla="*/ 19230 w 562117"/>
                  <a:gd name="connsiteY1" fmla="*/ 315 h 602735"/>
                  <a:gd name="connsiteX2" fmla="*/ 12 w 562117"/>
                  <a:gd name="connsiteY2" fmla="*/ 20921 h 602735"/>
                  <a:gd name="connsiteX3" fmla="*/ 20604 w 562117"/>
                  <a:gd name="connsiteY3" fmla="*/ 40152 h 602735"/>
                  <a:gd name="connsiteX4" fmla="*/ 393370 w 562117"/>
                  <a:gd name="connsiteY4" fmla="*/ 195496 h 602735"/>
                  <a:gd name="connsiteX5" fmla="*/ 519093 w 562117"/>
                  <a:gd name="connsiteY5" fmla="*/ 580515 h 602735"/>
                  <a:gd name="connsiteX6" fmla="*/ 536598 w 562117"/>
                  <a:gd name="connsiteY6" fmla="*/ 602596 h 602735"/>
                  <a:gd name="connsiteX7" fmla="*/ 538908 w 562117"/>
                  <a:gd name="connsiteY7" fmla="*/ 602736 h 602735"/>
                  <a:gd name="connsiteX8" fmla="*/ 558664 w 562117"/>
                  <a:gd name="connsiteY8" fmla="*/ 585079 h 602735"/>
                  <a:gd name="connsiteX9" fmla="*/ 422605 w 562117"/>
                  <a:gd name="connsiteY9" fmla="*/ 168433 h 602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62117" h="602735">
                    <a:moveTo>
                      <a:pt x="422625" y="168433"/>
                    </a:moveTo>
                    <a:cubicBezTo>
                      <a:pt x="318968" y="56315"/>
                      <a:pt x="171977" y="-4966"/>
                      <a:pt x="19230" y="315"/>
                    </a:cubicBezTo>
                    <a:cubicBezTo>
                      <a:pt x="8237" y="694"/>
                      <a:pt x="-366" y="9921"/>
                      <a:pt x="12" y="20921"/>
                    </a:cubicBezTo>
                    <a:cubicBezTo>
                      <a:pt x="390" y="31922"/>
                      <a:pt x="9531" y="40551"/>
                      <a:pt x="20604" y="40152"/>
                    </a:cubicBezTo>
                    <a:cubicBezTo>
                      <a:pt x="161741" y="35290"/>
                      <a:pt x="297600" y="91887"/>
                      <a:pt x="393370" y="195496"/>
                    </a:cubicBezTo>
                    <a:cubicBezTo>
                      <a:pt x="489440" y="299403"/>
                      <a:pt x="535264" y="439740"/>
                      <a:pt x="519093" y="580515"/>
                    </a:cubicBezTo>
                    <a:cubicBezTo>
                      <a:pt x="517838" y="591456"/>
                      <a:pt x="525685" y="601341"/>
                      <a:pt x="536598" y="602596"/>
                    </a:cubicBezTo>
                    <a:cubicBezTo>
                      <a:pt x="537375" y="602676"/>
                      <a:pt x="538132" y="602736"/>
                      <a:pt x="538908" y="602736"/>
                    </a:cubicBezTo>
                    <a:cubicBezTo>
                      <a:pt x="548886" y="602736"/>
                      <a:pt x="557509" y="595243"/>
                      <a:pt x="558664" y="585079"/>
                    </a:cubicBezTo>
                    <a:cubicBezTo>
                      <a:pt x="576169" y="432745"/>
                      <a:pt x="526581" y="280889"/>
                      <a:pt x="422605" y="168433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Microsoft Sans Serif"/>
                </a:endParaRPr>
              </a:p>
            </p:txBody>
          </p:sp>
          <p:sp>
            <p:nvSpPr>
              <p:cNvPr id="53" name="Freeform 8">
                <a:extLst>
                  <a:ext uri="{FF2B5EF4-FFF2-40B4-BE49-F238E27FC236}">
                    <a16:creationId xmlns:a16="http://schemas.microsoft.com/office/drawing/2014/main" id="{361A8DFB-4BE2-FFBA-ECB7-E122295A915C}"/>
                  </a:ext>
                </a:extLst>
              </p:cNvPr>
              <p:cNvSpPr/>
              <p:nvPr/>
            </p:nvSpPr>
            <p:spPr>
              <a:xfrm>
                <a:off x="3553463" y="2824463"/>
                <a:ext cx="419681" cy="449224"/>
              </a:xfrm>
              <a:custGeom>
                <a:avLst/>
                <a:gdLst>
                  <a:gd name="connsiteX0" fmla="*/ 19230 w 419681"/>
                  <a:gd name="connsiteY0" fmla="*/ 234 h 449224"/>
                  <a:gd name="connsiteX1" fmla="*/ 12 w 419681"/>
                  <a:gd name="connsiteY1" fmla="*/ 20840 h 449224"/>
                  <a:gd name="connsiteX2" fmla="*/ 20604 w 419681"/>
                  <a:gd name="connsiteY2" fmla="*/ 40071 h 449224"/>
                  <a:gd name="connsiteX3" fmla="*/ 287543 w 419681"/>
                  <a:gd name="connsiteY3" fmla="*/ 151292 h 449224"/>
                  <a:gd name="connsiteX4" fmla="*/ 377558 w 419681"/>
                  <a:gd name="connsiteY4" fmla="*/ 427004 h 449224"/>
                  <a:gd name="connsiteX5" fmla="*/ 395063 w 419681"/>
                  <a:gd name="connsiteY5" fmla="*/ 449085 h 449224"/>
                  <a:gd name="connsiteX6" fmla="*/ 397373 w 419681"/>
                  <a:gd name="connsiteY6" fmla="*/ 449224 h 449224"/>
                  <a:gd name="connsiteX7" fmla="*/ 417129 w 419681"/>
                  <a:gd name="connsiteY7" fmla="*/ 431568 h 449224"/>
                  <a:gd name="connsiteX8" fmla="*/ 316778 w 419681"/>
                  <a:gd name="connsiteY8" fmla="*/ 124229 h 449224"/>
                  <a:gd name="connsiteX9" fmla="*/ 19210 w 419681"/>
                  <a:gd name="connsiteY9" fmla="*/ 234 h 449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19681" h="449224">
                    <a:moveTo>
                      <a:pt x="19230" y="234"/>
                    </a:moveTo>
                    <a:cubicBezTo>
                      <a:pt x="8237" y="612"/>
                      <a:pt x="-366" y="9839"/>
                      <a:pt x="12" y="20840"/>
                    </a:cubicBezTo>
                    <a:cubicBezTo>
                      <a:pt x="390" y="31841"/>
                      <a:pt x="9611" y="40430"/>
                      <a:pt x="20604" y="40071"/>
                    </a:cubicBezTo>
                    <a:cubicBezTo>
                      <a:pt x="121652" y="36544"/>
                      <a:pt x="218956" y="77098"/>
                      <a:pt x="287543" y="151292"/>
                    </a:cubicBezTo>
                    <a:cubicBezTo>
                      <a:pt x="356349" y="225706"/>
                      <a:pt x="389148" y="326205"/>
                      <a:pt x="377558" y="427004"/>
                    </a:cubicBezTo>
                    <a:cubicBezTo>
                      <a:pt x="376303" y="437945"/>
                      <a:pt x="384130" y="447829"/>
                      <a:pt x="395063" y="449085"/>
                    </a:cubicBezTo>
                    <a:cubicBezTo>
                      <a:pt x="395840" y="449165"/>
                      <a:pt x="396597" y="449224"/>
                      <a:pt x="397373" y="449224"/>
                    </a:cubicBezTo>
                    <a:cubicBezTo>
                      <a:pt x="407351" y="449224"/>
                      <a:pt x="415954" y="441731"/>
                      <a:pt x="417129" y="431568"/>
                    </a:cubicBezTo>
                    <a:cubicBezTo>
                      <a:pt x="430054" y="319210"/>
                      <a:pt x="393490" y="207192"/>
                      <a:pt x="316778" y="124229"/>
                    </a:cubicBezTo>
                    <a:cubicBezTo>
                      <a:pt x="240305" y="41506"/>
                      <a:pt x="131829" y="-3672"/>
                      <a:pt x="19210" y="23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Microsoft Sans Serif"/>
                </a:endParaRPr>
              </a:p>
            </p:txBody>
          </p:sp>
          <p:sp>
            <p:nvSpPr>
              <p:cNvPr id="54" name="Freeform 11">
                <a:extLst>
                  <a:ext uri="{FF2B5EF4-FFF2-40B4-BE49-F238E27FC236}">
                    <a16:creationId xmlns:a16="http://schemas.microsoft.com/office/drawing/2014/main" id="{8A83C7E5-68B9-4635-5611-6BFB1552670E}"/>
                  </a:ext>
                </a:extLst>
              </p:cNvPr>
              <p:cNvSpPr/>
              <p:nvPr/>
            </p:nvSpPr>
            <p:spPr>
              <a:xfrm>
                <a:off x="3558251" y="2959607"/>
                <a:ext cx="279012" cy="298635"/>
              </a:xfrm>
              <a:custGeom>
                <a:avLst/>
                <a:gdLst>
                  <a:gd name="connsiteX0" fmla="*/ 20317 w 279012"/>
                  <a:gd name="connsiteY0" fmla="*/ 6 h 298635"/>
                  <a:gd name="connsiteX1" fmla="*/ 4 w 279012"/>
                  <a:gd name="connsiteY1" fmla="*/ 19517 h 298635"/>
                  <a:gd name="connsiteX2" fmla="*/ 19501 w 279012"/>
                  <a:gd name="connsiteY2" fmla="*/ 39844 h 298635"/>
                  <a:gd name="connsiteX3" fmla="*/ 179537 w 279012"/>
                  <a:gd name="connsiteY3" fmla="*/ 111806 h 298635"/>
                  <a:gd name="connsiteX4" fmla="*/ 238783 w 279012"/>
                  <a:gd name="connsiteY4" fmla="*/ 277532 h 298635"/>
                  <a:gd name="connsiteX5" fmla="*/ 257483 w 279012"/>
                  <a:gd name="connsiteY5" fmla="*/ 298596 h 298635"/>
                  <a:gd name="connsiteX6" fmla="*/ 258678 w 279012"/>
                  <a:gd name="connsiteY6" fmla="*/ 298636 h 298635"/>
                  <a:gd name="connsiteX7" fmla="*/ 278533 w 279012"/>
                  <a:gd name="connsiteY7" fmla="*/ 279883 h 298635"/>
                  <a:gd name="connsiteX8" fmla="*/ 208752 w 279012"/>
                  <a:gd name="connsiteY8" fmla="*/ 84743 h 298635"/>
                  <a:gd name="connsiteX9" fmla="*/ 20277 w 279012"/>
                  <a:gd name="connsiteY9" fmla="*/ 6 h 298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9012" h="298635">
                    <a:moveTo>
                      <a:pt x="20317" y="6"/>
                    </a:moveTo>
                    <a:cubicBezTo>
                      <a:pt x="9284" y="-273"/>
                      <a:pt x="223" y="8516"/>
                      <a:pt x="4" y="19517"/>
                    </a:cubicBezTo>
                    <a:cubicBezTo>
                      <a:pt x="-215" y="30517"/>
                      <a:pt x="8508" y="39624"/>
                      <a:pt x="19501" y="39844"/>
                    </a:cubicBezTo>
                    <a:cubicBezTo>
                      <a:pt x="80958" y="41099"/>
                      <a:pt x="137795" y="66648"/>
                      <a:pt x="179537" y="111806"/>
                    </a:cubicBezTo>
                    <a:cubicBezTo>
                      <a:pt x="221398" y="157083"/>
                      <a:pt x="242448" y="215932"/>
                      <a:pt x="238783" y="277532"/>
                    </a:cubicBezTo>
                    <a:cubicBezTo>
                      <a:pt x="238126" y="288512"/>
                      <a:pt x="246510" y="297958"/>
                      <a:pt x="257483" y="298596"/>
                    </a:cubicBezTo>
                    <a:cubicBezTo>
                      <a:pt x="257882" y="298616"/>
                      <a:pt x="258280" y="298636"/>
                      <a:pt x="258678" y="298636"/>
                    </a:cubicBezTo>
                    <a:cubicBezTo>
                      <a:pt x="269134" y="298636"/>
                      <a:pt x="277916" y="290465"/>
                      <a:pt x="278533" y="279883"/>
                    </a:cubicBezTo>
                    <a:cubicBezTo>
                      <a:pt x="282835" y="207363"/>
                      <a:pt x="258041" y="138052"/>
                      <a:pt x="208752" y="84743"/>
                    </a:cubicBezTo>
                    <a:cubicBezTo>
                      <a:pt x="159602" y="31573"/>
                      <a:pt x="92668" y="1481"/>
                      <a:pt x="20277" y="6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Microsoft Sans Serif"/>
                </a:endParaRPr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01F5EE09-06EE-39D7-FA60-0ED83D4B22C1}"/>
                </a:ext>
              </a:extLst>
            </p:cNvPr>
            <p:cNvGrpSpPr/>
            <p:nvPr/>
          </p:nvGrpSpPr>
          <p:grpSpPr>
            <a:xfrm>
              <a:off x="4133010" y="5654552"/>
              <a:ext cx="251168" cy="307930"/>
              <a:chOff x="2486218" y="2762284"/>
              <a:chExt cx="1645121" cy="2016913"/>
            </a:xfrm>
            <a:solidFill>
              <a:schemeClr val="accent1"/>
            </a:solidFill>
          </p:grpSpPr>
          <p:sp>
            <p:nvSpPr>
              <p:cNvPr id="46" name="Freeform 3">
                <a:extLst>
                  <a:ext uri="{FF2B5EF4-FFF2-40B4-BE49-F238E27FC236}">
                    <a16:creationId xmlns:a16="http://schemas.microsoft.com/office/drawing/2014/main" id="{4B2C0BF2-546F-5B67-6F5A-CDA085358DF4}"/>
                  </a:ext>
                </a:extLst>
              </p:cNvPr>
              <p:cNvSpPr/>
              <p:nvPr/>
            </p:nvSpPr>
            <p:spPr>
              <a:xfrm>
                <a:off x="2486218" y="2762284"/>
                <a:ext cx="1645121" cy="2016913"/>
              </a:xfrm>
              <a:custGeom>
                <a:avLst/>
                <a:gdLst>
                  <a:gd name="connsiteX0" fmla="*/ 1645083 w 1645121"/>
                  <a:gd name="connsiteY0" fmla="*/ 148664 h 2016913"/>
                  <a:gd name="connsiteX1" fmla="*/ 1644986 w 1645121"/>
                  <a:gd name="connsiteY1" fmla="*/ 145782 h 2016913"/>
                  <a:gd name="connsiteX2" fmla="*/ 1644715 w 1645121"/>
                  <a:gd name="connsiteY2" fmla="*/ 139997 h 2016913"/>
                  <a:gd name="connsiteX3" fmla="*/ 1644347 w 1645121"/>
                  <a:gd name="connsiteY3" fmla="*/ 134231 h 2016913"/>
                  <a:gd name="connsiteX4" fmla="*/ 1643554 w 1645121"/>
                  <a:gd name="connsiteY4" fmla="*/ 128485 h 2016913"/>
                  <a:gd name="connsiteX5" fmla="*/ 1642644 w 1645121"/>
                  <a:gd name="connsiteY5" fmla="*/ 122739 h 2016913"/>
                  <a:gd name="connsiteX6" fmla="*/ 1641521 w 1645121"/>
                  <a:gd name="connsiteY6" fmla="*/ 117031 h 2016913"/>
                  <a:gd name="connsiteX7" fmla="*/ 1638600 w 1645121"/>
                  <a:gd name="connsiteY7" fmla="*/ 105771 h 2016913"/>
                  <a:gd name="connsiteX8" fmla="*/ 1630011 w 1645121"/>
                  <a:gd name="connsiteY8" fmla="*/ 84161 h 2016913"/>
                  <a:gd name="connsiteX9" fmla="*/ 1603646 w 1645121"/>
                  <a:gd name="connsiteY9" fmla="*/ 46222 h 2016913"/>
                  <a:gd name="connsiteX10" fmla="*/ 1567007 w 1645121"/>
                  <a:gd name="connsiteY10" fmla="*/ 18091 h 2016913"/>
                  <a:gd name="connsiteX11" fmla="*/ 1523309 w 1645121"/>
                  <a:gd name="connsiteY11" fmla="*/ 2614 h 2016913"/>
                  <a:gd name="connsiteX12" fmla="*/ 1511818 w 1645121"/>
                  <a:gd name="connsiteY12" fmla="*/ 893 h 2016913"/>
                  <a:gd name="connsiteX13" fmla="*/ 1500289 w 1645121"/>
                  <a:gd name="connsiteY13" fmla="*/ 176 h 2016913"/>
                  <a:gd name="connsiteX14" fmla="*/ 1497387 w 1645121"/>
                  <a:gd name="connsiteY14" fmla="*/ 60 h 2016913"/>
                  <a:gd name="connsiteX15" fmla="*/ 1495954 w 1645121"/>
                  <a:gd name="connsiteY15" fmla="*/ 21 h 2016913"/>
                  <a:gd name="connsiteX16" fmla="*/ 1494986 w 1645121"/>
                  <a:gd name="connsiteY16" fmla="*/ 2 h 2016913"/>
                  <a:gd name="connsiteX17" fmla="*/ 1286340 w 1645121"/>
                  <a:gd name="connsiteY17" fmla="*/ 2 h 2016913"/>
                  <a:gd name="connsiteX18" fmla="*/ 1240650 w 1645121"/>
                  <a:gd name="connsiteY18" fmla="*/ 7179 h 2016913"/>
                  <a:gd name="connsiteX19" fmla="*/ 1199331 w 1645121"/>
                  <a:gd name="connsiteY19" fmla="*/ 28073 h 2016913"/>
                  <a:gd name="connsiteX20" fmla="*/ 1166465 w 1645121"/>
                  <a:gd name="connsiteY20" fmla="*/ 60440 h 2016913"/>
                  <a:gd name="connsiteX21" fmla="*/ 1144935 w 1645121"/>
                  <a:gd name="connsiteY21" fmla="*/ 101436 h 2016913"/>
                  <a:gd name="connsiteX22" fmla="*/ 1141666 w 1645121"/>
                  <a:gd name="connsiteY22" fmla="*/ 112599 h 2016913"/>
                  <a:gd name="connsiteX23" fmla="*/ 1140272 w 1645121"/>
                  <a:gd name="connsiteY23" fmla="*/ 118249 h 2016913"/>
                  <a:gd name="connsiteX24" fmla="*/ 1139227 w 1645121"/>
                  <a:gd name="connsiteY24" fmla="*/ 123956 h 2016913"/>
                  <a:gd name="connsiteX25" fmla="*/ 1137641 w 1645121"/>
                  <a:gd name="connsiteY25" fmla="*/ 135449 h 2016913"/>
                  <a:gd name="connsiteX26" fmla="*/ 1137041 w 1645121"/>
                  <a:gd name="connsiteY26" fmla="*/ 146999 h 2016913"/>
                  <a:gd name="connsiteX27" fmla="*/ 1136964 w 1645121"/>
                  <a:gd name="connsiteY27" fmla="*/ 149708 h 2016913"/>
                  <a:gd name="connsiteX28" fmla="*/ 1136964 w 1645121"/>
                  <a:gd name="connsiteY28" fmla="*/ 507955 h 2016913"/>
                  <a:gd name="connsiteX29" fmla="*/ 1013722 w 1645121"/>
                  <a:gd name="connsiteY29" fmla="*/ 633942 h 2016913"/>
                  <a:gd name="connsiteX30" fmla="*/ 929634 w 1645121"/>
                  <a:gd name="connsiteY30" fmla="*/ 719882 h 2016913"/>
                  <a:gd name="connsiteX31" fmla="*/ 929634 w 1645121"/>
                  <a:gd name="connsiteY31" fmla="*/ 125466 h 2016913"/>
                  <a:gd name="connsiteX32" fmla="*/ 823958 w 1645121"/>
                  <a:gd name="connsiteY32" fmla="*/ 19775 h 2016913"/>
                  <a:gd name="connsiteX33" fmla="*/ 821133 w 1645121"/>
                  <a:gd name="connsiteY33" fmla="*/ 19775 h 2016913"/>
                  <a:gd name="connsiteX34" fmla="*/ 715476 w 1645121"/>
                  <a:gd name="connsiteY34" fmla="*/ 125466 h 2016913"/>
                  <a:gd name="connsiteX35" fmla="*/ 715476 w 1645121"/>
                  <a:gd name="connsiteY35" fmla="*/ 719901 h 2016913"/>
                  <a:gd name="connsiteX36" fmla="*/ 631388 w 1645121"/>
                  <a:gd name="connsiteY36" fmla="*/ 633942 h 2016913"/>
                  <a:gd name="connsiteX37" fmla="*/ 508146 w 1645121"/>
                  <a:gd name="connsiteY37" fmla="*/ 507955 h 2016913"/>
                  <a:gd name="connsiteX38" fmla="*/ 508146 w 1645121"/>
                  <a:gd name="connsiteY38" fmla="*/ 149824 h 2016913"/>
                  <a:gd name="connsiteX39" fmla="*/ 508127 w 1645121"/>
                  <a:gd name="connsiteY39" fmla="*/ 149379 h 2016913"/>
                  <a:gd name="connsiteX40" fmla="*/ 508108 w 1645121"/>
                  <a:gd name="connsiteY40" fmla="*/ 148662 h 2016913"/>
                  <a:gd name="connsiteX41" fmla="*/ 508011 w 1645121"/>
                  <a:gd name="connsiteY41" fmla="*/ 145780 h 2016913"/>
                  <a:gd name="connsiteX42" fmla="*/ 507740 w 1645121"/>
                  <a:gd name="connsiteY42" fmla="*/ 139995 h 2016913"/>
                  <a:gd name="connsiteX43" fmla="*/ 507372 w 1645121"/>
                  <a:gd name="connsiteY43" fmla="*/ 134229 h 2016913"/>
                  <a:gd name="connsiteX44" fmla="*/ 506559 w 1645121"/>
                  <a:gd name="connsiteY44" fmla="*/ 128483 h 2016913"/>
                  <a:gd name="connsiteX45" fmla="*/ 505669 w 1645121"/>
                  <a:gd name="connsiteY45" fmla="*/ 122737 h 2016913"/>
                  <a:gd name="connsiteX46" fmla="*/ 504546 w 1645121"/>
                  <a:gd name="connsiteY46" fmla="*/ 117029 h 2016913"/>
                  <a:gd name="connsiteX47" fmla="*/ 501625 w 1645121"/>
                  <a:gd name="connsiteY47" fmla="*/ 105769 h 2016913"/>
                  <a:gd name="connsiteX48" fmla="*/ 493036 w 1645121"/>
                  <a:gd name="connsiteY48" fmla="*/ 84159 h 2016913"/>
                  <a:gd name="connsiteX49" fmla="*/ 466670 w 1645121"/>
                  <a:gd name="connsiteY49" fmla="*/ 46220 h 2016913"/>
                  <a:gd name="connsiteX50" fmla="*/ 430032 w 1645121"/>
                  <a:gd name="connsiteY50" fmla="*/ 18089 h 2016913"/>
                  <a:gd name="connsiteX51" fmla="*/ 386334 w 1645121"/>
                  <a:gd name="connsiteY51" fmla="*/ 2612 h 2016913"/>
                  <a:gd name="connsiteX52" fmla="*/ 374843 w 1645121"/>
                  <a:gd name="connsiteY52" fmla="*/ 891 h 2016913"/>
                  <a:gd name="connsiteX53" fmla="*/ 363313 w 1645121"/>
                  <a:gd name="connsiteY53" fmla="*/ 174 h 2016913"/>
                  <a:gd name="connsiteX54" fmla="*/ 360412 w 1645121"/>
                  <a:gd name="connsiteY54" fmla="*/ 58 h 2016913"/>
                  <a:gd name="connsiteX55" fmla="*/ 358981 w 1645121"/>
                  <a:gd name="connsiteY55" fmla="*/ 19 h 2016913"/>
                  <a:gd name="connsiteX56" fmla="*/ 358013 w 1645121"/>
                  <a:gd name="connsiteY56" fmla="*/ 0 h 2016913"/>
                  <a:gd name="connsiteX57" fmla="*/ 149375 w 1645121"/>
                  <a:gd name="connsiteY57" fmla="*/ 0 h 2016913"/>
                  <a:gd name="connsiteX58" fmla="*/ 103684 w 1645121"/>
                  <a:gd name="connsiteY58" fmla="*/ 7177 h 2016913"/>
                  <a:gd name="connsiteX59" fmla="*/ 62365 w 1645121"/>
                  <a:gd name="connsiteY59" fmla="*/ 28071 h 2016913"/>
                  <a:gd name="connsiteX60" fmla="*/ 29480 w 1645121"/>
                  <a:gd name="connsiteY60" fmla="*/ 60438 h 2016913"/>
                  <a:gd name="connsiteX61" fmla="*/ 7970 w 1645121"/>
                  <a:gd name="connsiteY61" fmla="*/ 101434 h 2016913"/>
                  <a:gd name="connsiteX62" fmla="*/ 4700 w 1645121"/>
                  <a:gd name="connsiteY62" fmla="*/ 112597 h 2016913"/>
                  <a:gd name="connsiteX63" fmla="*/ 3289 w 1645121"/>
                  <a:gd name="connsiteY63" fmla="*/ 118247 h 2016913"/>
                  <a:gd name="connsiteX64" fmla="*/ 2263 w 1645121"/>
                  <a:gd name="connsiteY64" fmla="*/ 123954 h 2016913"/>
                  <a:gd name="connsiteX65" fmla="*/ 678 w 1645121"/>
                  <a:gd name="connsiteY65" fmla="*/ 135447 h 2016913"/>
                  <a:gd name="connsiteX66" fmla="*/ 77 w 1645121"/>
                  <a:gd name="connsiteY66" fmla="*/ 146997 h 2016913"/>
                  <a:gd name="connsiteX67" fmla="*/ 0 w 1645121"/>
                  <a:gd name="connsiteY67" fmla="*/ 149706 h 2016913"/>
                  <a:gd name="connsiteX68" fmla="*/ 0 w 1645121"/>
                  <a:gd name="connsiteY68" fmla="*/ 1012250 h 2016913"/>
                  <a:gd name="connsiteX69" fmla="*/ 19 w 1645121"/>
                  <a:gd name="connsiteY69" fmla="*/ 1012986 h 2016913"/>
                  <a:gd name="connsiteX70" fmla="*/ 136 w 1645121"/>
                  <a:gd name="connsiteY70" fmla="*/ 1015869 h 2016913"/>
                  <a:gd name="connsiteX71" fmla="*/ 407 w 1645121"/>
                  <a:gd name="connsiteY71" fmla="*/ 1021634 h 2016913"/>
                  <a:gd name="connsiteX72" fmla="*/ 774 w 1645121"/>
                  <a:gd name="connsiteY72" fmla="*/ 1027400 h 2016913"/>
                  <a:gd name="connsiteX73" fmla="*/ 1568 w 1645121"/>
                  <a:gd name="connsiteY73" fmla="*/ 1033146 h 2016913"/>
                  <a:gd name="connsiteX74" fmla="*/ 2458 w 1645121"/>
                  <a:gd name="connsiteY74" fmla="*/ 1038892 h 2016913"/>
                  <a:gd name="connsiteX75" fmla="*/ 3581 w 1645121"/>
                  <a:gd name="connsiteY75" fmla="*/ 1044600 h 2016913"/>
                  <a:gd name="connsiteX76" fmla="*/ 6522 w 1645121"/>
                  <a:gd name="connsiteY76" fmla="*/ 1055860 h 2016913"/>
                  <a:gd name="connsiteX77" fmla="*/ 15091 w 1645121"/>
                  <a:gd name="connsiteY77" fmla="*/ 1077471 h 2016913"/>
                  <a:gd name="connsiteX78" fmla="*/ 41457 w 1645121"/>
                  <a:gd name="connsiteY78" fmla="*/ 1115429 h 2016913"/>
                  <a:gd name="connsiteX79" fmla="*/ 78115 w 1645121"/>
                  <a:gd name="connsiteY79" fmla="*/ 1143541 h 2016913"/>
                  <a:gd name="connsiteX80" fmla="*/ 121813 w 1645121"/>
                  <a:gd name="connsiteY80" fmla="*/ 1159017 h 2016913"/>
                  <a:gd name="connsiteX81" fmla="*/ 133304 w 1645121"/>
                  <a:gd name="connsiteY81" fmla="*/ 1160739 h 2016913"/>
                  <a:gd name="connsiteX82" fmla="*/ 144833 w 1645121"/>
                  <a:gd name="connsiteY82" fmla="*/ 1161455 h 2016913"/>
                  <a:gd name="connsiteX83" fmla="*/ 147716 w 1645121"/>
                  <a:gd name="connsiteY83" fmla="*/ 1161571 h 2016913"/>
                  <a:gd name="connsiteX84" fmla="*/ 149165 w 1645121"/>
                  <a:gd name="connsiteY84" fmla="*/ 1161629 h 2016913"/>
                  <a:gd name="connsiteX85" fmla="*/ 358778 w 1645121"/>
                  <a:gd name="connsiteY85" fmla="*/ 1161629 h 2016913"/>
                  <a:gd name="connsiteX86" fmla="*/ 404449 w 1645121"/>
                  <a:gd name="connsiteY86" fmla="*/ 1154452 h 2016913"/>
                  <a:gd name="connsiteX87" fmla="*/ 445768 w 1645121"/>
                  <a:gd name="connsiteY87" fmla="*/ 1133578 h 2016913"/>
                  <a:gd name="connsiteX88" fmla="*/ 478653 w 1645121"/>
                  <a:gd name="connsiteY88" fmla="*/ 1101191 h 2016913"/>
                  <a:gd name="connsiteX89" fmla="*/ 500163 w 1645121"/>
                  <a:gd name="connsiteY89" fmla="*/ 1060214 h 2016913"/>
                  <a:gd name="connsiteX90" fmla="*/ 503452 w 1645121"/>
                  <a:gd name="connsiteY90" fmla="*/ 1049051 h 2016913"/>
                  <a:gd name="connsiteX91" fmla="*/ 504844 w 1645121"/>
                  <a:gd name="connsiteY91" fmla="*/ 1043402 h 2016913"/>
                  <a:gd name="connsiteX92" fmla="*/ 505870 w 1645121"/>
                  <a:gd name="connsiteY92" fmla="*/ 1037675 h 2016913"/>
                  <a:gd name="connsiteX93" fmla="*/ 507455 w 1645121"/>
                  <a:gd name="connsiteY93" fmla="*/ 1026182 h 2016913"/>
                  <a:gd name="connsiteX94" fmla="*/ 508055 w 1645121"/>
                  <a:gd name="connsiteY94" fmla="*/ 1014632 h 2016913"/>
                  <a:gd name="connsiteX95" fmla="*/ 508152 w 1645121"/>
                  <a:gd name="connsiteY95" fmla="*/ 1011943 h 2016913"/>
                  <a:gd name="connsiteX96" fmla="*/ 508152 w 1645121"/>
                  <a:gd name="connsiteY96" fmla="*/ 674880 h 2016913"/>
                  <a:gd name="connsiteX97" fmla="*/ 547962 w 1645121"/>
                  <a:gd name="connsiteY97" fmla="*/ 715586 h 2016913"/>
                  <a:gd name="connsiteX98" fmla="*/ 715482 w 1645121"/>
                  <a:gd name="connsiteY98" fmla="*/ 886827 h 2016913"/>
                  <a:gd name="connsiteX99" fmla="*/ 715482 w 1645121"/>
                  <a:gd name="connsiteY99" fmla="*/ 1911228 h 2016913"/>
                  <a:gd name="connsiteX100" fmla="*/ 821139 w 1645121"/>
                  <a:gd name="connsiteY100" fmla="*/ 2016913 h 2016913"/>
                  <a:gd name="connsiteX101" fmla="*/ 823963 w 1645121"/>
                  <a:gd name="connsiteY101" fmla="*/ 2016913 h 2016913"/>
                  <a:gd name="connsiteX102" fmla="*/ 929640 w 1645121"/>
                  <a:gd name="connsiteY102" fmla="*/ 1911228 h 2016913"/>
                  <a:gd name="connsiteX103" fmla="*/ 929640 w 1645121"/>
                  <a:gd name="connsiteY103" fmla="*/ 886827 h 2016913"/>
                  <a:gd name="connsiteX104" fmla="*/ 1097160 w 1645121"/>
                  <a:gd name="connsiteY104" fmla="*/ 715586 h 2016913"/>
                  <a:gd name="connsiteX105" fmla="*/ 1136970 w 1645121"/>
                  <a:gd name="connsiteY105" fmla="*/ 674880 h 2016913"/>
                  <a:gd name="connsiteX106" fmla="*/ 1136970 w 1645121"/>
                  <a:gd name="connsiteY106" fmla="*/ 1012252 h 2016913"/>
                  <a:gd name="connsiteX107" fmla="*/ 1136989 w 1645121"/>
                  <a:gd name="connsiteY107" fmla="*/ 1012988 h 2016913"/>
                  <a:gd name="connsiteX108" fmla="*/ 1137105 w 1645121"/>
                  <a:gd name="connsiteY108" fmla="*/ 1015871 h 2016913"/>
                  <a:gd name="connsiteX109" fmla="*/ 1137376 w 1645121"/>
                  <a:gd name="connsiteY109" fmla="*/ 1021636 h 2016913"/>
                  <a:gd name="connsiteX110" fmla="*/ 1137744 w 1645121"/>
                  <a:gd name="connsiteY110" fmla="*/ 1027402 h 2016913"/>
                  <a:gd name="connsiteX111" fmla="*/ 1138537 w 1645121"/>
                  <a:gd name="connsiteY111" fmla="*/ 1033148 h 2016913"/>
                  <a:gd name="connsiteX112" fmla="*/ 1139447 w 1645121"/>
                  <a:gd name="connsiteY112" fmla="*/ 1038894 h 2016913"/>
                  <a:gd name="connsiteX113" fmla="*/ 1140570 w 1645121"/>
                  <a:gd name="connsiteY113" fmla="*/ 1044602 h 2016913"/>
                  <a:gd name="connsiteX114" fmla="*/ 1143491 w 1645121"/>
                  <a:gd name="connsiteY114" fmla="*/ 1055862 h 2016913"/>
                  <a:gd name="connsiteX115" fmla="*/ 1152061 w 1645121"/>
                  <a:gd name="connsiteY115" fmla="*/ 1077472 h 2016913"/>
                  <a:gd name="connsiteX116" fmla="*/ 1178426 w 1645121"/>
                  <a:gd name="connsiteY116" fmla="*/ 1115431 h 2016913"/>
                  <a:gd name="connsiteX117" fmla="*/ 1215084 w 1645121"/>
                  <a:gd name="connsiteY117" fmla="*/ 1143543 h 2016913"/>
                  <a:gd name="connsiteX118" fmla="*/ 1258782 w 1645121"/>
                  <a:gd name="connsiteY118" fmla="*/ 1159019 h 2016913"/>
                  <a:gd name="connsiteX119" fmla="*/ 1270273 w 1645121"/>
                  <a:gd name="connsiteY119" fmla="*/ 1160741 h 2016913"/>
                  <a:gd name="connsiteX120" fmla="*/ 1281803 w 1645121"/>
                  <a:gd name="connsiteY120" fmla="*/ 1161457 h 2016913"/>
                  <a:gd name="connsiteX121" fmla="*/ 1284685 w 1645121"/>
                  <a:gd name="connsiteY121" fmla="*/ 1161573 h 2016913"/>
                  <a:gd name="connsiteX122" fmla="*/ 1286135 w 1645121"/>
                  <a:gd name="connsiteY122" fmla="*/ 1161631 h 2016913"/>
                  <a:gd name="connsiteX123" fmla="*/ 1495747 w 1645121"/>
                  <a:gd name="connsiteY123" fmla="*/ 1161631 h 2016913"/>
                  <a:gd name="connsiteX124" fmla="*/ 1541418 w 1645121"/>
                  <a:gd name="connsiteY124" fmla="*/ 1154454 h 2016913"/>
                  <a:gd name="connsiteX125" fmla="*/ 1582737 w 1645121"/>
                  <a:gd name="connsiteY125" fmla="*/ 1133580 h 2016913"/>
                  <a:gd name="connsiteX126" fmla="*/ 1615622 w 1645121"/>
                  <a:gd name="connsiteY126" fmla="*/ 1101193 h 2016913"/>
                  <a:gd name="connsiteX127" fmla="*/ 1637133 w 1645121"/>
                  <a:gd name="connsiteY127" fmla="*/ 1060216 h 2016913"/>
                  <a:gd name="connsiteX128" fmla="*/ 1640422 w 1645121"/>
                  <a:gd name="connsiteY128" fmla="*/ 1049053 h 2016913"/>
                  <a:gd name="connsiteX129" fmla="*/ 1641814 w 1645121"/>
                  <a:gd name="connsiteY129" fmla="*/ 1043404 h 2016913"/>
                  <a:gd name="connsiteX130" fmla="*/ 1642839 w 1645121"/>
                  <a:gd name="connsiteY130" fmla="*/ 1037677 h 2016913"/>
                  <a:gd name="connsiteX131" fmla="*/ 1644425 w 1645121"/>
                  <a:gd name="connsiteY131" fmla="*/ 1026184 h 2016913"/>
                  <a:gd name="connsiteX132" fmla="*/ 1645025 w 1645121"/>
                  <a:gd name="connsiteY132" fmla="*/ 1014634 h 2016913"/>
                  <a:gd name="connsiteX133" fmla="*/ 1645122 w 1645121"/>
                  <a:gd name="connsiteY133" fmla="*/ 1011945 h 2016913"/>
                  <a:gd name="connsiteX134" fmla="*/ 1645122 w 1645121"/>
                  <a:gd name="connsiteY134" fmla="*/ 149379 h 2016913"/>
                  <a:gd name="connsiteX135" fmla="*/ 1645083 w 1645121"/>
                  <a:gd name="connsiteY135" fmla="*/ 148662 h 2016913"/>
                  <a:gd name="connsiteX136" fmla="*/ 468806 w 1645121"/>
                  <a:gd name="connsiteY136" fmla="*/ 1011945 h 2016913"/>
                  <a:gd name="connsiteX137" fmla="*/ 468728 w 1645121"/>
                  <a:gd name="connsiteY137" fmla="*/ 1014014 h 2016913"/>
                  <a:gd name="connsiteX138" fmla="*/ 468283 w 1645121"/>
                  <a:gd name="connsiteY138" fmla="*/ 1022527 h 2016913"/>
                  <a:gd name="connsiteX139" fmla="*/ 467102 w 1645121"/>
                  <a:gd name="connsiteY139" fmla="*/ 1031001 h 2016913"/>
                  <a:gd name="connsiteX140" fmla="*/ 466366 w 1645121"/>
                  <a:gd name="connsiteY140" fmla="*/ 1035218 h 2016913"/>
                  <a:gd name="connsiteX141" fmla="*/ 465302 w 1645121"/>
                  <a:gd name="connsiteY141" fmla="*/ 1039359 h 2016913"/>
                  <a:gd name="connsiteX142" fmla="*/ 462903 w 1645121"/>
                  <a:gd name="connsiteY142" fmla="*/ 1047562 h 2016913"/>
                  <a:gd name="connsiteX143" fmla="*/ 447061 w 1645121"/>
                  <a:gd name="connsiteY143" fmla="*/ 1077724 h 2016913"/>
                  <a:gd name="connsiteX144" fmla="*/ 422823 w 1645121"/>
                  <a:gd name="connsiteY144" fmla="*/ 1101598 h 2016913"/>
                  <a:gd name="connsiteX145" fmla="*/ 392414 w 1645121"/>
                  <a:gd name="connsiteY145" fmla="*/ 1116997 h 2016913"/>
                  <a:gd name="connsiteX146" fmla="*/ 358774 w 1645121"/>
                  <a:gd name="connsiteY146" fmla="*/ 1122279 h 2016913"/>
                  <a:gd name="connsiteX147" fmla="*/ 150130 w 1645121"/>
                  <a:gd name="connsiteY147" fmla="*/ 1122279 h 2016913"/>
                  <a:gd name="connsiteX148" fmla="*/ 148157 w 1645121"/>
                  <a:gd name="connsiteY148" fmla="*/ 1122221 h 2016913"/>
                  <a:gd name="connsiteX149" fmla="*/ 146010 w 1645121"/>
                  <a:gd name="connsiteY149" fmla="*/ 1122124 h 2016913"/>
                  <a:gd name="connsiteX150" fmla="*/ 137499 w 1645121"/>
                  <a:gd name="connsiteY150" fmla="*/ 1121620 h 2016913"/>
                  <a:gd name="connsiteX151" fmla="*/ 129045 w 1645121"/>
                  <a:gd name="connsiteY151" fmla="*/ 1120343 h 2016913"/>
                  <a:gd name="connsiteX152" fmla="*/ 96896 w 1645121"/>
                  <a:gd name="connsiteY152" fmla="*/ 1108966 h 2016913"/>
                  <a:gd name="connsiteX153" fmla="*/ 69891 w 1645121"/>
                  <a:gd name="connsiteY153" fmla="*/ 1088227 h 2016913"/>
                  <a:gd name="connsiteX154" fmla="*/ 50470 w 1645121"/>
                  <a:gd name="connsiteY154" fmla="*/ 1060271 h 2016913"/>
                  <a:gd name="connsiteX155" fmla="*/ 44144 w 1645121"/>
                  <a:gd name="connsiteY155" fmla="*/ 1044387 h 2016913"/>
                  <a:gd name="connsiteX156" fmla="*/ 41997 w 1645121"/>
                  <a:gd name="connsiteY156" fmla="*/ 1036087 h 2016913"/>
                  <a:gd name="connsiteX157" fmla="*/ 41184 w 1645121"/>
                  <a:gd name="connsiteY157" fmla="*/ 1031888 h 2016913"/>
                  <a:gd name="connsiteX158" fmla="*/ 40526 w 1645121"/>
                  <a:gd name="connsiteY158" fmla="*/ 1027671 h 2016913"/>
                  <a:gd name="connsiteX159" fmla="*/ 39906 w 1645121"/>
                  <a:gd name="connsiteY159" fmla="*/ 1023435 h 2016913"/>
                  <a:gd name="connsiteX160" fmla="*/ 39674 w 1645121"/>
                  <a:gd name="connsiteY160" fmla="*/ 1019180 h 2016913"/>
                  <a:gd name="connsiteX161" fmla="*/ 39461 w 1645121"/>
                  <a:gd name="connsiteY161" fmla="*/ 1014924 h 2016913"/>
                  <a:gd name="connsiteX162" fmla="*/ 39345 w 1645121"/>
                  <a:gd name="connsiteY162" fmla="*/ 1010918 h 2016913"/>
                  <a:gd name="connsiteX163" fmla="*/ 39345 w 1645121"/>
                  <a:gd name="connsiteY163" fmla="*/ 149708 h 2016913"/>
                  <a:gd name="connsiteX164" fmla="*/ 39422 w 1645121"/>
                  <a:gd name="connsiteY164" fmla="*/ 147638 h 2016913"/>
                  <a:gd name="connsiteX165" fmla="*/ 39848 w 1645121"/>
                  <a:gd name="connsiteY165" fmla="*/ 139106 h 2016913"/>
                  <a:gd name="connsiteX166" fmla="*/ 41048 w 1645121"/>
                  <a:gd name="connsiteY166" fmla="*/ 130632 h 2016913"/>
                  <a:gd name="connsiteX167" fmla="*/ 41784 w 1645121"/>
                  <a:gd name="connsiteY167" fmla="*/ 126434 h 2016913"/>
                  <a:gd name="connsiteX168" fmla="*/ 42829 w 1645121"/>
                  <a:gd name="connsiteY168" fmla="*/ 122274 h 2016913"/>
                  <a:gd name="connsiteX169" fmla="*/ 45228 w 1645121"/>
                  <a:gd name="connsiteY169" fmla="*/ 114071 h 2016913"/>
                  <a:gd name="connsiteX170" fmla="*/ 61070 w 1645121"/>
                  <a:gd name="connsiteY170" fmla="*/ 83909 h 2016913"/>
                  <a:gd name="connsiteX171" fmla="*/ 85308 w 1645121"/>
                  <a:gd name="connsiteY171" fmla="*/ 60035 h 2016913"/>
                  <a:gd name="connsiteX172" fmla="*/ 115717 w 1645121"/>
                  <a:gd name="connsiteY172" fmla="*/ 44636 h 2016913"/>
                  <a:gd name="connsiteX173" fmla="*/ 149376 w 1645121"/>
                  <a:gd name="connsiteY173" fmla="*/ 39354 h 2016913"/>
                  <a:gd name="connsiteX174" fmla="*/ 358023 w 1645121"/>
                  <a:gd name="connsiteY174" fmla="*/ 39354 h 2016913"/>
                  <a:gd name="connsiteX175" fmla="*/ 359995 w 1645121"/>
                  <a:gd name="connsiteY175" fmla="*/ 39412 h 2016913"/>
                  <a:gd name="connsiteX176" fmla="*/ 362123 w 1645121"/>
                  <a:gd name="connsiteY176" fmla="*/ 39509 h 2016913"/>
                  <a:gd name="connsiteX177" fmla="*/ 370634 w 1645121"/>
                  <a:gd name="connsiteY177" fmla="*/ 40013 h 2016913"/>
                  <a:gd name="connsiteX178" fmla="*/ 379107 w 1645121"/>
                  <a:gd name="connsiteY178" fmla="*/ 41310 h 2016913"/>
                  <a:gd name="connsiteX179" fmla="*/ 411257 w 1645121"/>
                  <a:gd name="connsiteY179" fmla="*/ 52667 h 2016913"/>
                  <a:gd name="connsiteX180" fmla="*/ 438242 w 1645121"/>
                  <a:gd name="connsiteY180" fmla="*/ 73406 h 2016913"/>
                  <a:gd name="connsiteX181" fmla="*/ 457663 w 1645121"/>
                  <a:gd name="connsiteY181" fmla="*/ 101362 h 2016913"/>
                  <a:gd name="connsiteX182" fmla="*/ 464009 w 1645121"/>
                  <a:gd name="connsiteY182" fmla="*/ 117265 h 2016913"/>
                  <a:gd name="connsiteX183" fmla="*/ 466136 w 1645121"/>
                  <a:gd name="connsiteY183" fmla="*/ 125546 h 2016913"/>
                  <a:gd name="connsiteX184" fmla="*/ 466969 w 1645121"/>
                  <a:gd name="connsiteY184" fmla="*/ 129743 h 2016913"/>
                  <a:gd name="connsiteX185" fmla="*/ 467607 w 1645121"/>
                  <a:gd name="connsiteY185" fmla="*/ 133960 h 2016913"/>
                  <a:gd name="connsiteX186" fmla="*/ 468227 w 1645121"/>
                  <a:gd name="connsiteY186" fmla="*/ 138196 h 2016913"/>
                  <a:gd name="connsiteX187" fmla="*/ 468478 w 1645121"/>
                  <a:gd name="connsiteY187" fmla="*/ 142452 h 2016913"/>
                  <a:gd name="connsiteX188" fmla="*/ 468691 w 1645121"/>
                  <a:gd name="connsiteY188" fmla="*/ 146726 h 2016913"/>
                  <a:gd name="connsiteX189" fmla="*/ 468807 w 1645121"/>
                  <a:gd name="connsiteY189" fmla="*/ 150713 h 2016913"/>
                  <a:gd name="connsiteX190" fmla="*/ 468807 w 1645121"/>
                  <a:gd name="connsiteY190" fmla="*/ 1011943 h 2016913"/>
                  <a:gd name="connsiteX191" fmla="*/ 715482 w 1645121"/>
                  <a:gd name="connsiteY191" fmla="*/ 830567 h 2016913"/>
                  <a:gd name="connsiteX192" fmla="*/ 576089 w 1645121"/>
                  <a:gd name="connsiteY192" fmla="*/ 688057 h 2016913"/>
                  <a:gd name="connsiteX193" fmla="*/ 508152 w 1645121"/>
                  <a:gd name="connsiteY193" fmla="*/ 618601 h 2016913"/>
                  <a:gd name="connsiteX194" fmla="*/ 508152 w 1645121"/>
                  <a:gd name="connsiteY194" fmla="*/ 564217 h 2016913"/>
                  <a:gd name="connsiteX195" fmla="*/ 603267 w 1645121"/>
                  <a:gd name="connsiteY195" fmla="*/ 661455 h 2016913"/>
                  <a:gd name="connsiteX196" fmla="*/ 715482 w 1645121"/>
                  <a:gd name="connsiteY196" fmla="*/ 776183 h 2016913"/>
                  <a:gd name="connsiteX197" fmla="*/ 715482 w 1645121"/>
                  <a:gd name="connsiteY197" fmla="*/ 830567 h 2016913"/>
                  <a:gd name="connsiteX198" fmla="*/ 890953 w 1645121"/>
                  <a:gd name="connsiteY198" fmla="*/ 1911228 h 2016913"/>
                  <a:gd name="connsiteX199" fmla="*/ 823963 w 1645121"/>
                  <a:gd name="connsiteY199" fmla="*/ 1978231 h 2016913"/>
                  <a:gd name="connsiteX200" fmla="*/ 821139 w 1645121"/>
                  <a:gd name="connsiteY200" fmla="*/ 1978231 h 2016913"/>
                  <a:gd name="connsiteX201" fmla="*/ 754169 w 1645121"/>
                  <a:gd name="connsiteY201" fmla="*/ 1911228 h 2016913"/>
                  <a:gd name="connsiteX202" fmla="*/ 754169 w 1645121"/>
                  <a:gd name="connsiteY202" fmla="*/ 125466 h 2016913"/>
                  <a:gd name="connsiteX203" fmla="*/ 821139 w 1645121"/>
                  <a:gd name="connsiteY203" fmla="*/ 58467 h 2016913"/>
                  <a:gd name="connsiteX204" fmla="*/ 823963 w 1645121"/>
                  <a:gd name="connsiteY204" fmla="*/ 58467 h 2016913"/>
                  <a:gd name="connsiteX205" fmla="*/ 890953 w 1645121"/>
                  <a:gd name="connsiteY205" fmla="*/ 125466 h 2016913"/>
                  <a:gd name="connsiteX206" fmla="*/ 890953 w 1645121"/>
                  <a:gd name="connsiteY206" fmla="*/ 1911228 h 2016913"/>
                  <a:gd name="connsiteX207" fmla="*/ 1136971 w 1645121"/>
                  <a:gd name="connsiteY207" fmla="*/ 618601 h 2016913"/>
                  <a:gd name="connsiteX208" fmla="*/ 1069035 w 1645121"/>
                  <a:gd name="connsiteY208" fmla="*/ 688057 h 2016913"/>
                  <a:gd name="connsiteX209" fmla="*/ 929642 w 1645121"/>
                  <a:gd name="connsiteY209" fmla="*/ 830567 h 2016913"/>
                  <a:gd name="connsiteX210" fmla="*/ 929642 w 1645121"/>
                  <a:gd name="connsiteY210" fmla="*/ 776163 h 2016913"/>
                  <a:gd name="connsiteX211" fmla="*/ 1041857 w 1645121"/>
                  <a:gd name="connsiteY211" fmla="*/ 661455 h 2016913"/>
                  <a:gd name="connsiteX212" fmla="*/ 1136971 w 1645121"/>
                  <a:gd name="connsiteY212" fmla="*/ 564217 h 2016913"/>
                  <a:gd name="connsiteX213" fmla="*/ 1136971 w 1645121"/>
                  <a:gd name="connsiteY213" fmla="*/ 618601 h 2016913"/>
                  <a:gd name="connsiteX214" fmla="*/ 1605777 w 1645121"/>
                  <a:gd name="connsiteY214" fmla="*/ 1011943 h 2016913"/>
                  <a:gd name="connsiteX215" fmla="*/ 1605700 w 1645121"/>
                  <a:gd name="connsiteY215" fmla="*/ 1014012 h 2016913"/>
                  <a:gd name="connsiteX216" fmla="*/ 1605254 w 1645121"/>
                  <a:gd name="connsiteY216" fmla="*/ 1022525 h 2016913"/>
                  <a:gd name="connsiteX217" fmla="*/ 1604073 w 1645121"/>
                  <a:gd name="connsiteY217" fmla="*/ 1030999 h 2016913"/>
                  <a:gd name="connsiteX218" fmla="*/ 1603338 w 1645121"/>
                  <a:gd name="connsiteY218" fmla="*/ 1035216 h 2016913"/>
                  <a:gd name="connsiteX219" fmla="*/ 1602293 w 1645121"/>
                  <a:gd name="connsiteY219" fmla="*/ 1039357 h 2016913"/>
                  <a:gd name="connsiteX220" fmla="*/ 1599875 w 1645121"/>
                  <a:gd name="connsiteY220" fmla="*/ 1047560 h 2016913"/>
                  <a:gd name="connsiteX221" fmla="*/ 1584032 w 1645121"/>
                  <a:gd name="connsiteY221" fmla="*/ 1077722 h 2016913"/>
                  <a:gd name="connsiteX222" fmla="*/ 1559794 w 1645121"/>
                  <a:gd name="connsiteY222" fmla="*/ 1101596 h 2016913"/>
                  <a:gd name="connsiteX223" fmla="*/ 1529405 w 1645121"/>
                  <a:gd name="connsiteY223" fmla="*/ 1116995 h 2016913"/>
                  <a:gd name="connsiteX224" fmla="*/ 1495745 w 1645121"/>
                  <a:gd name="connsiteY224" fmla="*/ 1122277 h 2016913"/>
                  <a:gd name="connsiteX225" fmla="*/ 1287099 w 1645121"/>
                  <a:gd name="connsiteY225" fmla="*/ 1122277 h 2016913"/>
                  <a:gd name="connsiteX226" fmla="*/ 1285126 w 1645121"/>
                  <a:gd name="connsiteY226" fmla="*/ 1122219 h 2016913"/>
                  <a:gd name="connsiteX227" fmla="*/ 1282999 w 1645121"/>
                  <a:gd name="connsiteY227" fmla="*/ 1122122 h 2016913"/>
                  <a:gd name="connsiteX228" fmla="*/ 1274468 w 1645121"/>
                  <a:gd name="connsiteY228" fmla="*/ 1121618 h 2016913"/>
                  <a:gd name="connsiteX229" fmla="*/ 1266015 w 1645121"/>
                  <a:gd name="connsiteY229" fmla="*/ 1120341 h 2016913"/>
                  <a:gd name="connsiteX230" fmla="*/ 1233865 w 1645121"/>
                  <a:gd name="connsiteY230" fmla="*/ 1108964 h 2016913"/>
                  <a:gd name="connsiteX231" fmla="*/ 1206861 w 1645121"/>
                  <a:gd name="connsiteY231" fmla="*/ 1088225 h 2016913"/>
                  <a:gd name="connsiteX232" fmla="*/ 1187439 w 1645121"/>
                  <a:gd name="connsiteY232" fmla="*/ 1060269 h 2016913"/>
                  <a:gd name="connsiteX233" fmla="*/ 1181113 w 1645121"/>
                  <a:gd name="connsiteY233" fmla="*/ 1044385 h 2016913"/>
                  <a:gd name="connsiteX234" fmla="*/ 1178966 w 1645121"/>
                  <a:gd name="connsiteY234" fmla="*/ 1036085 h 2016913"/>
                  <a:gd name="connsiteX235" fmla="*/ 1178153 w 1645121"/>
                  <a:gd name="connsiteY235" fmla="*/ 1031886 h 2016913"/>
                  <a:gd name="connsiteX236" fmla="*/ 1177495 w 1645121"/>
                  <a:gd name="connsiteY236" fmla="*/ 1027669 h 2016913"/>
                  <a:gd name="connsiteX237" fmla="*/ 1176876 w 1645121"/>
                  <a:gd name="connsiteY237" fmla="*/ 1023433 h 2016913"/>
                  <a:gd name="connsiteX238" fmla="*/ 1176643 w 1645121"/>
                  <a:gd name="connsiteY238" fmla="*/ 1019178 h 2016913"/>
                  <a:gd name="connsiteX239" fmla="*/ 1176430 w 1645121"/>
                  <a:gd name="connsiteY239" fmla="*/ 1014922 h 2016913"/>
                  <a:gd name="connsiteX240" fmla="*/ 1176314 w 1645121"/>
                  <a:gd name="connsiteY240" fmla="*/ 1010916 h 2016913"/>
                  <a:gd name="connsiteX241" fmla="*/ 1176314 w 1645121"/>
                  <a:gd name="connsiteY241" fmla="*/ 149708 h 2016913"/>
                  <a:gd name="connsiteX242" fmla="*/ 1176392 w 1645121"/>
                  <a:gd name="connsiteY242" fmla="*/ 147638 h 2016913"/>
                  <a:gd name="connsiteX243" fmla="*/ 1176837 w 1645121"/>
                  <a:gd name="connsiteY243" fmla="*/ 139106 h 2016913"/>
                  <a:gd name="connsiteX244" fmla="*/ 1178018 w 1645121"/>
                  <a:gd name="connsiteY244" fmla="*/ 130632 h 2016913"/>
                  <a:gd name="connsiteX245" fmla="*/ 1178753 w 1645121"/>
                  <a:gd name="connsiteY245" fmla="*/ 126434 h 2016913"/>
                  <a:gd name="connsiteX246" fmla="*/ 1179799 w 1645121"/>
                  <a:gd name="connsiteY246" fmla="*/ 122274 h 2016913"/>
                  <a:gd name="connsiteX247" fmla="*/ 1182197 w 1645121"/>
                  <a:gd name="connsiteY247" fmla="*/ 114071 h 2016913"/>
                  <a:gd name="connsiteX248" fmla="*/ 1198040 w 1645121"/>
                  <a:gd name="connsiteY248" fmla="*/ 83909 h 2016913"/>
                  <a:gd name="connsiteX249" fmla="*/ 1222278 w 1645121"/>
                  <a:gd name="connsiteY249" fmla="*/ 60035 h 2016913"/>
                  <a:gd name="connsiteX250" fmla="*/ 1252687 w 1645121"/>
                  <a:gd name="connsiteY250" fmla="*/ 44636 h 2016913"/>
                  <a:gd name="connsiteX251" fmla="*/ 1286346 w 1645121"/>
                  <a:gd name="connsiteY251" fmla="*/ 39354 h 2016913"/>
                  <a:gd name="connsiteX252" fmla="*/ 1494992 w 1645121"/>
                  <a:gd name="connsiteY252" fmla="*/ 39354 h 2016913"/>
                  <a:gd name="connsiteX253" fmla="*/ 1496965 w 1645121"/>
                  <a:gd name="connsiteY253" fmla="*/ 39412 h 2016913"/>
                  <a:gd name="connsiteX254" fmla="*/ 1499092 w 1645121"/>
                  <a:gd name="connsiteY254" fmla="*/ 39509 h 2016913"/>
                  <a:gd name="connsiteX255" fmla="*/ 1507623 w 1645121"/>
                  <a:gd name="connsiteY255" fmla="*/ 40013 h 2016913"/>
                  <a:gd name="connsiteX256" fmla="*/ 1516077 w 1645121"/>
                  <a:gd name="connsiteY256" fmla="*/ 41310 h 2016913"/>
                  <a:gd name="connsiteX257" fmla="*/ 1548226 w 1645121"/>
                  <a:gd name="connsiteY257" fmla="*/ 52667 h 2016913"/>
                  <a:gd name="connsiteX258" fmla="*/ 1575211 w 1645121"/>
                  <a:gd name="connsiteY258" fmla="*/ 73406 h 2016913"/>
                  <a:gd name="connsiteX259" fmla="*/ 1594633 w 1645121"/>
                  <a:gd name="connsiteY259" fmla="*/ 101362 h 2016913"/>
                  <a:gd name="connsiteX260" fmla="*/ 1600978 w 1645121"/>
                  <a:gd name="connsiteY260" fmla="*/ 117265 h 2016913"/>
                  <a:gd name="connsiteX261" fmla="*/ 1603106 w 1645121"/>
                  <a:gd name="connsiteY261" fmla="*/ 125546 h 2016913"/>
                  <a:gd name="connsiteX262" fmla="*/ 1603938 w 1645121"/>
                  <a:gd name="connsiteY262" fmla="*/ 129743 h 2016913"/>
                  <a:gd name="connsiteX263" fmla="*/ 1604577 w 1645121"/>
                  <a:gd name="connsiteY263" fmla="*/ 133960 h 2016913"/>
                  <a:gd name="connsiteX264" fmla="*/ 1605216 w 1645121"/>
                  <a:gd name="connsiteY264" fmla="*/ 138196 h 2016913"/>
                  <a:gd name="connsiteX265" fmla="*/ 1605448 w 1645121"/>
                  <a:gd name="connsiteY265" fmla="*/ 142452 h 2016913"/>
                  <a:gd name="connsiteX266" fmla="*/ 1605661 w 1645121"/>
                  <a:gd name="connsiteY266" fmla="*/ 146726 h 2016913"/>
                  <a:gd name="connsiteX267" fmla="*/ 1605777 w 1645121"/>
                  <a:gd name="connsiteY267" fmla="*/ 150713 h 2016913"/>
                  <a:gd name="connsiteX268" fmla="*/ 1605777 w 1645121"/>
                  <a:gd name="connsiteY268" fmla="*/ 1011943 h 2016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</a:cxnLst>
                <a:rect l="l" t="t" r="r" b="b"/>
                <a:pathLst>
                  <a:path w="1645121" h="2016913">
                    <a:moveTo>
                      <a:pt x="1645083" y="148664"/>
                    </a:moveTo>
                    <a:lnTo>
                      <a:pt x="1644986" y="145782"/>
                    </a:lnTo>
                    <a:lnTo>
                      <a:pt x="1644715" y="139997"/>
                    </a:lnTo>
                    <a:lnTo>
                      <a:pt x="1644347" y="134231"/>
                    </a:lnTo>
                    <a:lnTo>
                      <a:pt x="1643554" y="128485"/>
                    </a:lnTo>
                    <a:lnTo>
                      <a:pt x="1642644" y="122739"/>
                    </a:lnTo>
                    <a:cubicBezTo>
                      <a:pt x="1642354" y="120824"/>
                      <a:pt x="1642025" y="118926"/>
                      <a:pt x="1641521" y="117031"/>
                    </a:cubicBezTo>
                    <a:cubicBezTo>
                      <a:pt x="1640611" y="113277"/>
                      <a:pt x="1639626" y="109506"/>
                      <a:pt x="1638600" y="105771"/>
                    </a:cubicBezTo>
                    <a:cubicBezTo>
                      <a:pt x="1636144" y="98420"/>
                      <a:pt x="1633571" y="91067"/>
                      <a:pt x="1630011" y="84161"/>
                    </a:cubicBezTo>
                    <a:cubicBezTo>
                      <a:pt x="1623220" y="70250"/>
                      <a:pt x="1614440" y="57269"/>
                      <a:pt x="1603646" y="46222"/>
                    </a:cubicBezTo>
                    <a:cubicBezTo>
                      <a:pt x="1592949" y="35097"/>
                      <a:pt x="1580567" y="25579"/>
                      <a:pt x="1567007" y="18091"/>
                    </a:cubicBezTo>
                    <a:cubicBezTo>
                      <a:pt x="1553331" y="10778"/>
                      <a:pt x="1538532" y="5555"/>
                      <a:pt x="1523309" y="2614"/>
                    </a:cubicBezTo>
                    <a:cubicBezTo>
                      <a:pt x="1519478" y="1994"/>
                      <a:pt x="1515649" y="1413"/>
                      <a:pt x="1511818" y="893"/>
                    </a:cubicBezTo>
                    <a:cubicBezTo>
                      <a:pt x="1507987" y="505"/>
                      <a:pt x="1504139" y="370"/>
                      <a:pt x="1500289" y="176"/>
                    </a:cubicBezTo>
                    <a:lnTo>
                      <a:pt x="1497387" y="60"/>
                    </a:lnTo>
                    <a:lnTo>
                      <a:pt x="1495954" y="21"/>
                    </a:lnTo>
                    <a:lnTo>
                      <a:pt x="1494986" y="2"/>
                    </a:lnTo>
                    <a:lnTo>
                      <a:pt x="1286340" y="2"/>
                    </a:lnTo>
                    <a:cubicBezTo>
                      <a:pt x="1270962" y="157"/>
                      <a:pt x="1255486" y="2517"/>
                      <a:pt x="1240650" y="7179"/>
                    </a:cubicBezTo>
                    <a:cubicBezTo>
                      <a:pt x="1225851" y="11918"/>
                      <a:pt x="1211925" y="19117"/>
                      <a:pt x="1199331" y="28073"/>
                    </a:cubicBezTo>
                    <a:cubicBezTo>
                      <a:pt x="1186700" y="36973"/>
                      <a:pt x="1175654" y="48039"/>
                      <a:pt x="1166465" y="60440"/>
                    </a:cubicBezTo>
                    <a:cubicBezTo>
                      <a:pt x="1157295" y="72862"/>
                      <a:pt x="1149771" y="86654"/>
                      <a:pt x="1144935" y="101436"/>
                    </a:cubicBezTo>
                    <a:cubicBezTo>
                      <a:pt x="1143542" y="105055"/>
                      <a:pt x="1142653" y="108845"/>
                      <a:pt x="1141666" y="112599"/>
                    </a:cubicBezTo>
                    <a:lnTo>
                      <a:pt x="1140272" y="118249"/>
                    </a:lnTo>
                    <a:cubicBezTo>
                      <a:pt x="1139788" y="120125"/>
                      <a:pt x="1139575" y="122061"/>
                      <a:pt x="1139227" y="123956"/>
                    </a:cubicBezTo>
                    <a:cubicBezTo>
                      <a:pt x="1138646" y="127788"/>
                      <a:pt x="1137988" y="131617"/>
                      <a:pt x="1137641" y="135449"/>
                    </a:cubicBezTo>
                    <a:cubicBezTo>
                      <a:pt x="1137390" y="139300"/>
                      <a:pt x="1137196" y="143149"/>
                      <a:pt x="1137041" y="146999"/>
                    </a:cubicBezTo>
                    <a:lnTo>
                      <a:pt x="1136964" y="149708"/>
                    </a:lnTo>
                    <a:lnTo>
                      <a:pt x="1136964" y="507955"/>
                    </a:lnTo>
                    <a:lnTo>
                      <a:pt x="1013722" y="633942"/>
                    </a:lnTo>
                    <a:lnTo>
                      <a:pt x="929634" y="719882"/>
                    </a:lnTo>
                    <a:lnTo>
                      <a:pt x="929634" y="125466"/>
                    </a:lnTo>
                    <a:cubicBezTo>
                      <a:pt x="929634" y="67193"/>
                      <a:pt x="882240" y="19775"/>
                      <a:pt x="823958" y="19775"/>
                    </a:cubicBezTo>
                    <a:lnTo>
                      <a:pt x="821133" y="19775"/>
                    </a:lnTo>
                    <a:cubicBezTo>
                      <a:pt x="762868" y="19775"/>
                      <a:pt x="715476" y="67195"/>
                      <a:pt x="715476" y="125466"/>
                    </a:cubicBezTo>
                    <a:lnTo>
                      <a:pt x="715476" y="719901"/>
                    </a:lnTo>
                    <a:lnTo>
                      <a:pt x="631388" y="633942"/>
                    </a:lnTo>
                    <a:lnTo>
                      <a:pt x="508146" y="507955"/>
                    </a:lnTo>
                    <a:lnTo>
                      <a:pt x="508146" y="149824"/>
                    </a:lnTo>
                    <a:lnTo>
                      <a:pt x="508127" y="149379"/>
                    </a:lnTo>
                    <a:lnTo>
                      <a:pt x="508108" y="148662"/>
                    </a:lnTo>
                    <a:lnTo>
                      <a:pt x="508011" y="145780"/>
                    </a:lnTo>
                    <a:lnTo>
                      <a:pt x="507740" y="139995"/>
                    </a:lnTo>
                    <a:lnTo>
                      <a:pt x="507372" y="134229"/>
                    </a:lnTo>
                    <a:lnTo>
                      <a:pt x="506559" y="128483"/>
                    </a:lnTo>
                    <a:lnTo>
                      <a:pt x="505669" y="122737"/>
                    </a:lnTo>
                    <a:cubicBezTo>
                      <a:pt x="505359" y="120822"/>
                      <a:pt x="505049" y="118925"/>
                      <a:pt x="504546" y="117029"/>
                    </a:cubicBezTo>
                    <a:cubicBezTo>
                      <a:pt x="503636" y="113275"/>
                      <a:pt x="502651" y="109504"/>
                      <a:pt x="501625" y="105769"/>
                    </a:cubicBezTo>
                    <a:cubicBezTo>
                      <a:pt x="499168" y="98418"/>
                      <a:pt x="496576" y="91065"/>
                      <a:pt x="493036" y="84159"/>
                    </a:cubicBezTo>
                    <a:cubicBezTo>
                      <a:pt x="486245" y="70248"/>
                      <a:pt x="477464" y="57267"/>
                      <a:pt x="466670" y="46220"/>
                    </a:cubicBezTo>
                    <a:cubicBezTo>
                      <a:pt x="455973" y="35095"/>
                      <a:pt x="443592" y="25577"/>
                      <a:pt x="430032" y="18089"/>
                    </a:cubicBezTo>
                    <a:cubicBezTo>
                      <a:pt x="416356" y="10776"/>
                      <a:pt x="401557" y="5553"/>
                      <a:pt x="386334" y="2612"/>
                    </a:cubicBezTo>
                    <a:cubicBezTo>
                      <a:pt x="382503" y="1992"/>
                      <a:pt x="378674" y="1411"/>
                      <a:pt x="374843" y="891"/>
                    </a:cubicBezTo>
                    <a:cubicBezTo>
                      <a:pt x="371012" y="503"/>
                      <a:pt x="367144" y="368"/>
                      <a:pt x="363313" y="174"/>
                    </a:cubicBezTo>
                    <a:lnTo>
                      <a:pt x="360412" y="58"/>
                    </a:lnTo>
                    <a:lnTo>
                      <a:pt x="358981" y="19"/>
                    </a:lnTo>
                    <a:lnTo>
                      <a:pt x="358013" y="0"/>
                    </a:lnTo>
                    <a:lnTo>
                      <a:pt x="149375" y="0"/>
                    </a:lnTo>
                    <a:cubicBezTo>
                      <a:pt x="133997" y="155"/>
                      <a:pt x="118520" y="2515"/>
                      <a:pt x="103684" y="7177"/>
                    </a:cubicBezTo>
                    <a:cubicBezTo>
                      <a:pt x="88885" y="11916"/>
                      <a:pt x="74959" y="19115"/>
                      <a:pt x="62365" y="28071"/>
                    </a:cubicBezTo>
                    <a:cubicBezTo>
                      <a:pt x="49734" y="36971"/>
                      <a:pt x="38689" y="48038"/>
                      <a:pt x="29480" y="60438"/>
                    </a:cubicBezTo>
                    <a:cubicBezTo>
                      <a:pt x="20330" y="72860"/>
                      <a:pt x="12805" y="86652"/>
                      <a:pt x="7970" y="101434"/>
                    </a:cubicBezTo>
                    <a:cubicBezTo>
                      <a:pt x="6578" y="105053"/>
                      <a:pt x="5687" y="108843"/>
                      <a:pt x="4700" y="112597"/>
                    </a:cubicBezTo>
                    <a:lnTo>
                      <a:pt x="3289" y="118247"/>
                    </a:lnTo>
                    <a:cubicBezTo>
                      <a:pt x="2824" y="120123"/>
                      <a:pt x="2611" y="122059"/>
                      <a:pt x="2263" y="123954"/>
                    </a:cubicBezTo>
                    <a:cubicBezTo>
                      <a:pt x="1682" y="127786"/>
                      <a:pt x="1024" y="131615"/>
                      <a:pt x="678" y="135447"/>
                    </a:cubicBezTo>
                    <a:cubicBezTo>
                      <a:pt x="426" y="139298"/>
                      <a:pt x="232" y="143147"/>
                      <a:pt x="77" y="146997"/>
                    </a:cubicBezTo>
                    <a:lnTo>
                      <a:pt x="0" y="149706"/>
                    </a:lnTo>
                    <a:lnTo>
                      <a:pt x="0" y="1012250"/>
                    </a:lnTo>
                    <a:lnTo>
                      <a:pt x="19" y="1012986"/>
                    </a:lnTo>
                    <a:lnTo>
                      <a:pt x="136" y="1015869"/>
                    </a:lnTo>
                    <a:lnTo>
                      <a:pt x="407" y="1021634"/>
                    </a:lnTo>
                    <a:lnTo>
                      <a:pt x="774" y="1027400"/>
                    </a:lnTo>
                    <a:lnTo>
                      <a:pt x="1568" y="1033146"/>
                    </a:lnTo>
                    <a:lnTo>
                      <a:pt x="2458" y="1038892"/>
                    </a:lnTo>
                    <a:cubicBezTo>
                      <a:pt x="2768" y="1040807"/>
                      <a:pt x="3078" y="1042724"/>
                      <a:pt x="3581" y="1044600"/>
                    </a:cubicBezTo>
                    <a:cubicBezTo>
                      <a:pt x="4510" y="1048373"/>
                      <a:pt x="5476" y="1052126"/>
                      <a:pt x="6522" y="1055860"/>
                    </a:cubicBezTo>
                    <a:cubicBezTo>
                      <a:pt x="8978" y="1063211"/>
                      <a:pt x="11551" y="1070565"/>
                      <a:pt x="15091" y="1077471"/>
                    </a:cubicBezTo>
                    <a:cubicBezTo>
                      <a:pt x="21901" y="1091381"/>
                      <a:pt x="30663" y="1104362"/>
                      <a:pt x="41457" y="1115429"/>
                    </a:cubicBezTo>
                    <a:cubicBezTo>
                      <a:pt x="52173" y="1126554"/>
                      <a:pt x="64535" y="1136054"/>
                      <a:pt x="78115" y="1143541"/>
                    </a:cubicBezTo>
                    <a:cubicBezTo>
                      <a:pt x="91772" y="1150853"/>
                      <a:pt x="106590" y="1156077"/>
                      <a:pt x="121813" y="1159017"/>
                    </a:cubicBezTo>
                    <a:cubicBezTo>
                      <a:pt x="125624" y="1159656"/>
                      <a:pt x="129453" y="1160218"/>
                      <a:pt x="133304" y="1160739"/>
                    </a:cubicBezTo>
                    <a:cubicBezTo>
                      <a:pt x="137135" y="1161126"/>
                      <a:pt x="140983" y="1161281"/>
                      <a:pt x="144833" y="1161455"/>
                    </a:cubicBezTo>
                    <a:lnTo>
                      <a:pt x="147716" y="1161571"/>
                    </a:lnTo>
                    <a:lnTo>
                      <a:pt x="149165" y="1161629"/>
                    </a:lnTo>
                    <a:lnTo>
                      <a:pt x="358778" y="1161629"/>
                    </a:lnTo>
                    <a:cubicBezTo>
                      <a:pt x="374156" y="1161474"/>
                      <a:pt x="389632" y="1159114"/>
                      <a:pt x="404449" y="1154452"/>
                    </a:cubicBezTo>
                    <a:cubicBezTo>
                      <a:pt x="419267" y="1149732"/>
                      <a:pt x="433174" y="1142514"/>
                      <a:pt x="445768" y="1133578"/>
                    </a:cubicBezTo>
                    <a:cubicBezTo>
                      <a:pt x="458418" y="1124658"/>
                      <a:pt x="469464" y="1113592"/>
                      <a:pt x="478653" y="1101191"/>
                    </a:cubicBezTo>
                    <a:cubicBezTo>
                      <a:pt x="487823" y="1088771"/>
                      <a:pt x="495347" y="1074996"/>
                      <a:pt x="500163" y="1060214"/>
                    </a:cubicBezTo>
                    <a:cubicBezTo>
                      <a:pt x="501574" y="1056577"/>
                      <a:pt x="502446" y="1052805"/>
                      <a:pt x="503452" y="1049051"/>
                    </a:cubicBezTo>
                    <a:lnTo>
                      <a:pt x="504844" y="1043402"/>
                    </a:lnTo>
                    <a:cubicBezTo>
                      <a:pt x="505309" y="1041506"/>
                      <a:pt x="505541" y="1039590"/>
                      <a:pt x="505870" y="1037675"/>
                    </a:cubicBezTo>
                    <a:cubicBezTo>
                      <a:pt x="506451" y="1033843"/>
                      <a:pt x="507128" y="1030014"/>
                      <a:pt x="507455" y="1026182"/>
                    </a:cubicBezTo>
                    <a:cubicBezTo>
                      <a:pt x="507726" y="1022331"/>
                      <a:pt x="507920" y="1018483"/>
                      <a:pt x="508055" y="1014632"/>
                    </a:cubicBezTo>
                    <a:lnTo>
                      <a:pt x="508152" y="1011943"/>
                    </a:lnTo>
                    <a:lnTo>
                      <a:pt x="508152" y="674880"/>
                    </a:lnTo>
                    <a:lnTo>
                      <a:pt x="547962" y="715586"/>
                    </a:lnTo>
                    <a:lnTo>
                      <a:pt x="715482" y="886827"/>
                    </a:lnTo>
                    <a:lnTo>
                      <a:pt x="715482" y="1911228"/>
                    </a:lnTo>
                    <a:cubicBezTo>
                      <a:pt x="715482" y="1969499"/>
                      <a:pt x="762876" y="2016913"/>
                      <a:pt x="821139" y="2016913"/>
                    </a:cubicBezTo>
                    <a:lnTo>
                      <a:pt x="823963" y="2016913"/>
                    </a:lnTo>
                    <a:cubicBezTo>
                      <a:pt x="882248" y="2016913"/>
                      <a:pt x="929640" y="1969499"/>
                      <a:pt x="929640" y="1911228"/>
                    </a:cubicBezTo>
                    <a:lnTo>
                      <a:pt x="929640" y="886827"/>
                    </a:lnTo>
                    <a:lnTo>
                      <a:pt x="1097160" y="715586"/>
                    </a:lnTo>
                    <a:lnTo>
                      <a:pt x="1136970" y="674880"/>
                    </a:lnTo>
                    <a:lnTo>
                      <a:pt x="1136970" y="1012252"/>
                    </a:lnTo>
                    <a:lnTo>
                      <a:pt x="1136989" y="1012988"/>
                    </a:lnTo>
                    <a:lnTo>
                      <a:pt x="1137105" y="1015871"/>
                    </a:lnTo>
                    <a:lnTo>
                      <a:pt x="1137376" y="1021636"/>
                    </a:lnTo>
                    <a:lnTo>
                      <a:pt x="1137744" y="1027402"/>
                    </a:lnTo>
                    <a:lnTo>
                      <a:pt x="1138537" y="1033148"/>
                    </a:lnTo>
                    <a:lnTo>
                      <a:pt x="1139447" y="1038894"/>
                    </a:lnTo>
                    <a:cubicBezTo>
                      <a:pt x="1139738" y="1040809"/>
                      <a:pt x="1140067" y="1042726"/>
                      <a:pt x="1140570" y="1044602"/>
                    </a:cubicBezTo>
                    <a:cubicBezTo>
                      <a:pt x="1141480" y="1048375"/>
                      <a:pt x="1142446" y="1052127"/>
                      <a:pt x="1143491" y="1055862"/>
                    </a:cubicBezTo>
                    <a:cubicBezTo>
                      <a:pt x="1145948" y="1063213"/>
                      <a:pt x="1148520" y="1070567"/>
                      <a:pt x="1152061" y="1077472"/>
                    </a:cubicBezTo>
                    <a:cubicBezTo>
                      <a:pt x="1158871" y="1091383"/>
                      <a:pt x="1167652" y="1104364"/>
                      <a:pt x="1178426" y="1115431"/>
                    </a:cubicBezTo>
                    <a:cubicBezTo>
                      <a:pt x="1189143" y="1126556"/>
                      <a:pt x="1201505" y="1136056"/>
                      <a:pt x="1215084" y="1143543"/>
                    </a:cubicBezTo>
                    <a:cubicBezTo>
                      <a:pt x="1228760" y="1150855"/>
                      <a:pt x="1243559" y="1156078"/>
                      <a:pt x="1258782" y="1159019"/>
                    </a:cubicBezTo>
                    <a:cubicBezTo>
                      <a:pt x="1262594" y="1159658"/>
                      <a:pt x="1266442" y="1160220"/>
                      <a:pt x="1270273" y="1160741"/>
                    </a:cubicBezTo>
                    <a:cubicBezTo>
                      <a:pt x="1274104" y="1161128"/>
                      <a:pt x="1277952" y="1161283"/>
                      <a:pt x="1281803" y="1161457"/>
                    </a:cubicBezTo>
                    <a:lnTo>
                      <a:pt x="1284685" y="1161573"/>
                    </a:lnTo>
                    <a:lnTo>
                      <a:pt x="1286135" y="1161631"/>
                    </a:lnTo>
                    <a:lnTo>
                      <a:pt x="1495747" y="1161631"/>
                    </a:lnTo>
                    <a:cubicBezTo>
                      <a:pt x="1511125" y="1161476"/>
                      <a:pt x="1526602" y="1159116"/>
                      <a:pt x="1541418" y="1154454"/>
                    </a:cubicBezTo>
                    <a:cubicBezTo>
                      <a:pt x="1556237" y="1149734"/>
                      <a:pt x="1570164" y="1142516"/>
                      <a:pt x="1582737" y="1133580"/>
                    </a:cubicBezTo>
                    <a:cubicBezTo>
                      <a:pt x="1595388" y="1124660"/>
                      <a:pt x="1606433" y="1113594"/>
                      <a:pt x="1615622" y="1101193"/>
                    </a:cubicBezTo>
                    <a:cubicBezTo>
                      <a:pt x="1624792" y="1088773"/>
                      <a:pt x="1632317" y="1074998"/>
                      <a:pt x="1637133" y="1060216"/>
                    </a:cubicBezTo>
                    <a:cubicBezTo>
                      <a:pt x="1638544" y="1056578"/>
                      <a:pt x="1639434" y="1052807"/>
                      <a:pt x="1640422" y="1049053"/>
                    </a:cubicBezTo>
                    <a:lnTo>
                      <a:pt x="1641814" y="1043404"/>
                    </a:lnTo>
                    <a:cubicBezTo>
                      <a:pt x="1642297" y="1041508"/>
                      <a:pt x="1642510" y="1039591"/>
                      <a:pt x="1642839" y="1037677"/>
                    </a:cubicBezTo>
                    <a:cubicBezTo>
                      <a:pt x="1643420" y="1033845"/>
                      <a:pt x="1644098" y="1030016"/>
                      <a:pt x="1644425" y="1026184"/>
                    </a:cubicBezTo>
                    <a:cubicBezTo>
                      <a:pt x="1644696" y="1022333"/>
                      <a:pt x="1644889" y="1018485"/>
                      <a:pt x="1645025" y="1014634"/>
                    </a:cubicBezTo>
                    <a:lnTo>
                      <a:pt x="1645122" y="1011945"/>
                    </a:lnTo>
                    <a:lnTo>
                      <a:pt x="1645122" y="149379"/>
                    </a:lnTo>
                    <a:lnTo>
                      <a:pt x="1645083" y="148662"/>
                    </a:lnTo>
                    <a:close/>
                    <a:moveTo>
                      <a:pt x="468806" y="1011945"/>
                    </a:moveTo>
                    <a:cubicBezTo>
                      <a:pt x="468806" y="1012525"/>
                      <a:pt x="468747" y="1013319"/>
                      <a:pt x="468728" y="1014014"/>
                    </a:cubicBezTo>
                    <a:lnTo>
                      <a:pt x="468283" y="1022527"/>
                    </a:lnTo>
                    <a:cubicBezTo>
                      <a:pt x="468031" y="1025371"/>
                      <a:pt x="467509" y="1028176"/>
                      <a:pt x="467102" y="1031001"/>
                    </a:cubicBezTo>
                    <a:cubicBezTo>
                      <a:pt x="466850" y="1032393"/>
                      <a:pt x="466734" y="1033826"/>
                      <a:pt x="466366" y="1035218"/>
                    </a:cubicBezTo>
                    <a:lnTo>
                      <a:pt x="465302" y="1039359"/>
                    </a:lnTo>
                    <a:cubicBezTo>
                      <a:pt x="464566" y="1042126"/>
                      <a:pt x="463985" y="1044912"/>
                      <a:pt x="462903" y="1047562"/>
                    </a:cubicBezTo>
                    <a:cubicBezTo>
                      <a:pt x="459402" y="1058454"/>
                      <a:pt x="453811" y="1068572"/>
                      <a:pt x="447061" y="1077724"/>
                    </a:cubicBezTo>
                    <a:cubicBezTo>
                      <a:pt x="440290" y="1086876"/>
                      <a:pt x="432165" y="1095060"/>
                      <a:pt x="422823" y="1101598"/>
                    </a:cubicBezTo>
                    <a:cubicBezTo>
                      <a:pt x="413537" y="1108176"/>
                      <a:pt x="403305" y="1113516"/>
                      <a:pt x="392414" y="1116997"/>
                    </a:cubicBezTo>
                    <a:cubicBezTo>
                      <a:pt x="381523" y="1120403"/>
                      <a:pt x="370148" y="1122124"/>
                      <a:pt x="358774" y="1122279"/>
                    </a:cubicBezTo>
                    <a:lnTo>
                      <a:pt x="150130" y="1122279"/>
                    </a:lnTo>
                    <a:cubicBezTo>
                      <a:pt x="149588" y="1122298"/>
                      <a:pt x="148871" y="1122259"/>
                      <a:pt x="148157" y="1122221"/>
                    </a:cubicBezTo>
                    <a:lnTo>
                      <a:pt x="146010" y="1122124"/>
                    </a:lnTo>
                    <a:cubicBezTo>
                      <a:pt x="143186" y="1121969"/>
                      <a:pt x="140323" y="1121891"/>
                      <a:pt x="137499" y="1121620"/>
                    </a:cubicBezTo>
                    <a:lnTo>
                      <a:pt x="129045" y="1120343"/>
                    </a:lnTo>
                    <a:cubicBezTo>
                      <a:pt x="117845" y="1118157"/>
                      <a:pt x="106973" y="1114325"/>
                      <a:pt x="96896" y="1108966"/>
                    </a:cubicBezTo>
                    <a:cubicBezTo>
                      <a:pt x="86915" y="1103433"/>
                      <a:pt x="77803" y="1096411"/>
                      <a:pt x="69891" y="1088227"/>
                    </a:cubicBezTo>
                    <a:cubicBezTo>
                      <a:pt x="61902" y="1080102"/>
                      <a:pt x="55479" y="1070485"/>
                      <a:pt x="50470" y="1060271"/>
                    </a:cubicBezTo>
                    <a:cubicBezTo>
                      <a:pt x="47820" y="1055202"/>
                      <a:pt x="46002" y="1049765"/>
                      <a:pt x="44144" y="1044387"/>
                    </a:cubicBezTo>
                    <a:lnTo>
                      <a:pt x="41997" y="1036087"/>
                    </a:lnTo>
                    <a:cubicBezTo>
                      <a:pt x="41610" y="1034713"/>
                      <a:pt x="41397" y="1033301"/>
                      <a:pt x="41184" y="1031888"/>
                    </a:cubicBezTo>
                    <a:lnTo>
                      <a:pt x="40526" y="1027671"/>
                    </a:lnTo>
                    <a:lnTo>
                      <a:pt x="39906" y="1023435"/>
                    </a:lnTo>
                    <a:lnTo>
                      <a:pt x="39674" y="1019180"/>
                    </a:lnTo>
                    <a:lnTo>
                      <a:pt x="39461" y="1014924"/>
                    </a:lnTo>
                    <a:cubicBezTo>
                      <a:pt x="39403" y="1013493"/>
                      <a:pt x="39325" y="1012003"/>
                      <a:pt x="39345" y="1010918"/>
                    </a:cubicBezTo>
                    <a:lnTo>
                      <a:pt x="39345" y="149708"/>
                    </a:lnTo>
                    <a:cubicBezTo>
                      <a:pt x="39345" y="149108"/>
                      <a:pt x="39403" y="148316"/>
                      <a:pt x="39422" y="147638"/>
                    </a:cubicBezTo>
                    <a:lnTo>
                      <a:pt x="39848" y="139106"/>
                    </a:lnTo>
                    <a:cubicBezTo>
                      <a:pt x="40100" y="136281"/>
                      <a:pt x="40642" y="133457"/>
                      <a:pt x="41048" y="130632"/>
                    </a:cubicBezTo>
                    <a:cubicBezTo>
                      <a:pt x="41281" y="129238"/>
                      <a:pt x="41416" y="127807"/>
                      <a:pt x="41784" y="126434"/>
                    </a:cubicBezTo>
                    <a:lnTo>
                      <a:pt x="42829" y="122274"/>
                    </a:lnTo>
                    <a:cubicBezTo>
                      <a:pt x="43565" y="119527"/>
                      <a:pt x="44165" y="116721"/>
                      <a:pt x="45228" y="114071"/>
                    </a:cubicBezTo>
                    <a:cubicBezTo>
                      <a:pt x="48749" y="103179"/>
                      <a:pt x="54339" y="93061"/>
                      <a:pt x="61070" y="83909"/>
                    </a:cubicBezTo>
                    <a:cubicBezTo>
                      <a:pt x="67841" y="74757"/>
                      <a:pt x="75985" y="66573"/>
                      <a:pt x="85308" y="60035"/>
                    </a:cubicBezTo>
                    <a:cubicBezTo>
                      <a:pt x="94594" y="53457"/>
                      <a:pt x="104826" y="48117"/>
                      <a:pt x="115717" y="44636"/>
                    </a:cubicBezTo>
                    <a:cubicBezTo>
                      <a:pt x="126627" y="41250"/>
                      <a:pt x="138002" y="39509"/>
                      <a:pt x="149376" y="39354"/>
                    </a:cubicBezTo>
                    <a:lnTo>
                      <a:pt x="358023" y="39354"/>
                    </a:lnTo>
                    <a:cubicBezTo>
                      <a:pt x="358565" y="39354"/>
                      <a:pt x="359262" y="39374"/>
                      <a:pt x="359995" y="39412"/>
                    </a:cubicBezTo>
                    <a:lnTo>
                      <a:pt x="362123" y="39509"/>
                    </a:lnTo>
                    <a:cubicBezTo>
                      <a:pt x="364966" y="39664"/>
                      <a:pt x="367810" y="39742"/>
                      <a:pt x="370634" y="40013"/>
                    </a:cubicBezTo>
                    <a:lnTo>
                      <a:pt x="379107" y="41310"/>
                    </a:lnTo>
                    <a:cubicBezTo>
                      <a:pt x="390288" y="43476"/>
                      <a:pt x="401160" y="47308"/>
                      <a:pt x="411257" y="52667"/>
                    </a:cubicBezTo>
                    <a:cubicBezTo>
                      <a:pt x="421218" y="58219"/>
                      <a:pt x="430330" y="65222"/>
                      <a:pt x="438242" y="73406"/>
                    </a:cubicBezTo>
                    <a:cubicBezTo>
                      <a:pt x="446230" y="81551"/>
                      <a:pt x="452653" y="91148"/>
                      <a:pt x="457663" y="101362"/>
                    </a:cubicBezTo>
                    <a:cubicBezTo>
                      <a:pt x="460313" y="106431"/>
                      <a:pt x="462131" y="111868"/>
                      <a:pt x="464009" y="117265"/>
                    </a:cubicBezTo>
                    <a:lnTo>
                      <a:pt x="466136" y="125546"/>
                    </a:lnTo>
                    <a:cubicBezTo>
                      <a:pt x="466523" y="126920"/>
                      <a:pt x="466756" y="128332"/>
                      <a:pt x="466969" y="129743"/>
                    </a:cubicBezTo>
                    <a:lnTo>
                      <a:pt x="467607" y="133960"/>
                    </a:lnTo>
                    <a:lnTo>
                      <a:pt x="468227" y="138196"/>
                    </a:lnTo>
                    <a:lnTo>
                      <a:pt x="468478" y="142452"/>
                    </a:lnTo>
                    <a:lnTo>
                      <a:pt x="468691" y="146726"/>
                    </a:lnTo>
                    <a:cubicBezTo>
                      <a:pt x="468749" y="148138"/>
                      <a:pt x="468827" y="149629"/>
                      <a:pt x="468807" y="150713"/>
                    </a:cubicBezTo>
                    <a:lnTo>
                      <a:pt x="468807" y="1011943"/>
                    </a:lnTo>
                    <a:close/>
                    <a:moveTo>
                      <a:pt x="715482" y="830567"/>
                    </a:moveTo>
                    <a:lnTo>
                      <a:pt x="576089" y="688057"/>
                    </a:lnTo>
                    <a:lnTo>
                      <a:pt x="508152" y="618601"/>
                    </a:lnTo>
                    <a:lnTo>
                      <a:pt x="508152" y="564217"/>
                    </a:lnTo>
                    <a:lnTo>
                      <a:pt x="603267" y="661455"/>
                    </a:lnTo>
                    <a:lnTo>
                      <a:pt x="715482" y="776183"/>
                    </a:lnTo>
                    <a:lnTo>
                      <a:pt x="715482" y="830567"/>
                    </a:lnTo>
                    <a:close/>
                    <a:moveTo>
                      <a:pt x="890953" y="1911228"/>
                    </a:moveTo>
                    <a:cubicBezTo>
                      <a:pt x="890953" y="1948183"/>
                      <a:pt x="860912" y="1978231"/>
                      <a:pt x="823963" y="1978231"/>
                    </a:cubicBezTo>
                    <a:lnTo>
                      <a:pt x="821139" y="1978231"/>
                    </a:lnTo>
                    <a:cubicBezTo>
                      <a:pt x="784212" y="1978231"/>
                      <a:pt x="754169" y="1948183"/>
                      <a:pt x="754169" y="1911228"/>
                    </a:cubicBezTo>
                    <a:lnTo>
                      <a:pt x="754169" y="125466"/>
                    </a:lnTo>
                    <a:cubicBezTo>
                      <a:pt x="754169" y="88513"/>
                      <a:pt x="784210" y="58467"/>
                      <a:pt x="821139" y="58467"/>
                    </a:cubicBezTo>
                    <a:lnTo>
                      <a:pt x="823963" y="58467"/>
                    </a:lnTo>
                    <a:cubicBezTo>
                      <a:pt x="860910" y="58467"/>
                      <a:pt x="890953" y="88513"/>
                      <a:pt x="890953" y="125466"/>
                    </a:cubicBezTo>
                    <a:lnTo>
                      <a:pt x="890953" y="1911228"/>
                    </a:lnTo>
                    <a:close/>
                    <a:moveTo>
                      <a:pt x="1136971" y="618601"/>
                    </a:moveTo>
                    <a:lnTo>
                      <a:pt x="1069035" y="688057"/>
                    </a:lnTo>
                    <a:lnTo>
                      <a:pt x="929642" y="830567"/>
                    </a:lnTo>
                    <a:lnTo>
                      <a:pt x="929642" y="776163"/>
                    </a:lnTo>
                    <a:lnTo>
                      <a:pt x="1041857" y="661455"/>
                    </a:lnTo>
                    <a:lnTo>
                      <a:pt x="1136971" y="564217"/>
                    </a:lnTo>
                    <a:lnTo>
                      <a:pt x="1136971" y="618601"/>
                    </a:lnTo>
                    <a:close/>
                    <a:moveTo>
                      <a:pt x="1605777" y="1011943"/>
                    </a:moveTo>
                    <a:cubicBezTo>
                      <a:pt x="1605777" y="1012523"/>
                      <a:pt x="1605719" y="1013317"/>
                      <a:pt x="1605700" y="1014012"/>
                    </a:cubicBezTo>
                    <a:lnTo>
                      <a:pt x="1605254" y="1022525"/>
                    </a:lnTo>
                    <a:cubicBezTo>
                      <a:pt x="1605022" y="1025369"/>
                      <a:pt x="1604480" y="1028175"/>
                      <a:pt x="1604073" y="1030999"/>
                    </a:cubicBezTo>
                    <a:cubicBezTo>
                      <a:pt x="1603822" y="1032391"/>
                      <a:pt x="1603706" y="1033824"/>
                      <a:pt x="1603338" y="1035216"/>
                    </a:cubicBezTo>
                    <a:lnTo>
                      <a:pt x="1602293" y="1039357"/>
                    </a:lnTo>
                    <a:cubicBezTo>
                      <a:pt x="1601538" y="1042124"/>
                      <a:pt x="1600959" y="1044910"/>
                      <a:pt x="1599875" y="1047560"/>
                    </a:cubicBezTo>
                    <a:cubicBezTo>
                      <a:pt x="1596373" y="1058453"/>
                      <a:pt x="1590782" y="1068570"/>
                      <a:pt x="1584032" y="1077722"/>
                    </a:cubicBezTo>
                    <a:cubicBezTo>
                      <a:pt x="1577280" y="1086874"/>
                      <a:pt x="1569137" y="1095058"/>
                      <a:pt x="1559794" y="1101596"/>
                    </a:cubicBezTo>
                    <a:cubicBezTo>
                      <a:pt x="1550509" y="1108175"/>
                      <a:pt x="1540295" y="1113514"/>
                      <a:pt x="1529405" y="1116995"/>
                    </a:cubicBezTo>
                    <a:cubicBezTo>
                      <a:pt x="1518495" y="1120401"/>
                      <a:pt x="1507120" y="1122122"/>
                      <a:pt x="1495745" y="1122277"/>
                    </a:cubicBezTo>
                    <a:lnTo>
                      <a:pt x="1287099" y="1122277"/>
                    </a:lnTo>
                    <a:cubicBezTo>
                      <a:pt x="1286557" y="1122296"/>
                      <a:pt x="1285841" y="1122257"/>
                      <a:pt x="1285126" y="1122219"/>
                    </a:cubicBezTo>
                    <a:lnTo>
                      <a:pt x="1282999" y="1122122"/>
                    </a:lnTo>
                    <a:cubicBezTo>
                      <a:pt x="1280155" y="1121967"/>
                      <a:pt x="1277312" y="1121890"/>
                      <a:pt x="1274468" y="1121618"/>
                    </a:cubicBezTo>
                    <a:lnTo>
                      <a:pt x="1266015" y="1120341"/>
                    </a:lnTo>
                    <a:cubicBezTo>
                      <a:pt x="1254814" y="1118155"/>
                      <a:pt x="1243943" y="1114323"/>
                      <a:pt x="1233865" y="1108964"/>
                    </a:cubicBezTo>
                    <a:cubicBezTo>
                      <a:pt x="1223884" y="1103431"/>
                      <a:pt x="1214772" y="1096409"/>
                      <a:pt x="1206861" y="1088225"/>
                    </a:cubicBezTo>
                    <a:cubicBezTo>
                      <a:pt x="1198872" y="1080100"/>
                      <a:pt x="1192468" y="1070483"/>
                      <a:pt x="1187439" y="1060269"/>
                    </a:cubicBezTo>
                    <a:cubicBezTo>
                      <a:pt x="1184808" y="1055200"/>
                      <a:pt x="1182971" y="1049764"/>
                      <a:pt x="1181113" y="1044385"/>
                    </a:cubicBezTo>
                    <a:lnTo>
                      <a:pt x="1178966" y="1036085"/>
                    </a:lnTo>
                    <a:cubicBezTo>
                      <a:pt x="1178579" y="1034711"/>
                      <a:pt x="1178366" y="1033299"/>
                      <a:pt x="1178153" y="1031886"/>
                    </a:cubicBezTo>
                    <a:lnTo>
                      <a:pt x="1177495" y="1027669"/>
                    </a:lnTo>
                    <a:lnTo>
                      <a:pt x="1176876" y="1023433"/>
                    </a:lnTo>
                    <a:lnTo>
                      <a:pt x="1176643" y="1019178"/>
                    </a:lnTo>
                    <a:lnTo>
                      <a:pt x="1176430" y="1014922"/>
                    </a:lnTo>
                    <a:cubicBezTo>
                      <a:pt x="1176372" y="1013491"/>
                      <a:pt x="1176295" y="1012001"/>
                      <a:pt x="1176314" y="1010916"/>
                    </a:cubicBezTo>
                    <a:lnTo>
                      <a:pt x="1176314" y="149708"/>
                    </a:lnTo>
                    <a:cubicBezTo>
                      <a:pt x="1176314" y="149108"/>
                      <a:pt x="1176372" y="148316"/>
                      <a:pt x="1176392" y="147638"/>
                    </a:cubicBezTo>
                    <a:lnTo>
                      <a:pt x="1176837" y="139106"/>
                    </a:lnTo>
                    <a:cubicBezTo>
                      <a:pt x="1177069" y="136281"/>
                      <a:pt x="1177611" y="133457"/>
                      <a:pt x="1178018" y="130632"/>
                    </a:cubicBezTo>
                    <a:cubicBezTo>
                      <a:pt x="1178269" y="129238"/>
                      <a:pt x="1178386" y="127807"/>
                      <a:pt x="1178753" y="126434"/>
                    </a:cubicBezTo>
                    <a:lnTo>
                      <a:pt x="1179799" y="122274"/>
                    </a:lnTo>
                    <a:cubicBezTo>
                      <a:pt x="1180554" y="119527"/>
                      <a:pt x="1181132" y="116721"/>
                      <a:pt x="1182197" y="114071"/>
                    </a:cubicBezTo>
                    <a:cubicBezTo>
                      <a:pt x="1185718" y="103179"/>
                      <a:pt x="1191309" y="93061"/>
                      <a:pt x="1198040" y="83909"/>
                    </a:cubicBezTo>
                    <a:cubicBezTo>
                      <a:pt x="1204811" y="74757"/>
                      <a:pt x="1212955" y="66573"/>
                      <a:pt x="1222278" y="60035"/>
                    </a:cubicBezTo>
                    <a:cubicBezTo>
                      <a:pt x="1231583" y="53457"/>
                      <a:pt x="1241796" y="48117"/>
                      <a:pt x="1252687" y="44636"/>
                    </a:cubicBezTo>
                    <a:cubicBezTo>
                      <a:pt x="1263597" y="41250"/>
                      <a:pt x="1274971" y="39509"/>
                      <a:pt x="1286346" y="39354"/>
                    </a:cubicBezTo>
                    <a:lnTo>
                      <a:pt x="1494992" y="39354"/>
                    </a:lnTo>
                    <a:cubicBezTo>
                      <a:pt x="1495534" y="39354"/>
                      <a:pt x="1496250" y="39374"/>
                      <a:pt x="1496965" y="39412"/>
                    </a:cubicBezTo>
                    <a:lnTo>
                      <a:pt x="1499092" y="39509"/>
                    </a:lnTo>
                    <a:cubicBezTo>
                      <a:pt x="1501936" y="39664"/>
                      <a:pt x="1504780" y="39742"/>
                      <a:pt x="1507623" y="40013"/>
                    </a:cubicBezTo>
                    <a:lnTo>
                      <a:pt x="1516077" y="41310"/>
                    </a:lnTo>
                    <a:cubicBezTo>
                      <a:pt x="1527277" y="43476"/>
                      <a:pt x="1538149" y="47308"/>
                      <a:pt x="1548226" y="52667"/>
                    </a:cubicBezTo>
                    <a:cubicBezTo>
                      <a:pt x="1558207" y="58219"/>
                      <a:pt x="1567319" y="65222"/>
                      <a:pt x="1575211" y="73406"/>
                    </a:cubicBezTo>
                    <a:cubicBezTo>
                      <a:pt x="1583219" y="81551"/>
                      <a:pt x="1589623" y="91148"/>
                      <a:pt x="1594633" y="101362"/>
                    </a:cubicBezTo>
                    <a:cubicBezTo>
                      <a:pt x="1597283" y="106431"/>
                      <a:pt x="1599101" y="111868"/>
                      <a:pt x="1600978" y="117265"/>
                    </a:cubicBezTo>
                    <a:lnTo>
                      <a:pt x="1603106" y="125546"/>
                    </a:lnTo>
                    <a:cubicBezTo>
                      <a:pt x="1603512" y="126920"/>
                      <a:pt x="1603725" y="128332"/>
                      <a:pt x="1603938" y="129743"/>
                    </a:cubicBezTo>
                    <a:lnTo>
                      <a:pt x="1604577" y="133960"/>
                    </a:lnTo>
                    <a:lnTo>
                      <a:pt x="1605216" y="138196"/>
                    </a:lnTo>
                    <a:lnTo>
                      <a:pt x="1605448" y="142452"/>
                    </a:lnTo>
                    <a:lnTo>
                      <a:pt x="1605661" y="146726"/>
                    </a:lnTo>
                    <a:cubicBezTo>
                      <a:pt x="1605719" y="148138"/>
                      <a:pt x="1605796" y="149629"/>
                      <a:pt x="1605777" y="150713"/>
                    </a:cubicBezTo>
                    <a:lnTo>
                      <a:pt x="1605777" y="1011943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Microsoft Sans Serif"/>
                </a:endParaRPr>
              </a:p>
            </p:txBody>
          </p:sp>
          <p:sp>
            <p:nvSpPr>
              <p:cNvPr id="47" name="Freeform 4">
                <a:extLst>
                  <a:ext uri="{FF2B5EF4-FFF2-40B4-BE49-F238E27FC236}">
                    <a16:creationId xmlns:a16="http://schemas.microsoft.com/office/drawing/2014/main" id="{39CA3090-24BA-7932-B238-202793404C44}"/>
                  </a:ext>
                </a:extLst>
              </p:cNvPr>
              <p:cNvSpPr/>
              <p:nvPr/>
            </p:nvSpPr>
            <p:spPr>
              <a:xfrm>
                <a:off x="3700565" y="2839674"/>
                <a:ext cx="353406" cy="1006857"/>
              </a:xfrm>
              <a:custGeom>
                <a:avLst/>
                <a:gdLst>
                  <a:gd name="connsiteX0" fmla="*/ 353283 w 353406"/>
                  <a:gd name="connsiteY0" fmla="*/ 70248 h 1006857"/>
                  <a:gd name="connsiteX1" fmla="*/ 353148 w 353406"/>
                  <a:gd name="connsiteY1" fmla="*/ 67443 h 1006857"/>
                  <a:gd name="connsiteX2" fmla="*/ 353012 w 353406"/>
                  <a:gd name="connsiteY2" fmla="*/ 64637 h 1006857"/>
                  <a:gd name="connsiteX3" fmla="*/ 352586 w 353406"/>
                  <a:gd name="connsiteY3" fmla="*/ 61890 h 1006857"/>
                  <a:gd name="connsiteX4" fmla="*/ 352160 w 353406"/>
                  <a:gd name="connsiteY4" fmla="*/ 59123 h 1006857"/>
                  <a:gd name="connsiteX5" fmla="*/ 351638 w 353406"/>
                  <a:gd name="connsiteY5" fmla="*/ 56376 h 1006857"/>
                  <a:gd name="connsiteX6" fmla="*/ 350246 w 353406"/>
                  <a:gd name="connsiteY6" fmla="*/ 50959 h 1006857"/>
                  <a:gd name="connsiteX7" fmla="*/ 346088 w 353406"/>
                  <a:gd name="connsiteY7" fmla="*/ 40609 h 1006857"/>
                  <a:gd name="connsiteX8" fmla="*/ 333379 w 353406"/>
                  <a:gd name="connsiteY8" fmla="*/ 22307 h 1006857"/>
                  <a:gd name="connsiteX9" fmla="*/ 315717 w 353406"/>
                  <a:gd name="connsiteY9" fmla="*/ 8687 h 1006857"/>
                  <a:gd name="connsiteX10" fmla="*/ 294730 w 353406"/>
                  <a:gd name="connsiteY10" fmla="*/ 1297 h 1006857"/>
                  <a:gd name="connsiteX11" fmla="*/ 289197 w 353406"/>
                  <a:gd name="connsiteY11" fmla="*/ 445 h 1006857"/>
                  <a:gd name="connsiteX12" fmla="*/ 283607 w 353406"/>
                  <a:gd name="connsiteY12" fmla="*/ 136 h 1006857"/>
                  <a:gd name="connsiteX13" fmla="*/ 282195 w 353406"/>
                  <a:gd name="connsiteY13" fmla="*/ 58 h 1006857"/>
                  <a:gd name="connsiteX14" fmla="*/ 280649 w 353406"/>
                  <a:gd name="connsiteY14" fmla="*/ 0 h 1006857"/>
                  <a:gd name="connsiteX15" fmla="*/ 72003 w 353406"/>
                  <a:gd name="connsiteY15" fmla="*/ 0 h 1006857"/>
                  <a:gd name="connsiteX16" fmla="*/ 49969 w 353406"/>
                  <a:gd name="connsiteY16" fmla="*/ 3464 h 1006857"/>
                  <a:gd name="connsiteX17" fmla="*/ 30122 w 353406"/>
                  <a:gd name="connsiteY17" fmla="*/ 13543 h 1006857"/>
                  <a:gd name="connsiteX18" fmla="*/ 14241 w 353406"/>
                  <a:gd name="connsiteY18" fmla="*/ 29194 h 1006857"/>
                  <a:gd name="connsiteX19" fmla="*/ 3873 w 353406"/>
                  <a:gd name="connsiteY19" fmla="*/ 48889 h 1006857"/>
                  <a:gd name="connsiteX20" fmla="*/ 2326 w 353406"/>
                  <a:gd name="connsiteY20" fmla="*/ 54248 h 1006857"/>
                  <a:gd name="connsiteX21" fmla="*/ 1610 w 353406"/>
                  <a:gd name="connsiteY21" fmla="*/ 56957 h 1006857"/>
                  <a:gd name="connsiteX22" fmla="*/ 1145 w 353406"/>
                  <a:gd name="connsiteY22" fmla="*/ 59704 h 1006857"/>
                  <a:gd name="connsiteX23" fmla="*/ 351 w 353406"/>
                  <a:gd name="connsiteY23" fmla="*/ 65238 h 1006857"/>
                  <a:gd name="connsiteX24" fmla="*/ 80 w 353406"/>
                  <a:gd name="connsiteY24" fmla="*/ 70848 h 1006857"/>
                  <a:gd name="connsiteX25" fmla="*/ 3 w 353406"/>
                  <a:gd name="connsiteY25" fmla="*/ 72318 h 1006857"/>
                  <a:gd name="connsiteX26" fmla="*/ 3 w 353406"/>
                  <a:gd name="connsiteY26" fmla="*/ 933528 h 1006857"/>
                  <a:gd name="connsiteX27" fmla="*/ 119 w 353406"/>
                  <a:gd name="connsiteY27" fmla="*/ 936605 h 1006857"/>
                  <a:gd name="connsiteX28" fmla="*/ 255 w 353406"/>
                  <a:gd name="connsiteY28" fmla="*/ 939410 h 1006857"/>
                  <a:gd name="connsiteX29" fmla="*/ 371 w 353406"/>
                  <a:gd name="connsiteY29" fmla="*/ 942215 h 1006857"/>
                  <a:gd name="connsiteX30" fmla="*/ 816 w 353406"/>
                  <a:gd name="connsiteY30" fmla="*/ 944982 h 1006857"/>
                  <a:gd name="connsiteX31" fmla="*/ 1242 w 353406"/>
                  <a:gd name="connsiteY31" fmla="*/ 947749 h 1006857"/>
                  <a:gd name="connsiteX32" fmla="*/ 1765 w 353406"/>
                  <a:gd name="connsiteY32" fmla="*/ 950477 h 1006857"/>
                  <a:gd name="connsiteX33" fmla="*/ 3158 w 353406"/>
                  <a:gd name="connsiteY33" fmla="*/ 955894 h 1006857"/>
                  <a:gd name="connsiteX34" fmla="*/ 7316 w 353406"/>
                  <a:gd name="connsiteY34" fmla="*/ 966244 h 1006857"/>
                  <a:gd name="connsiteX35" fmla="*/ 20005 w 353406"/>
                  <a:gd name="connsiteY35" fmla="*/ 984545 h 1006857"/>
                  <a:gd name="connsiteX36" fmla="*/ 37687 w 353406"/>
                  <a:gd name="connsiteY36" fmla="*/ 998166 h 1006857"/>
                  <a:gd name="connsiteX37" fmla="*/ 58675 w 353406"/>
                  <a:gd name="connsiteY37" fmla="*/ 1005555 h 1006857"/>
                  <a:gd name="connsiteX38" fmla="*/ 64207 w 353406"/>
                  <a:gd name="connsiteY38" fmla="*/ 1006407 h 1006857"/>
                  <a:gd name="connsiteX39" fmla="*/ 69798 w 353406"/>
                  <a:gd name="connsiteY39" fmla="*/ 1006717 h 1006857"/>
                  <a:gd name="connsiteX40" fmla="*/ 71191 w 353406"/>
                  <a:gd name="connsiteY40" fmla="*/ 1006795 h 1006857"/>
                  <a:gd name="connsiteX41" fmla="*/ 72757 w 353406"/>
                  <a:gd name="connsiteY41" fmla="*/ 1006853 h 1006857"/>
                  <a:gd name="connsiteX42" fmla="*/ 281404 w 353406"/>
                  <a:gd name="connsiteY42" fmla="*/ 1006853 h 1006857"/>
                  <a:gd name="connsiteX43" fmla="*/ 303417 w 353406"/>
                  <a:gd name="connsiteY43" fmla="*/ 1003389 h 1006857"/>
                  <a:gd name="connsiteX44" fmla="*/ 323284 w 353406"/>
                  <a:gd name="connsiteY44" fmla="*/ 993310 h 1006857"/>
                  <a:gd name="connsiteX45" fmla="*/ 339166 w 353406"/>
                  <a:gd name="connsiteY45" fmla="*/ 977659 h 1006857"/>
                  <a:gd name="connsiteX46" fmla="*/ 349514 w 353406"/>
                  <a:gd name="connsiteY46" fmla="*/ 957963 h 1006857"/>
                  <a:gd name="connsiteX47" fmla="*/ 351080 w 353406"/>
                  <a:gd name="connsiteY47" fmla="*/ 952604 h 1006857"/>
                  <a:gd name="connsiteX48" fmla="*/ 351796 w 353406"/>
                  <a:gd name="connsiteY48" fmla="*/ 949915 h 1006857"/>
                  <a:gd name="connsiteX49" fmla="*/ 352261 w 353406"/>
                  <a:gd name="connsiteY49" fmla="*/ 947148 h 1006857"/>
                  <a:gd name="connsiteX50" fmla="*/ 353055 w 353406"/>
                  <a:gd name="connsiteY50" fmla="*/ 941615 h 1006857"/>
                  <a:gd name="connsiteX51" fmla="*/ 353326 w 353406"/>
                  <a:gd name="connsiteY51" fmla="*/ 936004 h 1006857"/>
                  <a:gd name="connsiteX52" fmla="*/ 353403 w 353406"/>
                  <a:gd name="connsiteY52" fmla="*/ 934554 h 1006857"/>
                  <a:gd name="connsiteX53" fmla="*/ 353403 w 353406"/>
                  <a:gd name="connsiteY53" fmla="*/ 73324 h 1006857"/>
                  <a:gd name="connsiteX54" fmla="*/ 353287 w 353406"/>
                  <a:gd name="connsiteY54" fmla="*/ 70248 h 1006857"/>
                  <a:gd name="connsiteX55" fmla="*/ 314053 w 353406"/>
                  <a:gd name="connsiteY55" fmla="*/ 934554 h 1006857"/>
                  <a:gd name="connsiteX56" fmla="*/ 314014 w 353406"/>
                  <a:gd name="connsiteY56" fmla="*/ 935058 h 1006857"/>
                  <a:gd name="connsiteX57" fmla="*/ 313975 w 353406"/>
                  <a:gd name="connsiteY57" fmla="*/ 935387 h 1006857"/>
                  <a:gd name="connsiteX58" fmla="*/ 313878 w 353406"/>
                  <a:gd name="connsiteY58" fmla="*/ 937979 h 1006857"/>
                  <a:gd name="connsiteX59" fmla="*/ 313472 w 353406"/>
                  <a:gd name="connsiteY59" fmla="*/ 940475 h 1006857"/>
                  <a:gd name="connsiteX60" fmla="*/ 313298 w 353406"/>
                  <a:gd name="connsiteY60" fmla="*/ 941733 h 1006857"/>
                  <a:gd name="connsiteX61" fmla="*/ 312949 w 353406"/>
                  <a:gd name="connsiteY61" fmla="*/ 942934 h 1006857"/>
                  <a:gd name="connsiteX62" fmla="*/ 312252 w 353406"/>
                  <a:gd name="connsiteY62" fmla="*/ 945332 h 1006857"/>
                  <a:gd name="connsiteX63" fmla="*/ 307572 w 353406"/>
                  <a:gd name="connsiteY63" fmla="*/ 954213 h 1006857"/>
                  <a:gd name="connsiteX64" fmla="*/ 300338 w 353406"/>
                  <a:gd name="connsiteY64" fmla="*/ 961351 h 1006857"/>
                  <a:gd name="connsiteX65" fmla="*/ 291400 w 353406"/>
                  <a:gd name="connsiteY65" fmla="*/ 965917 h 1006857"/>
                  <a:gd name="connsiteX66" fmla="*/ 281400 w 353406"/>
                  <a:gd name="connsiteY66" fmla="*/ 967502 h 1006857"/>
                  <a:gd name="connsiteX67" fmla="*/ 71962 w 353406"/>
                  <a:gd name="connsiteY67" fmla="*/ 967502 h 1006857"/>
                  <a:gd name="connsiteX68" fmla="*/ 71633 w 353406"/>
                  <a:gd name="connsiteY68" fmla="*/ 967464 h 1006857"/>
                  <a:gd name="connsiteX69" fmla="*/ 70975 w 353406"/>
                  <a:gd name="connsiteY69" fmla="*/ 967386 h 1006857"/>
                  <a:gd name="connsiteX70" fmla="*/ 68402 w 353406"/>
                  <a:gd name="connsiteY70" fmla="*/ 967289 h 1006857"/>
                  <a:gd name="connsiteX71" fmla="*/ 65907 w 353406"/>
                  <a:gd name="connsiteY71" fmla="*/ 966883 h 1006857"/>
                  <a:gd name="connsiteX72" fmla="*/ 56466 w 353406"/>
                  <a:gd name="connsiteY72" fmla="*/ 963593 h 1006857"/>
                  <a:gd name="connsiteX73" fmla="*/ 48438 w 353406"/>
                  <a:gd name="connsiteY73" fmla="*/ 957363 h 1006857"/>
                  <a:gd name="connsiteX74" fmla="*/ 42693 w 353406"/>
                  <a:gd name="connsiteY74" fmla="*/ 949024 h 1006857"/>
                  <a:gd name="connsiteX75" fmla="*/ 40778 w 353406"/>
                  <a:gd name="connsiteY75" fmla="*/ 944401 h 1006857"/>
                  <a:gd name="connsiteX76" fmla="*/ 40178 w 353406"/>
                  <a:gd name="connsiteY76" fmla="*/ 941983 h 1006857"/>
                  <a:gd name="connsiteX77" fmla="*/ 39946 w 353406"/>
                  <a:gd name="connsiteY77" fmla="*/ 940744 h 1006857"/>
                  <a:gd name="connsiteX78" fmla="*/ 39772 w 353406"/>
                  <a:gd name="connsiteY78" fmla="*/ 939486 h 1006857"/>
                  <a:gd name="connsiteX79" fmla="*/ 39520 w 353406"/>
                  <a:gd name="connsiteY79" fmla="*/ 938246 h 1006857"/>
                  <a:gd name="connsiteX80" fmla="*/ 39520 w 353406"/>
                  <a:gd name="connsiteY80" fmla="*/ 936949 h 1006857"/>
                  <a:gd name="connsiteX81" fmla="*/ 39443 w 353406"/>
                  <a:gd name="connsiteY81" fmla="*/ 935652 h 1006857"/>
                  <a:gd name="connsiteX82" fmla="*/ 39365 w 353406"/>
                  <a:gd name="connsiteY82" fmla="*/ 935013 h 1006857"/>
                  <a:gd name="connsiteX83" fmla="*/ 39346 w 353406"/>
                  <a:gd name="connsiteY83" fmla="*/ 934839 h 1006857"/>
                  <a:gd name="connsiteX84" fmla="*/ 39346 w 353406"/>
                  <a:gd name="connsiteY84" fmla="*/ 72318 h 1006857"/>
                  <a:gd name="connsiteX85" fmla="*/ 39365 w 353406"/>
                  <a:gd name="connsiteY85" fmla="*/ 71795 h 1006857"/>
                  <a:gd name="connsiteX86" fmla="*/ 39404 w 353406"/>
                  <a:gd name="connsiteY86" fmla="*/ 71466 h 1006857"/>
                  <a:gd name="connsiteX87" fmla="*/ 39520 w 353406"/>
                  <a:gd name="connsiteY87" fmla="*/ 68893 h 1006857"/>
                  <a:gd name="connsiteX88" fmla="*/ 39927 w 353406"/>
                  <a:gd name="connsiteY88" fmla="*/ 66378 h 1006857"/>
                  <a:gd name="connsiteX89" fmla="*/ 40101 w 353406"/>
                  <a:gd name="connsiteY89" fmla="*/ 65139 h 1006857"/>
                  <a:gd name="connsiteX90" fmla="*/ 40449 w 353406"/>
                  <a:gd name="connsiteY90" fmla="*/ 63938 h 1006857"/>
                  <a:gd name="connsiteX91" fmla="*/ 41146 w 353406"/>
                  <a:gd name="connsiteY91" fmla="*/ 61540 h 1006857"/>
                  <a:gd name="connsiteX92" fmla="*/ 45827 w 353406"/>
                  <a:gd name="connsiteY92" fmla="*/ 52659 h 1006857"/>
                  <a:gd name="connsiteX93" fmla="*/ 53061 w 353406"/>
                  <a:gd name="connsiteY93" fmla="*/ 45501 h 1006857"/>
                  <a:gd name="connsiteX94" fmla="*/ 61998 w 353406"/>
                  <a:gd name="connsiteY94" fmla="*/ 40936 h 1006857"/>
                  <a:gd name="connsiteX95" fmla="*/ 71999 w 353406"/>
                  <a:gd name="connsiteY95" fmla="*/ 39350 h 1006857"/>
                  <a:gd name="connsiteX96" fmla="*/ 280645 w 353406"/>
                  <a:gd name="connsiteY96" fmla="*/ 39350 h 1006857"/>
                  <a:gd name="connsiteX97" fmla="*/ 281439 w 353406"/>
                  <a:gd name="connsiteY97" fmla="*/ 39370 h 1006857"/>
                  <a:gd name="connsiteX98" fmla="*/ 281768 w 353406"/>
                  <a:gd name="connsiteY98" fmla="*/ 39409 h 1006857"/>
                  <a:gd name="connsiteX99" fmla="*/ 282406 w 353406"/>
                  <a:gd name="connsiteY99" fmla="*/ 39467 h 1006857"/>
                  <a:gd name="connsiteX100" fmla="*/ 284999 w 353406"/>
                  <a:gd name="connsiteY100" fmla="*/ 39563 h 1006857"/>
                  <a:gd name="connsiteX101" fmla="*/ 287494 w 353406"/>
                  <a:gd name="connsiteY101" fmla="*/ 39970 h 1006857"/>
                  <a:gd name="connsiteX102" fmla="*/ 296934 w 353406"/>
                  <a:gd name="connsiteY102" fmla="*/ 43259 h 1006857"/>
                  <a:gd name="connsiteX103" fmla="*/ 304943 w 353406"/>
                  <a:gd name="connsiteY103" fmla="*/ 49509 h 1006857"/>
                  <a:gd name="connsiteX104" fmla="*/ 310708 w 353406"/>
                  <a:gd name="connsiteY104" fmla="*/ 57828 h 1006857"/>
                  <a:gd name="connsiteX105" fmla="*/ 312622 w 353406"/>
                  <a:gd name="connsiteY105" fmla="*/ 62452 h 1006857"/>
                  <a:gd name="connsiteX106" fmla="*/ 313222 w 353406"/>
                  <a:gd name="connsiteY106" fmla="*/ 64889 h 1006857"/>
                  <a:gd name="connsiteX107" fmla="*/ 313454 w 353406"/>
                  <a:gd name="connsiteY107" fmla="*/ 66128 h 1006857"/>
                  <a:gd name="connsiteX108" fmla="*/ 313629 w 353406"/>
                  <a:gd name="connsiteY108" fmla="*/ 67367 h 1006857"/>
                  <a:gd name="connsiteX109" fmla="*/ 313880 w 353406"/>
                  <a:gd name="connsiteY109" fmla="*/ 68606 h 1006857"/>
                  <a:gd name="connsiteX110" fmla="*/ 313880 w 353406"/>
                  <a:gd name="connsiteY110" fmla="*/ 69903 h 1006857"/>
                  <a:gd name="connsiteX111" fmla="*/ 313958 w 353406"/>
                  <a:gd name="connsiteY111" fmla="*/ 71201 h 1006857"/>
                  <a:gd name="connsiteX112" fmla="*/ 314035 w 353406"/>
                  <a:gd name="connsiteY112" fmla="*/ 71859 h 1006857"/>
                  <a:gd name="connsiteX113" fmla="*/ 314054 w 353406"/>
                  <a:gd name="connsiteY113" fmla="*/ 72014 h 1006857"/>
                  <a:gd name="connsiteX114" fmla="*/ 314054 w 353406"/>
                  <a:gd name="connsiteY114" fmla="*/ 934558 h 1006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</a:cxnLst>
                <a:rect l="l" t="t" r="r" b="b"/>
                <a:pathLst>
                  <a:path w="353406" h="1006857">
                    <a:moveTo>
                      <a:pt x="353283" y="70248"/>
                    </a:moveTo>
                    <a:lnTo>
                      <a:pt x="353148" y="67443"/>
                    </a:lnTo>
                    <a:lnTo>
                      <a:pt x="353012" y="64637"/>
                    </a:lnTo>
                    <a:lnTo>
                      <a:pt x="352586" y="61890"/>
                    </a:lnTo>
                    <a:lnTo>
                      <a:pt x="352160" y="59123"/>
                    </a:lnTo>
                    <a:cubicBezTo>
                      <a:pt x="352044" y="58194"/>
                      <a:pt x="351909" y="57267"/>
                      <a:pt x="351638" y="56376"/>
                    </a:cubicBezTo>
                    <a:lnTo>
                      <a:pt x="350246" y="50959"/>
                    </a:lnTo>
                    <a:cubicBezTo>
                      <a:pt x="348970" y="47476"/>
                      <a:pt x="347867" y="43898"/>
                      <a:pt x="346088" y="40609"/>
                    </a:cubicBezTo>
                    <a:cubicBezTo>
                      <a:pt x="342818" y="33953"/>
                      <a:pt x="338680" y="27608"/>
                      <a:pt x="333379" y="22307"/>
                    </a:cubicBezTo>
                    <a:cubicBezTo>
                      <a:pt x="328195" y="16948"/>
                      <a:pt x="322218" y="12344"/>
                      <a:pt x="315717" y="8687"/>
                    </a:cubicBezTo>
                    <a:cubicBezTo>
                      <a:pt x="309101" y="5223"/>
                      <a:pt x="302041" y="2747"/>
                      <a:pt x="294730" y="1297"/>
                    </a:cubicBezTo>
                    <a:lnTo>
                      <a:pt x="289197" y="445"/>
                    </a:lnTo>
                    <a:cubicBezTo>
                      <a:pt x="287341" y="271"/>
                      <a:pt x="285463" y="271"/>
                      <a:pt x="283607" y="136"/>
                    </a:cubicBezTo>
                    <a:lnTo>
                      <a:pt x="282195" y="58"/>
                    </a:lnTo>
                    <a:cubicBezTo>
                      <a:pt x="281750" y="19"/>
                      <a:pt x="281286" y="0"/>
                      <a:pt x="280649" y="0"/>
                    </a:cubicBezTo>
                    <a:lnTo>
                      <a:pt x="72003" y="0"/>
                    </a:lnTo>
                    <a:cubicBezTo>
                      <a:pt x="64497" y="155"/>
                      <a:pt x="57087" y="1297"/>
                      <a:pt x="49969" y="3464"/>
                    </a:cubicBezTo>
                    <a:cubicBezTo>
                      <a:pt x="42871" y="5727"/>
                      <a:pt x="36216" y="9268"/>
                      <a:pt x="30122" y="13543"/>
                    </a:cubicBezTo>
                    <a:cubicBezTo>
                      <a:pt x="23970" y="17798"/>
                      <a:pt x="18670" y="23196"/>
                      <a:pt x="14241" y="29194"/>
                    </a:cubicBezTo>
                    <a:cubicBezTo>
                      <a:pt x="9831" y="35192"/>
                      <a:pt x="6116" y="41788"/>
                      <a:pt x="3873" y="48889"/>
                    </a:cubicBezTo>
                    <a:cubicBezTo>
                      <a:pt x="3137" y="50611"/>
                      <a:pt x="2827" y="52450"/>
                      <a:pt x="2326" y="54248"/>
                    </a:cubicBezTo>
                    <a:lnTo>
                      <a:pt x="1610" y="56957"/>
                    </a:lnTo>
                    <a:cubicBezTo>
                      <a:pt x="1358" y="57848"/>
                      <a:pt x="1319" y="58794"/>
                      <a:pt x="1145" y="59704"/>
                    </a:cubicBezTo>
                    <a:cubicBezTo>
                      <a:pt x="913" y="61561"/>
                      <a:pt x="506" y="63381"/>
                      <a:pt x="351" y="65238"/>
                    </a:cubicBezTo>
                    <a:lnTo>
                      <a:pt x="80" y="70848"/>
                    </a:lnTo>
                    <a:cubicBezTo>
                      <a:pt x="61" y="71332"/>
                      <a:pt x="3" y="71719"/>
                      <a:pt x="3" y="72318"/>
                    </a:cubicBezTo>
                    <a:lnTo>
                      <a:pt x="3" y="933528"/>
                    </a:lnTo>
                    <a:cubicBezTo>
                      <a:pt x="-16" y="934806"/>
                      <a:pt x="61" y="935675"/>
                      <a:pt x="119" y="936605"/>
                    </a:cubicBezTo>
                    <a:lnTo>
                      <a:pt x="255" y="939410"/>
                    </a:lnTo>
                    <a:lnTo>
                      <a:pt x="371" y="942215"/>
                    </a:lnTo>
                    <a:lnTo>
                      <a:pt x="816" y="944982"/>
                    </a:lnTo>
                    <a:lnTo>
                      <a:pt x="1242" y="947749"/>
                    </a:lnTo>
                    <a:cubicBezTo>
                      <a:pt x="1358" y="948659"/>
                      <a:pt x="1474" y="949586"/>
                      <a:pt x="1765" y="950477"/>
                    </a:cubicBezTo>
                    <a:lnTo>
                      <a:pt x="3158" y="955894"/>
                    </a:lnTo>
                    <a:cubicBezTo>
                      <a:pt x="4436" y="959377"/>
                      <a:pt x="5518" y="962954"/>
                      <a:pt x="7316" y="966244"/>
                    </a:cubicBezTo>
                    <a:cubicBezTo>
                      <a:pt x="10586" y="972900"/>
                      <a:pt x="14725" y="979244"/>
                      <a:pt x="20005" y="984545"/>
                    </a:cubicBezTo>
                    <a:cubicBezTo>
                      <a:pt x="25209" y="989904"/>
                      <a:pt x="31187" y="994508"/>
                      <a:pt x="37687" y="998166"/>
                    </a:cubicBezTo>
                    <a:cubicBezTo>
                      <a:pt x="44303" y="1001629"/>
                      <a:pt x="51363" y="1004105"/>
                      <a:pt x="58675" y="1005555"/>
                    </a:cubicBezTo>
                    <a:lnTo>
                      <a:pt x="64207" y="1006407"/>
                    </a:lnTo>
                    <a:cubicBezTo>
                      <a:pt x="66063" y="1006582"/>
                      <a:pt x="67941" y="1006582"/>
                      <a:pt x="69798" y="1006717"/>
                    </a:cubicBezTo>
                    <a:lnTo>
                      <a:pt x="71191" y="1006795"/>
                    </a:lnTo>
                    <a:cubicBezTo>
                      <a:pt x="71656" y="1006833"/>
                      <a:pt x="72121" y="1006872"/>
                      <a:pt x="72757" y="1006853"/>
                    </a:cubicBezTo>
                    <a:lnTo>
                      <a:pt x="281404" y="1006853"/>
                    </a:lnTo>
                    <a:cubicBezTo>
                      <a:pt x="288889" y="1006698"/>
                      <a:pt x="296300" y="1005575"/>
                      <a:pt x="303417" y="1003389"/>
                    </a:cubicBezTo>
                    <a:cubicBezTo>
                      <a:pt x="310535" y="1001126"/>
                      <a:pt x="317190" y="997604"/>
                      <a:pt x="323284" y="993310"/>
                    </a:cubicBezTo>
                    <a:cubicBezTo>
                      <a:pt x="329417" y="989074"/>
                      <a:pt x="334736" y="983657"/>
                      <a:pt x="339166" y="977659"/>
                    </a:cubicBezTo>
                    <a:cubicBezTo>
                      <a:pt x="343556" y="971661"/>
                      <a:pt x="347290" y="965084"/>
                      <a:pt x="349514" y="957963"/>
                    </a:cubicBezTo>
                    <a:cubicBezTo>
                      <a:pt x="350269" y="956242"/>
                      <a:pt x="350579" y="954403"/>
                      <a:pt x="351080" y="952604"/>
                    </a:cubicBezTo>
                    <a:lnTo>
                      <a:pt x="351796" y="949915"/>
                    </a:lnTo>
                    <a:cubicBezTo>
                      <a:pt x="352048" y="949005"/>
                      <a:pt x="352087" y="948058"/>
                      <a:pt x="352261" y="947148"/>
                    </a:cubicBezTo>
                    <a:cubicBezTo>
                      <a:pt x="352493" y="945311"/>
                      <a:pt x="352900" y="943472"/>
                      <a:pt x="353055" y="941615"/>
                    </a:cubicBezTo>
                    <a:lnTo>
                      <a:pt x="353326" y="936004"/>
                    </a:lnTo>
                    <a:cubicBezTo>
                      <a:pt x="353345" y="935520"/>
                      <a:pt x="353403" y="935133"/>
                      <a:pt x="353403" y="934554"/>
                    </a:cubicBezTo>
                    <a:lnTo>
                      <a:pt x="353403" y="73324"/>
                    </a:lnTo>
                    <a:cubicBezTo>
                      <a:pt x="353423" y="72047"/>
                      <a:pt x="353345" y="71197"/>
                      <a:pt x="353287" y="70248"/>
                    </a:cubicBezTo>
                    <a:close/>
                    <a:moveTo>
                      <a:pt x="314053" y="934554"/>
                    </a:moveTo>
                    <a:cubicBezTo>
                      <a:pt x="314053" y="934922"/>
                      <a:pt x="314033" y="934941"/>
                      <a:pt x="314014" y="935058"/>
                    </a:cubicBezTo>
                    <a:lnTo>
                      <a:pt x="313975" y="935387"/>
                    </a:lnTo>
                    <a:cubicBezTo>
                      <a:pt x="313878" y="936239"/>
                      <a:pt x="313859" y="937108"/>
                      <a:pt x="313878" y="937979"/>
                    </a:cubicBezTo>
                    <a:cubicBezTo>
                      <a:pt x="313801" y="938831"/>
                      <a:pt x="313530" y="939623"/>
                      <a:pt x="313472" y="940475"/>
                    </a:cubicBezTo>
                    <a:cubicBezTo>
                      <a:pt x="313394" y="940881"/>
                      <a:pt x="313453" y="941327"/>
                      <a:pt x="313298" y="941733"/>
                    </a:cubicBezTo>
                    <a:cubicBezTo>
                      <a:pt x="313162" y="942120"/>
                      <a:pt x="313046" y="942527"/>
                      <a:pt x="312949" y="942934"/>
                    </a:cubicBezTo>
                    <a:cubicBezTo>
                      <a:pt x="312698" y="943727"/>
                      <a:pt x="312678" y="944577"/>
                      <a:pt x="312252" y="945332"/>
                    </a:cubicBezTo>
                    <a:cubicBezTo>
                      <a:pt x="311342" y="948544"/>
                      <a:pt x="309544" y="951466"/>
                      <a:pt x="307572" y="954213"/>
                    </a:cubicBezTo>
                    <a:cubicBezTo>
                      <a:pt x="305580" y="956941"/>
                      <a:pt x="303162" y="959475"/>
                      <a:pt x="300338" y="961351"/>
                    </a:cubicBezTo>
                    <a:cubicBezTo>
                      <a:pt x="297533" y="963266"/>
                      <a:pt x="294573" y="964912"/>
                      <a:pt x="291400" y="965917"/>
                    </a:cubicBezTo>
                    <a:cubicBezTo>
                      <a:pt x="288189" y="966846"/>
                      <a:pt x="284880" y="967347"/>
                      <a:pt x="281400" y="967502"/>
                    </a:cubicBezTo>
                    <a:lnTo>
                      <a:pt x="71962" y="967502"/>
                    </a:lnTo>
                    <a:lnTo>
                      <a:pt x="71633" y="967464"/>
                    </a:lnTo>
                    <a:lnTo>
                      <a:pt x="70975" y="967386"/>
                    </a:lnTo>
                    <a:cubicBezTo>
                      <a:pt x="70123" y="967289"/>
                      <a:pt x="69254" y="967347"/>
                      <a:pt x="68402" y="967289"/>
                    </a:cubicBezTo>
                    <a:cubicBezTo>
                      <a:pt x="67570" y="967096"/>
                      <a:pt x="66758" y="966960"/>
                      <a:pt x="65907" y="966883"/>
                    </a:cubicBezTo>
                    <a:cubicBezTo>
                      <a:pt x="62637" y="966186"/>
                      <a:pt x="59484" y="965103"/>
                      <a:pt x="56466" y="963593"/>
                    </a:cubicBezTo>
                    <a:cubicBezTo>
                      <a:pt x="53564" y="961892"/>
                      <a:pt x="50837" y="959781"/>
                      <a:pt x="48438" y="957363"/>
                    </a:cubicBezTo>
                    <a:cubicBezTo>
                      <a:pt x="45962" y="954984"/>
                      <a:pt x="44183" y="952004"/>
                      <a:pt x="42693" y="949024"/>
                    </a:cubicBezTo>
                    <a:cubicBezTo>
                      <a:pt x="41802" y="947592"/>
                      <a:pt x="41454" y="945929"/>
                      <a:pt x="40778" y="944401"/>
                    </a:cubicBezTo>
                    <a:cubicBezTo>
                      <a:pt x="40643" y="943569"/>
                      <a:pt x="40430" y="942777"/>
                      <a:pt x="40178" y="941983"/>
                    </a:cubicBezTo>
                    <a:cubicBezTo>
                      <a:pt x="40004" y="941596"/>
                      <a:pt x="39985" y="941170"/>
                      <a:pt x="39946" y="940744"/>
                    </a:cubicBezTo>
                    <a:cubicBezTo>
                      <a:pt x="39907" y="940318"/>
                      <a:pt x="39849" y="939911"/>
                      <a:pt x="39772" y="939486"/>
                    </a:cubicBezTo>
                    <a:cubicBezTo>
                      <a:pt x="39714" y="939079"/>
                      <a:pt x="39617" y="938653"/>
                      <a:pt x="39520" y="938246"/>
                    </a:cubicBezTo>
                    <a:cubicBezTo>
                      <a:pt x="39539" y="937801"/>
                      <a:pt x="39539" y="937375"/>
                      <a:pt x="39520" y="936949"/>
                    </a:cubicBezTo>
                    <a:cubicBezTo>
                      <a:pt x="39501" y="936504"/>
                      <a:pt x="39481" y="936078"/>
                      <a:pt x="39443" y="935652"/>
                    </a:cubicBezTo>
                    <a:lnTo>
                      <a:pt x="39365" y="935013"/>
                    </a:lnTo>
                    <a:lnTo>
                      <a:pt x="39346" y="934839"/>
                    </a:lnTo>
                    <a:lnTo>
                      <a:pt x="39346" y="72318"/>
                    </a:lnTo>
                    <a:cubicBezTo>
                      <a:pt x="39346" y="71930"/>
                      <a:pt x="39365" y="71930"/>
                      <a:pt x="39365" y="71795"/>
                    </a:cubicBezTo>
                    <a:lnTo>
                      <a:pt x="39404" y="71466"/>
                    </a:lnTo>
                    <a:cubicBezTo>
                      <a:pt x="39501" y="70614"/>
                      <a:pt x="39539" y="69764"/>
                      <a:pt x="39520" y="68893"/>
                    </a:cubicBezTo>
                    <a:cubicBezTo>
                      <a:pt x="39597" y="68041"/>
                      <a:pt x="39849" y="67230"/>
                      <a:pt x="39927" y="66378"/>
                    </a:cubicBezTo>
                    <a:cubicBezTo>
                      <a:pt x="40004" y="65971"/>
                      <a:pt x="39946" y="65526"/>
                      <a:pt x="40101" y="65139"/>
                    </a:cubicBezTo>
                    <a:cubicBezTo>
                      <a:pt x="40236" y="64732"/>
                      <a:pt x="40352" y="64345"/>
                      <a:pt x="40449" y="63938"/>
                    </a:cubicBezTo>
                    <a:cubicBezTo>
                      <a:pt x="40701" y="63145"/>
                      <a:pt x="40720" y="62275"/>
                      <a:pt x="41146" y="61540"/>
                    </a:cubicBezTo>
                    <a:cubicBezTo>
                      <a:pt x="42056" y="58308"/>
                      <a:pt x="43835" y="55387"/>
                      <a:pt x="45827" y="52659"/>
                    </a:cubicBezTo>
                    <a:cubicBezTo>
                      <a:pt x="47819" y="49931"/>
                      <a:pt x="50217" y="47377"/>
                      <a:pt x="53061" y="45501"/>
                    </a:cubicBezTo>
                    <a:cubicBezTo>
                      <a:pt x="55866" y="43587"/>
                      <a:pt x="58826" y="41941"/>
                      <a:pt x="61998" y="40936"/>
                    </a:cubicBezTo>
                    <a:cubicBezTo>
                      <a:pt x="65210" y="40007"/>
                      <a:pt x="68518" y="39503"/>
                      <a:pt x="71999" y="39350"/>
                    </a:cubicBezTo>
                    <a:lnTo>
                      <a:pt x="280645" y="39350"/>
                    </a:lnTo>
                    <a:cubicBezTo>
                      <a:pt x="280897" y="39350"/>
                      <a:pt x="281322" y="39350"/>
                      <a:pt x="281439" y="39370"/>
                    </a:cubicBezTo>
                    <a:lnTo>
                      <a:pt x="281768" y="39409"/>
                    </a:lnTo>
                    <a:lnTo>
                      <a:pt x="282406" y="39467"/>
                    </a:lnTo>
                    <a:cubicBezTo>
                      <a:pt x="283278" y="39563"/>
                      <a:pt x="284147" y="39505"/>
                      <a:pt x="284999" y="39563"/>
                    </a:cubicBezTo>
                    <a:cubicBezTo>
                      <a:pt x="285831" y="39757"/>
                      <a:pt x="286642" y="39893"/>
                      <a:pt x="287494" y="39970"/>
                    </a:cubicBezTo>
                    <a:cubicBezTo>
                      <a:pt x="290763" y="40686"/>
                      <a:pt x="293917" y="41749"/>
                      <a:pt x="296934" y="43259"/>
                    </a:cubicBezTo>
                    <a:cubicBezTo>
                      <a:pt x="299836" y="44981"/>
                      <a:pt x="302544" y="47071"/>
                      <a:pt x="304943" y="49509"/>
                    </a:cubicBezTo>
                    <a:cubicBezTo>
                      <a:pt x="307438" y="51869"/>
                      <a:pt x="309217" y="54849"/>
                      <a:pt x="310708" y="57828"/>
                    </a:cubicBezTo>
                    <a:cubicBezTo>
                      <a:pt x="311598" y="59278"/>
                      <a:pt x="311946" y="60924"/>
                      <a:pt x="312622" y="62452"/>
                    </a:cubicBezTo>
                    <a:cubicBezTo>
                      <a:pt x="312758" y="63284"/>
                      <a:pt x="312970" y="64076"/>
                      <a:pt x="313222" y="64889"/>
                    </a:cubicBezTo>
                    <a:cubicBezTo>
                      <a:pt x="313396" y="65276"/>
                      <a:pt x="313416" y="65702"/>
                      <a:pt x="313454" y="66128"/>
                    </a:cubicBezTo>
                    <a:cubicBezTo>
                      <a:pt x="313493" y="66535"/>
                      <a:pt x="313551" y="66961"/>
                      <a:pt x="313629" y="67367"/>
                    </a:cubicBezTo>
                    <a:cubicBezTo>
                      <a:pt x="313687" y="67793"/>
                      <a:pt x="313784" y="68200"/>
                      <a:pt x="313880" y="68606"/>
                    </a:cubicBezTo>
                    <a:cubicBezTo>
                      <a:pt x="313861" y="69052"/>
                      <a:pt x="313861" y="69478"/>
                      <a:pt x="313880" y="69903"/>
                    </a:cubicBezTo>
                    <a:cubicBezTo>
                      <a:pt x="313880" y="70349"/>
                      <a:pt x="313919" y="70775"/>
                      <a:pt x="313958" y="71201"/>
                    </a:cubicBezTo>
                    <a:lnTo>
                      <a:pt x="314035" y="71859"/>
                    </a:lnTo>
                    <a:lnTo>
                      <a:pt x="314054" y="72014"/>
                    </a:lnTo>
                    <a:lnTo>
                      <a:pt x="314054" y="934558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Microsoft Sans Serif"/>
                </a:endParaRPr>
              </a:p>
            </p:txBody>
          </p:sp>
          <p:sp>
            <p:nvSpPr>
              <p:cNvPr id="48" name="Freeform 5">
                <a:extLst>
                  <a:ext uri="{FF2B5EF4-FFF2-40B4-BE49-F238E27FC236}">
                    <a16:creationId xmlns:a16="http://schemas.microsoft.com/office/drawing/2014/main" id="{5CEFAD6F-C978-96B8-2E44-C2098ED76C1A}"/>
                  </a:ext>
                </a:extLst>
              </p:cNvPr>
              <p:cNvSpPr/>
              <p:nvPr/>
            </p:nvSpPr>
            <p:spPr>
              <a:xfrm>
                <a:off x="2563590" y="2839674"/>
                <a:ext cx="353406" cy="1006857"/>
              </a:xfrm>
              <a:custGeom>
                <a:avLst/>
                <a:gdLst>
                  <a:gd name="connsiteX0" fmla="*/ 353287 w 353406"/>
                  <a:gd name="connsiteY0" fmla="*/ 70248 h 1006857"/>
                  <a:gd name="connsiteX1" fmla="*/ 353132 w 353406"/>
                  <a:gd name="connsiteY1" fmla="*/ 67443 h 1006857"/>
                  <a:gd name="connsiteX2" fmla="*/ 353016 w 353406"/>
                  <a:gd name="connsiteY2" fmla="*/ 64637 h 1006857"/>
                  <a:gd name="connsiteX3" fmla="*/ 352571 w 353406"/>
                  <a:gd name="connsiteY3" fmla="*/ 61890 h 1006857"/>
                  <a:gd name="connsiteX4" fmla="*/ 352164 w 353406"/>
                  <a:gd name="connsiteY4" fmla="*/ 59123 h 1006857"/>
                  <a:gd name="connsiteX5" fmla="*/ 351642 w 353406"/>
                  <a:gd name="connsiteY5" fmla="*/ 56376 h 1006857"/>
                  <a:gd name="connsiteX6" fmla="*/ 350250 w 353406"/>
                  <a:gd name="connsiteY6" fmla="*/ 50959 h 1006857"/>
                  <a:gd name="connsiteX7" fmla="*/ 346090 w 353406"/>
                  <a:gd name="connsiteY7" fmla="*/ 40609 h 1006857"/>
                  <a:gd name="connsiteX8" fmla="*/ 333381 w 353406"/>
                  <a:gd name="connsiteY8" fmla="*/ 22307 h 1006857"/>
                  <a:gd name="connsiteX9" fmla="*/ 315721 w 353406"/>
                  <a:gd name="connsiteY9" fmla="*/ 8687 h 1006857"/>
                  <a:gd name="connsiteX10" fmla="*/ 294734 w 353406"/>
                  <a:gd name="connsiteY10" fmla="*/ 1297 h 1006857"/>
                  <a:gd name="connsiteX11" fmla="*/ 289201 w 353406"/>
                  <a:gd name="connsiteY11" fmla="*/ 445 h 1006857"/>
                  <a:gd name="connsiteX12" fmla="*/ 283611 w 353406"/>
                  <a:gd name="connsiteY12" fmla="*/ 136 h 1006857"/>
                  <a:gd name="connsiteX13" fmla="*/ 282199 w 353406"/>
                  <a:gd name="connsiteY13" fmla="*/ 58 h 1006857"/>
                  <a:gd name="connsiteX14" fmla="*/ 280653 w 353406"/>
                  <a:gd name="connsiteY14" fmla="*/ 0 h 1006857"/>
                  <a:gd name="connsiteX15" fmla="*/ 72003 w 353406"/>
                  <a:gd name="connsiteY15" fmla="*/ 0 h 1006857"/>
                  <a:gd name="connsiteX16" fmla="*/ 49969 w 353406"/>
                  <a:gd name="connsiteY16" fmla="*/ 3464 h 1006857"/>
                  <a:gd name="connsiteX17" fmla="*/ 30122 w 353406"/>
                  <a:gd name="connsiteY17" fmla="*/ 13543 h 1006857"/>
                  <a:gd name="connsiteX18" fmla="*/ 14241 w 353406"/>
                  <a:gd name="connsiteY18" fmla="*/ 29194 h 1006857"/>
                  <a:gd name="connsiteX19" fmla="*/ 3873 w 353406"/>
                  <a:gd name="connsiteY19" fmla="*/ 48889 h 1006857"/>
                  <a:gd name="connsiteX20" fmla="*/ 2326 w 353406"/>
                  <a:gd name="connsiteY20" fmla="*/ 54248 h 1006857"/>
                  <a:gd name="connsiteX21" fmla="*/ 1610 w 353406"/>
                  <a:gd name="connsiteY21" fmla="*/ 56957 h 1006857"/>
                  <a:gd name="connsiteX22" fmla="*/ 1145 w 353406"/>
                  <a:gd name="connsiteY22" fmla="*/ 59704 h 1006857"/>
                  <a:gd name="connsiteX23" fmla="*/ 351 w 353406"/>
                  <a:gd name="connsiteY23" fmla="*/ 65238 h 1006857"/>
                  <a:gd name="connsiteX24" fmla="*/ 80 w 353406"/>
                  <a:gd name="connsiteY24" fmla="*/ 70848 h 1006857"/>
                  <a:gd name="connsiteX25" fmla="*/ 3 w 353406"/>
                  <a:gd name="connsiteY25" fmla="*/ 72318 h 1006857"/>
                  <a:gd name="connsiteX26" fmla="*/ 3 w 353406"/>
                  <a:gd name="connsiteY26" fmla="*/ 933528 h 1006857"/>
                  <a:gd name="connsiteX27" fmla="*/ 100 w 353406"/>
                  <a:gd name="connsiteY27" fmla="*/ 936605 h 1006857"/>
                  <a:gd name="connsiteX28" fmla="*/ 255 w 353406"/>
                  <a:gd name="connsiteY28" fmla="*/ 939410 h 1006857"/>
                  <a:gd name="connsiteX29" fmla="*/ 371 w 353406"/>
                  <a:gd name="connsiteY29" fmla="*/ 942215 h 1006857"/>
                  <a:gd name="connsiteX30" fmla="*/ 816 w 353406"/>
                  <a:gd name="connsiteY30" fmla="*/ 944982 h 1006857"/>
                  <a:gd name="connsiteX31" fmla="*/ 1242 w 353406"/>
                  <a:gd name="connsiteY31" fmla="*/ 947749 h 1006857"/>
                  <a:gd name="connsiteX32" fmla="*/ 1765 w 353406"/>
                  <a:gd name="connsiteY32" fmla="*/ 950477 h 1006857"/>
                  <a:gd name="connsiteX33" fmla="*/ 3139 w 353406"/>
                  <a:gd name="connsiteY33" fmla="*/ 955894 h 1006857"/>
                  <a:gd name="connsiteX34" fmla="*/ 7299 w 353406"/>
                  <a:gd name="connsiteY34" fmla="*/ 966244 h 1006857"/>
                  <a:gd name="connsiteX35" fmla="*/ 20007 w 353406"/>
                  <a:gd name="connsiteY35" fmla="*/ 984545 h 1006857"/>
                  <a:gd name="connsiteX36" fmla="*/ 37689 w 353406"/>
                  <a:gd name="connsiteY36" fmla="*/ 998166 h 1006857"/>
                  <a:gd name="connsiteX37" fmla="*/ 58677 w 353406"/>
                  <a:gd name="connsiteY37" fmla="*/ 1005555 h 1006857"/>
                  <a:gd name="connsiteX38" fmla="*/ 64190 w 353406"/>
                  <a:gd name="connsiteY38" fmla="*/ 1006407 h 1006857"/>
                  <a:gd name="connsiteX39" fmla="*/ 69800 w 353406"/>
                  <a:gd name="connsiteY39" fmla="*/ 1006717 h 1006857"/>
                  <a:gd name="connsiteX40" fmla="*/ 71191 w 353406"/>
                  <a:gd name="connsiteY40" fmla="*/ 1006795 h 1006857"/>
                  <a:gd name="connsiteX41" fmla="*/ 72757 w 353406"/>
                  <a:gd name="connsiteY41" fmla="*/ 1006853 h 1006857"/>
                  <a:gd name="connsiteX42" fmla="*/ 281404 w 353406"/>
                  <a:gd name="connsiteY42" fmla="*/ 1006853 h 1006857"/>
                  <a:gd name="connsiteX43" fmla="*/ 303417 w 353406"/>
                  <a:gd name="connsiteY43" fmla="*/ 1003389 h 1006857"/>
                  <a:gd name="connsiteX44" fmla="*/ 323284 w 353406"/>
                  <a:gd name="connsiteY44" fmla="*/ 993310 h 1006857"/>
                  <a:gd name="connsiteX45" fmla="*/ 339165 w 353406"/>
                  <a:gd name="connsiteY45" fmla="*/ 977659 h 1006857"/>
                  <a:gd name="connsiteX46" fmla="*/ 349514 w 353406"/>
                  <a:gd name="connsiteY46" fmla="*/ 957963 h 1006857"/>
                  <a:gd name="connsiteX47" fmla="*/ 351080 w 353406"/>
                  <a:gd name="connsiteY47" fmla="*/ 952604 h 1006857"/>
                  <a:gd name="connsiteX48" fmla="*/ 351777 w 353406"/>
                  <a:gd name="connsiteY48" fmla="*/ 949915 h 1006857"/>
                  <a:gd name="connsiteX49" fmla="*/ 352242 w 353406"/>
                  <a:gd name="connsiteY49" fmla="*/ 947148 h 1006857"/>
                  <a:gd name="connsiteX50" fmla="*/ 353035 w 353406"/>
                  <a:gd name="connsiteY50" fmla="*/ 941615 h 1006857"/>
                  <a:gd name="connsiteX51" fmla="*/ 353326 w 353406"/>
                  <a:gd name="connsiteY51" fmla="*/ 936004 h 1006857"/>
                  <a:gd name="connsiteX52" fmla="*/ 353403 w 353406"/>
                  <a:gd name="connsiteY52" fmla="*/ 934554 h 1006857"/>
                  <a:gd name="connsiteX53" fmla="*/ 353403 w 353406"/>
                  <a:gd name="connsiteY53" fmla="*/ 73324 h 1006857"/>
                  <a:gd name="connsiteX54" fmla="*/ 353287 w 353406"/>
                  <a:gd name="connsiteY54" fmla="*/ 70248 h 1006857"/>
                  <a:gd name="connsiteX55" fmla="*/ 314056 w 353406"/>
                  <a:gd name="connsiteY55" fmla="*/ 934554 h 1006857"/>
                  <a:gd name="connsiteX56" fmla="*/ 314018 w 353406"/>
                  <a:gd name="connsiteY56" fmla="*/ 935058 h 1006857"/>
                  <a:gd name="connsiteX57" fmla="*/ 313979 w 353406"/>
                  <a:gd name="connsiteY57" fmla="*/ 935387 h 1006857"/>
                  <a:gd name="connsiteX58" fmla="*/ 313863 w 353406"/>
                  <a:gd name="connsiteY58" fmla="*/ 937979 h 1006857"/>
                  <a:gd name="connsiteX59" fmla="*/ 313476 w 353406"/>
                  <a:gd name="connsiteY59" fmla="*/ 940475 h 1006857"/>
                  <a:gd name="connsiteX60" fmla="*/ 313302 w 353406"/>
                  <a:gd name="connsiteY60" fmla="*/ 941733 h 1006857"/>
                  <a:gd name="connsiteX61" fmla="*/ 312934 w 353406"/>
                  <a:gd name="connsiteY61" fmla="*/ 942934 h 1006857"/>
                  <a:gd name="connsiteX62" fmla="*/ 312256 w 353406"/>
                  <a:gd name="connsiteY62" fmla="*/ 945332 h 1006857"/>
                  <a:gd name="connsiteX63" fmla="*/ 307575 w 353406"/>
                  <a:gd name="connsiteY63" fmla="*/ 954213 h 1006857"/>
                  <a:gd name="connsiteX64" fmla="*/ 300341 w 353406"/>
                  <a:gd name="connsiteY64" fmla="*/ 961351 h 1006857"/>
                  <a:gd name="connsiteX65" fmla="*/ 291404 w 353406"/>
                  <a:gd name="connsiteY65" fmla="*/ 965917 h 1006857"/>
                  <a:gd name="connsiteX66" fmla="*/ 281404 w 353406"/>
                  <a:gd name="connsiteY66" fmla="*/ 967502 h 1006857"/>
                  <a:gd name="connsiteX67" fmla="*/ 71944 w 353406"/>
                  <a:gd name="connsiteY67" fmla="*/ 967502 h 1006857"/>
                  <a:gd name="connsiteX68" fmla="*/ 71635 w 353406"/>
                  <a:gd name="connsiteY68" fmla="*/ 967464 h 1006857"/>
                  <a:gd name="connsiteX69" fmla="*/ 70977 w 353406"/>
                  <a:gd name="connsiteY69" fmla="*/ 967386 h 1006857"/>
                  <a:gd name="connsiteX70" fmla="*/ 68404 w 353406"/>
                  <a:gd name="connsiteY70" fmla="*/ 967289 h 1006857"/>
                  <a:gd name="connsiteX71" fmla="*/ 65909 w 353406"/>
                  <a:gd name="connsiteY71" fmla="*/ 966883 h 1006857"/>
                  <a:gd name="connsiteX72" fmla="*/ 56468 w 353406"/>
                  <a:gd name="connsiteY72" fmla="*/ 963593 h 1006857"/>
                  <a:gd name="connsiteX73" fmla="*/ 48440 w 353406"/>
                  <a:gd name="connsiteY73" fmla="*/ 957363 h 1006857"/>
                  <a:gd name="connsiteX74" fmla="*/ 42675 w 353406"/>
                  <a:gd name="connsiteY74" fmla="*/ 949024 h 1006857"/>
                  <a:gd name="connsiteX75" fmla="*/ 40780 w 353406"/>
                  <a:gd name="connsiteY75" fmla="*/ 944401 h 1006857"/>
                  <a:gd name="connsiteX76" fmla="*/ 40180 w 353406"/>
                  <a:gd name="connsiteY76" fmla="*/ 941983 h 1006857"/>
                  <a:gd name="connsiteX77" fmla="*/ 39948 w 353406"/>
                  <a:gd name="connsiteY77" fmla="*/ 940744 h 1006857"/>
                  <a:gd name="connsiteX78" fmla="*/ 39774 w 353406"/>
                  <a:gd name="connsiteY78" fmla="*/ 939486 h 1006857"/>
                  <a:gd name="connsiteX79" fmla="*/ 39522 w 353406"/>
                  <a:gd name="connsiteY79" fmla="*/ 938246 h 1006857"/>
                  <a:gd name="connsiteX80" fmla="*/ 39522 w 353406"/>
                  <a:gd name="connsiteY80" fmla="*/ 936949 h 1006857"/>
                  <a:gd name="connsiteX81" fmla="*/ 39445 w 353406"/>
                  <a:gd name="connsiteY81" fmla="*/ 935652 h 1006857"/>
                  <a:gd name="connsiteX82" fmla="*/ 39367 w 353406"/>
                  <a:gd name="connsiteY82" fmla="*/ 935013 h 1006857"/>
                  <a:gd name="connsiteX83" fmla="*/ 39348 w 353406"/>
                  <a:gd name="connsiteY83" fmla="*/ 934839 h 1006857"/>
                  <a:gd name="connsiteX84" fmla="*/ 39348 w 353406"/>
                  <a:gd name="connsiteY84" fmla="*/ 72318 h 1006857"/>
                  <a:gd name="connsiteX85" fmla="*/ 39367 w 353406"/>
                  <a:gd name="connsiteY85" fmla="*/ 71795 h 1006857"/>
                  <a:gd name="connsiteX86" fmla="*/ 39406 w 353406"/>
                  <a:gd name="connsiteY86" fmla="*/ 71466 h 1006857"/>
                  <a:gd name="connsiteX87" fmla="*/ 39522 w 353406"/>
                  <a:gd name="connsiteY87" fmla="*/ 68893 h 1006857"/>
                  <a:gd name="connsiteX88" fmla="*/ 39909 w 353406"/>
                  <a:gd name="connsiteY88" fmla="*/ 66378 h 1006857"/>
                  <a:gd name="connsiteX89" fmla="*/ 40083 w 353406"/>
                  <a:gd name="connsiteY89" fmla="*/ 65139 h 1006857"/>
                  <a:gd name="connsiteX90" fmla="*/ 40451 w 353406"/>
                  <a:gd name="connsiteY90" fmla="*/ 63938 h 1006857"/>
                  <a:gd name="connsiteX91" fmla="*/ 41129 w 353406"/>
                  <a:gd name="connsiteY91" fmla="*/ 61540 h 1006857"/>
                  <a:gd name="connsiteX92" fmla="*/ 45829 w 353406"/>
                  <a:gd name="connsiteY92" fmla="*/ 52659 h 1006857"/>
                  <a:gd name="connsiteX93" fmla="*/ 53063 w 353406"/>
                  <a:gd name="connsiteY93" fmla="*/ 45501 h 1006857"/>
                  <a:gd name="connsiteX94" fmla="*/ 62000 w 353406"/>
                  <a:gd name="connsiteY94" fmla="*/ 40936 h 1006857"/>
                  <a:gd name="connsiteX95" fmla="*/ 72001 w 353406"/>
                  <a:gd name="connsiteY95" fmla="*/ 39350 h 1006857"/>
                  <a:gd name="connsiteX96" fmla="*/ 280647 w 353406"/>
                  <a:gd name="connsiteY96" fmla="*/ 39350 h 1006857"/>
                  <a:gd name="connsiteX97" fmla="*/ 281440 w 353406"/>
                  <a:gd name="connsiteY97" fmla="*/ 39370 h 1006857"/>
                  <a:gd name="connsiteX98" fmla="*/ 281770 w 353406"/>
                  <a:gd name="connsiteY98" fmla="*/ 39409 h 1006857"/>
                  <a:gd name="connsiteX99" fmla="*/ 282408 w 353406"/>
                  <a:gd name="connsiteY99" fmla="*/ 39467 h 1006857"/>
                  <a:gd name="connsiteX100" fmla="*/ 285000 w 353406"/>
                  <a:gd name="connsiteY100" fmla="*/ 39563 h 1006857"/>
                  <a:gd name="connsiteX101" fmla="*/ 287496 w 353406"/>
                  <a:gd name="connsiteY101" fmla="*/ 39970 h 1006857"/>
                  <a:gd name="connsiteX102" fmla="*/ 296917 w 353406"/>
                  <a:gd name="connsiteY102" fmla="*/ 43259 h 1006857"/>
                  <a:gd name="connsiteX103" fmla="*/ 304945 w 353406"/>
                  <a:gd name="connsiteY103" fmla="*/ 49509 h 1006857"/>
                  <a:gd name="connsiteX104" fmla="*/ 310709 w 353406"/>
                  <a:gd name="connsiteY104" fmla="*/ 57828 h 1006857"/>
                  <a:gd name="connsiteX105" fmla="*/ 312624 w 353406"/>
                  <a:gd name="connsiteY105" fmla="*/ 62452 h 1006857"/>
                  <a:gd name="connsiteX106" fmla="*/ 313224 w 353406"/>
                  <a:gd name="connsiteY106" fmla="*/ 64889 h 1006857"/>
                  <a:gd name="connsiteX107" fmla="*/ 313437 w 353406"/>
                  <a:gd name="connsiteY107" fmla="*/ 66128 h 1006857"/>
                  <a:gd name="connsiteX108" fmla="*/ 313611 w 353406"/>
                  <a:gd name="connsiteY108" fmla="*/ 67367 h 1006857"/>
                  <a:gd name="connsiteX109" fmla="*/ 313882 w 353406"/>
                  <a:gd name="connsiteY109" fmla="*/ 68606 h 1006857"/>
                  <a:gd name="connsiteX110" fmla="*/ 313882 w 353406"/>
                  <a:gd name="connsiteY110" fmla="*/ 69903 h 1006857"/>
                  <a:gd name="connsiteX111" fmla="*/ 313960 w 353406"/>
                  <a:gd name="connsiteY111" fmla="*/ 71201 h 1006857"/>
                  <a:gd name="connsiteX112" fmla="*/ 314018 w 353406"/>
                  <a:gd name="connsiteY112" fmla="*/ 71859 h 1006857"/>
                  <a:gd name="connsiteX113" fmla="*/ 314056 w 353406"/>
                  <a:gd name="connsiteY113" fmla="*/ 72014 h 1006857"/>
                  <a:gd name="connsiteX114" fmla="*/ 314056 w 353406"/>
                  <a:gd name="connsiteY114" fmla="*/ 934558 h 1006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</a:cxnLst>
                <a:rect l="l" t="t" r="r" b="b"/>
                <a:pathLst>
                  <a:path w="353406" h="1006857">
                    <a:moveTo>
                      <a:pt x="353287" y="70248"/>
                    </a:moveTo>
                    <a:lnTo>
                      <a:pt x="353132" y="67443"/>
                    </a:lnTo>
                    <a:lnTo>
                      <a:pt x="353016" y="64637"/>
                    </a:lnTo>
                    <a:lnTo>
                      <a:pt x="352571" y="61890"/>
                    </a:lnTo>
                    <a:lnTo>
                      <a:pt x="352164" y="59123"/>
                    </a:lnTo>
                    <a:cubicBezTo>
                      <a:pt x="352048" y="58194"/>
                      <a:pt x="351913" y="57267"/>
                      <a:pt x="351642" y="56376"/>
                    </a:cubicBezTo>
                    <a:lnTo>
                      <a:pt x="350250" y="50959"/>
                    </a:lnTo>
                    <a:cubicBezTo>
                      <a:pt x="348972" y="47476"/>
                      <a:pt x="347871" y="43898"/>
                      <a:pt x="346090" y="40609"/>
                    </a:cubicBezTo>
                    <a:cubicBezTo>
                      <a:pt x="342801" y="33953"/>
                      <a:pt x="338662" y="27608"/>
                      <a:pt x="333381" y="22307"/>
                    </a:cubicBezTo>
                    <a:cubicBezTo>
                      <a:pt x="328178" y="16948"/>
                      <a:pt x="322220" y="12344"/>
                      <a:pt x="315721" y="8687"/>
                    </a:cubicBezTo>
                    <a:cubicBezTo>
                      <a:pt x="309105" y="5223"/>
                      <a:pt x="302026" y="2747"/>
                      <a:pt x="294734" y="1297"/>
                    </a:cubicBezTo>
                    <a:lnTo>
                      <a:pt x="289201" y="445"/>
                    </a:lnTo>
                    <a:cubicBezTo>
                      <a:pt x="287345" y="271"/>
                      <a:pt x="285467" y="271"/>
                      <a:pt x="283611" y="136"/>
                    </a:cubicBezTo>
                    <a:lnTo>
                      <a:pt x="282199" y="58"/>
                    </a:lnTo>
                    <a:cubicBezTo>
                      <a:pt x="281754" y="19"/>
                      <a:pt x="281289" y="0"/>
                      <a:pt x="280653" y="0"/>
                    </a:cubicBezTo>
                    <a:lnTo>
                      <a:pt x="72003" y="0"/>
                    </a:lnTo>
                    <a:cubicBezTo>
                      <a:pt x="64497" y="155"/>
                      <a:pt x="57087" y="1297"/>
                      <a:pt x="49969" y="3464"/>
                    </a:cubicBezTo>
                    <a:cubicBezTo>
                      <a:pt x="42871" y="5727"/>
                      <a:pt x="36216" y="9268"/>
                      <a:pt x="30122" y="13543"/>
                    </a:cubicBezTo>
                    <a:cubicBezTo>
                      <a:pt x="23970" y="17798"/>
                      <a:pt x="18670" y="23196"/>
                      <a:pt x="14241" y="29194"/>
                    </a:cubicBezTo>
                    <a:cubicBezTo>
                      <a:pt x="9831" y="35192"/>
                      <a:pt x="6116" y="41788"/>
                      <a:pt x="3873" y="48889"/>
                    </a:cubicBezTo>
                    <a:cubicBezTo>
                      <a:pt x="3118" y="50611"/>
                      <a:pt x="2808" y="52450"/>
                      <a:pt x="2326" y="54248"/>
                    </a:cubicBezTo>
                    <a:lnTo>
                      <a:pt x="1610" y="56957"/>
                    </a:lnTo>
                    <a:cubicBezTo>
                      <a:pt x="1339" y="57848"/>
                      <a:pt x="1319" y="58794"/>
                      <a:pt x="1145" y="59704"/>
                    </a:cubicBezTo>
                    <a:cubicBezTo>
                      <a:pt x="913" y="61561"/>
                      <a:pt x="506" y="63381"/>
                      <a:pt x="351" y="65238"/>
                    </a:cubicBezTo>
                    <a:lnTo>
                      <a:pt x="80" y="70848"/>
                    </a:lnTo>
                    <a:cubicBezTo>
                      <a:pt x="61" y="71332"/>
                      <a:pt x="3" y="71719"/>
                      <a:pt x="3" y="72318"/>
                    </a:cubicBezTo>
                    <a:lnTo>
                      <a:pt x="3" y="933528"/>
                    </a:lnTo>
                    <a:cubicBezTo>
                      <a:pt x="-16" y="934806"/>
                      <a:pt x="61" y="935675"/>
                      <a:pt x="100" y="936605"/>
                    </a:cubicBezTo>
                    <a:lnTo>
                      <a:pt x="255" y="939410"/>
                    </a:lnTo>
                    <a:lnTo>
                      <a:pt x="371" y="942215"/>
                    </a:lnTo>
                    <a:lnTo>
                      <a:pt x="816" y="944982"/>
                    </a:lnTo>
                    <a:lnTo>
                      <a:pt x="1242" y="947749"/>
                    </a:lnTo>
                    <a:cubicBezTo>
                      <a:pt x="1358" y="948659"/>
                      <a:pt x="1474" y="949586"/>
                      <a:pt x="1765" y="950477"/>
                    </a:cubicBezTo>
                    <a:lnTo>
                      <a:pt x="3139" y="955894"/>
                    </a:lnTo>
                    <a:cubicBezTo>
                      <a:pt x="4436" y="959377"/>
                      <a:pt x="5518" y="962954"/>
                      <a:pt x="7299" y="966244"/>
                    </a:cubicBezTo>
                    <a:cubicBezTo>
                      <a:pt x="10588" y="972900"/>
                      <a:pt x="14727" y="979244"/>
                      <a:pt x="20007" y="984545"/>
                    </a:cubicBezTo>
                    <a:cubicBezTo>
                      <a:pt x="25211" y="989904"/>
                      <a:pt x="31169" y="994508"/>
                      <a:pt x="37689" y="998166"/>
                    </a:cubicBezTo>
                    <a:cubicBezTo>
                      <a:pt x="44286" y="1001629"/>
                      <a:pt x="51365" y="1004105"/>
                      <a:pt x="58677" y="1005555"/>
                    </a:cubicBezTo>
                    <a:lnTo>
                      <a:pt x="64190" y="1006407"/>
                    </a:lnTo>
                    <a:cubicBezTo>
                      <a:pt x="66046" y="1006582"/>
                      <a:pt x="67924" y="1006582"/>
                      <a:pt x="69800" y="1006717"/>
                    </a:cubicBezTo>
                    <a:lnTo>
                      <a:pt x="71191" y="1006795"/>
                    </a:lnTo>
                    <a:cubicBezTo>
                      <a:pt x="71656" y="1006833"/>
                      <a:pt x="72121" y="1006872"/>
                      <a:pt x="72757" y="1006853"/>
                    </a:cubicBezTo>
                    <a:lnTo>
                      <a:pt x="281404" y="1006853"/>
                    </a:lnTo>
                    <a:cubicBezTo>
                      <a:pt x="288889" y="1006698"/>
                      <a:pt x="296300" y="1005575"/>
                      <a:pt x="303417" y="1003389"/>
                    </a:cubicBezTo>
                    <a:cubicBezTo>
                      <a:pt x="310516" y="1001126"/>
                      <a:pt x="317191" y="997604"/>
                      <a:pt x="323284" y="993310"/>
                    </a:cubicBezTo>
                    <a:cubicBezTo>
                      <a:pt x="329417" y="989074"/>
                      <a:pt x="334736" y="983657"/>
                      <a:pt x="339165" y="977659"/>
                    </a:cubicBezTo>
                    <a:cubicBezTo>
                      <a:pt x="343556" y="971661"/>
                      <a:pt x="347290" y="965084"/>
                      <a:pt x="349514" y="957963"/>
                    </a:cubicBezTo>
                    <a:cubicBezTo>
                      <a:pt x="350269" y="956242"/>
                      <a:pt x="350579" y="954403"/>
                      <a:pt x="351080" y="952604"/>
                    </a:cubicBezTo>
                    <a:lnTo>
                      <a:pt x="351777" y="949915"/>
                    </a:lnTo>
                    <a:cubicBezTo>
                      <a:pt x="352048" y="949005"/>
                      <a:pt x="352087" y="948058"/>
                      <a:pt x="352242" y="947148"/>
                    </a:cubicBezTo>
                    <a:cubicBezTo>
                      <a:pt x="352493" y="945311"/>
                      <a:pt x="352880" y="943472"/>
                      <a:pt x="353035" y="941615"/>
                    </a:cubicBezTo>
                    <a:lnTo>
                      <a:pt x="353326" y="936004"/>
                    </a:lnTo>
                    <a:cubicBezTo>
                      <a:pt x="353345" y="935520"/>
                      <a:pt x="353403" y="935133"/>
                      <a:pt x="353403" y="934554"/>
                    </a:cubicBezTo>
                    <a:lnTo>
                      <a:pt x="353403" y="73324"/>
                    </a:lnTo>
                    <a:cubicBezTo>
                      <a:pt x="353423" y="72047"/>
                      <a:pt x="353345" y="71197"/>
                      <a:pt x="353287" y="70248"/>
                    </a:cubicBezTo>
                    <a:close/>
                    <a:moveTo>
                      <a:pt x="314056" y="934554"/>
                    </a:moveTo>
                    <a:cubicBezTo>
                      <a:pt x="314056" y="934922"/>
                      <a:pt x="314037" y="934941"/>
                      <a:pt x="314018" y="935058"/>
                    </a:cubicBezTo>
                    <a:lnTo>
                      <a:pt x="313979" y="935387"/>
                    </a:lnTo>
                    <a:cubicBezTo>
                      <a:pt x="313882" y="936239"/>
                      <a:pt x="313844" y="937108"/>
                      <a:pt x="313863" y="937979"/>
                    </a:cubicBezTo>
                    <a:cubicBezTo>
                      <a:pt x="313805" y="938831"/>
                      <a:pt x="313534" y="939623"/>
                      <a:pt x="313476" y="940475"/>
                    </a:cubicBezTo>
                    <a:cubicBezTo>
                      <a:pt x="313398" y="940881"/>
                      <a:pt x="313456" y="941327"/>
                      <a:pt x="313302" y="941733"/>
                    </a:cubicBezTo>
                    <a:cubicBezTo>
                      <a:pt x="313166" y="942120"/>
                      <a:pt x="313050" y="942527"/>
                      <a:pt x="312934" y="942934"/>
                    </a:cubicBezTo>
                    <a:cubicBezTo>
                      <a:pt x="312701" y="943727"/>
                      <a:pt x="312682" y="944577"/>
                      <a:pt x="312256" y="945332"/>
                    </a:cubicBezTo>
                    <a:cubicBezTo>
                      <a:pt x="311346" y="948544"/>
                      <a:pt x="309548" y="951466"/>
                      <a:pt x="307575" y="954213"/>
                    </a:cubicBezTo>
                    <a:cubicBezTo>
                      <a:pt x="305564" y="956941"/>
                      <a:pt x="303166" y="959475"/>
                      <a:pt x="300341" y="961351"/>
                    </a:cubicBezTo>
                    <a:cubicBezTo>
                      <a:pt x="297537" y="963266"/>
                      <a:pt x="294577" y="964912"/>
                      <a:pt x="291404" y="965917"/>
                    </a:cubicBezTo>
                    <a:cubicBezTo>
                      <a:pt x="288192" y="966846"/>
                      <a:pt x="284884" y="967347"/>
                      <a:pt x="281404" y="967502"/>
                    </a:cubicBezTo>
                    <a:lnTo>
                      <a:pt x="71944" y="967502"/>
                    </a:lnTo>
                    <a:lnTo>
                      <a:pt x="71635" y="967464"/>
                    </a:lnTo>
                    <a:lnTo>
                      <a:pt x="70977" y="967386"/>
                    </a:lnTo>
                    <a:cubicBezTo>
                      <a:pt x="70125" y="967289"/>
                      <a:pt x="69256" y="967347"/>
                      <a:pt x="68404" y="967289"/>
                    </a:cubicBezTo>
                    <a:cubicBezTo>
                      <a:pt x="67572" y="967096"/>
                      <a:pt x="66741" y="966960"/>
                      <a:pt x="65909" y="966883"/>
                    </a:cubicBezTo>
                    <a:cubicBezTo>
                      <a:pt x="62639" y="966186"/>
                      <a:pt x="59486" y="965103"/>
                      <a:pt x="56468" y="963593"/>
                    </a:cubicBezTo>
                    <a:cubicBezTo>
                      <a:pt x="53547" y="961892"/>
                      <a:pt x="50839" y="959781"/>
                      <a:pt x="48440" y="957363"/>
                    </a:cubicBezTo>
                    <a:cubicBezTo>
                      <a:pt x="45964" y="954984"/>
                      <a:pt x="44185" y="952004"/>
                      <a:pt x="42675" y="949024"/>
                    </a:cubicBezTo>
                    <a:cubicBezTo>
                      <a:pt x="41804" y="947592"/>
                      <a:pt x="41456" y="945929"/>
                      <a:pt x="40780" y="944401"/>
                    </a:cubicBezTo>
                    <a:cubicBezTo>
                      <a:pt x="40625" y="943569"/>
                      <a:pt x="40432" y="942777"/>
                      <a:pt x="40180" y="941983"/>
                    </a:cubicBezTo>
                    <a:cubicBezTo>
                      <a:pt x="40006" y="941596"/>
                      <a:pt x="39987" y="941170"/>
                      <a:pt x="39948" y="940744"/>
                    </a:cubicBezTo>
                    <a:cubicBezTo>
                      <a:pt x="39909" y="940318"/>
                      <a:pt x="39851" y="939911"/>
                      <a:pt x="39774" y="939486"/>
                    </a:cubicBezTo>
                    <a:cubicBezTo>
                      <a:pt x="39696" y="939079"/>
                      <a:pt x="39619" y="938653"/>
                      <a:pt x="39522" y="938246"/>
                    </a:cubicBezTo>
                    <a:cubicBezTo>
                      <a:pt x="39541" y="937801"/>
                      <a:pt x="39541" y="937375"/>
                      <a:pt x="39522" y="936949"/>
                    </a:cubicBezTo>
                    <a:cubicBezTo>
                      <a:pt x="39503" y="936504"/>
                      <a:pt x="39483" y="936078"/>
                      <a:pt x="39445" y="935652"/>
                    </a:cubicBezTo>
                    <a:lnTo>
                      <a:pt x="39367" y="935013"/>
                    </a:lnTo>
                    <a:lnTo>
                      <a:pt x="39348" y="934839"/>
                    </a:lnTo>
                    <a:lnTo>
                      <a:pt x="39348" y="72318"/>
                    </a:lnTo>
                    <a:cubicBezTo>
                      <a:pt x="39348" y="71930"/>
                      <a:pt x="39367" y="71930"/>
                      <a:pt x="39367" y="71795"/>
                    </a:cubicBezTo>
                    <a:lnTo>
                      <a:pt x="39406" y="71466"/>
                    </a:lnTo>
                    <a:cubicBezTo>
                      <a:pt x="39503" y="70614"/>
                      <a:pt x="39541" y="69764"/>
                      <a:pt x="39522" y="68893"/>
                    </a:cubicBezTo>
                    <a:cubicBezTo>
                      <a:pt x="39580" y="68041"/>
                      <a:pt x="39851" y="67230"/>
                      <a:pt x="39909" y="66378"/>
                    </a:cubicBezTo>
                    <a:cubicBezTo>
                      <a:pt x="40006" y="65971"/>
                      <a:pt x="39929" y="65526"/>
                      <a:pt x="40083" y="65139"/>
                    </a:cubicBezTo>
                    <a:cubicBezTo>
                      <a:pt x="40219" y="64732"/>
                      <a:pt x="40354" y="64345"/>
                      <a:pt x="40451" y="63938"/>
                    </a:cubicBezTo>
                    <a:cubicBezTo>
                      <a:pt x="40703" y="63145"/>
                      <a:pt x="40722" y="62275"/>
                      <a:pt x="41129" y="61540"/>
                    </a:cubicBezTo>
                    <a:cubicBezTo>
                      <a:pt x="42058" y="58308"/>
                      <a:pt x="43837" y="55387"/>
                      <a:pt x="45829" y="52659"/>
                    </a:cubicBezTo>
                    <a:cubicBezTo>
                      <a:pt x="47821" y="49931"/>
                      <a:pt x="50219" y="47377"/>
                      <a:pt x="53063" y="45501"/>
                    </a:cubicBezTo>
                    <a:cubicBezTo>
                      <a:pt x="55848" y="43587"/>
                      <a:pt x="58808" y="41941"/>
                      <a:pt x="62000" y="40936"/>
                    </a:cubicBezTo>
                    <a:cubicBezTo>
                      <a:pt x="65212" y="40007"/>
                      <a:pt x="68501" y="39503"/>
                      <a:pt x="72001" y="39350"/>
                    </a:cubicBezTo>
                    <a:lnTo>
                      <a:pt x="280647" y="39350"/>
                    </a:lnTo>
                    <a:cubicBezTo>
                      <a:pt x="280898" y="39350"/>
                      <a:pt x="281324" y="39350"/>
                      <a:pt x="281440" y="39370"/>
                    </a:cubicBezTo>
                    <a:lnTo>
                      <a:pt x="281770" y="39409"/>
                    </a:lnTo>
                    <a:lnTo>
                      <a:pt x="282408" y="39467"/>
                    </a:lnTo>
                    <a:cubicBezTo>
                      <a:pt x="283260" y="39563"/>
                      <a:pt x="284149" y="39505"/>
                      <a:pt x="285000" y="39563"/>
                    </a:cubicBezTo>
                    <a:cubicBezTo>
                      <a:pt x="285813" y="39757"/>
                      <a:pt x="286644" y="39893"/>
                      <a:pt x="287496" y="39970"/>
                    </a:cubicBezTo>
                    <a:cubicBezTo>
                      <a:pt x="290765" y="40686"/>
                      <a:pt x="293919" y="41749"/>
                      <a:pt x="296917" y="43259"/>
                    </a:cubicBezTo>
                    <a:cubicBezTo>
                      <a:pt x="299838" y="44981"/>
                      <a:pt x="302546" y="47071"/>
                      <a:pt x="304945" y="49509"/>
                    </a:cubicBezTo>
                    <a:cubicBezTo>
                      <a:pt x="307440" y="51869"/>
                      <a:pt x="309219" y="54849"/>
                      <a:pt x="310709" y="57828"/>
                    </a:cubicBezTo>
                    <a:cubicBezTo>
                      <a:pt x="311600" y="59278"/>
                      <a:pt x="311929" y="60924"/>
                      <a:pt x="312624" y="62452"/>
                    </a:cubicBezTo>
                    <a:cubicBezTo>
                      <a:pt x="312759" y="63284"/>
                      <a:pt x="312953" y="64076"/>
                      <a:pt x="313224" y="64889"/>
                    </a:cubicBezTo>
                    <a:cubicBezTo>
                      <a:pt x="313398" y="65276"/>
                      <a:pt x="313418" y="65702"/>
                      <a:pt x="313437" y="66128"/>
                    </a:cubicBezTo>
                    <a:cubicBezTo>
                      <a:pt x="313495" y="66535"/>
                      <a:pt x="313553" y="66961"/>
                      <a:pt x="313611" y="67367"/>
                    </a:cubicBezTo>
                    <a:cubicBezTo>
                      <a:pt x="313689" y="67793"/>
                      <a:pt x="313785" y="68200"/>
                      <a:pt x="313882" y="68606"/>
                    </a:cubicBezTo>
                    <a:cubicBezTo>
                      <a:pt x="313863" y="69052"/>
                      <a:pt x="313863" y="69478"/>
                      <a:pt x="313882" y="69903"/>
                    </a:cubicBezTo>
                    <a:cubicBezTo>
                      <a:pt x="313882" y="70349"/>
                      <a:pt x="313921" y="70775"/>
                      <a:pt x="313960" y="71201"/>
                    </a:cubicBezTo>
                    <a:lnTo>
                      <a:pt x="314018" y="71859"/>
                    </a:lnTo>
                    <a:lnTo>
                      <a:pt x="314056" y="72014"/>
                    </a:lnTo>
                    <a:lnTo>
                      <a:pt x="314056" y="934558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Microsoft Sans Serif"/>
                </a:endParaRPr>
              </a:p>
            </p:txBody>
          </p:sp>
        </p:grp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798C16C-1E0E-873C-D37C-860C9A57D039}"/>
              </a:ext>
            </a:extLst>
          </p:cNvPr>
          <p:cNvGrpSpPr/>
          <p:nvPr/>
        </p:nvGrpSpPr>
        <p:grpSpPr>
          <a:xfrm>
            <a:off x="5069533" y="3627269"/>
            <a:ext cx="586805" cy="534080"/>
            <a:chOff x="2427662" y="2901142"/>
            <a:chExt cx="1901675" cy="1730811"/>
          </a:xfrm>
          <a:solidFill>
            <a:schemeClr val="accent1"/>
          </a:solidFill>
        </p:grpSpPr>
        <p:sp>
          <p:nvSpPr>
            <p:cNvPr id="56" name="Freeform 83">
              <a:extLst>
                <a:ext uri="{FF2B5EF4-FFF2-40B4-BE49-F238E27FC236}">
                  <a16:creationId xmlns:a16="http://schemas.microsoft.com/office/drawing/2014/main" id="{FDF000C2-98E7-AA25-E782-10784425A5BD}"/>
                </a:ext>
              </a:extLst>
            </p:cNvPr>
            <p:cNvSpPr/>
            <p:nvPr/>
          </p:nvSpPr>
          <p:spPr>
            <a:xfrm>
              <a:off x="2427662" y="2901142"/>
              <a:ext cx="1901675" cy="1730811"/>
            </a:xfrm>
            <a:custGeom>
              <a:avLst/>
              <a:gdLst>
                <a:gd name="connsiteX0" fmla="*/ 1797954 w 1901675"/>
                <a:gd name="connsiteY0" fmla="*/ 1351429 h 1730811"/>
                <a:gd name="connsiteX1" fmla="*/ 1535037 w 1901675"/>
                <a:gd name="connsiteY1" fmla="*/ 1266298 h 1730811"/>
                <a:gd name="connsiteX2" fmla="*/ 1532326 w 1901675"/>
                <a:gd name="connsiteY2" fmla="*/ 1265756 h 1730811"/>
                <a:gd name="connsiteX3" fmla="*/ 1532326 w 1901675"/>
                <a:gd name="connsiteY3" fmla="*/ 677070 h 1730811"/>
                <a:gd name="connsiteX4" fmla="*/ 1532146 w 1901675"/>
                <a:gd name="connsiteY4" fmla="*/ 673455 h 1730811"/>
                <a:gd name="connsiteX5" fmla="*/ 1531784 w 1901675"/>
                <a:gd name="connsiteY5" fmla="*/ 666045 h 1730811"/>
                <a:gd name="connsiteX6" fmla="*/ 1530700 w 1901675"/>
                <a:gd name="connsiteY6" fmla="*/ 658634 h 1730811"/>
                <a:gd name="connsiteX7" fmla="*/ 1530158 w 1901675"/>
                <a:gd name="connsiteY7" fmla="*/ 655019 h 1730811"/>
                <a:gd name="connsiteX8" fmla="*/ 1529254 w 1901675"/>
                <a:gd name="connsiteY8" fmla="*/ 651404 h 1730811"/>
                <a:gd name="connsiteX9" fmla="*/ 1527267 w 1901675"/>
                <a:gd name="connsiteY9" fmla="*/ 644174 h 1730811"/>
                <a:gd name="connsiteX10" fmla="*/ 1514437 w 1901675"/>
                <a:gd name="connsiteY10" fmla="*/ 617243 h 1730811"/>
                <a:gd name="connsiteX11" fmla="*/ 1510100 w 1901675"/>
                <a:gd name="connsiteY11" fmla="*/ 611279 h 1730811"/>
                <a:gd name="connsiteX12" fmla="*/ 1507932 w 1901675"/>
                <a:gd name="connsiteY12" fmla="*/ 608387 h 1730811"/>
                <a:gd name="connsiteX13" fmla="*/ 1505402 w 1901675"/>
                <a:gd name="connsiteY13" fmla="*/ 605676 h 1730811"/>
                <a:gd name="connsiteX14" fmla="*/ 1500343 w 1901675"/>
                <a:gd name="connsiteY14" fmla="*/ 600253 h 1730811"/>
                <a:gd name="connsiteX15" fmla="*/ 1494922 w 1901675"/>
                <a:gd name="connsiteY15" fmla="*/ 595193 h 1730811"/>
                <a:gd name="connsiteX16" fmla="*/ 1469985 w 1901675"/>
                <a:gd name="connsiteY16" fmla="*/ 579106 h 1730811"/>
                <a:gd name="connsiteX17" fmla="*/ 1466552 w 1901675"/>
                <a:gd name="connsiteY17" fmla="*/ 577480 h 1730811"/>
                <a:gd name="connsiteX18" fmla="*/ 1463119 w 1901675"/>
                <a:gd name="connsiteY18" fmla="*/ 576214 h 1730811"/>
                <a:gd name="connsiteX19" fmla="*/ 1456071 w 1901675"/>
                <a:gd name="connsiteY19" fmla="*/ 573684 h 1730811"/>
                <a:gd name="connsiteX20" fmla="*/ 1441435 w 1901675"/>
                <a:gd name="connsiteY20" fmla="*/ 570431 h 1730811"/>
                <a:gd name="connsiteX21" fmla="*/ 1434026 w 1901675"/>
                <a:gd name="connsiteY21" fmla="*/ 569527 h 1730811"/>
                <a:gd name="connsiteX22" fmla="*/ 1426618 w 1901675"/>
                <a:gd name="connsiteY22" fmla="*/ 569165 h 1730811"/>
                <a:gd name="connsiteX23" fmla="*/ 1421016 w 1901675"/>
                <a:gd name="connsiteY23" fmla="*/ 569165 h 1730811"/>
                <a:gd name="connsiteX24" fmla="*/ 1129187 w 1901675"/>
                <a:gd name="connsiteY24" fmla="*/ 569165 h 1730811"/>
                <a:gd name="connsiteX25" fmla="*/ 1099733 w 1901675"/>
                <a:gd name="connsiteY25" fmla="*/ 573322 h 1730811"/>
                <a:gd name="connsiteX26" fmla="*/ 1072448 w 1901675"/>
                <a:gd name="connsiteY26" fmla="*/ 585252 h 1730811"/>
                <a:gd name="connsiteX27" fmla="*/ 1060341 w 1901675"/>
                <a:gd name="connsiteY27" fmla="*/ 593927 h 1730811"/>
                <a:gd name="connsiteX28" fmla="*/ 1049499 w 1901675"/>
                <a:gd name="connsiteY28" fmla="*/ 604230 h 1730811"/>
                <a:gd name="connsiteX29" fmla="*/ 1044620 w 1901675"/>
                <a:gd name="connsiteY29" fmla="*/ 609833 h 1730811"/>
                <a:gd name="connsiteX30" fmla="*/ 1040103 w 1901675"/>
                <a:gd name="connsiteY30" fmla="*/ 615798 h 1730811"/>
                <a:gd name="connsiteX31" fmla="*/ 1036127 w 1901675"/>
                <a:gd name="connsiteY31" fmla="*/ 622124 h 1730811"/>
                <a:gd name="connsiteX32" fmla="*/ 1034140 w 1901675"/>
                <a:gd name="connsiteY32" fmla="*/ 625377 h 1730811"/>
                <a:gd name="connsiteX33" fmla="*/ 1032513 w 1901675"/>
                <a:gd name="connsiteY33" fmla="*/ 628630 h 1730811"/>
                <a:gd name="connsiteX34" fmla="*/ 1029261 w 1901675"/>
                <a:gd name="connsiteY34" fmla="*/ 635318 h 1730811"/>
                <a:gd name="connsiteX35" fmla="*/ 1026731 w 1901675"/>
                <a:gd name="connsiteY35" fmla="*/ 642367 h 1730811"/>
                <a:gd name="connsiteX36" fmla="*/ 1024563 w 1901675"/>
                <a:gd name="connsiteY36" fmla="*/ 649597 h 1730811"/>
                <a:gd name="connsiteX37" fmla="*/ 1022756 w 1901675"/>
                <a:gd name="connsiteY37" fmla="*/ 656827 h 1730811"/>
                <a:gd name="connsiteX38" fmla="*/ 1020949 w 1901675"/>
                <a:gd name="connsiteY38" fmla="*/ 671648 h 1730811"/>
                <a:gd name="connsiteX39" fmla="*/ 1020768 w 1901675"/>
                <a:gd name="connsiteY39" fmla="*/ 675263 h 1730811"/>
                <a:gd name="connsiteX40" fmla="*/ 1020768 w 1901675"/>
                <a:gd name="connsiteY40" fmla="*/ 677070 h 1730811"/>
                <a:gd name="connsiteX41" fmla="*/ 1020768 w 1901675"/>
                <a:gd name="connsiteY41" fmla="*/ 1214243 h 1730811"/>
                <a:gd name="connsiteX42" fmla="*/ 950837 w 1901675"/>
                <a:gd name="connsiteY42" fmla="*/ 1213521 h 1730811"/>
                <a:gd name="connsiteX43" fmla="*/ 660454 w 1901675"/>
                <a:gd name="connsiteY43" fmla="*/ 1225450 h 1730811"/>
                <a:gd name="connsiteX44" fmla="*/ 660454 w 1901675"/>
                <a:gd name="connsiteY44" fmla="*/ 747741 h 1730811"/>
                <a:gd name="connsiteX45" fmla="*/ 790377 w 1901675"/>
                <a:gd name="connsiteY45" fmla="*/ 687192 h 1730811"/>
                <a:gd name="connsiteX46" fmla="*/ 857597 w 1901675"/>
                <a:gd name="connsiteY46" fmla="*/ 655923 h 1730811"/>
                <a:gd name="connsiteX47" fmla="*/ 861753 w 1901675"/>
                <a:gd name="connsiteY47" fmla="*/ 653935 h 1730811"/>
                <a:gd name="connsiteX48" fmla="*/ 863921 w 1901675"/>
                <a:gd name="connsiteY48" fmla="*/ 653031 h 1730811"/>
                <a:gd name="connsiteX49" fmla="*/ 866812 w 1901675"/>
                <a:gd name="connsiteY49" fmla="*/ 651585 h 1730811"/>
                <a:gd name="connsiteX50" fmla="*/ 872414 w 1901675"/>
                <a:gd name="connsiteY50" fmla="*/ 648693 h 1730811"/>
                <a:gd name="connsiteX51" fmla="*/ 877835 w 1901675"/>
                <a:gd name="connsiteY51" fmla="*/ 645440 h 1730811"/>
                <a:gd name="connsiteX52" fmla="*/ 880546 w 1901675"/>
                <a:gd name="connsiteY52" fmla="*/ 643813 h 1730811"/>
                <a:gd name="connsiteX53" fmla="*/ 883256 w 1901675"/>
                <a:gd name="connsiteY53" fmla="*/ 642006 h 1730811"/>
                <a:gd name="connsiteX54" fmla="*/ 888496 w 1901675"/>
                <a:gd name="connsiteY54" fmla="*/ 638391 h 1730811"/>
                <a:gd name="connsiteX55" fmla="*/ 893375 w 1901675"/>
                <a:gd name="connsiteY55" fmla="*/ 634414 h 1730811"/>
                <a:gd name="connsiteX56" fmla="*/ 895905 w 1901675"/>
                <a:gd name="connsiteY56" fmla="*/ 632426 h 1730811"/>
                <a:gd name="connsiteX57" fmla="*/ 898254 w 1901675"/>
                <a:gd name="connsiteY57" fmla="*/ 630257 h 1730811"/>
                <a:gd name="connsiteX58" fmla="*/ 915240 w 1901675"/>
                <a:gd name="connsiteY58" fmla="*/ 611098 h 1730811"/>
                <a:gd name="connsiteX59" fmla="*/ 922287 w 1901675"/>
                <a:gd name="connsiteY59" fmla="*/ 600434 h 1730811"/>
                <a:gd name="connsiteX60" fmla="*/ 928250 w 1901675"/>
                <a:gd name="connsiteY60" fmla="*/ 589228 h 1730811"/>
                <a:gd name="connsiteX61" fmla="*/ 936743 w 1901675"/>
                <a:gd name="connsiteY61" fmla="*/ 565189 h 1730811"/>
                <a:gd name="connsiteX62" fmla="*/ 937466 w 1901675"/>
                <a:gd name="connsiteY62" fmla="*/ 562116 h 1730811"/>
                <a:gd name="connsiteX63" fmla="*/ 938008 w 1901675"/>
                <a:gd name="connsiteY63" fmla="*/ 559044 h 1730811"/>
                <a:gd name="connsiteX64" fmla="*/ 939092 w 1901675"/>
                <a:gd name="connsiteY64" fmla="*/ 552718 h 1730811"/>
                <a:gd name="connsiteX65" fmla="*/ 939815 w 1901675"/>
                <a:gd name="connsiteY65" fmla="*/ 546391 h 1730811"/>
                <a:gd name="connsiteX66" fmla="*/ 940176 w 1901675"/>
                <a:gd name="connsiteY66" fmla="*/ 543138 h 1730811"/>
                <a:gd name="connsiteX67" fmla="*/ 940357 w 1901675"/>
                <a:gd name="connsiteY67" fmla="*/ 539885 h 1730811"/>
                <a:gd name="connsiteX68" fmla="*/ 940538 w 1901675"/>
                <a:gd name="connsiteY68" fmla="*/ 533559 h 1730811"/>
                <a:gd name="connsiteX69" fmla="*/ 940538 w 1901675"/>
                <a:gd name="connsiteY69" fmla="*/ 132486 h 1730811"/>
                <a:gd name="connsiteX70" fmla="*/ 940357 w 1901675"/>
                <a:gd name="connsiteY70" fmla="*/ 129233 h 1730811"/>
                <a:gd name="connsiteX71" fmla="*/ 929515 w 1901675"/>
                <a:gd name="connsiteY71" fmla="*/ 79528 h 1730811"/>
                <a:gd name="connsiteX72" fmla="*/ 900603 w 1901675"/>
                <a:gd name="connsiteY72" fmla="*/ 37595 h 1730811"/>
                <a:gd name="connsiteX73" fmla="*/ 858139 w 1901675"/>
                <a:gd name="connsiteY73" fmla="*/ 9579 h 1730811"/>
                <a:gd name="connsiteX74" fmla="*/ 808085 w 1901675"/>
                <a:gd name="connsiteY74" fmla="*/ 0 h 1730811"/>
                <a:gd name="connsiteX75" fmla="*/ 221356 w 1901675"/>
                <a:gd name="connsiteY75" fmla="*/ 0 h 1730811"/>
                <a:gd name="connsiteX76" fmla="*/ 220091 w 1901675"/>
                <a:gd name="connsiteY76" fmla="*/ 0 h 1730811"/>
                <a:gd name="connsiteX77" fmla="*/ 213767 w 1901675"/>
                <a:gd name="connsiteY77" fmla="*/ 361 h 1730811"/>
                <a:gd name="connsiteX78" fmla="*/ 164255 w 1901675"/>
                <a:gd name="connsiteY78" fmla="*/ 12652 h 1730811"/>
                <a:gd name="connsiteX79" fmla="*/ 123237 w 1901675"/>
                <a:gd name="connsiteY79" fmla="*/ 42656 h 1730811"/>
                <a:gd name="connsiteX80" fmla="*/ 96493 w 1901675"/>
                <a:gd name="connsiteY80" fmla="*/ 86035 h 1730811"/>
                <a:gd name="connsiteX81" fmla="*/ 94506 w 1901675"/>
                <a:gd name="connsiteY81" fmla="*/ 92180 h 1730811"/>
                <a:gd name="connsiteX82" fmla="*/ 92699 w 1901675"/>
                <a:gd name="connsiteY82" fmla="*/ 98325 h 1730811"/>
                <a:gd name="connsiteX83" fmla="*/ 91072 w 1901675"/>
                <a:gd name="connsiteY83" fmla="*/ 104470 h 1730811"/>
                <a:gd name="connsiteX84" fmla="*/ 89988 w 1901675"/>
                <a:gd name="connsiteY84" fmla="*/ 110797 h 1730811"/>
                <a:gd name="connsiteX85" fmla="*/ 88542 w 1901675"/>
                <a:gd name="connsiteY85" fmla="*/ 123449 h 1730811"/>
                <a:gd name="connsiteX86" fmla="*/ 88181 w 1901675"/>
                <a:gd name="connsiteY86" fmla="*/ 129775 h 1730811"/>
                <a:gd name="connsiteX87" fmla="*/ 88181 w 1901675"/>
                <a:gd name="connsiteY87" fmla="*/ 131401 h 1730811"/>
                <a:gd name="connsiteX88" fmla="*/ 88181 w 1901675"/>
                <a:gd name="connsiteY88" fmla="*/ 132847 h 1730811"/>
                <a:gd name="connsiteX89" fmla="*/ 88181 w 1901675"/>
                <a:gd name="connsiteY89" fmla="*/ 528859 h 1730811"/>
                <a:gd name="connsiteX90" fmla="*/ 88362 w 1901675"/>
                <a:gd name="connsiteY90" fmla="*/ 535185 h 1730811"/>
                <a:gd name="connsiteX91" fmla="*/ 88904 w 1901675"/>
                <a:gd name="connsiteY91" fmla="*/ 541511 h 1730811"/>
                <a:gd name="connsiteX92" fmla="*/ 89627 w 1901675"/>
                <a:gd name="connsiteY92" fmla="*/ 547837 h 1730811"/>
                <a:gd name="connsiteX93" fmla="*/ 95770 w 1901675"/>
                <a:gd name="connsiteY93" fmla="*/ 572599 h 1730811"/>
                <a:gd name="connsiteX94" fmla="*/ 106612 w 1901675"/>
                <a:gd name="connsiteY94" fmla="*/ 595735 h 1730811"/>
                <a:gd name="connsiteX95" fmla="*/ 108239 w 1901675"/>
                <a:gd name="connsiteY95" fmla="*/ 598446 h 1730811"/>
                <a:gd name="connsiteX96" fmla="*/ 110046 w 1901675"/>
                <a:gd name="connsiteY96" fmla="*/ 601157 h 1730811"/>
                <a:gd name="connsiteX97" fmla="*/ 113660 w 1901675"/>
                <a:gd name="connsiteY97" fmla="*/ 606399 h 1730811"/>
                <a:gd name="connsiteX98" fmla="*/ 121791 w 1901675"/>
                <a:gd name="connsiteY98" fmla="*/ 616340 h 1730811"/>
                <a:gd name="connsiteX99" fmla="*/ 140584 w 1901675"/>
                <a:gd name="connsiteY99" fmla="*/ 633691 h 1730811"/>
                <a:gd name="connsiteX100" fmla="*/ 145824 w 1901675"/>
                <a:gd name="connsiteY100" fmla="*/ 637487 h 1730811"/>
                <a:gd name="connsiteX101" fmla="*/ 151245 w 1901675"/>
                <a:gd name="connsiteY101" fmla="*/ 640921 h 1730811"/>
                <a:gd name="connsiteX102" fmla="*/ 162448 w 1901675"/>
                <a:gd name="connsiteY102" fmla="*/ 647066 h 1730811"/>
                <a:gd name="connsiteX103" fmla="*/ 179253 w 1901675"/>
                <a:gd name="connsiteY103" fmla="*/ 655200 h 1730811"/>
                <a:gd name="connsiteX104" fmla="*/ 245931 w 1901675"/>
                <a:gd name="connsiteY104" fmla="*/ 687553 h 1730811"/>
                <a:gd name="connsiteX105" fmla="*/ 368445 w 1901675"/>
                <a:gd name="connsiteY105" fmla="*/ 747018 h 1730811"/>
                <a:gd name="connsiteX106" fmla="*/ 368445 w 1901675"/>
                <a:gd name="connsiteY106" fmla="*/ 1265756 h 1730811"/>
                <a:gd name="connsiteX107" fmla="*/ 365734 w 1901675"/>
                <a:gd name="connsiteY107" fmla="*/ 1266298 h 1730811"/>
                <a:gd name="connsiteX108" fmla="*/ 103721 w 1901675"/>
                <a:gd name="connsiteY108" fmla="*/ 1351248 h 1730811"/>
                <a:gd name="connsiteX109" fmla="*/ 0 w 1901675"/>
                <a:gd name="connsiteY109" fmla="*/ 1471986 h 1730811"/>
                <a:gd name="connsiteX110" fmla="*/ 80050 w 1901675"/>
                <a:gd name="connsiteY110" fmla="*/ 1578986 h 1730811"/>
                <a:gd name="connsiteX111" fmla="*/ 284601 w 1901675"/>
                <a:gd name="connsiteY111" fmla="*/ 1658514 h 1730811"/>
                <a:gd name="connsiteX112" fmla="*/ 950837 w 1901675"/>
                <a:gd name="connsiteY112" fmla="*/ 1730812 h 1730811"/>
                <a:gd name="connsiteX113" fmla="*/ 1617074 w 1901675"/>
                <a:gd name="connsiteY113" fmla="*/ 1658514 h 1730811"/>
                <a:gd name="connsiteX114" fmla="*/ 1821625 w 1901675"/>
                <a:gd name="connsiteY114" fmla="*/ 1578986 h 1730811"/>
                <a:gd name="connsiteX115" fmla="*/ 1901675 w 1901675"/>
                <a:gd name="connsiteY115" fmla="*/ 1471986 h 1730811"/>
                <a:gd name="connsiteX116" fmla="*/ 1797954 w 1901675"/>
                <a:gd name="connsiteY116" fmla="*/ 1351429 h 1730811"/>
                <a:gd name="connsiteX117" fmla="*/ 1047150 w 1901675"/>
                <a:gd name="connsiteY117" fmla="*/ 676708 h 1730811"/>
                <a:gd name="connsiteX118" fmla="*/ 1047150 w 1901675"/>
                <a:gd name="connsiteY118" fmla="*/ 675263 h 1730811"/>
                <a:gd name="connsiteX119" fmla="*/ 1047331 w 1901675"/>
                <a:gd name="connsiteY119" fmla="*/ 672371 h 1730811"/>
                <a:gd name="connsiteX120" fmla="*/ 1048596 w 1901675"/>
                <a:gd name="connsiteY120" fmla="*/ 661164 h 1730811"/>
                <a:gd name="connsiteX121" fmla="*/ 1049860 w 1901675"/>
                <a:gd name="connsiteY121" fmla="*/ 655742 h 1730811"/>
                <a:gd name="connsiteX122" fmla="*/ 1051487 w 1901675"/>
                <a:gd name="connsiteY122" fmla="*/ 650320 h 1730811"/>
                <a:gd name="connsiteX123" fmla="*/ 1053474 w 1901675"/>
                <a:gd name="connsiteY123" fmla="*/ 645078 h 1730811"/>
                <a:gd name="connsiteX124" fmla="*/ 1055823 w 1901675"/>
                <a:gd name="connsiteY124" fmla="*/ 640017 h 1730811"/>
                <a:gd name="connsiteX125" fmla="*/ 1057088 w 1901675"/>
                <a:gd name="connsiteY125" fmla="*/ 637487 h 1730811"/>
                <a:gd name="connsiteX126" fmla="*/ 1058534 w 1901675"/>
                <a:gd name="connsiteY126" fmla="*/ 635137 h 1730811"/>
                <a:gd name="connsiteX127" fmla="*/ 1061606 w 1901675"/>
                <a:gd name="connsiteY127" fmla="*/ 630438 h 1730811"/>
                <a:gd name="connsiteX128" fmla="*/ 1065039 w 1901675"/>
                <a:gd name="connsiteY128" fmla="*/ 625919 h 1730811"/>
                <a:gd name="connsiteX129" fmla="*/ 1068653 w 1901675"/>
                <a:gd name="connsiteY129" fmla="*/ 621581 h 1730811"/>
                <a:gd name="connsiteX130" fmla="*/ 1076785 w 1901675"/>
                <a:gd name="connsiteY130" fmla="*/ 613809 h 1730811"/>
                <a:gd name="connsiteX131" fmla="*/ 1086000 w 1901675"/>
                <a:gd name="connsiteY131" fmla="*/ 607302 h 1730811"/>
                <a:gd name="connsiteX132" fmla="*/ 1129007 w 1901675"/>
                <a:gd name="connsiteY132" fmla="*/ 595012 h 1730811"/>
                <a:gd name="connsiteX133" fmla="*/ 1420655 w 1901675"/>
                <a:gd name="connsiteY133" fmla="*/ 595012 h 1730811"/>
                <a:gd name="connsiteX134" fmla="*/ 1425714 w 1901675"/>
                <a:gd name="connsiteY134" fmla="*/ 595012 h 1730811"/>
                <a:gd name="connsiteX135" fmla="*/ 1431316 w 1901675"/>
                <a:gd name="connsiteY135" fmla="*/ 595373 h 1730811"/>
                <a:gd name="connsiteX136" fmla="*/ 1436917 w 1901675"/>
                <a:gd name="connsiteY136" fmla="*/ 596096 h 1730811"/>
                <a:gd name="connsiteX137" fmla="*/ 1447940 w 1901675"/>
                <a:gd name="connsiteY137" fmla="*/ 598627 h 1730811"/>
                <a:gd name="connsiteX138" fmla="*/ 1453180 w 1901675"/>
                <a:gd name="connsiteY138" fmla="*/ 600615 h 1730811"/>
                <a:gd name="connsiteX139" fmla="*/ 1455891 w 1901675"/>
                <a:gd name="connsiteY139" fmla="*/ 601519 h 1730811"/>
                <a:gd name="connsiteX140" fmla="*/ 1458421 w 1901675"/>
                <a:gd name="connsiteY140" fmla="*/ 602784 h 1730811"/>
                <a:gd name="connsiteX141" fmla="*/ 1477394 w 1901675"/>
                <a:gd name="connsiteY141" fmla="*/ 615074 h 1730811"/>
                <a:gd name="connsiteX142" fmla="*/ 1481550 w 1901675"/>
                <a:gd name="connsiteY142" fmla="*/ 618870 h 1730811"/>
                <a:gd name="connsiteX143" fmla="*/ 1485345 w 1901675"/>
                <a:gd name="connsiteY143" fmla="*/ 623027 h 1730811"/>
                <a:gd name="connsiteX144" fmla="*/ 1487152 w 1901675"/>
                <a:gd name="connsiteY144" fmla="*/ 625196 h 1730811"/>
                <a:gd name="connsiteX145" fmla="*/ 1488778 w 1901675"/>
                <a:gd name="connsiteY145" fmla="*/ 627365 h 1730811"/>
                <a:gd name="connsiteX146" fmla="*/ 1492031 w 1901675"/>
                <a:gd name="connsiteY146" fmla="*/ 631884 h 1730811"/>
                <a:gd name="connsiteX147" fmla="*/ 1501788 w 1901675"/>
                <a:gd name="connsiteY147" fmla="*/ 652308 h 1730811"/>
                <a:gd name="connsiteX148" fmla="*/ 1503234 w 1901675"/>
                <a:gd name="connsiteY148" fmla="*/ 657730 h 1730811"/>
                <a:gd name="connsiteX149" fmla="*/ 1503957 w 1901675"/>
                <a:gd name="connsiteY149" fmla="*/ 660441 h 1730811"/>
                <a:gd name="connsiteX150" fmla="*/ 1504318 w 1901675"/>
                <a:gd name="connsiteY150" fmla="*/ 663153 h 1730811"/>
                <a:gd name="connsiteX151" fmla="*/ 1505222 w 1901675"/>
                <a:gd name="connsiteY151" fmla="*/ 668756 h 1730811"/>
                <a:gd name="connsiteX152" fmla="*/ 1505583 w 1901675"/>
                <a:gd name="connsiteY152" fmla="*/ 674359 h 1730811"/>
                <a:gd name="connsiteX153" fmla="*/ 1505764 w 1901675"/>
                <a:gd name="connsiteY153" fmla="*/ 677070 h 1730811"/>
                <a:gd name="connsiteX154" fmla="*/ 1505764 w 1901675"/>
                <a:gd name="connsiteY154" fmla="*/ 1387216 h 1730811"/>
                <a:gd name="connsiteX155" fmla="*/ 1505764 w 1901675"/>
                <a:gd name="connsiteY155" fmla="*/ 1388481 h 1730811"/>
                <a:gd name="connsiteX156" fmla="*/ 1505764 w 1901675"/>
                <a:gd name="connsiteY156" fmla="*/ 1389927 h 1730811"/>
                <a:gd name="connsiteX157" fmla="*/ 1505583 w 1901675"/>
                <a:gd name="connsiteY157" fmla="*/ 1392819 h 1730811"/>
                <a:gd name="connsiteX158" fmla="*/ 1504318 w 1901675"/>
                <a:gd name="connsiteY158" fmla="*/ 1404025 h 1730811"/>
                <a:gd name="connsiteX159" fmla="*/ 1503053 w 1901675"/>
                <a:gd name="connsiteY159" fmla="*/ 1409448 h 1730811"/>
                <a:gd name="connsiteX160" fmla="*/ 1501427 w 1901675"/>
                <a:gd name="connsiteY160" fmla="*/ 1414870 h 1730811"/>
                <a:gd name="connsiteX161" fmla="*/ 1499439 w 1901675"/>
                <a:gd name="connsiteY161" fmla="*/ 1420112 h 1730811"/>
                <a:gd name="connsiteX162" fmla="*/ 1497090 w 1901675"/>
                <a:gd name="connsiteY162" fmla="*/ 1425173 h 1730811"/>
                <a:gd name="connsiteX163" fmla="*/ 1495825 w 1901675"/>
                <a:gd name="connsiteY163" fmla="*/ 1427703 h 1730811"/>
                <a:gd name="connsiteX164" fmla="*/ 1494380 w 1901675"/>
                <a:gd name="connsiteY164" fmla="*/ 1430053 h 1730811"/>
                <a:gd name="connsiteX165" fmla="*/ 1491308 w 1901675"/>
                <a:gd name="connsiteY165" fmla="*/ 1434752 h 1730811"/>
                <a:gd name="connsiteX166" fmla="*/ 1487875 w 1901675"/>
                <a:gd name="connsiteY166" fmla="*/ 1439271 h 1730811"/>
                <a:gd name="connsiteX167" fmla="*/ 1484080 w 1901675"/>
                <a:gd name="connsiteY167" fmla="*/ 1443428 h 1730811"/>
                <a:gd name="connsiteX168" fmla="*/ 1475948 w 1901675"/>
                <a:gd name="connsiteY168" fmla="*/ 1451200 h 1730811"/>
                <a:gd name="connsiteX169" fmla="*/ 1466733 w 1901675"/>
                <a:gd name="connsiteY169" fmla="*/ 1457707 h 1730811"/>
                <a:gd name="connsiteX170" fmla="*/ 1423726 w 1901675"/>
                <a:gd name="connsiteY170" fmla="*/ 1469997 h 1730811"/>
                <a:gd name="connsiteX171" fmla="*/ 1132440 w 1901675"/>
                <a:gd name="connsiteY171" fmla="*/ 1469997 h 1730811"/>
                <a:gd name="connsiteX172" fmla="*/ 1127380 w 1901675"/>
                <a:gd name="connsiteY172" fmla="*/ 1469997 h 1730811"/>
                <a:gd name="connsiteX173" fmla="*/ 1121779 w 1901675"/>
                <a:gd name="connsiteY173" fmla="*/ 1469636 h 1730811"/>
                <a:gd name="connsiteX174" fmla="*/ 1116177 w 1901675"/>
                <a:gd name="connsiteY174" fmla="*/ 1468913 h 1730811"/>
                <a:gd name="connsiteX175" fmla="*/ 1105154 w 1901675"/>
                <a:gd name="connsiteY175" fmla="*/ 1466382 h 1730811"/>
                <a:gd name="connsiteX176" fmla="*/ 1099733 w 1901675"/>
                <a:gd name="connsiteY176" fmla="*/ 1464575 h 1730811"/>
                <a:gd name="connsiteX177" fmla="*/ 1097023 w 1901675"/>
                <a:gd name="connsiteY177" fmla="*/ 1463491 h 1730811"/>
                <a:gd name="connsiteX178" fmla="*/ 1094493 w 1901675"/>
                <a:gd name="connsiteY178" fmla="*/ 1462225 h 1730811"/>
                <a:gd name="connsiteX179" fmla="*/ 1075520 w 1901675"/>
                <a:gd name="connsiteY179" fmla="*/ 1449935 h 1730811"/>
                <a:gd name="connsiteX180" fmla="*/ 1071364 w 1901675"/>
                <a:gd name="connsiteY180" fmla="*/ 1446139 h 1730811"/>
                <a:gd name="connsiteX181" fmla="*/ 1067569 w 1901675"/>
                <a:gd name="connsiteY181" fmla="*/ 1441982 h 1730811"/>
                <a:gd name="connsiteX182" fmla="*/ 1065762 w 1901675"/>
                <a:gd name="connsiteY182" fmla="*/ 1439813 h 1730811"/>
                <a:gd name="connsiteX183" fmla="*/ 1064136 w 1901675"/>
                <a:gd name="connsiteY183" fmla="*/ 1437644 h 1730811"/>
                <a:gd name="connsiteX184" fmla="*/ 1060883 w 1901675"/>
                <a:gd name="connsiteY184" fmla="*/ 1433125 h 1730811"/>
                <a:gd name="connsiteX185" fmla="*/ 1051125 w 1901675"/>
                <a:gd name="connsiteY185" fmla="*/ 1412701 h 1730811"/>
                <a:gd name="connsiteX186" fmla="*/ 1049680 w 1901675"/>
                <a:gd name="connsiteY186" fmla="*/ 1407279 h 1730811"/>
                <a:gd name="connsiteX187" fmla="*/ 1048957 w 1901675"/>
                <a:gd name="connsiteY187" fmla="*/ 1404568 h 1730811"/>
                <a:gd name="connsiteX188" fmla="*/ 1048596 w 1901675"/>
                <a:gd name="connsiteY188" fmla="*/ 1401857 h 1730811"/>
                <a:gd name="connsiteX189" fmla="*/ 1047692 w 1901675"/>
                <a:gd name="connsiteY189" fmla="*/ 1396253 h 1730811"/>
                <a:gd name="connsiteX190" fmla="*/ 1047331 w 1901675"/>
                <a:gd name="connsiteY190" fmla="*/ 1390650 h 1730811"/>
                <a:gd name="connsiteX191" fmla="*/ 1047150 w 1901675"/>
                <a:gd name="connsiteY191" fmla="*/ 1387939 h 1730811"/>
                <a:gd name="connsiteX192" fmla="*/ 1047150 w 1901675"/>
                <a:gd name="connsiteY192" fmla="*/ 677974 h 1730811"/>
                <a:gd name="connsiteX193" fmla="*/ 1047150 w 1901675"/>
                <a:gd name="connsiteY193" fmla="*/ 676708 h 1730811"/>
                <a:gd name="connsiteX194" fmla="*/ 256592 w 1901675"/>
                <a:gd name="connsiteY194" fmla="*/ 665683 h 1730811"/>
                <a:gd name="connsiteX195" fmla="*/ 189915 w 1901675"/>
                <a:gd name="connsiteY195" fmla="*/ 633330 h 1730811"/>
                <a:gd name="connsiteX196" fmla="*/ 173290 w 1901675"/>
                <a:gd name="connsiteY196" fmla="*/ 625196 h 1730811"/>
                <a:gd name="connsiteX197" fmla="*/ 164255 w 1901675"/>
                <a:gd name="connsiteY197" fmla="*/ 620135 h 1730811"/>
                <a:gd name="connsiteX198" fmla="*/ 159918 w 1901675"/>
                <a:gd name="connsiteY198" fmla="*/ 617424 h 1730811"/>
                <a:gd name="connsiteX199" fmla="*/ 155762 w 1901675"/>
                <a:gd name="connsiteY199" fmla="*/ 614352 h 1730811"/>
                <a:gd name="connsiteX200" fmla="*/ 140403 w 1901675"/>
                <a:gd name="connsiteY200" fmla="*/ 600253 h 1730811"/>
                <a:gd name="connsiteX201" fmla="*/ 133898 w 1901675"/>
                <a:gd name="connsiteY201" fmla="*/ 592120 h 1730811"/>
                <a:gd name="connsiteX202" fmla="*/ 131007 w 1901675"/>
                <a:gd name="connsiteY202" fmla="*/ 587782 h 1730811"/>
                <a:gd name="connsiteX203" fmla="*/ 129561 w 1901675"/>
                <a:gd name="connsiteY203" fmla="*/ 585613 h 1730811"/>
                <a:gd name="connsiteX204" fmla="*/ 128296 w 1901675"/>
                <a:gd name="connsiteY204" fmla="*/ 583444 h 1730811"/>
                <a:gd name="connsiteX205" fmla="*/ 119442 w 1901675"/>
                <a:gd name="connsiteY205" fmla="*/ 564647 h 1730811"/>
                <a:gd name="connsiteX206" fmla="*/ 114382 w 1901675"/>
                <a:gd name="connsiteY206" fmla="*/ 544403 h 1730811"/>
                <a:gd name="connsiteX207" fmla="*/ 113840 w 1901675"/>
                <a:gd name="connsiteY207" fmla="*/ 539162 h 1730811"/>
                <a:gd name="connsiteX208" fmla="*/ 113479 w 1901675"/>
                <a:gd name="connsiteY208" fmla="*/ 533920 h 1730811"/>
                <a:gd name="connsiteX209" fmla="*/ 113298 w 1901675"/>
                <a:gd name="connsiteY209" fmla="*/ 528679 h 1730811"/>
                <a:gd name="connsiteX210" fmla="*/ 113298 w 1901675"/>
                <a:gd name="connsiteY210" fmla="*/ 132847 h 1730811"/>
                <a:gd name="connsiteX211" fmla="*/ 113298 w 1901675"/>
                <a:gd name="connsiteY211" fmla="*/ 130317 h 1730811"/>
                <a:gd name="connsiteX212" fmla="*/ 113479 w 1901675"/>
                <a:gd name="connsiteY212" fmla="*/ 125075 h 1730811"/>
                <a:gd name="connsiteX213" fmla="*/ 114744 w 1901675"/>
                <a:gd name="connsiteY213" fmla="*/ 114773 h 1730811"/>
                <a:gd name="connsiteX214" fmla="*/ 115647 w 1901675"/>
                <a:gd name="connsiteY214" fmla="*/ 109712 h 1730811"/>
                <a:gd name="connsiteX215" fmla="*/ 116912 w 1901675"/>
                <a:gd name="connsiteY215" fmla="*/ 104651 h 1730811"/>
                <a:gd name="connsiteX216" fmla="*/ 118358 w 1901675"/>
                <a:gd name="connsiteY216" fmla="*/ 99590 h 1730811"/>
                <a:gd name="connsiteX217" fmla="*/ 120165 w 1901675"/>
                <a:gd name="connsiteY217" fmla="*/ 94710 h 1730811"/>
                <a:gd name="connsiteX218" fmla="*/ 141849 w 1901675"/>
                <a:gd name="connsiteY218" fmla="*/ 59465 h 1730811"/>
                <a:gd name="connsiteX219" fmla="*/ 175278 w 1901675"/>
                <a:gd name="connsiteY219" fmla="*/ 35064 h 1730811"/>
                <a:gd name="connsiteX220" fmla="*/ 215393 w 1901675"/>
                <a:gd name="connsiteY220" fmla="*/ 24943 h 1730811"/>
                <a:gd name="connsiteX221" fmla="*/ 220633 w 1901675"/>
                <a:gd name="connsiteY221" fmla="*/ 24762 h 1730811"/>
                <a:gd name="connsiteX222" fmla="*/ 225331 w 1901675"/>
                <a:gd name="connsiteY222" fmla="*/ 24762 h 1730811"/>
                <a:gd name="connsiteX223" fmla="*/ 808627 w 1901675"/>
                <a:gd name="connsiteY223" fmla="*/ 24762 h 1730811"/>
                <a:gd name="connsiteX224" fmla="*/ 849285 w 1901675"/>
                <a:gd name="connsiteY224" fmla="*/ 32715 h 1730811"/>
                <a:gd name="connsiteX225" fmla="*/ 883798 w 1901675"/>
                <a:gd name="connsiteY225" fmla="*/ 55489 h 1730811"/>
                <a:gd name="connsiteX226" fmla="*/ 907289 w 1901675"/>
                <a:gd name="connsiteY226" fmla="*/ 89469 h 1730811"/>
                <a:gd name="connsiteX227" fmla="*/ 916143 w 1901675"/>
                <a:gd name="connsiteY227" fmla="*/ 129956 h 1730811"/>
                <a:gd name="connsiteX228" fmla="*/ 916324 w 1901675"/>
                <a:gd name="connsiteY228" fmla="*/ 132486 h 1730811"/>
                <a:gd name="connsiteX229" fmla="*/ 916324 w 1901675"/>
                <a:gd name="connsiteY229" fmla="*/ 533016 h 1730811"/>
                <a:gd name="connsiteX230" fmla="*/ 916143 w 1901675"/>
                <a:gd name="connsiteY230" fmla="*/ 538258 h 1730811"/>
                <a:gd name="connsiteX231" fmla="*/ 915963 w 1901675"/>
                <a:gd name="connsiteY231" fmla="*/ 540788 h 1730811"/>
                <a:gd name="connsiteX232" fmla="*/ 915782 w 1901675"/>
                <a:gd name="connsiteY232" fmla="*/ 543319 h 1730811"/>
                <a:gd name="connsiteX233" fmla="*/ 915240 w 1901675"/>
                <a:gd name="connsiteY233" fmla="*/ 548560 h 1730811"/>
                <a:gd name="connsiteX234" fmla="*/ 914336 w 1901675"/>
                <a:gd name="connsiteY234" fmla="*/ 553621 h 1730811"/>
                <a:gd name="connsiteX235" fmla="*/ 913794 w 1901675"/>
                <a:gd name="connsiteY235" fmla="*/ 556152 h 1730811"/>
                <a:gd name="connsiteX236" fmla="*/ 913071 w 1901675"/>
                <a:gd name="connsiteY236" fmla="*/ 558682 h 1730811"/>
                <a:gd name="connsiteX237" fmla="*/ 906205 w 1901675"/>
                <a:gd name="connsiteY237" fmla="*/ 578383 h 1730811"/>
                <a:gd name="connsiteX238" fmla="*/ 901326 w 1901675"/>
                <a:gd name="connsiteY238" fmla="*/ 587601 h 1730811"/>
                <a:gd name="connsiteX239" fmla="*/ 895724 w 1901675"/>
                <a:gd name="connsiteY239" fmla="*/ 596277 h 1730811"/>
                <a:gd name="connsiteX240" fmla="*/ 881810 w 1901675"/>
                <a:gd name="connsiteY240" fmla="*/ 611821 h 1730811"/>
                <a:gd name="connsiteX241" fmla="*/ 880003 w 1901675"/>
                <a:gd name="connsiteY241" fmla="*/ 613629 h 1730811"/>
                <a:gd name="connsiteX242" fmla="*/ 878016 w 1901675"/>
                <a:gd name="connsiteY242" fmla="*/ 615255 h 1730811"/>
                <a:gd name="connsiteX243" fmla="*/ 874040 w 1901675"/>
                <a:gd name="connsiteY243" fmla="*/ 618509 h 1730811"/>
                <a:gd name="connsiteX244" fmla="*/ 869884 w 1901675"/>
                <a:gd name="connsiteY244" fmla="*/ 621581 h 1730811"/>
                <a:gd name="connsiteX245" fmla="*/ 867716 w 1901675"/>
                <a:gd name="connsiteY245" fmla="*/ 623027 h 1730811"/>
                <a:gd name="connsiteX246" fmla="*/ 865548 w 1901675"/>
                <a:gd name="connsiteY246" fmla="*/ 624473 h 1730811"/>
                <a:gd name="connsiteX247" fmla="*/ 861030 w 1901675"/>
                <a:gd name="connsiteY247" fmla="*/ 627184 h 1730811"/>
                <a:gd name="connsiteX248" fmla="*/ 856332 w 1901675"/>
                <a:gd name="connsiteY248" fmla="*/ 629534 h 1730811"/>
                <a:gd name="connsiteX249" fmla="*/ 853983 w 1901675"/>
                <a:gd name="connsiteY249" fmla="*/ 630619 h 1730811"/>
                <a:gd name="connsiteX250" fmla="*/ 851814 w 1901675"/>
                <a:gd name="connsiteY250" fmla="*/ 631522 h 1730811"/>
                <a:gd name="connsiteX251" fmla="*/ 847658 w 1901675"/>
                <a:gd name="connsiteY251" fmla="*/ 633510 h 1730811"/>
                <a:gd name="connsiteX252" fmla="*/ 780438 w 1901675"/>
                <a:gd name="connsiteY252" fmla="*/ 664779 h 1730811"/>
                <a:gd name="connsiteX253" fmla="*/ 647625 w 1901675"/>
                <a:gd name="connsiteY253" fmla="*/ 726594 h 1730811"/>
                <a:gd name="connsiteX254" fmla="*/ 642023 w 1901675"/>
                <a:gd name="connsiteY254" fmla="*/ 729305 h 1730811"/>
                <a:gd name="connsiteX255" fmla="*/ 637867 w 1901675"/>
                <a:gd name="connsiteY255" fmla="*/ 733824 h 1730811"/>
                <a:gd name="connsiteX256" fmla="*/ 636241 w 1901675"/>
                <a:gd name="connsiteY256" fmla="*/ 739788 h 1730811"/>
                <a:gd name="connsiteX257" fmla="*/ 636241 w 1901675"/>
                <a:gd name="connsiteY257" fmla="*/ 746114 h 1730811"/>
                <a:gd name="connsiteX258" fmla="*/ 636241 w 1901675"/>
                <a:gd name="connsiteY258" fmla="*/ 1351971 h 1730811"/>
                <a:gd name="connsiteX259" fmla="*/ 636241 w 1901675"/>
                <a:gd name="connsiteY259" fmla="*/ 1356851 h 1730811"/>
                <a:gd name="connsiteX260" fmla="*/ 634253 w 1901675"/>
                <a:gd name="connsiteY260" fmla="*/ 1377275 h 1730811"/>
                <a:gd name="connsiteX261" fmla="*/ 628832 w 1901675"/>
                <a:gd name="connsiteY261" fmla="*/ 1397157 h 1730811"/>
                <a:gd name="connsiteX262" fmla="*/ 620159 w 1901675"/>
                <a:gd name="connsiteY262" fmla="*/ 1415774 h 1730811"/>
                <a:gd name="connsiteX263" fmla="*/ 594138 w 1901675"/>
                <a:gd name="connsiteY263" fmla="*/ 1447224 h 1730811"/>
                <a:gd name="connsiteX264" fmla="*/ 519148 w 1901675"/>
                <a:gd name="connsiteY264" fmla="*/ 1476504 h 1730811"/>
                <a:gd name="connsiteX265" fmla="*/ 478671 w 1901675"/>
                <a:gd name="connsiteY265" fmla="*/ 1471082 h 1730811"/>
                <a:gd name="connsiteX266" fmla="*/ 442351 w 1901675"/>
                <a:gd name="connsiteY266" fmla="*/ 1452465 h 1730811"/>
                <a:gd name="connsiteX267" fmla="*/ 414162 w 1901675"/>
                <a:gd name="connsiteY267" fmla="*/ 1422823 h 1730811"/>
                <a:gd name="connsiteX268" fmla="*/ 397357 w 1901675"/>
                <a:gd name="connsiteY268" fmla="*/ 1385590 h 1730811"/>
                <a:gd name="connsiteX269" fmla="*/ 393924 w 1901675"/>
                <a:gd name="connsiteY269" fmla="*/ 1365346 h 1730811"/>
                <a:gd name="connsiteX270" fmla="*/ 393562 w 1901675"/>
                <a:gd name="connsiteY270" fmla="*/ 1355044 h 1730811"/>
                <a:gd name="connsiteX271" fmla="*/ 393562 w 1901675"/>
                <a:gd name="connsiteY271" fmla="*/ 745030 h 1730811"/>
                <a:gd name="connsiteX272" fmla="*/ 393562 w 1901675"/>
                <a:gd name="connsiteY272" fmla="*/ 738704 h 1730811"/>
                <a:gd name="connsiteX273" fmla="*/ 387057 w 1901675"/>
                <a:gd name="connsiteY273" fmla="*/ 728582 h 1730811"/>
                <a:gd name="connsiteX274" fmla="*/ 383082 w 1901675"/>
                <a:gd name="connsiteY274" fmla="*/ 726594 h 1730811"/>
                <a:gd name="connsiteX275" fmla="*/ 256592 w 1901675"/>
                <a:gd name="connsiteY275" fmla="*/ 665683 h 1730811"/>
                <a:gd name="connsiteX276" fmla="*/ 1807531 w 1901675"/>
                <a:gd name="connsiteY276" fmla="*/ 1555851 h 1730811"/>
                <a:gd name="connsiteX277" fmla="*/ 1610388 w 1901675"/>
                <a:gd name="connsiteY277" fmla="*/ 1632125 h 1730811"/>
                <a:gd name="connsiteX278" fmla="*/ 951018 w 1901675"/>
                <a:gd name="connsiteY278" fmla="*/ 1703520 h 1730811"/>
                <a:gd name="connsiteX279" fmla="*/ 291648 w 1901675"/>
                <a:gd name="connsiteY279" fmla="*/ 1632125 h 1730811"/>
                <a:gd name="connsiteX280" fmla="*/ 94506 w 1901675"/>
                <a:gd name="connsiteY280" fmla="*/ 1555851 h 1730811"/>
                <a:gd name="connsiteX281" fmla="*/ 27286 w 1901675"/>
                <a:gd name="connsiteY281" fmla="*/ 1471986 h 1730811"/>
                <a:gd name="connsiteX282" fmla="*/ 116370 w 1901675"/>
                <a:gd name="connsiteY282" fmla="*/ 1375649 h 1730811"/>
                <a:gd name="connsiteX283" fmla="*/ 368445 w 1901675"/>
                <a:gd name="connsiteY283" fmla="*/ 1293771 h 1730811"/>
                <a:gd name="connsiteX284" fmla="*/ 368445 w 1901675"/>
                <a:gd name="connsiteY284" fmla="*/ 1355044 h 1730811"/>
                <a:gd name="connsiteX285" fmla="*/ 368987 w 1901675"/>
                <a:gd name="connsiteY285" fmla="*/ 1367334 h 1730811"/>
                <a:gd name="connsiteX286" fmla="*/ 372962 w 1901675"/>
                <a:gd name="connsiteY286" fmla="*/ 1391735 h 1730811"/>
                <a:gd name="connsiteX287" fmla="*/ 393201 w 1901675"/>
                <a:gd name="connsiteY287" fmla="*/ 1436740 h 1730811"/>
                <a:gd name="connsiteX288" fmla="*/ 426991 w 1901675"/>
                <a:gd name="connsiteY288" fmla="*/ 1472347 h 1730811"/>
                <a:gd name="connsiteX289" fmla="*/ 470721 w 1901675"/>
                <a:gd name="connsiteY289" fmla="*/ 1494759 h 1730811"/>
                <a:gd name="connsiteX290" fmla="*/ 519509 w 1901675"/>
                <a:gd name="connsiteY290" fmla="*/ 1501266 h 1730811"/>
                <a:gd name="connsiteX291" fmla="*/ 609859 w 1901675"/>
                <a:gd name="connsiteY291" fmla="*/ 1466021 h 1730811"/>
                <a:gd name="connsiteX292" fmla="*/ 658286 w 1901675"/>
                <a:gd name="connsiteY292" fmla="*/ 1381975 h 1730811"/>
                <a:gd name="connsiteX293" fmla="*/ 660816 w 1901675"/>
                <a:gd name="connsiteY293" fmla="*/ 1357393 h 1730811"/>
                <a:gd name="connsiteX294" fmla="*/ 660816 w 1901675"/>
                <a:gd name="connsiteY294" fmla="*/ 1352152 h 1730811"/>
                <a:gd name="connsiteX295" fmla="*/ 660816 w 1901675"/>
                <a:gd name="connsiteY295" fmla="*/ 1252200 h 1730811"/>
                <a:gd name="connsiteX296" fmla="*/ 661900 w 1901675"/>
                <a:gd name="connsiteY296" fmla="*/ 1252019 h 1730811"/>
                <a:gd name="connsiteX297" fmla="*/ 951199 w 1901675"/>
                <a:gd name="connsiteY297" fmla="*/ 1240090 h 1730811"/>
                <a:gd name="connsiteX298" fmla="*/ 1020768 w 1901675"/>
                <a:gd name="connsiteY298" fmla="*/ 1240813 h 1730811"/>
                <a:gd name="connsiteX299" fmla="*/ 1020949 w 1901675"/>
                <a:gd name="connsiteY299" fmla="*/ 1240813 h 1730811"/>
                <a:gd name="connsiteX300" fmla="*/ 1020949 w 1901675"/>
                <a:gd name="connsiteY300" fmla="*/ 1388120 h 1730811"/>
                <a:gd name="connsiteX301" fmla="*/ 1021129 w 1901675"/>
                <a:gd name="connsiteY301" fmla="*/ 1391735 h 1730811"/>
                <a:gd name="connsiteX302" fmla="*/ 1021491 w 1901675"/>
                <a:gd name="connsiteY302" fmla="*/ 1399145 h 1730811"/>
                <a:gd name="connsiteX303" fmla="*/ 1022575 w 1901675"/>
                <a:gd name="connsiteY303" fmla="*/ 1406556 h 1730811"/>
                <a:gd name="connsiteX304" fmla="*/ 1023117 w 1901675"/>
                <a:gd name="connsiteY304" fmla="*/ 1410171 h 1730811"/>
                <a:gd name="connsiteX305" fmla="*/ 1024020 w 1901675"/>
                <a:gd name="connsiteY305" fmla="*/ 1413786 h 1730811"/>
                <a:gd name="connsiteX306" fmla="*/ 1026008 w 1901675"/>
                <a:gd name="connsiteY306" fmla="*/ 1421016 h 1730811"/>
                <a:gd name="connsiteX307" fmla="*/ 1038838 w 1901675"/>
                <a:gd name="connsiteY307" fmla="*/ 1447946 h 1730811"/>
                <a:gd name="connsiteX308" fmla="*/ 1043175 w 1901675"/>
                <a:gd name="connsiteY308" fmla="*/ 1453911 h 1730811"/>
                <a:gd name="connsiteX309" fmla="*/ 1045343 w 1901675"/>
                <a:gd name="connsiteY309" fmla="*/ 1456803 h 1730811"/>
                <a:gd name="connsiteX310" fmla="*/ 1047873 w 1901675"/>
                <a:gd name="connsiteY310" fmla="*/ 1459695 h 1730811"/>
                <a:gd name="connsiteX311" fmla="*/ 1052932 w 1901675"/>
                <a:gd name="connsiteY311" fmla="*/ 1465117 h 1730811"/>
                <a:gd name="connsiteX312" fmla="*/ 1058353 w 1901675"/>
                <a:gd name="connsiteY312" fmla="*/ 1470178 h 1730811"/>
                <a:gd name="connsiteX313" fmla="*/ 1083290 w 1901675"/>
                <a:gd name="connsiteY313" fmla="*/ 1486264 h 1730811"/>
                <a:gd name="connsiteX314" fmla="*/ 1086723 w 1901675"/>
                <a:gd name="connsiteY314" fmla="*/ 1487891 h 1730811"/>
                <a:gd name="connsiteX315" fmla="*/ 1090156 w 1901675"/>
                <a:gd name="connsiteY315" fmla="*/ 1489156 h 1730811"/>
                <a:gd name="connsiteX316" fmla="*/ 1097204 w 1901675"/>
                <a:gd name="connsiteY316" fmla="*/ 1491687 h 1730811"/>
                <a:gd name="connsiteX317" fmla="*/ 1111840 w 1901675"/>
                <a:gd name="connsiteY317" fmla="*/ 1494940 h 1730811"/>
                <a:gd name="connsiteX318" fmla="*/ 1119249 w 1901675"/>
                <a:gd name="connsiteY318" fmla="*/ 1495844 h 1730811"/>
                <a:gd name="connsiteX319" fmla="*/ 1126657 w 1901675"/>
                <a:gd name="connsiteY319" fmla="*/ 1496205 h 1730811"/>
                <a:gd name="connsiteX320" fmla="*/ 1132259 w 1901675"/>
                <a:gd name="connsiteY320" fmla="*/ 1496386 h 1730811"/>
                <a:gd name="connsiteX321" fmla="*/ 1423907 w 1901675"/>
                <a:gd name="connsiteY321" fmla="*/ 1496386 h 1730811"/>
                <a:gd name="connsiteX322" fmla="*/ 1480647 w 1901675"/>
                <a:gd name="connsiteY322" fmla="*/ 1480300 h 1730811"/>
                <a:gd name="connsiteX323" fmla="*/ 1492753 w 1901675"/>
                <a:gd name="connsiteY323" fmla="*/ 1471624 h 1730811"/>
                <a:gd name="connsiteX324" fmla="*/ 1503595 w 1901675"/>
                <a:gd name="connsiteY324" fmla="*/ 1461322 h 1730811"/>
                <a:gd name="connsiteX325" fmla="*/ 1508474 w 1901675"/>
                <a:gd name="connsiteY325" fmla="*/ 1455719 h 1730811"/>
                <a:gd name="connsiteX326" fmla="*/ 1512992 w 1901675"/>
                <a:gd name="connsiteY326" fmla="*/ 1449754 h 1730811"/>
                <a:gd name="connsiteX327" fmla="*/ 1516967 w 1901675"/>
                <a:gd name="connsiteY327" fmla="*/ 1443428 h 1730811"/>
                <a:gd name="connsiteX328" fmla="*/ 1518955 w 1901675"/>
                <a:gd name="connsiteY328" fmla="*/ 1440174 h 1730811"/>
                <a:gd name="connsiteX329" fmla="*/ 1520581 w 1901675"/>
                <a:gd name="connsiteY329" fmla="*/ 1436921 h 1730811"/>
                <a:gd name="connsiteX330" fmla="*/ 1523834 w 1901675"/>
                <a:gd name="connsiteY330" fmla="*/ 1430233 h 1730811"/>
                <a:gd name="connsiteX331" fmla="*/ 1526544 w 1901675"/>
                <a:gd name="connsiteY331" fmla="*/ 1423185 h 1730811"/>
                <a:gd name="connsiteX332" fmla="*/ 1528712 w 1901675"/>
                <a:gd name="connsiteY332" fmla="*/ 1415955 h 1730811"/>
                <a:gd name="connsiteX333" fmla="*/ 1530519 w 1901675"/>
                <a:gd name="connsiteY333" fmla="*/ 1408725 h 1730811"/>
                <a:gd name="connsiteX334" fmla="*/ 1532326 w 1901675"/>
                <a:gd name="connsiteY334" fmla="*/ 1393904 h 1730811"/>
                <a:gd name="connsiteX335" fmla="*/ 1532507 w 1901675"/>
                <a:gd name="connsiteY335" fmla="*/ 1390108 h 1730811"/>
                <a:gd name="connsiteX336" fmla="*/ 1532507 w 1901675"/>
                <a:gd name="connsiteY336" fmla="*/ 1388301 h 1730811"/>
                <a:gd name="connsiteX337" fmla="*/ 1532507 w 1901675"/>
                <a:gd name="connsiteY337" fmla="*/ 1293048 h 1730811"/>
                <a:gd name="connsiteX338" fmla="*/ 1785485 w 1901675"/>
                <a:gd name="connsiteY338" fmla="*/ 1374926 h 1730811"/>
                <a:gd name="connsiteX339" fmla="*/ 1874931 w 1901675"/>
                <a:gd name="connsiteY339" fmla="*/ 1471624 h 1730811"/>
                <a:gd name="connsiteX340" fmla="*/ 1807531 w 1901675"/>
                <a:gd name="connsiteY340" fmla="*/ 1555851 h 1730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</a:cxnLst>
              <a:rect l="l" t="t" r="r" b="b"/>
              <a:pathLst>
                <a:path w="1901675" h="1730811">
                  <a:moveTo>
                    <a:pt x="1797954" y="1351429"/>
                  </a:moveTo>
                  <a:cubicBezTo>
                    <a:pt x="1735613" y="1318533"/>
                    <a:pt x="1644721" y="1289072"/>
                    <a:pt x="1535037" y="1266298"/>
                  </a:cubicBezTo>
                  <a:cubicBezTo>
                    <a:pt x="1534133" y="1266117"/>
                    <a:pt x="1533230" y="1265937"/>
                    <a:pt x="1532326" y="1265756"/>
                  </a:cubicBezTo>
                  <a:lnTo>
                    <a:pt x="1532326" y="677070"/>
                  </a:lnTo>
                  <a:lnTo>
                    <a:pt x="1532146" y="673455"/>
                  </a:lnTo>
                  <a:cubicBezTo>
                    <a:pt x="1531965" y="670925"/>
                    <a:pt x="1531965" y="668575"/>
                    <a:pt x="1531784" y="666045"/>
                  </a:cubicBezTo>
                  <a:cubicBezTo>
                    <a:pt x="1531423" y="663514"/>
                    <a:pt x="1531061" y="661164"/>
                    <a:pt x="1530700" y="658634"/>
                  </a:cubicBezTo>
                  <a:cubicBezTo>
                    <a:pt x="1530519" y="657369"/>
                    <a:pt x="1530339" y="656104"/>
                    <a:pt x="1530158" y="655019"/>
                  </a:cubicBezTo>
                  <a:lnTo>
                    <a:pt x="1529254" y="651404"/>
                  </a:lnTo>
                  <a:cubicBezTo>
                    <a:pt x="1528532" y="649055"/>
                    <a:pt x="1527990" y="646524"/>
                    <a:pt x="1527267" y="644174"/>
                  </a:cubicBezTo>
                  <a:cubicBezTo>
                    <a:pt x="1524195" y="634776"/>
                    <a:pt x="1519858" y="625558"/>
                    <a:pt x="1514437" y="617243"/>
                  </a:cubicBezTo>
                  <a:cubicBezTo>
                    <a:pt x="1513172" y="615074"/>
                    <a:pt x="1511546" y="613267"/>
                    <a:pt x="1510100" y="611279"/>
                  </a:cubicBezTo>
                  <a:lnTo>
                    <a:pt x="1507932" y="608387"/>
                  </a:lnTo>
                  <a:cubicBezTo>
                    <a:pt x="1507209" y="607483"/>
                    <a:pt x="1506306" y="606580"/>
                    <a:pt x="1505402" y="605676"/>
                  </a:cubicBezTo>
                  <a:cubicBezTo>
                    <a:pt x="1503776" y="603868"/>
                    <a:pt x="1502150" y="601880"/>
                    <a:pt x="1500343" y="600253"/>
                  </a:cubicBezTo>
                  <a:cubicBezTo>
                    <a:pt x="1498536" y="598627"/>
                    <a:pt x="1496729" y="596819"/>
                    <a:pt x="1494922" y="595193"/>
                  </a:cubicBezTo>
                  <a:cubicBezTo>
                    <a:pt x="1487332" y="588867"/>
                    <a:pt x="1479020" y="583083"/>
                    <a:pt x="1469985" y="579106"/>
                  </a:cubicBezTo>
                  <a:lnTo>
                    <a:pt x="1466552" y="577480"/>
                  </a:lnTo>
                  <a:cubicBezTo>
                    <a:pt x="1465468" y="576937"/>
                    <a:pt x="1464203" y="576576"/>
                    <a:pt x="1463119" y="576214"/>
                  </a:cubicBezTo>
                  <a:cubicBezTo>
                    <a:pt x="1460770" y="575311"/>
                    <a:pt x="1458421" y="574407"/>
                    <a:pt x="1456071" y="573684"/>
                  </a:cubicBezTo>
                  <a:cubicBezTo>
                    <a:pt x="1451193" y="572419"/>
                    <a:pt x="1446494" y="570973"/>
                    <a:pt x="1441435" y="570431"/>
                  </a:cubicBezTo>
                  <a:cubicBezTo>
                    <a:pt x="1438905" y="570069"/>
                    <a:pt x="1436556" y="569527"/>
                    <a:pt x="1434026" y="569527"/>
                  </a:cubicBezTo>
                  <a:cubicBezTo>
                    <a:pt x="1431496" y="569346"/>
                    <a:pt x="1429147" y="569165"/>
                    <a:pt x="1426618" y="569165"/>
                  </a:cubicBezTo>
                  <a:cubicBezTo>
                    <a:pt x="1423726" y="568985"/>
                    <a:pt x="1422642" y="569165"/>
                    <a:pt x="1421016" y="569165"/>
                  </a:cubicBezTo>
                  <a:lnTo>
                    <a:pt x="1129187" y="569165"/>
                  </a:lnTo>
                  <a:cubicBezTo>
                    <a:pt x="1119249" y="569165"/>
                    <a:pt x="1109310" y="570611"/>
                    <a:pt x="1099733" y="573322"/>
                  </a:cubicBezTo>
                  <a:cubicBezTo>
                    <a:pt x="1090156" y="576034"/>
                    <a:pt x="1080941" y="580010"/>
                    <a:pt x="1072448" y="585252"/>
                  </a:cubicBezTo>
                  <a:cubicBezTo>
                    <a:pt x="1068111" y="587782"/>
                    <a:pt x="1064316" y="590855"/>
                    <a:pt x="1060341" y="593927"/>
                  </a:cubicBezTo>
                  <a:cubicBezTo>
                    <a:pt x="1056727" y="597181"/>
                    <a:pt x="1052752" y="600434"/>
                    <a:pt x="1049499" y="604230"/>
                  </a:cubicBezTo>
                  <a:cubicBezTo>
                    <a:pt x="1047873" y="606037"/>
                    <a:pt x="1046066" y="607845"/>
                    <a:pt x="1044620" y="609833"/>
                  </a:cubicBezTo>
                  <a:cubicBezTo>
                    <a:pt x="1043175" y="611821"/>
                    <a:pt x="1041548" y="613809"/>
                    <a:pt x="1040103" y="615798"/>
                  </a:cubicBezTo>
                  <a:cubicBezTo>
                    <a:pt x="1038657" y="617786"/>
                    <a:pt x="1037392" y="619955"/>
                    <a:pt x="1036127" y="622124"/>
                  </a:cubicBezTo>
                  <a:lnTo>
                    <a:pt x="1034140" y="625377"/>
                  </a:lnTo>
                  <a:cubicBezTo>
                    <a:pt x="1033598" y="626461"/>
                    <a:pt x="1033055" y="627546"/>
                    <a:pt x="1032513" y="628630"/>
                  </a:cubicBezTo>
                  <a:cubicBezTo>
                    <a:pt x="1031429" y="630799"/>
                    <a:pt x="1030345" y="633149"/>
                    <a:pt x="1029261" y="635318"/>
                  </a:cubicBezTo>
                  <a:cubicBezTo>
                    <a:pt x="1028357" y="637668"/>
                    <a:pt x="1027454" y="640017"/>
                    <a:pt x="1026731" y="642367"/>
                  </a:cubicBezTo>
                  <a:cubicBezTo>
                    <a:pt x="1025827" y="644717"/>
                    <a:pt x="1025105" y="647066"/>
                    <a:pt x="1024563" y="649597"/>
                  </a:cubicBezTo>
                  <a:cubicBezTo>
                    <a:pt x="1024020" y="651946"/>
                    <a:pt x="1023298" y="654477"/>
                    <a:pt x="1022756" y="656827"/>
                  </a:cubicBezTo>
                  <a:cubicBezTo>
                    <a:pt x="1022033" y="661707"/>
                    <a:pt x="1021129" y="666768"/>
                    <a:pt x="1020949" y="671648"/>
                  </a:cubicBezTo>
                  <a:lnTo>
                    <a:pt x="1020768" y="675263"/>
                  </a:lnTo>
                  <a:lnTo>
                    <a:pt x="1020768" y="677070"/>
                  </a:lnTo>
                  <a:lnTo>
                    <a:pt x="1020768" y="1214243"/>
                  </a:lnTo>
                  <a:cubicBezTo>
                    <a:pt x="997458" y="1213882"/>
                    <a:pt x="973967" y="1213521"/>
                    <a:pt x="950837" y="1213521"/>
                  </a:cubicBezTo>
                  <a:cubicBezTo>
                    <a:pt x="851634" y="1213521"/>
                    <a:pt x="753876" y="1217497"/>
                    <a:pt x="660454" y="1225450"/>
                  </a:cubicBezTo>
                  <a:lnTo>
                    <a:pt x="660454" y="747741"/>
                  </a:lnTo>
                  <a:lnTo>
                    <a:pt x="790377" y="687192"/>
                  </a:lnTo>
                  <a:lnTo>
                    <a:pt x="857597" y="655923"/>
                  </a:lnTo>
                  <a:lnTo>
                    <a:pt x="861753" y="653935"/>
                  </a:lnTo>
                  <a:lnTo>
                    <a:pt x="863921" y="653031"/>
                  </a:lnTo>
                  <a:lnTo>
                    <a:pt x="866812" y="651585"/>
                  </a:lnTo>
                  <a:lnTo>
                    <a:pt x="872414" y="648693"/>
                  </a:lnTo>
                  <a:cubicBezTo>
                    <a:pt x="874221" y="647609"/>
                    <a:pt x="876028" y="646524"/>
                    <a:pt x="877835" y="645440"/>
                  </a:cubicBezTo>
                  <a:lnTo>
                    <a:pt x="880546" y="643813"/>
                  </a:lnTo>
                  <a:lnTo>
                    <a:pt x="883256" y="642006"/>
                  </a:lnTo>
                  <a:lnTo>
                    <a:pt x="888496" y="638391"/>
                  </a:lnTo>
                  <a:lnTo>
                    <a:pt x="893375" y="634414"/>
                  </a:lnTo>
                  <a:cubicBezTo>
                    <a:pt x="894279" y="633691"/>
                    <a:pt x="895001" y="632968"/>
                    <a:pt x="895905" y="632426"/>
                  </a:cubicBezTo>
                  <a:lnTo>
                    <a:pt x="898254" y="630257"/>
                  </a:lnTo>
                  <a:cubicBezTo>
                    <a:pt x="904579" y="624473"/>
                    <a:pt x="910180" y="617966"/>
                    <a:pt x="915240" y="611098"/>
                  </a:cubicBezTo>
                  <a:cubicBezTo>
                    <a:pt x="917589" y="607664"/>
                    <a:pt x="920119" y="604049"/>
                    <a:pt x="922287" y="600434"/>
                  </a:cubicBezTo>
                  <a:cubicBezTo>
                    <a:pt x="924455" y="596819"/>
                    <a:pt x="926443" y="593024"/>
                    <a:pt x="928250" y="589228"/>
                  </a:cubicBezTo>
                  <a:cubicBezTo>
                    <a:pt x="931683" y="581456"/>
                    <a:pt x="934755" y="573503"/>
                    <a:pt x="936743" y="565189"/>
                  </a:cubicBezTo>
                  <a:lnTo>
                    <a:pt x="937466" y="562116"/>
                  </a:lnTo>
                  <a:cubicBezTo>
                    <a:pt x="937646" y="561032"/>
                    <a:pt x="937827" y="559947"/>
                    <a:pt x="938008" y="559044"/>
                  </a:cubicBezTo>
                  <a:lnTo>
                    <a:pt x="939092" y="552718"/>
                  </a:lnTo>
                  <a:cubicBezTo>
                    <a:pt x="939453" y="550549"/>
                    <a:pt x="939634" y="548560"/>
                    <a:pt x="939815" y="546391"/>
                  </a:cubicBezTo>
                  <a:lnTo>
                    <a:pt x="940176" y="543138"/>
                  </a:lnTo>
                  <a:lnTo>
                    <a:pt x="940357" y="539885"/>
                  </a:lnTo>
                  <a:lnTo>
                    <a:pt x="940538" y="533559"/>
                  </a:lnTo>
                  <a:lnTo>
                    <a:pt x="940538" y="132486"/>
                  </a:lnTo>
                  <a:lnTo>
                    <a:pt x="940357" y="129233"/>
                  </a:lnTo>
                  <a:cubicBezTo>
                    <a:pt x="939996" y="112243"/>
                    <a:pt x="936382" y="95253"/>
                    <a:pt x="929515" y="79528"/>
                  </a:cubicBezTo>
                  <a:cubicBezTo>
                    <a:pt x="922648" y="63803"/>
                    <a:pt x="912891" y="49524"/>
                    <a:pt x="900603" y="37595"/>
                  </a:cubicBezTo>
                  <a:cubicBezTo>
                    <a:pt x="888496" y="25666"/>
                    <a:pt x="873860" y="16086"/>
                    <a:pt x="858139" y="9579"/>
                  </a:cubicBezTo>
                  <a:cubicBezTo>
                    <a:pt x="842237" y="3253"/>
                    <a:pt x="825071" y="0"/>
                    <a:pt x="808085" y="0"/>
                  </a:cubicBezTo>
                  <a:lnTo>
                    <a:pt x="221356" y="0"/>
                  </a:lnTo>
                  <a:cubicBezTo>
                    <a:pt x="220995" y="0"/>
                    <a:pt x="220633" y="0"/>
                    <a:pt x="220091" y="0"/>
                  </a:cubicBezTo>
                  <a:lnTo>
                    <a:pt x="213767" y="361"/>
                  </a:lnTo>
                  <a:cubicBezTo>
                    <a:pt x="196781" y="1084"/>
                    <a:pt x="179795" y="5422"/>
                    <a:pt x="164255" y="12652"/>
                  </a:cubicBezTo>
                  <a:cubicBezTo>
                    <a:pt x="148715" y="19882"/>
                    <a:pt x="134801" y="30184"/>
                    <a:pt x="123237" y="42656"/>
                  </a:cubicBezTo>
                  <a:cubicBezTo>
                    <a:pt x="111672" y="55127"/>
                    <a:pt x="102456" y="69948"/>
                    <a:pt x="96493" y="86035"/>
                  </a:cubicBezTo>
                  <a:lnTo>
                    <a:pt x="94506" y="92180"/>
                  </a:lnTo>
                  <a:cubicBezTo>
                    <a:pt x="93783" y="94168"/>
                    <a:pt x="93421" y="96337"/>
                    <a:pt x="92699" y="98325"/>
                  </a:cubicBezTo>
                  <a:lnTo>
                    <a:pt x="91072" y="104470"/>
                  </a:lnTo>
                  <a:cubicBezTo>
                    <a:pt x="90530" y="106459"/>
                    <a:pt x="90349" y="108628"/>
                    <a:pt x="89988" y="110797"/>
                  </a:cubicBezTo>
                  <a:cubicBezTo>
                    <a:pt x="89265" y="114954"/>
                    <a:pt x="88542" y="119292"/>
                    <a:pt x="88542" y="123449"/>
                  </a:cubicBezTo>
                  <a:lnTo>
                    <a:pt x="88181" y="129775"/>
                  </a:lnTo>
                  <a:lnTo>
                    <a:pt x="88181" y="131401"/>
                  </a:lnTo>
                  <a:cubicBezTo>
                    <a:pt x="88181" y="131944"/>
                    <a:pt x="88181" y="132486"/>
                    <a:pt x="88181" y="132847"/>
                  </a:cubicBezTo>
                  <a:lnTo>
                    <a:pt x="88181" y="528859"/>
                  </a:lnTo>
                  <a:lnTo>
                    <a:pt x="88362" y="535185"/>
                  </a:lnTo>
                  <a:cubicBezTo>
                    <a:pt x="88362" y="537354"/>
                    <a:pt x="88542" y="539523"/>
                    <a:pt x="88904" y="541511"/>
                  </a:cubicBezTo>
                  <a:cubicBezTo>
                    <a:pt x="89265" y="543500"/>
                    <a:pt x="89265" y="545669"/>
                    <a:pt x="89627" y="547837"/>
                  </a:cubicBezTo>
                  <a:cubicBezTo>
                    <a:pt x="90892" y="556332"/>
                    <a:pt x="92879" y="564647"/>
                    <a:pt x="95770" y="572599"/>
                  </a:cubicBezTo>
                  <a:cubicBezTo>
                    <a:pt x="98662" y="580552"/>
                    <a:pt x="102276" y="588505"/>
                    <a:pt x="106612" y="595735"/>
                  </a:cubicBezTo>
                  <a:lnTo>
                    <a:pt x="108239" y="598446"/>
                  </a:lnTo>
                  <a:lnTo>
                    <a:pt x="110046" y="601157"/>
                  </a:lnTo>
                  <a:cubicBezTo>
                    <a:pt x="111310" y="602965"/>
                    <a:pt x="112395" y="604772"/>
                    <a:pt x="113660" y="606399"/>
                  </a:cubicBezTo>
                  <a:cubicBezTo>
                    <a:pt x="116189" y="609833"/>
                    <a:pt x="118719" y="613267"/>
                    <a:pt x="121791" y="616340"/>
                  </a:cubicBezTo>
                  <a:cubicBezTo>
                    <a:pt x="127393" y="622847"/>
                    <a:pt x="133717" y="628450"/>
                    <a:pt x="140584" y="633691"/>
                  </a:cubicBezTo>
                  <a:lnTo>
                    <a:pt x="145824" y="637487"/>
                  </a:lnTo>
                  <a:cubicBezTo>
                    <a:pt x="147631" y="638752"/>
                    <a:pt x="149438" y="639837"/>
                    <a:pt x="151245" y="640921"/>
                  </a:cubicBezTo>
                  <a:cubicBezTo>
                    <a:pt x="154859" y="643271"/>
                    <a:pt x="158654" y="645078"/>
                    <a:pt x="162448" y="647066"/>
                  </a:cubicBezTo>
                  <a:lnTo>
                    <a:pt x="179253" y="655200"/>
                  </a:lnTo>
                  <a:lnTo>
                    <a:pt x="245931" y="687553"/>
                  </a:lnTo>
                  <a:lnTo>
                    <a:pt x="368445" y="747018"/>
                  </a:lnTo>
                  <a:lnTo>
                    <a:pt x="368445" y="1265756"/>
                  </a:lnTo>
                  <a:cubicBezTo>
                    <a:pt x="367541" y="1265937"/>
                    <a:pt x="366638" y="1266117"/>
                    <a:pt x="365734" y="1266298"/>
                  </a:cubicBezTo>
                  <a:cubicBezTo>
                    <a:pt x="256412" y="1289072"/>
                    <a:pt x="165882" y="1318353"/>
                    <a:pt x="103721" y="1351248"/>
                  </a:cubicBezTo>
                  <a:cubicBezTo>
                    <a:pt x="34875" y="1387939"/>
                    <a:pt x="0" y="1428426"/>
                    <a:pt x="0" y="1471986"/>
                  </a:cubicBezTo>
                  <a:cubicBezTo>
                    <a:pt x="0" y="1510123"/>
                    <a:pt x="26924" y="1546091"/>
                    <a:pt x="80050" y="1578986"/>
                  </a:cubicBezTo>
                  <a:cubicBezTo>
                    <a:pt x="128477" y="1608809"/>
                    <a:pt x="197323" y="1635740"/>
                    <a:pt x="284601" y="1658514"/>
                  </a:cubicBezTo>
                  <a:cubicBezTo>
                    <a:pt x="462770" y="1705146"/>
                    <a:pt x="699305" y="1730812"/>
                    <a:pt x="950837" y="1730812"/>
                  </a:cubicBezTo>
                  <a:cubicBezTo>
                    <a:pt x="1202370" y="1730812"/>
                    <a:pt x="1438905" y="1705146"/>
                    <a:pt x="1617074" y="1658514"/>
                  </a:cubicBezTo>
                  <a:cubicBezTo>
                    <a:pt x="1704532" y="1635740"/>
                    <a:pt x="1773379" y="1608809"/>
                    <a:pt x="1821625" y="1578986"/>
                  </a:cubicBezTo>
                  <a:cubicBezTo>
                    <a:pt x="1874751" y="1546091"/>
                    <a:pt x="1901675" y="1510123"/>
                    <a:pt x="1901675" y="1471986"/>
                  </a:cubicBezTo>
                  <a:cubicBezTo>
                    <a:pt x="1901856" y="1428426"/>
                    <a:pt x="1866981" y="1387758"/>
                    <a:pt x="1797954" y="1351429"/>
                  </a:cubicBezTo>
                  <a:close/>
                  <a:moveTo>
                    <a:pt x="1047150" y="676708"/>
                  </a:moveTo>
                  <a:lnTo>
                    <a:pt x="1047150" y="675263"/>
                  </a:lnTo>
                  <a:lnTo>
                    <a:pt x="1047331" y="672371"/>
                  </a:lnTo>
                  <a:cubicBezTo>
                    <a:pt x="1047331" y="668575"/>
                    <a:pt x="1048053" y="664960"/>
                    <a:pt x="1048596" y="661164"/>
                  </a:cubicBezTo>
                  <a:cubicBezTo>
                    <a:pt x="1048957" y="659357"/>
                    <a:pt x="1049499" y="657550"/>
                    <a:pt x="1049860" y="655742"/>
                  </a:cubicBezTo>
                  <a:cubicBezTo>
                    <a:pt x="1050403" y="653935"/>
                    <a:pt x="1050764" y="652127"/>
                    <a:pt x="1051487" y="650320"/>
                  </a:cubicBezTo>
                  <a:lnTo>
                    <a:pt x="1053474" y="645078"/>
                  </a:lnTo>
                  <a:lnTo>
                    <a:pt x="1055823" y="640017"/>
                  </a:lnTo>
                  <a:cubicBezTo>
                    <a:pt x="1056185" y="639114"/>
                    <a:pt x="1056546" y="638391"/>
                    <a:pt x="1057088" y="637487"/>
                  </a:cubicBezTo>
                  <a:lnTo>
                    <a:pt x="1058534" y="635137"/>
                  </a:lnTo>
                  <a:cubicBezTo>
                    <a:pt x="1059618" y="633510"/>
                    <a:pt x="1060341" y="631884"/>
                    <a:pt x="1061606" y="630438"/>
                  </a:cubicBezTo>
                  <a:lnTo>
                    <a:pt x="1065039" y="625919"/>
                  </a:lnTo>
                  <a:cubicBezTo>
                    <a:pt x="1066123" y="624292"/>
                    <a:pt x="1067569" y="623027"/>
                    <a:pt x="1068653" y="621581"/>
                  </a:cubicBezTo>
                  <a:cubicBezTo>
                    <a:pt x="1071183" y="618689"/>
                    <a:pt x="1074074" y="616340"/>
                    <a:pt x="1076785" y="613809"/>
                  </a:cubicBezTo>
                  <a:cubicBezTo>
                    <a:pt x="1079856" y="611640"/>
                    <a:pt x="1082748" y="609110"/>
                    <a:pt x="1086000" y="607302"/>
                  </a:cubicBezTo>
                  <a:cubicBezTo>
                    <a:pt x="1098830" y="599169"/>
                    <a:pt x="1114009" y="595193"/>
                    <a:pt x="1129007" y="595012"/>
                  </a:cubicBezTo>
                  <a:lnTo>
                    <a:pt x="1420655" y="595012"/>
                  </a:lnTo>
                  <a:cubicBezTo>
                    <a:pt x="1422281" y="595012"/>
                    <a:pt x="1423726" y="595012"/>
                    <a:pt x="1425714" y="595012"/>
                  </a:cubicBezTo>
                  <a:lnTo>
                    <a:pt x="1431316" y="595373"/>
                  </a:lnTo>
                  <a:cubicBezTo>
                    <a:pt x="1433123" y="595554"/>
                    <a:pt x="1435110" y="595916"/>
                    <a:pt x="1436917" y="596096"/>
                  </a:cubicBezTo>
                  <a:cubicBezTo>
                    <a:pt x="1440712" y="596458"/>
                    <a:pt x="1444326" y="597723"/>
                    <a:pt x="1447940" y="598627"/>
                  </a:cubicBezTo>
                  <a:cubicBezTo>
                    <a:pt x="1449747" y="599169"/>
                    <a:pt x="1451554" y="599892"/>
                    <a:pt x="1453180" y="600615"/>
                  </a:cubicBezTo>
                  <a:cubicBezTo>
                    <a:pt x="1454084" y="600976"/>
                    <a:pt x="1454987" y="601338"/>
                    <a:pt x="1455891" y="601519"/>
                  </a:cubicBezTo>
                  <a:lnTo>
                    <a:pt x="1458421" y="602784"/>
                  </a:lnTo>
                  <a:cubicBezTo>
                    <a:pt x="1465287" y="605857"/>
                    <a:pt x="1471612" y="610194"/>
                    <a:pt x="1477394" y="615074"/>
                  </a:cubicBezTo>
                  <a:lnTo>
                    <a:pt x="1481550" y="618870"/>
                  </a:lnTo>
                  <a:cubicBezTo>
                    <a:pt x="1482815" y="620135"/>
                    <a:pt x="1484080" y="621581"/>
                    <a:pt x="1485345" y="623027"/>
                  </a:cubicBezTo>
                  <a:cubicBezTo>
                    <a:pt x="1485887" y="623750"/>
                    <a:pt x="1486610" y="624473"/>
                    <a:pt x="1487152" y="625196"/>
                  </a:cubicBezTo>
                  <a:lnTo>
                    <a:pt x="1488778" y="627365"/>
                  </a:lnTo>
                  <a:cubicBezTo>
                    <a:pt x="1489862" y="628811"/>
                    <a:pt x="1491127" y="630257"/>
                    <a:pt x="1492031" y="631884"/>
                  </a:cubicBezTo>
                  <a:cubicBezTo>
                    <a:pt x="1496187" y="638210"/>
                    <a:pt x="1499439" y="645078"/>
                    <a:pt x="1501788" y="652308"/>
                  </a:cubicBezTo>
                  <a:cubicBezTo>
                    <a:pt x="1502330" y="654115"/>
                    <a:pt x="1502692" y="655923"/>
                    <a:pt x="1503234" y="657730"/>
                  </a:cubicBezTo>
                  <a:lnTo>
                    <a:pt x="1503957" y="660441"/>
                  </a:lnTo>
                  <a:lnTo>
                    <a:pt x="1504318" y="663153"/>
                  </a:lnTo>
                  <a:lnTo>
                    <a:pt x="1505222" y="668756"/>
                  </a:lnTo>
                  <a:lnTo>
                    <a:pt x="1505583" y="674359"/>
                  </a:lnTo>
                  <a:lnTo>
                    <a:pt x="1505764" y="677070"/>
                  </a:lnTo>
                  <a:lnTo>
                    <a:pt x="1505764" y="1387216"/>
                  </a:lnTo>
                  <a:cubicBezTo>
                    <a:pt x="1505764" y="1387578"/>
                    <a:pt x="1505764" y="1387939"/>
                    <a:pt x="1505764" y="1388481"/>
                  </a:cubicBezTo>
                  <a:lnTo>
                    <a:pt x="1505764" y="1389927"/>
                  </a:lnTo>
                  <a:lnTo>
                    <a:pt x="1505583" y="1392819"/>
                  </a:lnTo>
                  <a:cubicBezTo>
                    <a:pt x="1505583" y="1396615"/>
                    <a:pt x="1504860" y="1400230"/>
                    <a:pt x="1504318" y="1404025"/>
                  </a:cubicBezTo>
                  <a:cubicBezTo>
                    <a:pt x="1503957" y="1405833"/>
                    <a:pt x="1503415" y="1407640"/>
                    <a:pt x="1503053" y="1409448"/>
                  </a:cubicBezTo>
                  <a:cubicBezTo>
                    <a:pt x="1502511" y="1411255"/>
                    <a:pt x="1502150" y="1413063"/>
                    <a:pt x="1501427" y="1414870"/>
                  </a:cubicBezTo>
                  <a:lnTo>
                    <a:pt x="1499439" y="1420112"/>
                  </a:lnTo>
                  <a:lnTo>
                    <a:pt x="1497090" y="1425173"/>
                  </a:lnTo>
                  <a:cubicBezTo>
                    <a:pt x="1496729" y="1426076"/>
                    <a:pt x="1496367" y="1426980"/>
                    <a:pt x="1495825" y="1427703"/>
                  </a:cubicBezTo>
                  <a:lnTo>
                    <a:pt x="1494380" y="1430053"/>
                  </a:lnTo>
                  <a:cubicBezTo>
                    <a:pt x="1493295" y="1431679"/>
                    <a:pt x="1492573" y="1433306"/>
                    <a:pt x="1491308" y="1434752"/>
                  </a:cubicBezTo>
                  <a:lnTo>
                    <a:pt x="1487875" y="1439271"/>
                  </a:lnTo>
                  <a:cubicBezTo>
                    <a:pt x="1486790" y="1440717"/>
                    <a:pt x="1485345" y="1442163"/>
                    <a:pt x="1484080" y="1443428"/>
                  </a:cubicBezTo>
                  <a:cubicBezTo>
                    <a:pt x="1481731" y="1446320"/>
                    <a:pt x="1478659" y="1448669"/>
                    <a:pt x="1475948" y="1451200"/>
                  </a:cubicBezTo>
                  <a:cubicBezTo>
                    <a:pt x="1472876" y="1453369"/>
                    <a:pt x="1469985" y="1455899"/>
                    <a:pt x="1466733" y="1457707"/>
                  </a:cubicBezTo>
                  <a:cubicBezTo>
                    <a:pt x="1453903" y="1465840"/>
                    <a:pt x="1438724" y="1469817"/>
                    <a:pt x="1423726" y="1469997"/>
                  </a:cubicBezTo>
                  <a:lnTo>
                    <a:pt x="1132440" y="1469997"/>
                  </a:lnTo>
                  <a:cubicBezTo>
                    <a:pt x="1130814" y="1469997"/>
                    <a:pt x="1129368" y="1469997"/>
                    <a:pt x="1127380" y="1469997"/>
                  </a:cubicBezTo>
                  <a:lnTo>
                    <a:pt x="1121779" y="1469636"/>
                  </a:lnTo>
                  <a:cubicBezTo>
                    <a:pt x="1119972" y="1469455"/>
                    <a:pt x="1117984" y="1469094"/>
                    <a:pt x="1116177" y="1468913"/>
                  </a:cubicBezTo>
                  <a:cubicBezTo>
                    <a:pt x="1112382" y="1468551"/>
                    <a:pt x="1108768" y="1467286"/>
                    <a:pt x="1105154" y="1466382"/>
                  </a:cubicBezTo>
                  <a:cubicBezTo>
                    <a:pt x="1103347" y="1465840"/>
                    <a:pt x="1101540" y="1465117"/>
                    <a:pt x="1099733" y="1464575"/>
                  </a:cubicBezTo>
                  <a:cubicBezTo>
                    <a:pt x="1098830" y="1464213"/>
                    <a:pt x="1097926" y="1463852"/>
                    <a:pt x="1097023" y="1463491"/>
                  </a:cubicBezTo>
                  <a:lnTo>
                    <a:pt x="1094493" y="1462225"/>
                  </a:lnTo>
                  <a:cubicBezTo>
                    <a:pt x="1087627" y="1459153"/>
                    <a:pt x="1081302" y="1454815"/>
                    <a:pt x="1075520" y="1449935"/>
                  </a:cubicBezTo>
                  <a:lnTo>
                    <a:pt x="1071364" y="1446139"/>
                  </a:lnTo>
                  <a:cubicBezTo>
                    <a:pt x="1070099" y="1444874"/>
                    <a:pt x="1068834" y="1443428"/>
                    <a:pt x="1067569" y="1441982"/>
                  </a:cubicBezTo>
                  <a:cubicBezTo>
                    <a:pt x="1067027" y="1441259"/>
                    <a:pt x="1066304" y="1440536"/>
                    <a:pt x="1065762" y="1439813"/>
                  </a:cubicBezTo>
                  <a:lnTo>
                    <a:pt x="1064136" y="1437644"/>
                  </a:lnTo>
                  <a:cubicBezTo>
                    <a:pt x="1063051" y="1436017"/>
                    <a:pt x="1061787" y="1434571"/>
                    <a:pt x="1060883" y="1433125"/>
                  </a:cubicBezTo>
                  <a:cubicBezTo>
                    <a:pt x="1056727" y="1426799"/>
                    <a:pt x="1053474" y="1419931"/>
                    <a:pt x="1051125" y="1412701"/>
                  </a:cubicBezTo>
                  <a:cubicBezTo>
                    <a:pt x="1050583" y="1410894"/>
                    <a:pt x="1050222" y="1409086"/>
                    <a:pt x="1049680" y="1407279"/>
                  </a:cubicBezTo>
                  <a:lnTo>
                    <a:pt x="1048957" y="1404568"/>
                  </a:lnTo>
                  <a:lnTo>
                    <a:pt x="1048596" y="1401857"/>
                  </a:lnTo>
                  <a:lnTo>
                    <a:pt x="1047692" y="1396253"/>
                  </a:lnTo>
                  <a:lnTo>
                    <a:pt x="1047331" y="1390650"/>
                  </a:lnTo>
                  <a:lnTo>
                    <a:pt x="1047150" y="1387939"/>
                  </a:lnTo>
                  <a:lnTo>
                    <a:pt x="1047150" y="677974"/>
                  </a:lnTo>
                  <a:cubicBezTo>
                    <a:pt x="1047150" y="677431"/>
                    <a:pt x="1047150" y="677251"/>
                    <a:pt x="1047150" y="676708"/>
                  </a:cubicBezTo>
                  <a:close/>
                  <a:moveTo>
                    <a:pt x="256592" y="665683"/>
                  </a:moveTo>
                  <a:lnTo>
                    <a:pt x="189915" y="633330"/>
                  </a:lnTo>
                  <a:lnTo>
                    <a:pt x="173290" y="625196"/>
                  </a:lnTo>
                  <a:cubicBezTo>
                    <a:pt x="170218" y="623570"/>
                    <a:pt x="167146" y="622124"/>
                    <a:pt x="164255" y="620135"/>
                  </a:cubicBezTo>
                  <a:cubicBezTo>
                    <a:pt x="162810" y="619232"/>
                    <a:pt x="161364" y="618328"/>
                    <a:pt x="159918" y="617424"/>
                  </a:cubicBezTo>
                  <a:lnTo>
                    <a:pt x="155762" y="614352"/>
                  </a:lnTo>
                  <a:cubicBezTo>
                    <a:pt x="150341" y="610194"/>
                    <a:pt x="145101" y="605495"/>
                    <a:pt x="140403" y="600253"/>
                  </a:cubicBezTo>
                  <a:cubicBezTo>
                    <a:pt x="138054" y="597723"/>
                    <a:pt x="135886" y="594831"/>
                    <a:pt x="133898" y="592120"/>
                  </a:cubicBezTo>
                  <a:cubicBezTo>
                    <a:pt x="132814" y="590674"/>
                    <a:pt x="131910" y="589228"/>
                    <a:pt x="131007" y="587782"/>
                  </a:cubicBezTo>
                  <a:lnTo>
                    <a:pt x="129561" y="585613"/>
                  </a:lnTo>
                  <a:lnTo>
                    <a:pt x="128296" y="583444"/>
                  </a:lnTo>
                  <a:cubicBezTo>
                    <a:pt x="124682" y="577480"/>
                    <a:pt x="121791" y="571154"/>
                    <a:pt x="119442" y="564647"/>
                  </a:cubicBezTo>
                  <a:cubicBezTo>
                    <a:pt x="117093" y="558140"/>
                    <a:pt x="115467" y="551272"/>
                    <a:pt x="114382" y="544403"/>
                  </a:cubicBezTo>
                  <a:cubicBezTo>
                    <a:pt x="114021" y="542596"/>
                    <a:pt x="114021" y="540969"/>
                    <a:pt x="113840" y="539162"/>
                  </a:cubicBezTo>
                  <a:cubicBezTo>
                    <a:pt x="113660" y="537354"/>
                    <a:pt x="113479" y="535728"/>
                    <a:pt x="113479" y="533920"/>
                  </a:cubicBezTo>
                  <a:lnTo>
                    <a:pt x="113298" y="528679"/>
                  </a:lnTo>
                  <a:lnTo>
                    <a:pt x="113298" y="132847"/>
                  </a:lnTo>
                  <a:cubicBezTo>
                    <a:pt x="113298" y="132124"/>
                    <a:pt x="113298" y="131221"/>
                    <a:pt x="113298" y="130317"/>
                  </a:cubicBezTo>
                  <a:lnTo>
                    <a:pt x="113479" y="125075"/>
                  </a:lnTo>
                  <a:cubicBezTo>
                    <a:pt x="113479" y="121641"/>
                    <a:pt x="114202" y="118207"/>
                    <a:pt x="114744" y="114773"/>
                  </a:cubicBezTo>
                  <a:cubicBezTo>
                    <a:pt x="115105" y="113146"/>
                    <a:pt x="115105" y="111339"/>
                    <a:pt x="115647" y="109712"/>
                  </a:cubicBezTo>
                  <a:lnTo>
                    <a:pt x="116912" y="104651"/>
                  </a:lnTo>
                  <a:cubicBezTo>
                    <a:pt x="117274" y="103025"/>
                    <a:pt x="117635" y="101217"/>
                    <a:pt x="118358" y="99590"/>
                  </a:cubicBezTo>
                  <a:lnTo>
                    <a:pt x="120165" y="94710"/>
                  </a:lnTo>
                  <a:cubicBezTo>
                    <a:pt x="125044" y="81697"/>
                    <a:pt x="132452" y="69587"/>
                    <a:pt x="141849" y="59465"/>
                  </a:cubicBezTo>
                  <a:cubicBezTo>
                    <a:pt x="151245" y="49343"/>
                    <a:pt x="162629" y="40848"/>
                    <a:pt x="175278" y="35064"/>
                  </a:cubicBezTo>
                  <a:cubicBezTo>
                    <a:pt x="187927" y="29100"/>
                    <a:pt x="201479" y="25666"/>
                    <a:pt x="215393" y="24943"/>
                  </a:cubicBezTo>
                  <a:lnTo>
                    <a:pt x="220633" y="24762"/>
                  </a:lnTo>
                  <a:cubicBezTo>
                    <a:pt x="222260" y="24762"/>
                    <a:pt x="223705" y="24762"/>
                    <a:pt x="225331" y="24762"/>
                  </a:cubicBezTo>
                  <a:lnTo>
                    <a:pt x="808627" y="24762"/>
                  </a:lnTo>
                  <a:cubicBezTo>
                    <a:pt x="822541" y="24762"/>
                    <a:pt x="836455" y="27473"/>
                    <a:pt x="849285" y="32715"/>
                  </a:cubicBezTo>
                  <a:cubicBezTo>
                    <a:pt x="862114" y="37956"/>
                    <a:pt x="873860" y="45728"/>
                    <a:pt x="883798" y="55489"/>
                  </a:cubicBezTo>
                  <a:cubicBezTo>
                    <a:pt x="893737" y="65249"/>
                    <a:pt x="901687" y="76817"/>
                    <a:pt x="907289" y="89469"/>
                  </a:cubicBezTo>
                  <a:cubicBezTo>
                    <a:pt x="912891" y="102121"/>
                    <a:pt x="915782" y="116038"/>
                    <a:pt x="916143" y="129956"/>
                  </a:cubicBezTo>
                  <a:lnTo>
                    <a:pt x="916324" y="132486"/>
                  </a:lnTo>
                  <a:lnTo>
                    <a:pt x="916324" y="533016"/>
                  </a:lnTo>
                  <a:lnTo>
                    <a:pt x="916143" y="538258"/>
                  </a:lnTo>
                  <a:lnTo>
                    <a:pt x="915963" y="540788"/>
                  </a:lnTo>
                  <a:lnTo>
                    <a:pt x="915782" y="543319"/>
                  </a:lnTo>
                  <a:lnTo>
                    <a:pt x="915240" y="548560"/>
                  </a:lnTo>
                  <a:lnTo>
                    <a:pt x="914336" y="553621"/>
                  </a:lnTo>
                  <a:cubicBezTo>
                    <a:pt x="914156" y="554525"/>
                    <a:pt x="913975" y="555248"/>
                    <a:pt x="913794" y="556152"/>
                  </a:cubicBezTo>
                  <a:lnTo>
                    <a:pt x="913071" y="558682"/>
                  </a:lnTo>
                  <a:cubicBezTo>
                    <a:pt x="911445" y="565550"/>
                    <a:pt x="909096" y="572057"/>
                    <a:pt x="906205" y="578383"/>
                  </a:cubicBezTo>
                  <a:cubicBezTo>
                    <a:pt x="904759" y="581456"/>
                    <a:pt x="903133" y="584709"/>
                    <a:pt x="901326" y="587601"/>
                  </a:cubicBezTo>
                  <a:cubicBezTo>
                    <a:pt x="899700" y="590674"/>
                    <a:pt x="897531" y="593385"/>
                    <a:pt x="895724" y="596277"/>
                  </a:cubicBezTo>
                  <a:cubicBezTo>
                    <a:pt x="891568" y="601880"/>
                    <a:pt x="887051" y="607122"/>
                    <a:pt x="881810" y="611821"/>
                  </a:cubicBezTo>
                  <a:lnTo>
                    <a:pt x="880003" y="613629"/>
                  </a:lnTo>
                  <a:cubicBezTo>
                    <a:pt x="879281" y="614171"/>
                    <a:pt x="878739" y="614713"/>
                    <a:pt x="878016" y="615255"/>
                  </a:cubicBezTo>
                  <a:lnTo>
                    <a:pt x="874040" y="618509"/>
                  </a:lnTo>
                  <a:lnTo>
                    <a:pt x="869884" y="621581"/>
                  </a:lnTo>
                  <a:lnTo>
                    <a:pt x="867716" y="623027"/>
                  </a:lnTo>
                  <a:lnTo>
                    <a:pt x="865548" y="624473"/>
                  </a:lnTo>
                  <a:lnTo>
                    <a:pt x="861030" y="627184"/>
                  </a:lnTo>
                  <a:lnTo>
                    <a:pt x="856332" y="629534"/>
                  </a:lnTo>
                  <a:lnTo>
                    <a:pt x="853983" y="630619"/>
                  </a:lnTo>
                  <a:lnTo>
                    <a:pt x="851814" y="631522"/>
                  </a:lnTo>
                  <a:lnTo>
                    <a:pt x="847658" y="633510"/>
                  </a:lnTo>
                  <a:lnTo>
                    <a:pt x="780438" y="664779"/>
                  </a:lnTo>
                  <a:lnTo>
                    <a:pt x="647625" y="726594"/>
                  </a:lnTo>
                  <a:cubicBezTo>
                    <a:pt x="645818" y="727498"/>
                    <a:pt x="643830" y="728221"/>
                    <a:pt x="642023" y="729305"/>
                  </a:cubicBezTo>
                  <a:cubicBezTo>
                    <a:pt x="640216" y="730570"/>
                    <a:pt x="638951" y="732016"/>
                    <a:pt x="637867" y="733824"/>
                  </a:cubicBezTo>
                  <a:cubicBezTo>
                    <a:pt x="636964" y="735631"/>
                    <a:pt x="636241" y="737800"/>
                    <a:pt x="636241" y="739788"/>
                  </a:cubicBezTo>
                  <a:lnTo>
                    <a:pt x="636241" y="746114"/>
                  </a:lnTo>
                  <a:lnTo>
                    <a:pt x="636241" y="1351971"/>
                  </a:lnTo>
                  <a:cubicBezTo>
                    <a:pt x="636241" y="1353598"/>
                    <a:pt x="636241" y="1355044"/>
                    <a:pt x="636241" y="1356851"/>
                  </a:cubicBezTo>
                  <a:cubicBezTo>
                    <a:pt x="636241" y="1363719"/>
                    <a:pt x="635518" y="1370588"/>
                    <a:pt x="634253" y="1377275"/>
                  </a:cubicBezTo>
                  <a:cubicBezTo>
                    <a:pt x="632988" y="1383963"/>
                    <a:pt x="631181" y="1390650"/>
                    <a:pt x="628832" y="1397157"/>
                  </a:cubicBezTo>
                  <a:cubicBezTo>
                    <a:pt x="626483" y="1403664"/>
                    <a:pt x="623592" y="1409809"/>
                    <a:pt x="620159" y="1415774"/>
                  </a:cubicBezTo>
                  <a:cubicBezTo>
                    <a:pt x="613292" y="1427703"/>
                    <a:pt x="604438" y="1438367"/>
                    <a:pt x="594138" y="1447224"/>
                  </a:cubicBezTo>
                  <a:cubicBezTo>
                    <a:pt x="573538" y="1465117"/>
                    <a:pt x="546433" y="1475781"/>
                    <a:pt x="519148" y="1476504"/>
                  </a:cubicBezTo>
                  <a:cubicBezTo>
                    <a:pt x="505595" y="1477046"/>
                    <a:pt x="491682" y="1475058"/>
                    <a:pt x="478671" y="1471082"/>
                  </a:cubicBezTo>
                  <a:cubicBezTo>
                    <a:pt x="465661" y="1466925"/>
                    <a:pt x="453193" y="1460599"/>
                    <a:pt x="442351" y="1452465"/>
                  </a:cubicBezTo>
                  <a:cubicBezTo>
                    <a:pt x="431328" y="1444332"/>
                    <a:pt x="421932" y="1434210"/>
                    <a:pt x="414162" y="1422823"/>
                  </a:cubicBezTo>
                  <a:cubicBezTo>
                    <a:pt x="406572" y="1411436"/>
                    <a:pt x="400790" y="1398784"/>
                    <a:pt x="397357" y="1385590"/>
                  </a:cubicBezTo>
                  <a:cubicBezTo>
                    <a:pt x="395731" y="1378902"/>
                    <a:pt x="394646" y="1372214"/>
                    <a:pt x="393924" y="1365346"/>
                  </a:cubicBezTo>
                  <a:cubicBezTo>
                    <a:pt x="393562" y="1361912"/>
                    <a:pt x="393562" y="1358478"/>
                    <a:pt x="393562" y="1355044"/>
                  </a:cubicBezTo>
                  <a:lnTo>
                    <a:pt x="393562" y="745030"/>
                  </a:lnTo>
                  <a:cubicBezTo>
                    <a:pt x="393562" y="743042"/>
                    <a:pt x="393562" y="740873"/>
                    <a:pt x="393562" y="738704"/>
                  </a:cubicBezTo>
                  <a:cubicBezTo>
                    <a:pt x="393201" y="734547"/>
                    <a:pt x="390671" y="730751"/>
                    <a:pt x="387057" y="728582"/>
                  </a:cubicBezTo>
                  <a:cubicBezTo>
                    <a:pt x="385792" y="727859"/>
                    <a:pt x="384346" y="727136"/>
                    <a:pt x="383082" y="726594"/>
                  </a:cubicBezTo>
                  <a:lnTo>
                    <a:pt x="256592" y="665683"/>
                  </a:lnTo>
                  <a:close/>
                  <a:moveTo>
                    <a:pt x="1807531" y="1555851"/>
                  </a:moveTo>
                  <a:cubicBezTo>
                    <a:pt x="1761453" y="1584409"/>
                    <a:pt x="1695136" y="1610075"/>
                    <a:pt x="1610388" y="1632125"/>
                  </a:cubicBezTo>
                  <a:cubicBezTo>
                    <a:pt x="1434388" y="1678215"/>
                    <a:pt x="1200202" y="1703520"/>
                    <a:pt x="951018" y="1703520"/>
                  </a:cubicBezTo>
                  <a:cubicBezTo>
                    <a:pt x="701834" y="1703520"/>
                    <a:pt x="467649" y="1678215"/>
                    <a:pt x="291648" y="1632125"/>
                  </a:cubicBezTo>
                  <a:cubicBezTo>
                    <a:pt x="206900" y="1609894"/>
                    <a:pt x="140584" y="1584228"/>
                    <a:pt x="94506" y="1555851"/>
                  </a:cubicBezTo>
                  <a:cubicBezTo>
                    <a:pt x="38850" y="1521510"/>
                    <a:pt x="27286" y="1491325"/>
                    <a:pt x="27286" y="1471986"/>
                  </a:cubicBezTo>
                  <a:cubicBezTo>
                    <a:pt x="27286" y="1439813"/>
                    <a:pt x="58004" y="1406556"/>
                    <a:pt x="116370" y="1375649"/>
                  </a:cubicBezTo>
                  <a:cubicBezTo>
                    <a:pt x="175639" y="1344199"/>
                    <a:pt x="262736" y="1316003"/>
                    <a:pt x="368445" y="1293771"/>
                  </a:cubicBezTo>
                  <a:lnTo>
                    <a:pt x="368445" y="1355044"/>
                  </a:lnTo>
                  <a:cubicBezTo>
                    <a:pt x="368445" y="1359020"/>
                    <a:pt x="368626" y="1363177"/>
                    <a:pt x="368987" y="1367334"/>
                  </a:cubicBezTo>
                  <a:cubicBezTo>
                    <a:pt x="369710" y="1375468"/>
                    <a:pt x="370975" y="1383601"/>
                    <a:pt x="372962" y="1391735"/>
                  </a:cubicBezTo>
                  <a:cubicBezTo>
                    <a:pt x="377119" y="1407640"/>
                    <a:pt x="383985" y="1423004"/>
                    <a:pt x="393201" y="1436740"/>
                  </a:cubicBezTo>
                  <a:cubicBezTo>
                    <a:pt x="402416" y="1450477"/>
                    <a:pt x="413800" y="1462406"/>
                    <a:pt x="426991" y="1472347"/>
                  </a:cubicBezTo>
                  <a:cubicBezTo>
                    <a:pt x="440182" y="1482288"/>
                    <a:pt x="455000" y="1489879"/>
                    <a:pt x="470721" y="1494759"/>
                  </a:cubicBezTo>
                  <a:cubicBezTo>
                    <a:pt x="486441" y="1499640"/>
                    <a:pt x="503066" y="1501989"/>
                    <a:pt x="519509" y="1501266"/>
                  </a:cubicBezTo>
                  <a:cubicBezTo>
                    <a:pt x="552396" y="1500362"/>
                    <a:pt x="585103" y="1487530"/>
                    <a:pt x="609859" y="1466021"/>
                  </a:cubicBezTo>
                  <a:cubicBezTo>
                    <a:pt x="634795" y="1444693"/>
                    <a:pt x="652323" y="1414509"/>
                    <a:pt x="658286" y="1381975"/>
                  </a:cubicBezTo>
                  <a:cubicBezTo>
                    <a:pt x="659732" y="1373841"/>
                    <a:pt x="660635" y="1365708"/>
                    <a:pt x="660816" y="1357393"/>
                  </a:cubicBezTo>
                  <a:cubicBezTo>
                    <a:pt x="660816" y="1355224"/>
                    <a:pt x="660816" y="1353778"/>
                    <a:pt x="660816" y="1352152"/>
                  </a:cubicBezTo>
                  <a:lnTo>
                    <a:pt x="660816" y="1252200"/>
                  </a:lnTo>
                  <a:cubicBezTo>
                    <a:pt x="661177" y="1252200"/>
                    <a:pt x="661539" y="1252200"/>
                    <a:pt x="661900" y="1252019"/>
                  </a:cubicBezTo>
                  <a:cubicBezTo>
                    <a:pt x="754960" y="1244066"/>
                    <a:pt x="852357" y="1240090"/>
                    <a:pt x="951199" y="1240090"/>
                  </a:cubicBezTo>
                  <a:cubicBezTo>
                    <a:pt x="974148" y="1240090"/>
                    <a:pt x="997638" y="1240271"/>
                    <a:pt x="1020768" y="1240813"/>
                  </a:cubicBezTo>
                  <a:lnTo>
                    <a:pt x="1020949" y="1240813"/>
                  </a:lnTo>
                  <a:lnTo>
                    <a:pt x="1020949" y="1388120"/>
                  </a:lnTo>
                  <a:lnTo>
                    <a:pt x="1021129" y="1391735"/>
                  </a:lnTo>
                  <a:cubicBezTo>
                    <a:pt x="1021310" y="1394265"/>
                    <a:pt x="1021310" y="1396615"/>
                    <a:pt x="1021491" y="1399145"/>
                  </a:cubicBezTo>
                  <a:cubicBezTo>
                    <a:pt x="1021852" y="1401676"/>
                    <a:pt x="1022214" y="1404025"/>
                    <a:pt x="1022575" y="1406556"/>
                  </a:cubicBezTo>
                  <a:cubicBezTo>
                    <a:pt x="1022756" y="1407821"/>
                    <a:pt x="1022936" y="1409086"/>
                    <a:pt x="1023117" y="1410171"/>
                  </a:cubicBezTo>
                  <a:lnTo>
                    <a:pt x="1024020" y="1413786"/>
                  </a:lnTo>
                  <a:cubicBezTo>
                    <a:pt x="1024743" y="1416135"/>
                    <a:pt x="1025285" y="1418666"/>
                    <a:pt x="1026008" y="1421016"/>
                  </a:cubicBezTo>
                  <a:cubicBezTo>
                    <a:pt x="1029080" y="1430414"/>
                    <a:pt x="1033417" y="1439632"/>
                    <a:pt x="1038838" y="1447946"/>
                  </a:cubicBezTo>
                  <a:cubicBezTo>
                    <a:pt x="1040103" y="1450115"/>
                    <a:pt x="1041729" y="1451923"/>
                    <a:pt x="1043175" y="1453911"/>
                  </a:cubicBezTo>
                  <a:lnTo>
                    <a:pt x="1045343" y="1456803"/>
                  </a:lnTo>
                  <a:cubicBezTo>
                    <a:pt x="1046066" y="1457707"/>
                    <a:pt x="1046969" y="1458610"/>
                    <a:pt x="1047873" y="1459695"/>
                  </a:cubicBezTo>
                  <a:cubicBezTo>
                    <a:pt x="1049499" y="1461502"/>
                    <a:pt x="1051125" y="1463310"/>
                    <a:pt x="1052932" y="1465117"/>
                  </a:cubicBezTo>
                  <a:cubicBezTo>
                    <a:pt x="1054739" y="1466744"/>
                    <a:pt x="1056546" y="1468551"/>
                    <a:pt x="1058353" y="1470178"/>
                  </a:cubicBezTo>
                  <a:cubicBezTo>
                    <a:pt x="1065943" y="1476504"/>
                    <a:pt x="1074255" y="1482288"/>
                    <a:pt x="1083290" y="1486264"/>
                  </a:cubicBezTo>
                  <a:lnTo>
                    <a:pt x="1086723" y="1487891"/>
                  </a:lnTo>
                  <a:cubicBezTo>
                    <a:pt x="1087807" y="1488433"/>
                    <a:pt x="1089072" y="1488795"/>
                    <a:pt x="1090156" y="1489156"/>
                  </a:cubicBezTo>
                  <a:cubicBezTo>
                    <a:pt x="1092505" y="1490060"/>
                    <a:pt x="1094855" y="1490964"/>
                    <a:pt x="1097204" y="1491687"/>
                  </a:cubicBezTo>
                  <a:cubicBezTo>
                    <a:pt x="1102082" y="1492952"/>
                    <a:pt x="1106781" y="1494398"/>
                    <a:pt x="1111840" y="1494940"/>
                  </a:cubicBezTo>
                  <a:cubicBezTo>
                    <a:pt x="1114370" y="1495302"/>
                    <a:pt x="1116719" y="1495844"/>
                    <a:pt x="1119249" y="1495844"/>
                  </a:cubicBezTo>
                  <a:cubicBezTo>
                    <a:pt x="1121779" y="1496025"/>
                    <a:pt x="1124128" y="1496205"/>
                    <a:pt x="1126657" y="1496205"/>
                  </a:cubicBezTo>
                  <a:cubicBezTo>
                    <a:pt x="1129549" y="1496386"/>
                    <a:pt x="1130633" y="1496205"/>
                    <a:pt x="1132259" y="1496386"/>
                  </a:cubicBezTo>
                  <a:lnTo>
                    <a:pt x="1423907" y="1496386"/>
                  </a:lnTo>
                  <a:cubicBezTo>
                    <a:pt x="1443603" y="1496205"/>
                    <a:pt x="1463841" y="1490783"/>
                    <a:pt x="1480647" y="1480300"/>
                  </a:cubicBezTo>
                  <a:cubicBezTo>
                    <a:pt x="1484983" y="1477769"/>
                    <a:pt x="1488778" y="1474697"/>
                    <a:pt x="1492753" y="1471624"/>
                  </a:cubicBezTo>
                  <a:cubicBezTo>
                    <a:pt x="1496367" y="1468371"/>
                    <a:pt x="1500162" y="1465117"/>
                    <a:pt x="1503595" y="1461322"/>
                  </a:cubicBezTo>
                  <a:cubicBezTo>
                    <a:pt x="1505222" y="1459514"/>
                    <a:pt x="1507029" y="1457707"/>
                    <a:pt x="1508474" y="1455719"/>
                  </a:cubicBezTo>
                  <a:cubicBezTo>
                    <a:pt x="1509920" y="1453730"/>
                    <a:pt x="1511546" y="1451742"/>
                    <a:pt x="1512992" y="1449754"/>
                  </a:cubicBezTo>
                  <a:cubicBezTo>
                    <a:pt x="1514437" y="1447766"/>
                    <a:pt x="1515702" y="1445597"/>
                    <a:pt x="1516967" y="1443428"/>
                  </a:cubicBezTo>
                  <a:lnTo>
                    <a:pt x="1518955" y="1440174"/>
                  </a:lnTo>
                  <a:cubicBezTo>
                    <a:pt x="1519497" y="1439090"/>
                    <a:pt x="1520039" y="1438005"/>
                    <a:pt x="1520581" y="1436921"/>
                  </a:cubicBezTo>
                  <a:cubicBezTo>
                    <a:pt x="1521665" y="1434752"/>
                    <a:pt x="1522749" y="1432402"/>
                    <a:pt x="1523834" y="1430233"/>
                  </a:cubicBezTo>
                  <a:cubicBezTo>
                    <a:pt x="1524737" y="1427884"/>
                    <a:pt x="1525641" y="1425534"/>
                    <a:pt x="1526544" y="1423185"/>
                  </a:cubicBezTo>
                  <a:cubicBezTo>
                    <a:pt x="1527448" y="1420835"/>
                    <a:pt x="1527990" y="1418485"/>
                    <a:pt x="1528712" y="1415955"/>
                  </a:cubicBezTo>
                  <a:cubicBezTo>
                    <a:pt x="1529254" y="1413605"/>
                    <a:pt x="1529977" y="1411075"/>
                    <a:pt x="1530519" y="1408725"/>
                  </a:cubicBezTo>
                  <a:cubicBezTo>
                    <a:pt x="1531242" y="1403845"/>
                    <a:pt x="1532146" y="1398965"/>
                    <a:pt x="1532326" y="1393904"/>
                  </a:cubicBezTo>
                  <a:lnTo>
                    <a:pt x="1532507" y="1390108"/>
                  </a:lnTo>
                  <a:lnTo>
                    <a:pt x="1532507" y="1388301"/>
                  </a:lnTo>
                  <a:lnTo>
                    <a:pt x="1532507" y="1293048"/>
                  </a:lnTo>
                  <a:cubicBezTo>
                    <a:pt x="1638577" y="1315099"/>
                    <a:pt x="1726036" y="1343476"/>
                    <a:pt x="1785485" y="1374926"/>
                  </a:cubicBezTo>
                  <a:cubicBezTo>
                    <a:pt x="1844032" y="1405833"/>
                    <a:pt x="1874931" y="1439271"/>
                    <a:pt x="1874931" y="1471624"/>
                  </a:cubicBezTo>
                  <a:cubicBezTo>
                    <a:pt x="1874751" y="1507050"/>
                    <a:pt x="1838250" y="1536873"/>
                    <a:pt x="1807531" y="1555851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57" name="Freeform 84">
              <a:extLst>
                <a:ext uri="{FF2B5EF4-FFF2-40B4-BE49-F238E27FC236}">
                  <a16:creationId xmlns:a16="http://schemas.microsoft.com/office/drawing/2014/main" id="{A59C29E7-62F7-4978-834B-E4C92F0EB0E2}"/>
                </a:ext>
              </a:extLst>
            </p:cNvPr>
            <p:cNvSpPr/>
            <p:nvPr/>
          </p:nvSpPr>
          <p:spPr>
            <a:xfrm>
              <a:off x="3500290" y="3521016"/>
              <a:ext cx="408198" cy="825260"/>
            </a:xfrm>
            <a:custGeom>
              <a:avLst/>
              <a:gdLst>
                <a:gd name="connsiteX0" fmla="*/ 408199 w 408198"/>
                <a:gd name="connsiteY0" fmla="*/ 767523 h 825260"/>
                <a:gd name="connsiteX1" fmla="*/ 408199 w 408198"/>
                <a:gd name="connsiteY1" fmla="*/ 724505 h 825260"/>
                <a:gd name="connsiteX2" fmla="*/ 408199 w 408198"/>
                <a:gd name="connsiteY2" fmla="*/ 724505 h 825260"/>
                <a:gd name="connsiteX3" fmla="*/ 408199 w 408198"/>
                <a:gd name="connsiteY3" fmla="*/ 57196 h 825260"/>
                <a:gd name="connsiteX4" fmla="*/ 408018 w 408198"/>
                <a:gd name="connsiteY4" fmla="*/ 55207 h 825260"/>
                <a:gd name="connsiteX5" fmla="*/ 407837 w 408198"/>
                <a:gd name="connsiteY5" fmla="*/ 51231 h 825260"/>
                <a:gd name="connsiteX6" fmla="*/ 407295 w 408198"/>
                <a:gd name="connsiteY6" fmla="*/ 47435 h 825260"/>
                <a:gd name="connsiteX7" fmla="*/ 406934 w 408198"/>
                <a:gd name="connsiteY7" fmla="*/ 45447 h 825260"/>
                <a:gd name="connsiteX8" fmla="*/ 406392 w 408198"/>
                <a:gd name="connsiteY8" fmla="*/ 43640 h 825260"/>
                <a:gd name="connsiteX9" fmla="*/ 405488 w 408198"/>
                <a:gd name="connsiteY9" fmla="*/ 39844 h 825260"/>
                <a:gd name="connsiteX10" fmla="*/ 398802 w 408198"/>
                <a:gd name="connsiteY10" fmla="*/ 25746 h 825260"/>
                <a:gd name="connsiteX11" fmla="*/ 396453 w 408198"/>
                <a:gd name="connsiteY11" fmla="*/ 22493 h 825260"/>
                <a:gd name="connsiteX12" fmla="*/ 395369 w 408198"/>
                <a:gd name="connsiteY12" fmla="*/ 20866 h 825260"/>
                <a:gd name="connsiteX13" fmla="*/ 394104 w 408198"/>
                <a:gd name="connsiteY13" fmla="*/ 19420 h 825260"/>
                <a:gd name="connsiteX14" fmla="*/ 391394 w 408198"/>
                <a:gd name="connsiteY14" fmla="*/ 16528 h 825260"/>
                <a:gd name="connsiteX15" fmla="*/ 388503 w 408198"/>
                <a:gd name="connsiteY15" fmla="*/ 13817 h 825260"/>
                <a:gd name="connsiteX16" fmla="*/ 375492 w 408198"/>
                <a:gd name="connsiteY16" fmla="*/ 5322 h 825260"/>
                <a:gd name="connsiteX17" fmla="*/ 373685 w 408198"/>
                <a:gd name="connsiteY17" fmla="*/ 4418 h 825260"/>
                <a:gd name="connsiteX18" fmla="*/ 371878 w 408198"/>
                <a:gd name="connsiteY18" fmla="*/ 3695 h 825260"/>
                <a:gd name="connsiteX19" fmla="*/ 368264 w 408198"/>
                <a:gd name="connsiteY19" fmla="*/ 2430 h 825260"/>
                <a:gd name="connsiteX20" fmla="*/ 360675 w 408198"/>
                <a:gd name="connsiteY20" fmla="*/ 803 h 825260"/>
                <a:gd name="connsiteX21" fmla="*/ 356880 w 408198"/>
                <a:gd name="connsiteY21" fmla="*/ 261 h 825260"/>
                <a:gd name="connsiteX22" fmla="*/ 352905 w 408198"/>
                <a:gd name="connsiteY22" fmla="*/ 80 h 825260"/>
                <a:gd name="connsiteX23" fmla="*/ 348388 w 408198"/>
                <a:gd name="connsiteY23" fmla="*/ 80 h 825260"/>
                <a:gd name="connsiteX24" fmla="*/ 56559 w 408198"/>
                <a:gd name="connsiteY24" fmla="*/ 80 h 825260"/>
                <a:gd name="connsiteX25" fmla="*/ 26924 w 408198"/>
                <a:gd name="connsiteY25" fmla="*/ 8575 h 825260"/>
                <a:gd name="connsiteX26" fmla="*/ 20600 w 408198"/>
                <a:gd name="connsiteY26" fmla="*/ 13094 h 825260"/>
                <a:gd name="connsiteX27" fmla="*/ 14998 w 408198"/>
                <a:gd name="connsiteY27" fmla="*/ 18516 h 825260"/>
                <a:gd name="connsiteX28" fmla="*/ 12468 w 408198"/>
                <a:gd name="connsiteY28" fmla="*/ 21408 h 825260"/>
                <a:gd name="connsiteX29" fmla="*/ 10119 w 408198"/>
                <a:gd name="connsiteY29" fmla="*/ 24481 h 825260"/>
                <a:gd name="connsiteX30" fmla="*/ 7951 w 408198"/>
                <a:gd name="connsiteY30" fmla="*/ 27734 h 825260"/>
                <a:gd name="connsiteX31" fmla="*/ 6867 w 408198"/>
                <a:gd name="connsiteY31" fmla="*/ 29361 h 825260"/>
                <a:gd name="connsiteX32" fmla="*/ 5963 w 408198"/>
                <a:gd name="connsiteY32" fmla="*/ 31168 h 825260"/>
                <a:gd name="connsiteX33" fmla="*/ 4337 w 408198"/>
                <a:gd name="connsiteY33" fmla="*/ 34603 h 825260"/>
                <a:gd name="connsiteX34" fmla="*/ 3072 w 408198"/>
                <a:gd name="connsiteY34" fmla="*/ 38217 h 825260"/>
                <a:gd name="connsiteX35" fmla="*/ 1988 w 408198"/>
                <a:gd name="connsiteY35" fmla="*/ 42013 h 825260"/>
                <a:gd name="connsiteX36" fmla="*/ 1084 w 408198"/>
                <a:gd name="connsiteY36" fmla="*/ 45809 h 825260"/>
                <a:gd name="connsiteX37" fmla="*/ 181 w 408198"/>
                <a:gd name="connsiteY37" fmla="*/ 53581 h 825260"/>
                <a:gd name="connsiteX38" fmla="*/ 0 w 408198"/>
                <a:gd name="connsiteY38" fmla="*/ 55569 h 825260"/>
                <a:gd name="connsiteX39" fmla="*/ 0 w 408198"/>
                <a:gd name="connsiteY39" fmla="*/ 56473 h 825260"/>
                <a:gd name="connsiteX40" fmla="*/ 0 w 408198"/>
                <a:gd name="connsiteY40" fmla="*/ 57557 h 825260"/>
                <a:gd name="connsiteX41" fmla="*/ 0 w 408198"/>
                <a:gd name="connsiteY41" fmla="*/ 62437 h 825260"/>
                <a:gd name="connsiteX42" fmla="*/ 0 w 408198"/>
                <a:gd name="connsiteY42" fmla="*/ 62437 h 825260"/>
                <a:gd name="connsiteX43" fmla="*/ 0 w 408198"/>
                <a:gd name="connsiteY43" fmla="*/ 768246 h 825260"/>
                <a:gd name="connsiteX44" fmla="*/ 181 w 408198"/>
                <a:gd name="connsiteY44" fmla="*/ 770234 h 825260"/>
                <a:gd name="connsiteX45" fmla="*/ 361 w 408198"/>
                <a:gd name="connsiteY45" fmla="*/ 774210 h 825260"/>
                <a:gd name="connsiteX46" fmla="*/ 903 w 408198"/>
                <a:gd name="connsiteY46" fmla="*/ 778006 h 825260"/>
                <a:gd name="connsiteX47" fmla="*/ 1265 w 408198"/>
                <a:gd name="connsiteY47" fmla="*/ 779994 h 825260"/>
                <a:gd name="connsiteX48" fmla="*/ 1807 w 408198"/>
                <a:gd name="connsiteY48" fmla="*/ 781802 h 825260"/>
                <a:gd name="connsiteX49" fmla="*/ 2710 w 408198"/>
                <a:gd name="connsiteY49" fmla="*/ 785597 h 825260"/>
                <a:gd name="connsiteX50" fmla="*/ 9396 w 408198"/>
                <a:gd name="connsiteY50" fmla="*/ 799695 h 825260"/>
                <a:gd name="connsiteX51" fmla="*/ 11745 w 408198"/>
                <a:gd name="connsiteY51" fmla="*/ 802949 h 825260"/>
                <a:gd name="connsiteX52" fmla="*/ 12830 w 408198"/>
                <a:gd name="connsiteY52" fmla="*/ 804575 h 825260"/>
                <a:gd name="connsiteX53" fmla="*/ 14095 w 408198"/>
                <a:gd name="connsiteY53" fmla="*/ 806021 h 825260"/>
                <a:gd name="connsiteX54" fmla="*/ 16805 w 408198"/>
                <a:gd name="connsiteY54" fmla="*/ 808913 h 825260"/>
                <a:gd name="connsiteX55" fmla="*/ 19696 w 408198"/>
                <a:gd name="connsiteY55" fmla="*/ 811444 h 825260"/>
                <a:gd name="connsiteX56" fmla="*/ 32707 w 408198"/>
                <a:gd name="connsiteY56" fmla="*/ 819939 h 825260"/>
                <a:gd name="connsiteX57" fmla="*/ 34514 w 408198"/>
                <a:gd name="connsiteY57" fmla="*/ 820842 h 825260"/>
                <a:gd name="connsiteX58" fmla="*/ 36321 w 408198"/>
                <a:gd name="connsiteY58" fmla="*/ 821565 h 825260"/>
                <a:gd name="connsiteX59" fmla="*/ 39935 w 408198"/>
                <a:gd name="connsiteY59" fmla="*/ 822831 h 825260"/>
                <a:gd name="connsiteX60" fmla="*/ 47524 w 408198"/>
                <a:gd name="connsiteY60" fmla="*/ 824457 h 825260"/>
                <a:gd name="connsiteX61" fmla="*/ 51319 w 408198"/>
                <a:gd name="connsiteY61" fmla="*/ 825000 h 825260"/>
                <a:gd name="connsiteX62" fmla="*/ 55294 w 408198"/>
                <a:gd name="connsiteY62" fmla="*/ 825180 h 825260"/>
                <a:gd name="connsiteX63" fmla="*/ 59811 w 408198"/>
                <a:gd name="connsiteY63" fmla="*/ 825180 h 825260"/>
                <a:gd name="connsiteX64" fmla="*/ 351459 w 408198"/>
                <a:gd name="connsiteY64" fmla="*/ 825180 h 825260"/>
                <a:gd name="connsiteX65" fmla="*/ 381094 w 408198"/>
                <a:gd name="connsiteY65" fmla="*/ 816685 h 825260"/>
                <a:gd name="connsiteX66" fmla="*/ 387418 w 408198"/>
                <a:gd name="connsiteY66" fmla="*/ 812167 h 825260"/>
                <a:gd name="connsiteX67" fmla="*/ 393020 w 408198"/>
                <a:gd name="connsiteY67" fmla="*/ 806744 h 825260"/>
                <a:gd name="connsiteX68" fmla="*/ 395550 w 408198"/>
                <a:gd name="connsiteY68" fmla="*/ 803852 h 825260"/>
                <a:gd name="connsiteX69" fmla="*/ 397899 w 408198"/>
                <a:gd name="connsiteY69" fmla="*/ 800780 h 825260"/>
                <a:gd name="connsiteX70" fmla="*/ 400067 w 408198"/>
                <a:gd name="connsiteY70" fmla="*/ 797526 h 825260"/>
                <a:gd name="connsiteX71" fmla="*/ 401151 w 408198"/>
                <a:gd name="connsiteY71" fmla="*/ 795900 h 825260"/>
                <a:gd name="connsiteX72" fmla="*/ 402055 w 408198"/>
                <a:gd name="connsiteY72" fmla="*/ 794092 h 825260"/>
                <a:gd name="connsiteX73" fmla="*/ 403681 w 408198"/>
                <a:gd name="connsiteY73" fmla="*/ 790658 h 825260"/>
                <a:gd name="connsiteX74" fmla="*/ 404946 w 408198"/>
                <a:gd name="connsiteY74" fmla="*/ 787043 h 825260"/>
                <a:gd name="connsiteX75" fmla="*/ 406030 w 408198"/>
                <a:gd name="connsiteY75" fmla="*/ 783247 h 825260"/>
                <a:gd name="connsiteX76" fmla="*/ 406934 w 408198"/>
                <a:gd name="connsiteY76" fmla="*/ 779452 h 825260"/>
                <a:gd name="connsiteX77" fmla="*/ 407837 w 408198"/>
                <a:gd name="connsiteY77" fmla="*/ 771680 h 825260"/>
                <a:gd name="connsiteX78" fmla="*/ 408018 w 408198"/>
                <a:gd name="connsiteY78" fmla="*/ 769692 h 825260"/>
                <a:gd name="connsiteX79" fmla="*/ 408018 w 408198"/>
                <a:gd name="connsiteY79" fmla="*/ 768788 h 825260"/>
                <a:gd name="connsiteX80" fmla="*/ 408199 w 408198"/>
                <a:gd name="connsiteY80" fmla="*/ 767523 h 825260"/>
                <a:gd name="connsiteX81" fmla="*/ 381997 w 408198"/>
                <a:gd name="connsiteY81" fmla="*/ 768607 h 825260"/>
                <a:gd name="connsiteX82" fmla="*/ 381997 w 408198"/>
                <a:gd name="connsiteY82" fmla="*/ 769149 h 825260"/>
                <a:gd name="connsiteX83" fmla="*/ 381997 w 408198"/>
                <a:gd name="connsiteY83" fmla="*/ 770234 h 825260"/>
                <a:gd name="connsiteX84" fmla="*/ 381636 w 408198"/>
                <a:gd name="connsiteY84" fmla="*/ 774391 h 825260"/>
                <a:gd name="connsiteX85" fmla="*/ 381094 w 408198"/>
                <a:gd name="connsiteY85" fmla="*/ 776379 h 825260"/>
                <a:gd name="connsiteX86" fmla="*/ 380552 w 408198"/>
                <a:gd name="connsiteY86" fmla="*/ 778367 h 825260"/>
                <a:gd name="connsiteX87" fmla="*/ 379829 w 408198"/>
                <a:gd name="connsiteY87" fmla="*/ 780356 h 825260"/>
                <a:gd name="connsiteX88" fmla="*/ 378926 w 408198"/>
                <a:gd name="connsiteY88" fmla="*/ 782163 h 825260"/>
                <a:gd name="connsiteX89" fmla="*/ 378564 w 408198"/>
                <a:gd name="connsiteY89" fmla="*/ 783067 h 825260"/>
                <a:gd name="connsiteX90" fmla="*/ 378022 w 408198"/>
                <a:gd name="connsiteY90" fmla="*/ 783971 h 825260"/>
                <a:gd name="connsiteX91" fmla="*/ 376938 w 408198"/>
                <a:gd name="connsiteY91" fmla="*/ 785778 h 825260"/>
                <a:gd name="connsiteX92" fmla="*/ 375673 w 408198"/>
                <a:gd name="connsiteY92" fmla="*/ 787405 h 825260"/>
                <a:gd name="connsiteX93" fmla="*/ 374227 w 408198"/>
                <a:gd name="connsiteY93" fmla="*/ 789031 h 825260"/>
                <a:gd name="connsiteX94" fmla="*/ 371156 w 408198"/>
                <a:gd name="connsiteY94" fmla="*/ 791923 h 825260"/>
                <a:gd name="connsiteX95" fmla="*/ 367722 w 408198"/>
                <a:gd name="connsiteY95" fmla="*/ 794273 h 825260"/>
                <a:gd name="connsiteX96" fmla="*/ 351821 w 408198"/>
                <a:gd name="connsiteY96" fmla="*/ 798792 h 825260"/>
                <a:gd name="connsiteX97" fmla="*/ 59811 w 408198"/>
                <a:gd name="connsiteY97" fmla="*/ 798792 h 825260"/>
                <a:gd name="connsiteX98" fmla="*/ 55836 w 408198"/>
                <a:gd name="connsiteY98" fmla="*/ 798792 h 825260"/>
                <a:gd name="connsiteX99" fmla="*/ 53668 w 408198"/>
                <a:gd name="connsiteY99" fmla="*/ 798792 h 825260"/>
                <a:gd name="connsiteX100" fmla="*/ 51499 w 408198"/>
                <a:gd name="connsiteY100" fmla="*/ 798430 h 825260"/>
                <a:gd name="connsiteX101" fmla="*/ 47524 w 408198"/>
                <a:gd name="connsiteY101" fmla="*/ 797526 h 825260"/>
                <a:gd name="connsiteX102" fmla="*/ 45536 w 408198"/>
                <a:gd name="connsiteY102" fmla="*/ 796803 h 825260"/>
                <a:gd name="connsiteX103" fmla="*/ 44633 w 408198"/>
                <a:gd name="connsiteY103" fmla="*/ 796442 h 825260"/>
                <a:gd name="connsiteX104" fmla="*/ 43729 w 408198"/>
                <a:gd name="connsiteY104" fmla="*/ 795900 h 825260"/>
                <a:gd name="connsiteX105" fmla="*/ 36682 w 408198"/>
                <a:gd name="connsiteY105" fmla="*/ 791381 h 825260"/>
                <a:gd name="connsiteX106" fmla="*/ 35056 w 408198"/>
                <a:gd name="connsiteY106" fmla="*/ 789935 h 825260"/>
                <a:gd name="connsiteX107" fmla="*/ 33610 w 408198"/>
                <a:gd name="connsiteY107" fmla="*/ 788308 h 825260"/>
                <a:gd name="connsiteX108" fmla="*/ 32887 w 408198"/>
                <a:gd name="connsiteY108" fmla="*/ 787585 h 825260"/>
                <a:gd name="connsiteX109" fmla="*/ 32345 w 408198"/>
                <a:gd name="connsiteY109" fmla="*/ 786682 h 825260"/>
                <a:gd name="connsiteX110" fmla="*/ 31080 w 408198"/>
                <a:gd name="connsiteY110" fmla="*/ 785055 h 825260"/>
                <a:gd name="connsiteX111" fmla="*/ 27466 w 408198"/>
                <a:gd name="connsiteY111" fmla="*/ 777464 h 825260"/>
                <a:gd name="connsiteX112" fmla="*/ 26924 w 408198"/>
                <a:gd name="connsiteY112" fmla="*/ 775475 h 825260"/>
                <a:gd name="connsiteX113" fmla="*/ 26563 w 408198"/>
                <a:gd name="connsiteY113" fmla="*/ 774572 h 825260"/>
                <a:gd name="connsiteX114" fmla="*/ 26382 w 408198"/>
                <a:gd name="connsiteY114" fmla="*/ 773487 h 825260"/>
                <a:gd name="connsiteX115" fmla="*/ 26021 w 408198"/>
                <a:gd name="connsiteY115" fmla="*/ 771499 h 825260"/>
                <a:gd name="connsiteX116" fmla="*/ 26021 w 408198"/>
                <a:gd name="connsiteY116" fmla="*/ 769330 h 825260"/>
                <a:gd name="connsiteX117" fmla="*/ 26021 w 408198"/>
                <a:gd name="connsiteY117" fmla="*/ 768246 h 825260"/>
                <a:gd name="connsiteX118" fmla="*/ 26021 w 408198"/>
                <a:gd name="connsiteY118" fmla="*/ 609913 h 825260"/>
                <a:gd name="connsiteX119" fmla="*/ 26563 w 408198"/>
                <a:gd name="connsiteY119" fmla="*/ 596357 h 825260"/>
                <a:gd name="connsiteX120" fmla="*/ 26021 w 408198"/>
                <a:gd name="connsiteY120" fmla="*/ 596357 h 825260"/>
                <a:gd name="connsiteX121" fmla="*/ 26021 w 408198"/>
                <a:gd name="connsiteY121" fmla="*/ 57015 h 825260"/>
                <a:gd name="connsiteX122" fmla="*/ 26021 w 408198"/>
                <a:gd name="connsiteY122" fmla="*/ 56473 h 825260"/>
                <a:gd name="connsiteX123" fmla="*/ 26021 w 408198"/>
                <a:gd name="connsiteY123" fmla="*/ 55388 h 825260"/>
                <a:gd name="connsiteX124" fmla="*/ 26382 w 408198"/>
                <a:gd name="connsiteY124" fmla="*/ 51231 h 825260"/>
                <a:gd name="connsiteX125" fmla="*/ 26924 w 408198"/>
                <a:gd name="connsiteY125" fmla="*/ 49243 h 825260"/>
                <a:gd name="connsiteX126" fmla="*/ 27466 w 408198"/>
                <a:gd name="connsiteY126" fmla="*/ 47255 h 825260"/>
                <a:gd name="connsiteX127" fmla="*/ 28189 w 408198"/>
                <a:gd name="connsiteY127" fmla="*/ 45267 h 825260"/>
                <a:gd name="connsiteX128" fmla="*/ 29093 w 408198"/>
                <a:gd name="connsiteY128" fmla="*/ 43459 h 825260"/>
                <a:gd name="connsiteX129" fmla="*/ 29454 w 408198"/>
                <a:gd name="connsiteY129" fmla="*/ 42555 h 825260"/>
                <a:gd name="connsiteX130" fmla="*/ 29996 w 408198"/>
                <a:gd name="connsiteY130" fmla="*/ 41652 h 825260"/>
                <a:gd name="connsiteX131" fmla="*/ 31080 w 408198"/>
                <a:gd name="connsiteY131" fmla="*/ 39844 h 825260"/>
                <a:gd name="connsiteX132" fmla="*/ 32345 w 408198"/>
                <a:gd name="connsiteY132" fmla="*/ 38217 h 825260"/>
                <a:gd name="connsiteX133" fmla="*/ 33791 w 408198"/>
                <a:gd name="connsiteY133" fmla="*/ 36591 h 825260"/>
                <a:gd name="connsiteX134" fmla="*/ 36863 w 408198"/>
                <a:gd name="connsiteY134" fmla="*/ 33699 h 825260"/>
                <a:gd name="connsiteX135" fmla="*/ 40296 w 408198"/>
                <a:gd name="connsiteY135" fmla="*/ 31349 h 825260"/>
                <a:gd name="connsiteX136" fmla="*/ 56197 w 408198"/>
                <a:gd name="connsiteY136" fmla="*/ 26831 h 825260"/>
                <a:gd name="connsiteX137" fmla="*/ 347845 w 408198"/>
                <a:gd name="connsiteY137" fmla="*/ 26831 h 825260"/>
                <a:gd name="connsiteX138" fmla="*/ 351821 w 408198"/>
                <a:gd name="connsiteY138" fmla="*/ 26831 h 825260"/>
                <a:gd name="connsiteX139" fmla="*/ 353989 w 408198"/>
                <a:gd name="connsiteY139" fmla="*/ 26831 h 825260"/>
                <a:gd name="connsiteX140" fmla="*/ 355977 w 408198"/>
                <a:gd name="connsiteY140" fmla="*/ 27192 h 825260"/>
                <a:gd name="connsiteX141" fmla="*/ 359952 w 408198"/>
                <a:gd name="connsiteY141" fmla="*/ 28096 h 825260"/>
                <a:gd name="connsiteX142" fmla="*/ 361940 w 408198"/>
                <a:gd name="connsiteY142" fmla="*/ 28819 h 825260"/>
                <a:gd name="connsiteX143" fmla="*/ 362843 w 408198"/>
                <a:gd name="connsiteY143" fmla="*/ 29180 h 825260"/>
                <a:gd name="connsiteX144" fmla="*/ 363747 w 408198"/>
                <a:gd name="connsiteY144" fmla="*/ 29722 h 825260"/>
                <a:gd name="connsiteX145" fmla="*/ 370794 w 408198"/>
                <a:gd name="connsiteY145" fmla="*/ 34241 h 825260"/>
                <a:gd name="connsiteX146" fmla="*/ 372420 w 408198"/>
                <a:gd name="connsiteY146" fmla="*/ 35687 h 825260"/>
                <a:gd name="connsiteX147" fmla="*/ 373866 w 408198"/>
                <a:gd name="connsiteY147" fmla="*/ 37314 h 825260"/>
                <a:gd name="connsiteX148" fmla="*/ 374589 w 408198"/>
                <a:gd name="connsiteY148" fmla="*/ 38037 h 825260"/>
                <a:gd name="connsiteX149" fmla="*/ 375131 w 408198"/>
                <a:gd name="connsiteY149" fmla="*/ 38940 h 825260"/>
                <a:gd name="connsiteX150" fmla="*/ 376396 w 408198"/>
                <a:gd name="connsiteY150" fmla="*/ 40567 h 825260"/>
                <a:gd name="connsiteX151" fmla="*/ 380010 w 408198"/>
                <a:gd name="connsiteY151" fmla="*/ 48158 h 825260"/>
                <a:gd name="connsiteX152" fmla="*/ 380552 w 408198"/>
                <a:gd name="connsiteY152" fmla="*/ 50147 h 825260"/>
                <a:gd name="connsiteX153" fmla="*/ 380913 w 408198"/>
                <a:gd name="connsiteY153" fmla="*/ 51050 h 825260"/>
                <a:gd name="connsiteX154" fmla="*/ 381094 w 408198"/>
                <a:gd name="connsiteY154" fmla="*/ 52135 h 825260"/>
                <a:gd name="connsiteX155" fmla="*/ 381455 w 408198"/>
                <a:gd name="connsiteY155" fmla="*/ 54123 h 825260"/>
                <a:gd name="connsiteX156" fmla="*/ 381455 w 408198"/>
                <a:gd name="connsiteY156" fmla="*/ 56292 h 825260"/>
                <a:gd name="connsiteX157" fmla="*/ 381636 w 408198"/>
                <a:gd name="connsiteY157" fmla="*/ 57376 h 825260"/>
                <a:gd name="connsiteX158" fmla="*/ 381636 w 408198"/>
                <a:gd name="connsiteY158" fmla="*/ 724686 h 825260"/>
                <a:gd name="connsiteX159" fmla="*/ 381636 w 408198"/>
                <a:gd name="connsiteY159" fmla="*/ 731916 h 825260"/>
                <a:gd name="connsiteX160" fmla="*/ 381636 w 408198"/>
                <a:gd name="connsiteY160" fmla="*/ 768607 h 82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</a:cxnLst>
              <a:rect l="l" t="t" r="r" b="b"/>
              <a:pathLst>
                <a:path w="408198" h="825260">
                  <a:moveTo>
                    <a:pt x="408199" y="767523"/>
                  </a:moveTo>
                  <a:lnTo>
                    <a:pt x="408199" y="724505"/>
                  </a:lnTo>
                  <a:lnTo>
                    <a:pt x="408199" y="724505"/>
                  </a:lnTo>
                  <a:lnTo>
                    <a:pt x="408199" y="57196"/>
                  </a:lnTo>
                  <a:lnTo>
                    <a:pt x="408018" y="55207"/>
                  </a:lnTo>
                  <a:lnTo>
                    <a:pt x="407837" y="51231"/>
                  </a:lnTo>
                  <a:lnTo>
                    <a:pt x="407295" y="47435"/>
                  </a:lnTo>
                  <a:lnTo>
                    <a:pt x="406934" y="45447"/>
                  </a:lnTo>
                  <a:lnTo>
                    <a:pt x="406392" y="43640"/>
                  </a:lnTo>
                  <a:cubicBezTo>
                    <a:pt x="406030" y="42375"/>
                    <a:pt x="405850" y="41109"/>
                    <a:pt x="405488" y="39844"/>
                  </a:cubicBezTo>
                  <a:cubicBezTo>
                    <a:pt x="403862" y="34964"/>
                    <a:pt x="401694" y="30265"/>
                    <a:pt x="398802" y="25746"/>
                  </a:cubicBezTo>
                  <a:cubicBezTo>
                    <a:pt x="398080" y="24662"/>
                    <a:pt x="397176" y="23577"/>
                    <a:pt x="396453" y="22493"/>
                  </a:cubicBezTo>
                  <a:lnTo>
                    <a:pt x="395369" y="20866"/>
                  </a:lnTo>
                  <a:cubicBezTo>
                    <a:pt x="395008" y="20324"/>
                    <a:pt x="394466" y="19962"/>
                    <a:pt x="394104" y="19420"/>
                  </a:cubicBezTo>
                  <a:cubicBezTo>
                    <a:pt x="393201" y="18516"/>
                    <a:pt x="392297" y="17432"/>
                    <a:pt x="391394" y="16528"/>
                  </a:cubicBezTo>
                  <a:lnTo>
                    <a:pt x="388503" y="13817"/>
                  </a:lnTo>
                  <a:cubicBezTo>
                    <a:pt x="384527" y="10564"/>
                    <a:pt x="380190" y="7491"/>
                    <a:pt x="375492" y="5322"/>
                  </a:cubicBezTo>
                  <a:lnTo>
                    <a:pt x="373685" y="4418"/>
                  </a:lnTo>
                  <a:lnTo>
                    <a:pt x="371878" y="3695"/>
                  </a:lnTo>
                  <a:cubicBezTo>
                    <a:pt x="370613" y="3334"/>
                    <a:pt x="369349" y="2792"/>
                    <a:pt x="368264" y="2430"/>
                  </a:cubicBezTo>
                  <a:cubicBezTo>
                    <a:pt x="365735" y="1888"/>
                    <a:pt x="363205" y="984"/>
                    <a:pt x="360675" y="803"/>
                  </a:cubicBezTo>
                  <a:cubicBezTo>
                    <a:pt x="359410" y="623"/>
                    <a:pt x="358145" y="261"/>
                    <a:pt x="356880" y="261"/>
                  </a:cubicBezTo>
                  <a:lnTo>
                    <a:pt x="352905" y="80"/>
                  </a:lnTo>
                  <a:cubicBezTo>
                    <a:pt x="351640" y="-100"/>
                    <a:pt x="350014" y="80"/>
                    <a:pt x="348388" y="80"/>
                  </a:cubicBezTo>
                  <a:lnTo>
                    <a:pt x="56559" y="80"/>
                  </a:lnTo>
                  <a:cubicBezTo>
                    <a:pt x="46078" y="261"/>
                    <a:pt x="35778" y="2972"/>
                    <a:pt x="26924" y="8575"/>
                  </a:cubicBezTo>
                  <a:cubicBezTo>
                    <a:pt x="24575" y="9841"/>
                    <a:pt x="22587" y="11648"/>
                    <a:pt x="20600" y="13094"/>
                  </a:cubicBezTo>
                  <a:cubicBezTo>
                    <a:pt x="18793" y="14901"/>
                    <a:pt x="16624" y="16528"/>
                    <a:pt x="14998" y="18516"/>
                  </a:cubicBezTo>
                  <a:cubicBezTo>
                    <a:pt x="14095" y="19420"/>
                    <a:pt x="13191" y="20324"/>
                    <a:pt x="12468" y="21408"/>
                  </a:cubicBezTo>
                  <a:lnTo>
                    <a:pt x="10119" y="24481"/>
                  </a:lnTo>
                  <a:cubicBezTo>
                    <a:pt x="9396" y="25565"/>
                    <a:pt x="8674" y="26650"/>
                    <a:pt x="7951" y="27734"/>
                  </a:cubicBezTo>
                  <a:lnTo>
                    <a:pt x="6867" y="29361"/>
                  </a:lnTo>
                  <a:cubicBezTo>
                    <a:pt x="6505" y="29903"/>
                    <a:pt x="6324" y="30445"/>
                    <a:pt x="5963" y="31168"/>
                  </a:cubicBezTo>
                  <a:lnTo>
                    <a:pt x="4337" y="34603"/>
                  </a:lnTo>
                  <a:lnTo>
                    <a:pt x="3072" y="38217"/>
                  </a:lnTo>
                  <a:cubicBezTo>
                    <a:pt x="2530" y="39483"/>
                    <a:pt x="2168" y="40748"/>
                    <a:pt x="1988" y="42013"/>
                  </a:cubicBezTo>
                  <a:cubicBezTo>
                    <a:pt x="1626" y="43278"/>
                    <a:pt x="1265" y="44544"/>
                    <a:pt x="1084" y="45809"/>
                  </a:cubicBezTo>
                  <a:cubicBezTo>
                    <a:pt x="723" y="48339"/>
                    <a:pt x="181" y="50870"/>
                    <a:pt x="181" y="53581"/>
                  </a:cubicBezTo>
                  <a:lnTo>
                    <a:pt x="0" y="55569"/>
                  </a:lnTo>
                  <a:lnTo>
                    <a:pt x="0" y="56473"/>
                  </a:lnTo>
                  <a:cubicBezTo>
                    <a:pt x="0" y="56834"/>
                    <a:pt x="0" y="57196"/>
                    <a:pt x="0" y="57557"/>
                  </a:cubicBezTo>
                  <a:lnTo>
                    <a:pt x="0" y="62437"/>
                  </a:lnTo>
                  <a:lnTo>
                    <a:pt x="0" y="62437"/>
                  </a:lnTo>
                  <a:lnTo>
                    <a:pt x="0" y="768246"/>
                  </a:lnTo>
                  <a:lnTo>
                    <a:pt x="181" y="770234"/>
                  </a:lnTo>
                  <a:lnTo>
                    <a:pt x="361" y="774210"/>
                  </a:lnTo>
                  <a:lnTo>
                    <a:pt x="903" y="778006"/>
                  </a:lnTo>
                  <a:lnTo>
                    <a:pt x="1265" y="779994"/>
                  </a:lnTo>
                  <a:lnTo>
                    <a:pt x="1807" y="781802"/>
                  </a:lnTo>
                  <a:cubicBezTo>
                    <a:pt x="2168" y="783067"/>
                    <a:pt x="2349" y="784332"/>
                    <a:pt x="2710" y="785597"/>
                  </a:cubicBezTo>
                  <a:cubicBezTo>
                    <a:pt x="4337" y="790477"/>
                    <a:pt x="6505" y="795357"/>
                    <a:pt x="9396" y="799695"/>
                  </a:cubicBezTo>
                  <a:cubicBezTo>
                    <a:pt x="10119" y="800780"/>
                    <a:pt x="11023" y="801864"/>
                    <a:pt x="11745" y="802949"/>
                  </a:cubicBezTo>
                  <a:lnTo>
                    <a:pt x="12830" y="804575"/>
                  </a:lnTo>
                  <a:cubicBezTo>
                    <a:pt x="13191" y="805118"/>
                    <a:pt x="13733" y="805479"/>
                    <a:pt x="14095" y="806021"/>
                  </a:cubicBezTo>
                  <a:cubicBezTo>
                    <a:pt x="14998" y="806925"/>
                    <a:pt x="15902" y="808010"/>
                    <a:pt x="16805" y="808913"/>
                  </a:cubicBezTo>
                  <a:lnTo>
                    <a:pt x="19696" y="811444"/>
                  </a:lnTo>
                  <a:cubicBezTo>
                    <a:pt x="23672" y="814697"/>
                    <a:pt x="28008" y="817770"/>
                    <a:pt x="32707" y="819939"/>
                  </a:cubicBezTo>
                  <a:lnTo>
                    <a:pt x="34514" y="820842"/>
                  </a:lnTo>
                  <a:lnTo>
                    <a:pt x="36321" y="821565"/>
                  </a:lnTo>
                  <a:cubicBezTo>
                    <a:pt x="37585" y="821927"/>
                    <a:pt x="38670" y="822469"/>
                    <a:pt x="39935" y="822831"/>
                  </a:cubicBezTo>
                  <a:cubicBezTo>
                    <a:pt x="42464" y="823373"/>
                    <a:pt x="44994" y="824277"/>
                    <a:pt x="47524" y="824457"/>
                  </a:cubicBezTo>
                  <a:cubicBezTo>
                    <a:pt x="48789" y="824638"/>
                    <a:pt x="50054" y="825000"/>
                    <a:pt x="51319" y="825000"/>
                  </a:cubicBezTo>
                  <a:lnTo>
                    <a:pt x="55294" y="825180"/>
                  </a:lnTo>
                  <a:cubicBezTo>
                    <a:pt x="56559" y="825361"/>
                    <a:pt x="58185" y="825180"/>
                    <a:pt x="59811" y="825180"/>
                  </a:cubicBezTo>
                  <a:lnTo>
                    <a:pt x="351459" y="825180"/>
                  </a:lnTo>
                  <a:cubicBezTo>
                    <a:pt x="361940" y="825000"/>
                    <a:pt x="372240" y="822288"/>
                    <a:pt x="381094" y="816685"/>
                  </a:cubicBezTo>
                  <a:cubicBezTo>
                    <a:pt x="383443" y="815420"/>
                    <a:pt x="385431" y="813613"/>
                    <a:pt x="387418" y="812167"/>
                  </a:cubicBezTo>
                  <a:cubicBezTo>
                    <a:pt x="389225" y="810359"/>
                    <a:pt x="391394" y="808733"/>
                    <a:pt x="393020" y="806744"/>
                  </a:cubicBezTo>
                  <a:cubicBezTo>
                    <a:pt x="393924" y="805841"/>
                    <a:pt x="394827" y="804937"/>
                    <a:pt x="395550" y="803852"/>
                  </a:cubicBezTo>
                  <a:lnTo>
                    <a:pt x="397899" y="800780"/>
                  </a:lnTo>
                  <a:cubicBezTo>
                    <a:pt x="398622" y="799695"/>
                    <a:pt x="399344" y="798611"/>
                    <a:pt x="400067" y="797526"/>
                  </a:cubicBezTo>
                  <a:lnTo>
                    <a:pt x="401151" y="795900"/>
                  </a:lnTo>
                  <a:cubicBezTo>
                    <a:pt x="401513" y="795357"/>
                    <a:pt x="401694" y="794815"/>
                    <a:pt x="402055" y="794092"/>
                  </a:cubicBezTo>
                  <a:lnTo>
                    <a:pt x="403681" y="790658"/>
                  </a:lnTo>
                  <a:lnTo>
                    <a:pt x="404946" y="787043"/>
                  </a:lnTo>
                  <a:cubicBezTo>
                    <a:pt x="405488" y="785778"/>
                    <a:pt x="405850" y="784513"/>
                    <a:pt x="406030" y="783247"/>
                  </a:cubicBezTo>
                  <a:cubicBezTo>
                    <a:pt x="406392" y="781982"/>
                    <a:pt x="406753" y="780717"/>
                    <a:pt x="406934" y="779452"/>
                  </a:cubicBezTo>
                  <a:cubicBezTo>
                    <a:pt x="407295" y="776921"/>
                    <a:pt x="407837" y="774391"/>
                    <a:pt x="407837" y="771680"/>
                  </a:cubicBezTo>
                  <a:lnTo>
                    <a:pt x="408018" y="769692"/>
                  </a:lnTo>
                  <a:lnTo>
                    <a:pt x="408018" y="768788"/>
                  </a:lnTo>
                  <a:cubicBezTo>
                    <a:pt x="408199" y="768246"/>
                    <a:pt x="408199" y="767884"/>
                    <a:pt x="408199" y="767523"/>
                  </a:cubicBezTo>
                  <a:close/>
                  <a:moveTo>
                    <a:pt x="381997" y="768607"/>
                  </a:moveTo>
                  <a:lnTo>
                    <a:pt x="381997" y="769149"/>
                  </a:lnTo>
                  <a:lnTo>
                    <a:pt x="381997" y="770234"/>
                  </a:lnTo>
                  <a:cubicBezTo>
                    <a:pt x="381997" y="771680"/>
                    <a:pt x="381636" y="772945"/>
                    <a:pt x="381636" y="774391"/>
                  </a:cubicBezTo>
                  <a:cubicBezTo>
                    <a:pt x="381636" y="775114"/>
                    <a:pt x="381275" y="775656"/>
                    <a:pt x="381094" y="776379"/>
                  </a:cubicBezTo>
                  <a:cubicBezTo>
                    <a:pt x="380913" y="777102"/>
                    <a:pt x="380913" y="777825"/>
                    <a:pt x="380552" y="778367"/>
                  </a:cubicBezTo>
                  <a:cubicBezTo>
                    <a:pt x="380371" y="779090"/>
                    <a:pt x="380010" y="779633"/>
                    <a:pt x="379829" y="780356"/>
                  </a:cubicBezTo>
                  <a:cubicBezTo>
                    <a:pt x="379468" y="780898"/>
                    <a:pt x="379106" y="781621"/>
                    <a:pt x="378926" y="782163"/>
                  </a:cubicBezTo>
                  <a:cubicBezTo>
                    <a:pt x="378745" y="782525"/>
                    <a:pt x="378745" y="782886"/>
                    <a:pt x="378564" y="783067"/>
                  </a:cubicBezTo>
                  <a:lnTo>
                    <a:pt x="378022" y="783971"/>
                  </a:lnTo>
                  <a:cubicBezTo>
                    <a:pt x="377661" y="784513"/>
                    <a:pt x="377299" y="785236"/>
                    <a:pt x="376938" y="785778"/>
                  </a:cubicBezTo>
                  <a:cubicBezTo>
                    <a:pt x="376576" y="786320"/>
                    <a:pt x="376034" y="786862"/>
                    <a:pt x="375673" y="787405"/>
                  </a:cubicBezTo>
                  <a:cubicBezTo>
                    <a:pt x="375312" y="787947"/>
                    <a:pt x="374769" y="788489"/>
                    <a:pt x="374227" y="789031"/>
                  </a:cubicBezTo>
                  <a:cubicBezTo>
                    <a:pt x="373324" y="790116"/>
                    <a:pt x="372240" y="791019"/>
                    <a:pt x="371156" y="791923"/>
                  </a:cubicBezTo>
                  <a:cubicBezTo>
                    <a:pt x="369891" y="792646"/>
                    <a:pt x="368987" y="793731"/>
                    <a:pt x="367722" y="794273"/>
                  </a:cubicBezTo>
                  <a:cubicBezTo>
                    <a:pt x="363024" y="797346"/>
                    <a:pt x="357422" y="798611"/>
                    <a:pt x="351821" y="798792"/>
                  </a:cubicBezTo>
                  <a:lnTo>
                    <a:pt x="59811" y="798792"/>
                  </a:lnTo>
                  <a:cubicBezTo>
                    <a:pt x="58366" y="798792"/>
                    <a:pt x="56197" y="798792"/>
                    <a:pt x="55836" y="798792"/>
                  </a:cubicBezTo>
                  <a:cubicBezTo>
                    <a:pt x="55113" y="798792"/>
                    <a:pt x="54390" y="798792"/>
                    <a:pt x="53668" y="798792"/>
                  </a:cubicBezTo>
                  <a:cubicBezTo>
                    <a:pt x="52945" y="798792"/>
                    <a:pt x="52222" y="798611"/>
                    <a:pt x="51499" y="798430"/>
                  </a:cubicBezTo>
                  <a:cubicBezTo>
                    <a:pt x="50054" y="798430"/>
                    <a:pt x="48789" y="797707"/>
                    <a:pt x="47524" y="797526"/>
                  </a:cubicBezTo>
                  <a:cubicBezTo>
                    <a:pt x="46801" y="797346"/>
                    <a:pt x="46259" y="796984"/>
                    <a:pt x="45536" y="796803"/>
                  </a:cubicBezTo>
                  <a:lnTo>
                    <a:pt x="44633" y="796442"/>
                  </a:lnTo>
                  <a:lnTo>
                    <a:pt x="43729" y="795900"/>
                  </a:lnTo>
                  <a:cubicBezTo>
                    <a:pt x="41199" y="794815"/>
                    <a:pt x="38850" y="793188"/>
                    <a:pt x="36682" y="791381"/>
                  </a:cubicBezTo>
                  <a:cubicBezTo>
                    <a:pt x="36140" y="790839"/>
                    <a:pt x="35598" y="790477"/>
                    <a:pt x="35056" y="789935"/>
                  </a:cubicBezTo>
                  <a:cubicBezTo>
                    <a:pt x="34514" y="789393"/>
                    <a:pt x="34152" y="788851"/>
                    <a:pt x="33610" y="788308"/>
                  </a:cubicBezTo>
                  <a:cubicBezTo>
                    <a:pt x="33429" y="788128"/>
                    <a:pt x="33068" y="787766"/>
                    <a:pt x="32887" y="787585"/>
                  </a:cubicBezTo>
                  <a:lnTo>
                    <a:pt x="32345" y="786682"/>
                  </a:lnTo>
                  <a:cubicBezTo>
                    <a:pt x="31984" y="786139"/>
                    <a:pt x="31442" y="785597"/>
                    <a:pt x="31080" y="785055"/>
                  </a:cubicBezTo>
                  <a:cubicBezTo>
                    <a:pt x="29635" y="782705"/>
                    <a:pt x="28370" y="780175"/>
                    <a:pt x="27466" y="777464"/>
                  </a:cubicBezTo>
                  <a:cubicBezTo>
                    <a:pt x="27286" y="776741"/>
                    <a:pt x="27105" y="776018"/>
                    <a:pt x="26924" y="775475"/>
                  </a:cubicBezTo>
                  <a:lnTo>
                    <a:pt x="26563" y="774572"/>
                  </a:lnTo>
                  <a:lnTo>
                    <a:pt x="26382" y="773487"/>
                  </a:lnTo>
                  <a:cubicBezTo>
                    <a:pt x="26382" y="772764"/>
                    <a:pt x="26201" y="772041"/>
                    <a:pt x="26021" y="771499"/>
                  </a:cubicBezTo>
                  <a:cubicBezTo>
                    <a:pt x="26021" y="770776"/>
                    <a:pt x="26021" y="770053"/>
                    <a:pt x="26021" y="769330"/>
                  </a:cubicBezTo>
                  <a:cubicBezTo>
                    <a:pt x="26021" y="768969"/>
                    <a:pt x="26021" y="768788"/>
                    <a:pt x="26021" y="768246"/>
                  </a:cubicBezTo>
                  <a:lnTo>
                    <a:pt x="26021" y="609913"/>
                  </a:lnTo>
                  <a:lnTo>
                    <a:pt x="26563" y="596357"/>
                  </a:lnTo>
                  <a:cubicBezTo>
                    <a:pt x="26382" y="596357"/>
                    <a:pt x="26201" y="596357"/>
                    <a:pt x="26021" y="596357"/>
                  </a:cubicBezTo>
                  <a:lnTo>
                    <a:pt x="26021" y="57015"/>
                  </a:lnTo>
                  <a:lnTo>
                    <a:pt x="26021" y="56473"/>
                  </a:lnTo>
                  <a:lnTo>
                    <a:pt x="26021" y="55388"/>
                  </a:lnTo>
                  <a:cubicBezTo>
                    <a:pt x="26021" y="53942"/>
                    <a:pt x="26382" y="52677"/>
                    <a:pt x="26382" y="51231"/>
                  </a:cubicBezTo>
                  <a:cubicBezTo>
                    <a:pt x="26382" y="50508"/>
                    <a:pt x="26744" y="49966"/>
                    <a:pt x="26924" y="49243"/>
                  </a:cubicBezTo>
                  <a:cubicBezTo>
                    <a:pt x="27105" y="48520"/>
                    <a:pt x="27286" y="47797"/>
                    <a:pt x="27466" y="47255"/>
                  </a:cubicBezTo>
                  <a:cubicBezTo>
                    <a:pt x="27647" y="46532"/>
                    <a:pt x="28008" y="45990"/>
                    <a:pt x="28189" y="45267"/>
                  </a:cubicBezTo>
                  <a:cubicBezTo>
                    <a:pt x="28551" y="44724"/>
                    <a:pt x="28912" y="44001"/>
                    <a:pt x="29093" y="43459"/>
                  </a:cubicBezTo>
                  <a:cubicBezTo>
                    <a:pt x="29273" y="43098"/>
                    <a:pt x="29273" y="42736"/>
                    <a:pt x="29454" y="42555"/>
                  </a:cubicBezTo>
                  <a:lnTo>
                    <a:pt x="29996" y="41652"/>
                  </a:lnTo>
                  <a:cubicBezTo>
                    <a:pt x="30357" y="41109"/>
                    <a:pt x="30719" y="40386"/>
                    <a:pt x="31080" y="39844"/>
                  </a:cubicBezTo>
                  <a:cubicBezTo>
                    <a:pt x="31442" y="39302"/>
                    <a:pt x="31984" y="38760"/>
                    <a:pt x="32345" y="38217"/>
                  </a:cubicBezTo>
                  <a:cubicBezTo>
                    <a:pt x="32707" y="37675"/>
                    <a:pt x="33249" y="37133"/>
                    <a:pt x="33791" y="36591"/>
                  </a:cubicBezTo>
                  <a:cubicBezTo>
                    <a:pt x="34694" y="35506"/>
                    <a:pt x="35778" y="34603"/>
                    <a:pt x="36863" y="33699"/>
                  </a:cubicBezTo>
                  <a:cubicBezTo>
                    <a:pt x="38128" y="32976"/>
                    <a:pt x="39031" y="31891"/>
                    <a:pt x="40296" y="31349"/>
                  </a:cubicBezTo>
                  <a:cubicBezTo>
                    <a:pt x="44994" y="28277"/>
                    <a:pt x="50415" y="27011"/>
                    <a:pt x="56197" y="26831"/>
                  </a:cubicBezTo>
                  <a:lnTo>
                    <a:pt x="347845" y="26831"/>
                  </a:lnTo>
                  <a:cubicBezTo>
                    <a:pt x="349291" y="26831"/>
                    <a:pt x="351459" y="26831"/>
                    <a:pt x="351821" y="26831"/>
                  </a:cubicBezTo>
                  <a:cubicBezTo>
                    <a:pt x="352544" y="26831"/>
                    <a:pt x="353266" y="26831"/>
                    <a:pt x="353989" y="26831"/>
                  </a:cubicBezTo>
                  <a:cubicBezTo>
                    <a:pt x="354712" y="26831"/>
                    <a:pt x="355435" y="27011"/>
                    <a:pt x="355977" y="27192"/>
                  </a:cubicBezTo>
                  <a:cubicBezTo>
                    <a:pt x="357422" y="27192"/>
                    <a:pt x="358687" y="27915"/>
                    <a:pt x="359952" y="28096"/>
                  </a:cubicBezTo>
                  <a:cubicBezTo>
                    <a:pt x="360675" y="28277"/>
                    <a:pt x="361217" y="28638"/>
                    <a:pt x="361940" y="28819"/>
                  </a:cubicBezTo>
                  <a:lnTo>
                    <a:pt x="362843" y="29180"/>
                  </a:lnTo>
                  <a:lnTo>
                    <a:pt x="363747" y="29722"/>
                  </a:lnTo>
                  <a:cubicBezTo>
                    <a:pt x="366277" y="30807"/>
                    <a:pt x="368626" y="32434"/>
                    <a:pt x="370794" y="34241"/>
                  </a:cubicBezTo>
                  <a:cubicBezTo>
                    <a:pt x="371336" y="34783"/>
                    <a:pt x="371878" y="35145"/>
                    <a:pt x="372420" y="35687"/>
                  </a:cubicBezTo>
                  <a:cubicBezTo>
                    <a:pt x="372963" y="36229"/>
                    <a:pt x="373324" y="36772"/>
                    <a:pt x="373866" y="37314"/>
                  </a:cubicBezTo>
                  <a:cubicBezTo>
                    <a:pt x="374047" y="37495"/>
                    <a:pt x="374408" y="37856"/>
                    <a:pt x="374589" y="38037"/>
                  </a:cubicBezTo>
                  <a:lnTo>
                    <a:pt x="375131" y="38940"/>
                  </a:lnTo>
                  <a:cubicBezTo>
                    <a:pt x="375492" y="39483"/>
                    <a:pt x="376034" y="40025"/>
                    <a:pt x="376396" y="40567"/>
                  </a:cubicBezTo>
                  <a:cubicBezTo>
                    <a:pt x="377841" y="42917"/>
                    <a:pt x="379106" y="45447"/>
                    <a:pt x="380010" y="48158"/>
                  </a:cubicBezTo>
                  <a:cubicBezTo>
                    <a:pt x="380190" y="48881"/>
                    <a:pt x="380371" y="49604"/>
                    <a:pt x="380552" y="50147"/>
                  </a:cubicBezTo>
                  <a:lnTo>
                    <a:pt x="380913" y="51050"/>
                  </a:lnTo>
                  <a:lnTo>
                    <a:pt x="381094" y="52135"/>
                  </a:lnTo>
                  <a:cubicBezTo>
                    <a:pt x="381094" y="52858"/>
                    <a:pt x="381275" y="53581"/>
                    <a:pt x="381455" y="54123"/>
                  </a:cubicBezTo>
                  <a:cubicBezTo>
                    <a:pt x="381455" y="54846"/>
                    <a:pt x="381455" y="55569"/>
                    <a:pt x="381455" y="56292"/>
                  </a:cubicBezTo>
                  <a:cubicBezTo>
                    <a:pt x="381455" y="56653"/>
                    <a:pt x="381455" y="56834"/>
                    <a:pt x="381636" y="57376"/>
                  </a:cubicBezTo>
                  <a:lnTo>
                    <a:pt x="381636" y="724686"/>
                  </a:lnTo>
                  <a:lnTo>
                    <a:pt x="381636" y="731916"/>
                  </a:lnTo>
                  <a:lnTo>
                    <a:pt x="381636" y="768607"/>
                  </a:ln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58" name="Freeform 85">
              <a:extLst>
                <a:ext uri="{FF2B5EF4-FFF2-40B4-BE49-F238E27FC236}">
                  <a16:creationId xmlns:a16="http://schemas.microsoft.com/office/drawing/2014/main" id="{C7045425-9E1C-0BFD-6B92-DE2C6CA3D497}"/>
                </a:ext>
              </a:extLst>
            </p:cNvPr>
            <p:cNvSpPr/>
            <p:nvPr/>
          </p:nvSpPr>
          <p:spPr>
            <a:xfrm>
              <a:off x="3633646" y="4247509"/>
              <a:ext cx="140764" cy="24219"/>
            </a:xfrm>
            <a:custGeom>
              <a:avLst/>
              <a:gdLst>
                <a:gd name="connsiteX0" fmla="*/ 0 w 140764"/>
                <a:gd name="connsiteY0" fmla="*/ 0 h 24219"/>
                <a:gd name="connsiteX1" fmla="*/ 140765 w 140764"/>
                <a:gd name="connsiteY1" fmla="*/ 0 h 24219"/>
                <a:gd name="connsiteX2" fmla="*/ 140765 w 140764"/>
                <a:gd name="connsiteY2" fmla="*/ 24220 h 24219"/>
                <a:gd name="connsiteX3" fmla="*/ 0 w 140764"/>
                <a:gd name="connsiteY3" fmla="*/ 24220 h 24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764" h="24219">
                  <a:moveTo>
                    <a:pt x="0" y="0"/>
                  </a:moveTo>
                  <a:lnTo>
                    <a:pt x="140765" y="0"/>
                  </a:lnTo>
                  <a:lnTo>
                    <a:pt x="140765" y="24220"/>
                  </a:lnTo>
                  <a:lnTo>
                    <a:pt x="0" y="24220"/>
                  </a:ln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59" name="Freeform 86">
              <a:extLst>
                <a:ext uri="{FF2B5EF4-FFF2-40B4-BE49-F238E27FC236}">
                  <a16:creationId xmlns:a16="http://schemas.microsoft.com/office/drawing/2014/main" id="{7FA530E8-AF62-5589-2ABD-4329CF083F8E}"/>
                </a:ext>
              </a:extLst>
            </p:cNvPr>
            <p:cNvSpPr/>
            <p:nvPr/>
          </p:nvSpPr>
          <p:spPr>
            <a:xfrm>
              <a:off x="2634200" y="3053871"/>
              <a:ext cx="61076" cy="74466"/>
            </a:xfrm>
            <a:custGeom>
              <a:avLst/>
              <a:gdLst>
                <a:gd name="connsiteX0" fmla="*/ 61076 w 61076"/>
                <a:gd name="connsiteY0" fmla="*/ 37233 h 74466"/>
                <a:gd name="connsiteX1" fmla="*/ 30538 w 61076"/>
                <a:gd name="connsiteY1" fmla="*/ 74467 h 74466"/>
                <a:gd name="connsiteX2" fmla="*/ 0 w 61076"/>
                <a:gd name="connsiteY2" fmla="*/ 37233 h 74466"/>
                <a:gd name="connsiteX3" fmla="*/ 30538 w 61076"/>
                <a:gd name="connsiteY3" fmla="*/ 0 h 74466"/>
                <a:gd name="connsiteX4" fmla="*/ 61076 w 61076"/>
                <a:gd name="connsiteY4" fmla="*/ 37233 h 7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76" h="74466">
                  <a:moveTo>
                    <a:pt x="61076" y="37233"/>
                  </a:moveTo>
                  <a:cubicBezTo>
                    <a:pt x="61076" y="57797"/>
                    <a:pt x="47404" y="74467"/>
                    <a:pt x="30538" y="74467"/>
                  </a:cubicBezTo>
                  <a:cubicBezTo>
                    <a:pt x="13672" y="74467"/>
                    <a:pt x="0" y="57797"/>
                    <a:pt x="0" y="37233"/>
                  </a:cubicBezTo>
                  <a:cubicBezTo>
                    <a:pt x="0" y="16670"/>
                    <a:pt x="13672" y="0"/>
                    <a:pt x="30538" y="0"/>
                  </a:cubicBezTo>
                  <a:cubicBezTo>
                    <a:pt x="47404" y="0"/>
                    <a:pt x="61076" y="16670"/>
                    <a:pt x="61076" y="3723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60" name="Freeform 87">
              <a:extLst>
                <a:ext uri="{FF2B5EF4-FFF2-40B4-BE49-F238E27FC236}">
                  <a16:creationId xmlns:a16="http://schemas.microsoft.com/office/drawing/2014/main" id="{EBBA116C-AE14-ED71-1307-38A7294EDE57}"/>
                </a:ext>
              </a:extLst>
            </p:cNvPr>
            <p:cNvSpPr/>
            <p:nvPr/>
          </p:nvSpPr>
          <p:spPr>
            <a:xfrm>
              <a:off x="2634200" y="3162137"/>
              <a:ext cx="61076" cy="74466"/>
            </a:xfrm>
            <a:custGeom>
              <a:avLst/>
              <a:gdLst>
                <a:gd name="connsiteX0" fmla="*/ 61076 w 61076"/>
                <a:gd name="connsiteY0" fmla="*/ 37233 h 74466"/>
                <a:gd name="connsiteX1" fmla="*/ 30538 w 61076"/>
                <a:gd name="connsiteY1" fmla="*/ 74467 h 74466"/>
                <a:gd name="connsiteX2" fmla="*/ 0 w 61076"/>
                <a:gd name="connsiteY2" fmla="*/ 37233 h 74466"/>
                <a:gd name="connsiteX3" fmla="*/ 30538 w 61076"/>
                <a:gd name="connsiteY3" fmla="*/ 0 h 74466"/>
                <a:gd name="connsiteX4" fmla="*/ 61076 w 61076"/>
                <a:gd name="connsiteY4" fmla="*/ 37233 h 7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76" h="74466">
                  <a:moveTo>
                    <a:pt x="61076" y="37233"/>
                  </a:moveTo>
                  <a:cubicBezTo>
                    <a:pt x="61076" y="57797"/>
                    <a:pt x="47404" y="74467"/>
                    <a:pt x="30538" y="74467"/>
                  </a:cubicBezTo>
                  <a:cubicBezTo>
                    <a:pt x="13672" y="74467"/>
                    <a:pt x="0" y="57797"/>
                    <a:pt x="0" y="37233"/>
                  </a:cubicBezTo>
                  <a:cubicBezTo>
                    <a:pt x="0" y="16670"/>
                    <a:pt x="13672" y="0"/>
                    <a:pt x="30538" y="0"/>
                  </a:cubicBezTo>
                  <a:cubicBezTo>
                    <a:pt x="47404" y="0"/>
                    <a:pt x="61076" y="16670"/>
                    <a:pt x="61076" y="3723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61" name="Freeform 88">
              <a:extLst>
                <a:ext uri="{FF2B5EF4-FFF2-40B4-BE49-F238E27FC236}">
                  <a16:creationId xmlns:a16="http://schemas.microsoft.com/office/drawing/2014/main" id="{2BE461C9-C6AA-02DB-0918-58B18D526F09}"/>
                </a:ext>
              </a:extLst>
            </p:cNvPr>
            <p:cNvSpPr/>
            <p:nvPr/>
          </p:nvSpPr>
          <p:spPr>
            <a:xfrm>
              <a:off x="2634200" y="3270403"/>
              <a:ext cx="61076" cy="74466"/>
            </a:xfrm>
            <a:custGeom>
              <a:avLst/>
              <a:gdLst>
                <a:gd name="connsiteX0" fmla="*/ 61076 w 61076"/>
                <a:gd name="connsiteY0" fmla="*/ 37233 h 74466"/>
                <a:gd name="connsiteX1" fmla="*/ 30538 w 61076"/>
                <a:gd name="connsiteY1" fmla="*/ 74467 h 74466"/>
                <a:gd name="connsiteX2" fmla="*/ 0 w 61076"/>
                <a:gd name="connsiteY2" fmla="*/ 37233 h 74466"/>
                <a:gd name="connsiteX3" fmla="*/ 30538 w 61076"/>
                <a:gd name="connsiteY3" fmla="*/ 0 h 74466"/>
                <a:gd name="connsiteX4" fmla="*/ 61076 w 61076"/>
                <a:gd name="connsiteY4" fmla="*/ 37233 h 7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76" h="74466">
                  <a:moveTo>
                    <a:pt x="61076" y="37233"/>
                  </a:moveTo>
                  <a:cubicBezTo>
                    <a:pt x="61076" y="57797"/>
                    <a:pt x="47404" y="74467"/>
                    <a:pt x="30538" y="74467"/>
                  </a:cubicBezTo>
                  <a:cubicBezTo>
                    <a:pt x="13672" y="74467"/>
                    <a:pt x="0" y="57797"/>
                    <a:pt x="0" y="37233"/>
                  </a:cubicBezTo>
                  <a:cubicBezTo>
                    <a:pt x="0" y="16670"/>
                    <a:pt x="13672" y="0"/>
                    <a:pt x="30538" y="0"/>
                  </a:cubicBezTo>
                  <a:cubicBezTo>
                    <a:pt x="47404" y="0"/>
                    <a:pt x="61076" y="16670"/>
                    <a:pt x="61076" y="3723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62" name="Freeform 89">
              <a:extLst>
                <a:ext uri="{FF2B5EF4-FFF2-40B4-BE49-F238E27FC236}">
                  <a16:creationId xmlns:a16="http://schemas.microsoft.com/office/drawing/2014/main" id="{705DEEC1-36A2-87B2-C324-FB8421A25923}"/>
                </a:ext>
              </a:extLst>
            </p:cNvPr>
            <p:cNvSpPr/>
            <p:nvPr/>
          </p:nvSpPr>
          <p:spPr>
            <a:xfrm>
              <a:off x="2634200" y="3378669"/>
              <a:ext cx="61076" cy="74466"/>
            </a:xfrm>
            <a:custGeom>
              <a:avLst/>
              <a:gdLst>
                <a:gd name="connsiteX0" fmla="*/ 61076 w 61076"/>
                <a:gd name="connsiteY0" fmla="*/ 37233 h 74466"/>
                <a:gd name="connsiteX1" fmla="*/ 30538 w 61076"/>
                <a:gd name="connsiteY1" fmla="*/ 74467 h 74466"/>
                <a:gd name="connsiteX2" fmla="*/ 0 w 61076"/>
                <a:gd name="connsiteY2" fmla="*/ 37233 h 74466"/>
                <a:gd name="connsiteX3" fmla="*/ 30538 w 61076"/>
                <a:gd name="connsiteY3" fmla="*/ 0 h 74466"/>
                <a:gd name="connsiteX4" fmla="*/ 61076 w 61076"/>
                <a:gd name="connsiteY4" fmla="*/ 37233 h 7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76" h="74466">
                  <a:moveTo>
                    <a:pt x="61076" y="37233"/>
                  </a:moveTo>
                  <a:cubicBezTo>
                    <a:pt x="61076" y="57797"/>
                    <a:pt x="47404" y="74467"/>
                    <a:pt x="30538" y="74467"/>
                  </a:cubicBezTo>
                  <a:cubicBezTo>
                    <a:pt x="13672" y="74467"/>
                    <a:pt x="0" y="57797"/>
                    <a:pt x="0" y="37233"/>
                  </a:cubicBezTo>
                  <a:cubicBezTo>
                    <a:pt x="0" y="16670"/>
                    <a:pt x="13672" y="0"/>
                    <a:pt x="30538" y="0"/>
                  </a:cubicBezTo>
                  <a:cubicBezTo>
                    <a:pt x="47404" y="0"/>
                    <a:pt x="61076" y="16670"/>
                    <a:pt x="61076" y="3723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63" name="Freeform 90">
              <a:extLst>
                <a:ext uri="{FF2B5EF4-FFF2-40B4-BE49-F238E27FC236}">
                  <a16:creationId xmlns:a16="http://schemas.microsoft.com/office/drawing/2014/main" id="{C9DA825A-E526-67D0-2721-18365DD2DE1F}"/>
                </a:ext>
              </a:extLst>
            </p:cNvPr>
            <p:cNvSpPr/>
            <p:nvPr/>
          </p:nvSpPr>
          <p:spPr>
            <a:xfrm>
              <a:off x="2735030" y="3094538"/>
              <a:ext cx="61076" cy="74466"/>
            </a:xfrm>
            <a:custGeom>
              <a:avLst/>
              <a:gdLst>
                <a:gd name="connsiteX0" fmla="*/ 61076 w 61076"/>
                <a:gd name="connsiteY0" fmla="*/ 37233 h 74466"/>
                <a:gd name="connsiteX1" fmla="*/ 30538 w 61076"/>
                <a:gd name="connsiteY1" fmla="*/ 74467 h 74466"/>
                <a:gd name="connsiteX2" fmla="*/ 0 w 61076"/>
                <a:gd name="connsiteY2" fmla="*/ 37233 h 74466"/>
                <a:gd name="connsiteX3" fmla="*/ 30538 w 61076"/>
                <a:gd name="connsiteY3" fmla="*/ 0 h 74466"/>
                <a:gd name="connsiteX4" fmla="*/ 61076 w 61076"/>
                <a:gd name="connsiteY4" fmla="*/ 37233 h 7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76" h="74466">
                  <a:moveTo>
                    <a:pt x="61076" y="37233"/>
                  </a:moveTo>
                  <a:cubicBezTo>
                    <a:pt x="61076" y="57797"/>
                    <a:pt x="47404" y="74467"/>
                    <a:pt x="30538" y="74467"/>
                  </a:cubicBezTo>
                  <a:cubicBezTo>
                    <a:pt x="13672" y="74467"/>
                    <a:pt x="0" y="57797"/>
                    <a:pt x="0" y="37233"/>
                  </a:cubicBezTo>
                  <a:cubicBezTo>
                    <a:pt x="0" y="16670"/>
                    <a:pt x="13672" y="0"/>
                    <a:pt x="30538" y="0"/>
                  </a:cubicBezTo>
                  <a:cubicBezTo>
                    <a:pt x="47404" y="0"/>
                    <a:pt x="61076" y="16670"/>
                    <a:pt x="61076" y="3723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448" name="Freeform 91">
              <a:extLst>
                <a:ext uri="{FF2B5EF4-FFF2-40B4-BE49-F238E27FC236}">
                  <a16:creationId xmlns:a16="http://schemas.microsoft.com/office/drawing/2014/main" id="{AE2F4B2E-557D-D0EC-42BF-04F2364B5FFA}"/>
                </a:ext>
              </a:extLst>
            </p:cNvPr>
            <p:cNvSpPr/>
            <p:nvPr/>
          </p:nvSpPr>
          <p:spPr>
            <a:xfrm>
              <a:off x="2735030" y="3202624"/>
              <a:ext cx="61076" cy="74466"/>
            </a:xfrm>
            <a:custGeom>
              <a:avLst/>
              <a:gdLst>
                <a:gd name="connsiteX0" fmla="*/ 61076 w 61076"/>
                <a:gd name="connsiteY0" fmla="*/ 37233 h 74466"/>
                <a:gd name="connsiteX1" fmla="*/ 30538 w 61076"/>
                <a:gd name="connsiteY1" fmla="*/ 74467 h 74466"/>
                <a:gd name="connsiteX2" fmla="*/ 0 w 61076"/>
                <a:gd name="connsiteY2" fmla="*/ 37233 h 74466"/>
                <a:gd name="connsiteX3" fmla="*/ 30538 w 61076"/>
                <a:gd name="connsiteY3" fmla="*/ 0 h 74466"/>
                <a:gd name="connsiteX4" fmla="*/ 61076 w 61076"/>
                <a:gd name="connsiteY4" fmla="*/ 37233 h 7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76" h="74466">
                  <a:moveTo>
                    <a:pt x="61076" y="37233"/>
                  </a:moveTo>
                  <a:cubicBezTo>
                    <a:pt x="61076" y="57797"/>
                    <a:pt x="47404" y="74467"/>
                    <a:pt x="30538" y="74467"/>
                  </a:cubicBezTo>
                  <a:cubicBezTo>
                    <a:pt x="13672" y="74467"/>
                    <a:pt x="0" y="57797"/>
                    <a:pt x="0" y="37233"/>
                  </a:cubicBezTo>
                  <a:cubicBezTo>
                    <a:pt x="0" y="16670"/>
                    <a:pt x="13672" y="0"/>
                    <a:pt x="30538" y="0"/>
                  </a:cubicBezTo>
                  <a:cubicBezTo>
                    <a:pt x="47404" y="0"/>
                    <a:pt x="61076" y="16670"/>
                    <a:pt x="61076" y="3723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449" name="Freeform 92">
              <a:extLst>
                <a:ext uri="{FF2B5EF4-FFF2-40B4-BE49-F238E27FC236}">
                  <a16:creationId xmlns:a16="http://schemas.microsoft.com/office/drawing/2014/main" id="{0386078C-A9CA-2B2D-E70C-6289BC58DD69}"/>
                </a:ext>
              </a:extLst>
            </p:cNvPr>
            <p:cNvSpPr/>
            <p:nvPr/>
          </p:nvSpPr>
          <p:spPr>
            <a:xfrm>
              <a:off x="2735030" y="3310890"/>
              <a:ext cx="61076" cy="74466"/>
            </a:xfrm>
            <a:custGeom>
              <a:avLst/>
              <a:gdLst>
                <a:gd name="connsiteX0" fmla="*/ 61076 w 61076"/>
                <a:gd name="connsiteY0" fmla="*/ 37233 h 74466"/>
                <a:gd name="connsiteX1" fmla="*/ 30538 w 61076"/>
                <a:gd name="connsiteY1" fmla="*/ 74467 h 74466"/>
                <a:gd name="connsiteX2" fmla="*/ 0 w 61076"/>
                <a:gd name="connsiteY2" fmla="*/ 37233 h 74466"/>
                <a:gd name="connsiteX3" fmla="*/ 30538 w 61076"/>
                <a:gd name="connsiteY3" fmla="*/ 0 h 74466"/>
                <a:gd name="connsiteX4" fmla="*/ 61076 w 61076"/>
                <a:gd name="connsiteY4" fmla="*/ 37233 h 7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76" h="74466">
                  <a:moveTo>
                    <a:pt x="61076" y="37233"/>
                  </a:moveTo>
                  <a:cubicBezTo>
                    <a:pt x="61076" y="57797"/>
                    <a:pt x="47404" y="74467"/>
                    <a:pt x="30538" y="74467"/>
                  </a:cubicBezTo>
                  <a:cubicBezTo>
                    <a:pt x="13672" y="74467"/>
                    <a:pt x="0" y="57797"/>
                    <a:pt x="0" y="37233"/>
                  </a:cubicBezTo>
                  <a:cubicBezTo>
                    <a:pt x="0" y="16670"/>
                    <a:pt x="13672" y="0"/>
                    <a:pt x="30538" y="0"/>
                  </a:cubicBezTo>
                  <a:cubicBezTo>
                    <a:pt x="47404" y="0"/>
                    <a:pt x="61076" y="16670"/>
                    <a:pt x="61076" y="3723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450" name="Freeform 93">
              <a:extLst>
                <a:ext uri="{FF2B5EF4-FFF2-40B4-BE49-F238E27FC236}">
                  <a16:creationId xmlns:a16="http://schemas.microsoft.com/office/drawing/2014/main" id="{598B7141-B3B5-5E3D-1DBB-FD4C56589D88}"/>
                </a:ext>
              </a:extLst>
            </p:cNvPr>
            <p:cNvSpPr/>
            <p:nvPr/>
          </p:nvSpPr>
          <p:spPr>
            <a:xfrm>
              <a:off x="2735030" y="3419156"/>
              <a:ext cx="61076" cy="74466"/>
            </a:xfrm>
            <a:custGeom>
              <a:avLst/>
              <a:gdLst>
                <a:gd name="connsiteX0" fmla="*/ 61076 w 61076"/>
                <a:gd name="connsiteY0" fmla="*/ 37233 h 74466"/>
                <a:gd name="connsiteX1" fmla="*/ 30538 w 61076"/>
                <a:gd name="connsiteY1" fmla="*/ 74467 h 74466"/>
                <a:gd name="connsiteX2" fmla="*/ 0 w 61076"/>
                <a:gd name="connsiteY2" fmla="*/ 37233 h 74466"/>
                <a:gd name="connsiteX3" fmla="*/ 30538 w 61076"/>
                <a:gd name="connsiteY3" fmla="*/ 0 h 74466"/>
                <a:gd name="connsiteX4" fmla="*/ 61076 w 61076"/>
                <a:gd name="connsiteY4" fmla="*/ 37233 h 7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76" h="74466">
                  <a:moveTo>
                    <a:pt x="61076" y="37233"/>
                  </a:moveTo>
                  <a:cubicBezTo>
                    <a:pt x="61076" y="57797"/>
                    <a:pt x="47404" y="74467"/>
                    <a:pt x="30538" y="74467"/>
                  </a:cubicBezTo>
                  <a:cubicBezTo>
                    <a:pt x="13672" y="74467"/>
                    <a:pt x="0" y="57797"/>
                    <a:pt x="0" y="37233"/>
                  </a:cubicBezTo>
                  <a:cubicBezTo>
                    <a:pt x="0" y="16670"/>
                    <a:pt x="13672" y="0"/>
                    <a:pt x="30538" y="0"/>
                  </a:cubicBezTo>
                  <a:cubicBezTo>
                    <a:pt x="47404" y="0"/>
                    <a:pt x="61076" y="16670"/>
                    <a:pt x="61076" y="3723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451" name="Freeform 94">
              <a:extLst>
                <a:ext uri="{FF2B5EF4-FFF2-40B4-BE49-F238E27FC236}">
                  <a16:creationId xmlns:a16="http://schemas.microsoft.com/office/drawing/2014/main" id="{5CC62BB7-6097-97D5-BDF9-8F52583B4528}"/>
                </a:ext>
              </a:extLst>
            </p:cNvPr>
            <p:cNvSpPr/>
            <p:nvPr/>
          </p:nvSpPr>
          <p:spPr>
            <a:xfrm>
              <a:off x="2835860" y="3134302"/>
              <a:ext cx="61076" cy="74466"/>
            </a:xfrm>
            <a:custGeom>
              <a:avLst/>
              <a:gdLst>
                <a:gd name="connsiteX0" fmla="*/ 61076 w 61076"/>
                <a:gd name="connsiteY0" fmla="*/ 37233 h 74466"/>
                <a:gd name="connsiteX1" fmla="*/ 30538 w 61076"/>
                <a:gd name="connsiteY1" fmla="*/ 74467 h 74466"/>
                <a:gd name="connsiteX2" fmla="*/ 0 w 61076"/>
                <a:gd name="connsiteY2" fmla="*/ 37233 h 74466"/>
                <a:gd name="connsiteX3" fmla="*/ 30538 w 61076"/>
                <a:gd name="connsiteY3" fmla="*/ 0 h 74466"/>
                <a:gd name="connsiteX4" fmla="*/ 61076 w 61076"/>
                <a:gd name="connsiteY4" fmla="*/ 37233 h 7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76" h="74466">
                  <a:moveTo>
                    <a:pt x="61076" y="37233"/>
                  </a:moveTo>
                  <a:cubicBezTo>
                    <a:pt x="61076" y="57797"/>
                    <a:pt x="47404" y="74467"/>
                    <a:pt x="30538" y="74467"/>
                  </a:cubicBezTo>
                  <a:cubicBezTo>
                    <a:pt x="13672" y="74467"/>
                    <a:pt x="0" y="57797"/>
                    <a:pt x="0" y="37233"/>
                  </a:cubicBezTo>
                  <a:cubicBezTo>
                    <a:pt x="0" y="16670"/>
                    <a:pt x="13672" y="0"/>
                    <a:pt x="30538" y="0"/>
                  </a:cubicBezTo>
                  <a:cubicBezTo>
                    <a:pt x="47404" y="0"/>
                    <a:pt x="61076" y="16670"/>
                    <a:pt x="61076" y="3723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452" name="Freeform 95">
              <a:extLst>
                <a:ext uri="{FF2B5EF4-FFF2-40B4-BE49-F238E27FC236}">
                  <a16:creationId xmlns:a16="http://schemas.microsoft.com/office/drawing/2014/main" id="{B9A42E00-65E6-DBED-14C6-76FAF0E27F0B}"/>
                </a:ext>
              </a:extLst>
            </p:cNvPr>
            <p:cNvSpPr/>
            <p:nvPr/>
          </p:nvSpPr>
          <p:spPr>
            <a:xfrm>
              <a:off x="2835860" y="3242568"/>
              <a:ext cx="61076" cy="74466"/>
            </a:xfrm>
            <a:custGeom>
              <a:avLst/>
              <a:gdLst>
                <a:gd name="connsiteX0" fmla="*/ 61076 w 61076"/>
                <a:gd name="connsiteY0" fmla="*/ 37233 h 74466"/>
                <a:gd name="connsiteX1" fmla="*/ 30538 w 61076"/>
                <a:gd name="connsiteY1" fmla="*/ 74467 h 74466"/>
                <a:gd name="connsiteX2" fmla="*/ 0 w 61076"/>
                <a:gd name="connsiteY2" fmla="*/ 37233 h 74466"/>
                <a:gd name="connsiteX3" fmla="*/ 30538 w 61076"/>
                <a:gd name="connsiteY3" fmla="*/ 0 h 74466"/>
                <a:gd name="connsiteX4" fmla="*/ 61076 w 61076"/>
                <a:gd name="connsiteY4" fmla="*/ 37233 h 7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76" h="74466">
                  <a:moveTo>
                    <a:pt x="61076" y="37233"/>
                  </a:moveTo>
                  <a:cubicBezTo>
                    <a:pt x="61076" y="57797"/>
                    <a:pt x="47404" y="74467"/>
                    <a:pt x="30538" y="74467"/>
                  </a:cubicBezTo>
                  <a:cubicBezTo>
                    <a:pt x="13672" y="74467"/>
                    <a:pt x="0" y="57797"/>
                    <a:pt x="0" y="37233"/>
                  </a:cubicBezTo>
                  <a:cubicBezTo>
                    <a:pt x="0" y="16670"/>
                    <a:pt x="13672" y="0"/>
                    <a:pt x="30538" y="0"/>
                  </a:cubicBezTo>
                  <a:cubicBezTo>
                    <a:pt x="47404" y="0"/>
                    <a:pt x="61076" y="16670"/>
                    <a:pt x="61076" y="3723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64" name="Freeform 96">
              <a:extLst>
                <a:ext uri="{FF2B5EF4-FFF2-40B4-BE49-F238E27FC236}">
                  <a16:creationId xmlns:a16="http://schemas.microsoft.com/office/drawing/2014/main" id="{E8B515B8-C390-6A76-0322-A66EAECDBE9C}"/>
                </a:ext>
              </a:extLst>
            </p:cNvPr>
            <p:cNvSpPr/>
            <p:nvPr/>
          </p:nvSpPr>
          <p:spPr>
            <a:xfrm>
              <a:off x="2835860" y="3350835"/>
              <a:ext cx="61076" cy="74466"/>
            </a:xfrm>
            <a:custGeom>
              <a:avLst/>
              <a:gdLst>
                <a:gd name="connsiteX0" fmla="*/ 61076 w 61076"/>
                <a:gd name="connsiteY0" fmla="*/ 37233 h 74466"/>
                <a:gd name="connsiteX1" fmla="*/ 30538 w 61076"/>
                <a:gd name="connsiteY1" fmla="*/ 74467 h 74466"/>
                <a:gd name="connsiteX2" fmla="*/ 0 w 61076"/>
                <a:gd name="connsiteY2" fmla="*/ 37233 h 74466"/>
                <a:gd name="connsiteX3" fmla="*/ 30538 w 61076"/>
                <a:gd name="connsiteY3" fmla="*/ 0 h 74466"/>
                <a:gd name="connsiteX4" fmla="*/ 61076 w 61076"/>
                <a:gd name="connsiteY4" fmla="*/ 37233 h 7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76" h="74466">
                  <a:moveTo>
                    <a:pt x="61076" y="37233"/>
                  </a:moveTo>
                  <a:cubicBezTo>
                    <a:pt x="61076" y="57797"/>
                    <a:pt x="47404" y="74467"/>
                    <a:pt x="30538" y="74467"/>
                  </a:cubicBezTo>
                  <a:cubicBezTo>
                    <a:pt x="13672" y="74467"/>
                    <a:pt x="0" y="57797"/>
                    <a:pt x="0" y="37233"/>
                  </a:cubicBezTo>
                  <a:cubicBezTo>
                    <a:pt x="0" y="16670"/>
                    <a:pt x="13672" y="0"/>
                    <a:pt x="30538" y="0"/>
                  </a:cubicBezTo>
                  <a:cubicBezTo>
                    <a:pt x="47404" y="0"/>
                    <a:pt x="61076" y="16670"/>
                    <a:pt x="61076" y="3723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65" name="Freeform 97">
              <a:extLst>
                <a:ext uri="{FF2B5EF4-FFF2-40B4-BE49-F238E27FC236}">
                  <a16:creationId xmlns:a16="http://schemas.microsoft.com/office/drawing/2014/main" id="{799C5AA0-5E17-D757-CF9A-1A496507770B}"/>
                </a:ext>
              </a:extLst>
            </p:cNvPr>
            <p:cNvSpPr/>
            <p:nvPr/>
          </p:nvSpPr>
          <p:spPr>
            <a:xfrm>
              <a:off x="2835860" y="3459101"/>
              <a:ext cx="61076" cy="74466"/>
            </a:xfrm>
            <a:custGeom>
              <a:avLst/>
              <a:gdLst>
                <a:gd name="connsiteX0" fmla="*/ 61076 w 61076"/>
                <a:gd name="connsiteY0" fmla="*/ 37233 h 74466"/>
                <a:gd name="connsiteX1" fmla="*/ 30538 w 61076"/>
                <a:gd name="connsiteY1" fmla="*/ 74467 h 74466"/>
                <a:gd name="connsiteX2" fmla="*/ 0 w 61076"/>
                <a:gd name="connsiteY2" fmla="*/ 37233 h 74466"/>
                <a:gd name="connsiteX3" fmla="*/ 30538 w 61076"/>
                <a:gd name="connsiteY3" fmla="*/ 0 h 74466"/>
                <a:gd name="connsiteX4" fmla="*/ 61076 w 61076"/>
                <a:gd name="connsiteY4" fmla="*/ 37233 h 7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76" h="74466">
                  <a:moveTo>
                    <a:pt x="61076" y="37233"/>
                  </a:moveTo>
                  <a:cubicBezTo>
                    <a:pt x="61076" y="57797"/>
                    <a:pt x="47404" y="74467"/>
                    <a:pt x="30538" y="74467"/>
                  </a:cubicBezTo>
                  <a:cubicBezTo>
                    <a:pt x="13672" y="74467"/>
                    <a:pt x="0" y="57797"/>
                    <a:pt x="0" y="37233"/>
                  </a:cubicBezTo>
                  <a:cubicBezTo>
                    <a:pt x="0" y="16670"/>
                    <a:pt x="13672" y="0"/>
                    <a:pt x="30538" y="0"/>
                  </a:cubicBezTo>
                  <a:cubicBezTo>
                    <a:pt x="47404" y="0"/>
                    <a:pt x="61076" y="16670"/>
                    <a:pt x="61076" y="3723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66" name="Freeform 98">
              <a:extLst>
                <a:ext uri="{FF2B5EF4-FFF2-40B4-BE49-F238E27FC236}">
                  <a16:creationId xmlns:a16="http://schemas.microsoft.com/office/drawing/2014/main" id="{3C39CCCC-F4DF-978D-583A-9326242C43D3}"/>
                </a:ext>
              </a:extLst>
            </p:cNvPr>
            <p:cNvSpPr/>
            <p:nvPr/>
          </p:nvSpPr>
          <p:spPr>
            <a:xfrm>
              <a:off x="3194728" y="3053871"/>
              <a:ext cx="61076" cy="74466"/>
            </a:xfrm>
            <a:custGeom>
              <a:avLst/>
              <a:gdLst>
                <a:gd name="connsiteX0" fmla="*/ 61076 w 61076"/>
                <a:gd name="connsiteY0" fmla="*/ 37233 h 74466"/>
                <a:gd name="connsiteX1" fmla="*/ 30538 w 61076"/>
                <a:gd name="connsiteY1" fmla="*/ 74467 h 74466"/>
                <a:gd name="connsiteX2" fmla="*/ 0 w 61076"/>
                <a:gd name="connsiteY2" fmla="*/ 37233 h 74466"/>
                <a:gd name="connsiteX3" fmla="*/ 30538 w 61076"/>
                <a:gd name="connsiteY3" fmla="*/ 0 h 74466"/>
                <a:gd name="connsiteX4" fmla="*/ 61076 w 61076"/>
                <a:gd name="connsiteY4" fmla="*/ 37233 h 7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76" h="74466">
                  <a:moveTo>
                    <a:pt x="61076" y="37233"/>
                  </a:moveTo>
                  <a:cubicBezTo>
                    <a:pt x="61076" y="57797"/>
                    <a:pt x="47404" y="74467"/>
                    <a:pt x="30538" y="74467"/>
                  </a:cubicBezTo>
                  <a:cubicBezTo>
                    <a:pt x="13672" y="74467"/>
                    <a:pt x="0" y="57797"/>
                    <a:pt x="0" y="37233"/>
                  </a:cubicBezTo>
                  <a:cubicBezTo>
                    <a:pt x="0" y="16670"/>
                    <a:pt x="13672" y="0"/>
                    <a:pt x="30538" y="0"/>
                  </a:cubicBezTo>
                  <a:cubicBezTo>
                    <a:pt x="47404" y="0"/>
                    <a:pt x="61076" y="16670"/>
                    <a:pt x="61076" y="3723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67" name="Freeform 99">
              <a:extLst>
                <a:ext uri="{FF2B5EF4-FFF2-40B4-BE49-F238E27FC236}">
                  <a16:creationId xmlns:a16="http://schemas.microsoft.com/office/drawing/2014/main" id="{877A2BCB-5839-EFA6-AE52-72A891EB060B}"/>
                </a:ext>
              </a:extLst>
            </p:cNvPr>
            <p:cNvSpPr/>
            <p:nvPr/>
          </p:nvSpPr>
          <p:spPr>
            <a:xfrm>
              <a:off x="3194728" y="3162137"/>
              <a:ext cx="61076" cy="74466"/>
            </a:xfrm>
            <a:custGeom>
              <a:avLst/>
              <a:gdLst>
                <a:gd name="connsiteX0" fmla="*/ 61076 w 61076"/>
                <a:gd name="connsiteY0" fmla="*/ 37233 h 74466"/>
                <a:gd name="connsiteX1" fmla="*/ 30538 w 61076"/>
                <a:gd name="connsiteY1" fmla="*/ 74467 h 74466"/>
                <a:gd name="connsiteX2" fmla="*/ 0 w 61076"/>
                <a:gd name="connsiteY2" fmla="*/ 37233 h 74466"/>
                <a:gd name="connsiteX3" fmla="*/ 30538 w 61076"/>
                <a:gd name="connsiteY3" fmla="*/ 0 h 74466"/>
                <a:gd name="connsiteX4" fmla="*/ 61076 w 61076"/>
                <a:gd name="connsiteY4" fmla="*/ 37233 h 7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76" h="74466">
                  <a:moveTo>
                    <a:pt x="61076" y="37233"/>
                  </a:moveTo>
                  <a:cubicBezTo>
                    <a:pt x="61076" y="57797"/>
                    <a:pt x="47404" y="74467"/>
                    <a:pt x="30538" y="74467"/>
                  </a:cubicBezTo>
                  <a:cubicBezTo>
                    <a:pt x="13672" y="74467"/>
                    <a:pt x="0" y="57797"/>
                    <a:pt x="0" y="37233"/>
                  </a:cubicBezTo>
                  <a:cubicBezTo>
                    <a:pt x="0" y="16670"/>
                    <a:pt x="13672" y="0"/>
                    <a:pt x="30538" y="0"/>
                  </a:cubicBezTo>
                  <a:cubicBezTo>
                    <a:pt x="47404" y="0"/>
                    <a:pt x="61076" y="16670"/>
                    <a:pt x="61076" y="3723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68" name="Freeform 100">
              <a:extLst>
                <a:ext uri="{FF2B5EF4-FFF2-40B4-BE49-F238E27FC236}">
                  <a16:creationId xmlns:a16="http://schemas.microsoft.com/office/drawing/2014/main" id="{499BDAF6-8B04-2FAF-E4D8-A9CE2F15CC7C}"/>
                </a:ext>
              </a:extLst>
            </p:cNvPr>
            <p:cNvSpPr/>
            <p:nvPr/>
          </p:nvSpPr>
          <p:spPr>
            <a:xfrm>
              <a:off x="3194728" y="3270403"/>
              <a:ext cx="61076" cy="74466"/>
            </a:xfrm>
            <a:custGeom>
              <a:avLst/>
              <a:gdLst>
                <a:gd name="connsiteX0" fmla="*/ 61076 w 61076"/>
                <a:gd name="connsiteY0" fmla="*/ 37233 h 74466"/>
                <a:gd name="connsiteX1" fmla="*/ 30538 w 61076"/>
                <a:gd name="connsiteY1" fmla="*/ 74467 h 74466"/>
                <a:gd name="connsiteX2" fmla="*/ 0 w 61076"/>
                <a:gd name="connsiteY2" fmla="*/ 37233 h 74466"/>
                <a:gd name="connsiteX3" fmla="*/ 30538 w 61076"/>
                <a:gd name="connsiteY3" fmla="*/ 0 h 74466"/>
                <a:gd name="connsiteX4" fmla="*/ 61076 w 61076"/>
                <a:gd name="connsiteY4" fmla="*/ 37233 h 7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76" h="74466">
                  <a:moveTo>
                    <a:pt x="61076" y="37233"/>
                  </a:moveTo>
                  <a:cubicBezTo>
                    <a:pt x="61076" y="57797"/>
                    <a:pt x="47404" y="74467"/>
                    <a:pt x="30538" y="74467"/>
                  </a:cubicBezTo>
                  <a:cubicBezTo>
                    <a:pt x="13672" y="74467"/>
                    <a:pt x="0" y="57797"/>
                    <a:pt x="0" y="37233"/>
                  </a:cubicBezTo>
                  <a:cubicBezTo>
                    <a:pt x="0" y="16670"/>
                    <a:pt x="13672" y="0"/>
                    <a:pt x="30538" y="0"/>
                  </a:cubicBezTo>
                  <a:cubicBezTo>
                    <a:pt x="47404" y="0"/>
                    <a:pt x="61076" y="16670"/>
                    <a:pt x="61076" y="3723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69" name="Freeform 101">
              <a:extLst>
                <a:ext uri="{FF2B5EF4-FFF2-40B4-BE49-F238E27FC236}">
                  <a16:creationId xmlns:a16="http://schemas.microsoft.com/office/drawing/2014/main" id="{B69A9214-8805-867A-36DB-64660E79E38C}"/>
                </a:ext>
              </a:extLst>
            </p:cNvPr>
            <p:cNvSpPr/>
            <p:nvPr/>
          </p:nvSpPr>
          <p:spPr>
            <a:xfrm>
              <a:off x="3194728" y="3378669"/>
              <a:ext cx="61076" cy="74466"/>
            </a:xfrm>
            <a:custGeom>
              <a:avLst/>
              <a:gdLst>
                <a:gd name="connsiteX0" fmla="*/ 61076 w 61076"/>
                <a:gd name="connsiteY0" fmla="*/ 37233 h 74466"/>
                <a:gd name="connsiteX1" fmla="*/ 30538 w 61076"/>
                <a:gd name="connsiteY1" fmla="*/ 74467 h 74466"/>
                <a:gd name="connsiteX2" fmla="*/ 0 w 61076"/>
                <a:gd name="connsiteY2" fmla="*/ 37233 h 74466"/>
                <a:gd name="connsiteX3" fmla="*/ 30538 w 61076"/>
                <a:gd name="connsiteY3" fmla="*/ 0 h 74466"/>
                <a:gd name="connsiteX4" fmla="*/ 61076 w 61076"/>
                <a:gd name="connsiteY4" fmla="*/ 37233 h 7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76" h="74466">
                  <a:moveTo>
                    <a:pt x="61076" y="37233"/>
                  </a:moveTo>
                  <a:cubicBezTo>
                    <a:pt x="61076" y="57797"/>
                    <a:pt x="47404" y="74467"/>
                    <a:pt x="30538" y="74467"/>
                  </a:cubicBezTo>
                  <a:cubicBezTo>
                    <a:pt x="13672" y="74467"/>
                    <a:pt x="0" y="57797"/>
                    <a:pt x="0" y="37233"/>
                  </a:cubicBezTo>
                  <a:cubicBezTo>
                    <a:pt x="0" y="16670"/>
                    <a:pt x="13672" y="0"/>
                    <a:pt x="30538" y="0"/>
                  </a:cubicBezTo>
                  <a:cubicBezTo>
                    <a:pt x="47404" y="0"/>
                    <a:pt x="61076" y="16670"/>
                    <a:pt x="61076" y="3723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70" name="Freeform 102">
              <a:extLst>
                <a:ext uri="{FF2B5EF4-FFF2-40B4-BE49-F238E27FC236}">
                  <a16:creationId xmlns:a16="http://schemas.microsoft.com/office/drawing/2014/main" id="{14D73D29-ECEA-0AC1-CEC3-4547927AAA91}"/>
                </a:ext>
              </a:extLst>
            </p:cNvPr>
            <p:cNvSpPr/>
            <p:nvPr/>
          </p:nvSpPr>
          <p:spPr>
            <a:xfrm>
              <a:off x="3093898" y="3094538"/>
              <a:ext cx="61076" cy="74466"/>
            </a:xfrm>
            <a:custGeom>
              <a:avLst/>
              <a:gdLst>
                <a:gd name="connsiteX0" fmla="*/ 61076 w 61076"/>
                <a:gd name="connsiteY0" fmla="*/ 37233 h 74466"/>
                <a:gd name="connsiteX1" fmla="*/ 30538 w 61076"/>
                <a:gd name="connsiteY1" fmla="*/ 74467 h 74466"/>
                <a:gd name="connsiteX2" fmla="*/ 0 w 61076"/>
                <a:gd name="connsiteY2" fmla="*/ 37233 h 74466"/>
                <a:gd name="connsiteX3" fmla="*/ 30538 w 61076"/>
                <a:gd name="connsiteY3" fmla="*/ 0 h 74466"/>
                <a:gd name="connsiteX4" fmla="*/ 61076 w 61076"/>
                <a:gd name="connsiteY4" fmla="*/ 37233 h 7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76" h="74466">
                  <a:moveTo>
                    <a:pt x="61076" y="37233"/>
                  </a:moveTo>
                  <a:cubicBezTo>
                    <a:pt x="61076" y="57797"/>
                    <a:pt x="47404" y="74467"/>
                    <a:pt x="30538" y="74467"/>
                  </a:cubicBezTo>
                  <a:cubicBezTo>
                    <a:pt x="13672" y="74467"/>
                    <a:pt x="0" y="57797"/>
                    <a:pt x="0" y="37233"/>
                  </a:cubicBezTo>
                  <a:cubicBezTo>
                    <a:pt x="0" y="16670"/>
                    <a:pt x="13672" y="0"/>
                    <a:pt x="30538" y="0"/>
                  </a:cubicBezTo>
                  <a:cubicBezTo>
                    <a:pt x="47404" y="0"/>
                    <a:pt x="61076" y="16670"/>
                    <a:pt x="61076" y="3723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71" name="Freeform 103">
              <a:extLst>
                <a:ext uri="{FF2B5EF4-FFF2-40B4-BE49-F238E27FC236}">
                  <a16:creationId xmlns:a16="http://schemas.microsoft.com/office/drawing/2014/main" id="{4946F1D2-53CE-B8D4-355F-4302AB14261D}"/>
                </a:ext>
              </a:extLst>
            </p:cNvPr>
            <p:cNvSpPr/>
            <p:nvPr/>
          </p:nvSpPr>
          <p:spPr>
            <a:xfrm>
              <a:off x="3093898" y="3202624"/>
              <a:ext cx="61076" cy="74466"/>
            </a:xfrm>
            <a:custGeom>
              <a:avLst/>
              <a:gdLst>
                <a:gd name="connsiteX0" fmla="*/ 61076 w 61076"/>
                <a:gd name="connsiteY0" fmla="*/ 37233 h 74466"/>
                <a:gd name="connsiteX1" fmla="*/ 30538 w 61076"/>
                <a:gd name="connsiteY1" fmla="*/ 74467 h 74466"/>
                <a:gd name="connsiteX2" fmla="*/ 0 w 61076"/>
                <a:gd name="connsiteY2" fmla="*/ 37233 h 74466"/>
                <a:gd name="connsiteX3" fmla="*/ 30538 w 61076"/>
                <a:gd name="connsiteY3" fmla="*/ 0 h 74466"/>
                <a:gd name="connsiteX4" fmla="*/ 61076 w 61076"/>
                <a:gd name="connsiteY4" fmla="*/ 37233 h 7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76" h="74466">
                  <a:moveTo>
                    <a:pt x="61076" y="37233"/>
                  </a:moveTo>
                  <a:cubicBezTo>
                    <a:pt x="61076" y="57797"/>
                    <a:pt x="47404" y="74467"/>
                    <a:pt x="30538" y="74467"/>
                  </a:cubicBezTo>
                  <a:cubicBezTo>
                    <a:pt x="13672" y="74467"/>
                    <a:pt x="0" y="57797"/>
                    <a:pt x="0" y="37233"/>
                  </a:cubicBezTo>
                  <a:cubicBezTo>
                    <a:pt x="0" y="16670"/>
                    <a:pt x="13672" y="0"/>
                    <a:pt x="30538" y="0"/>
                  </a:cubicBezTo>
                  <a:cubicBezTo>
                    <a:pt x="47404" y="0"/>
                    <a:pt x="61076" y="16670"/>
                    <a:pt x="61076" y="3723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72" name="Freeform 104">
              <a:extLst>
                <a:ext uri="{FF2B5EF4-FFF2-40B4-BE49-F238E27FC236}">
                  <a16:creationId xmlns:a16="http://schemas.microsoft.com/office/drawing/2014/main" id="{2C5BB722-F0CD-C1B2-2B3D-657A40B7DCE3}"/>
                </a:ext>
              </a:extLst>
            </p:cNvPr>
            <p:cNvSpPr/>
            <p:nvPr/>
          </p:nvSpPr>
          <p:spPr>
            <a:xfrm>
              <a:off x="3093898" y="3310890"/>
              <a:ext cx="61076" cy="74466"/>
            </a:xfrm>
            <a:custGeom>
              <a:avLst/>
              <a:gdLst>
                <a:gd name="connsiteX0" fmla="*/ 61076 w 61076"/>
                <a:gd name="connsiteY0" fmla="*/ 37233 h 74466"/>
                <a:gd name="connsiteX1" fmla="*/ 30538 w 61076"/>
                <a:gd name="connsiteY1" fmla="*/ 74467 h 74466"/>
                <a:gd name="connsiteX2" fmla="*/ 0 w 61076"/>
                <a:gd name="connsiteY2" fmla="*/ 37233 h 74466"/>
                <a:gd name="connsiteX3" fmla="*/ 30538 w 61076"/>
                <a:gd name="connsiteY3" fmla="*/ 0 h 74466"/>
                <a:gd name="connsiteX4" fmla="*/ 61076 w 61076"/>
                <a:gd name="connsiteY4" fmla="*/ 37233 h 7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76" h="74466">
                  <a:moveTo>
                    <a:pt x="61076" y="37233"/>
                  </a:moveTo>
                  <a:cubicBezTo>
                    <a:pt x="61076" y="57797"/>
                    <a:pt x="47404" y="74467"/>
                    <a:pt x="30538" y="74467"/>
                  </a:cubicBezTo>
                  <a:cubicBezTo>
                    <a:pt x="13672" y="74467"/>
                    <a:pt x="0" y="57797"/>
                    <a:pt x="0" y="37233"/>
                  </a:cubicBezTo>
                  <a:cubicBezTo>
                    <a:pt x="0" y="16670"/>
                    <a:pt x="13672" y="0"/>
                    <a:pt x="30538" y="0"/>
                  </a:cubicBezTo>
                  <a:cubicBezTo>
                    <a:pt x="47404" y="0"/>
                    <a:pt x="61076" y="16670"/>
                    <a:pt x="61076" y="3723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73" name="Freeform 105">
              <a:extLst>
                <a:ext uri="{FF2B5EF4-FFF2-40B4-BE49-F238E27FC236}">
                  <a16:creationId xmlns:a16="http://schemas.microsoft.com/office/drawing/2014/main" id="{0A381591-CF24-64F0-25E7-1AED55F3D825}"/>
                </a:ext>
              </a:extLst>
            </p:cNvPr>
            <p:cNvSpPr/>
            <p:nvPr/>
          </p:nvSpPr>
          <p:spPr>
            <a:xfrm>
              <a:off x="3093898" y="3419156"/>
              <a:ext cx="61076" cy="74466"/>
            </a:xfrm>
            <a:custGeom>
              <a:avLst/>
              <a:gdLst>
                <a:gd name="connsiteX0" fmla="*/ 61076 w 61076"/>
                <a:gd name="connsiteY0" fmla="*/ 37233 h 74466"/>
                <a:gd name="connsiteX1" fmla="*/ 30538 w 61076"/>
                <a:gd name="connsiteY1" fmla="*/ 74467 h 74466"/>
                <a:gd name="connsiteX2" fmla="*/ 0 w 61076"/>
                <a:gd name="connsiteY2" fmla="*/ 37233 h 74466"/>
                <a:gd name="connsiteX3" fmla="*/ 30538 w 61076"/>
                <a:gd name="connsiteY3" fmla="*/ 0 h 74466"/>
                <a:gd name="connsiteX4" fmla="*/ 61076 w 61076"/>
                <a:gd name="connsiteY4" fmla="*/ 37233 h 7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76" h="74466">
                  <a:moveTo>
                    <a:pt x="61076" y="37233"/>
                  </a:moveTo>
                  <a:cubicBezTo>
                    <a:pt x="61076" y="57797"/>
                    <a:pt x="47404" y="74467"/>
                    <a:pt x="30538" y="74467"/>
                  </a:cubicBezTo>
                  <a:cubicBezTo>
                    <a:pt x="13672" y="74467"/>
                    <a:pt x="0" y="57797"/>
                    <a:pt x="0" y="37233"/>
                  </a:cubicBezTo>
                  <a:cubicBezTo>
                    <a:pt x="0" y="16670"/>
                    <a:pt x="13672" y="0"/>
                    <a:pt x="30538" y="0"/>
                  </a:cubicBezTo>
                  <a:cubicBezTo>
                    <a:pt x="47404" y="0"/>
                    <a:pt x="61076" y="16670"/>
                    <a:pt x="61076" y="3723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74" name="Freeform 106">
              <a:extLst>
                <a:ext uri="{FF2B5EF4-FFF2-40B4-BE49-F238E27FC236}">
                  <a16:creationId xmlns:a16="http://schemas.microsoft.com/office/drawing/2014/main" id="{CAA208F1-6CB3-3CDA-6480-9F1A8672E684}"/>
                </a:ext>
              </a:extLst>
            </p:cNvPr>
            <p:cNvSpPr/>
            <p:nvPr/>
          </p:nvSpPr>
          <p:spPr>
            <a:xfrm>
              <a:off x="2993068" y="3134302"/>
              <a:ext cx="61076" cy="74466"/>
            </a:xfrm>
            <a:custGeom>
              <a:avLst/>
              <a:gdLst>
                <a:gd name="connsiteX0" fmla="*/ 61076 w 61076"/>
                <a:gd name="connsiteY0" fmla="*/ 37233 h 74466"/>
                <a:gd name="connsiteX1" fmla="*/ 30538 w 61076"/>
                <a:gd name="connsiteY1" fmla="*/ 74467 h 74466"/>
                <a:gd name="connsiteX2" fmla="*/ 0 w 61076"/>
                <a:gd name="connsiteY2" fmla="*/ 37233 h 74466"/>
                <a:gd name="connsiteX3" fmla="*/ 30538 w 61076"/>
                <a:gd name="connsiteY3" fmla="*/ 0 h 74466"/>
                <a:gd name="connsiteX4" fmla="*/ 61076 w 61076"/>
                <a:gd name="connsiteY4" fmla="*/ 37233 h 7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76" h="74466">
                  <a:moveTo>
                    <a:pt x="61076" y="37233"/>
                  </a:moveTo>
                  <a:cubicBezTo>
                    <a:pt x="61076" y="57797"/>
                    <a:pt x="47404" y="74467"/>
                    <a:pt x="30538" y="74467"/>
                  </a:cubicBezTo>
                  <a:cubicBezTo>
                    <a:pt x="13672" y="74467"/>
                    <a:pt x="0" y="57797"/>
                    <a:pt x="0" y="37233"/>
                  </a:cubicBezTo>
                  <a:cubicBezTo>
                    <a:pt x="0" y="16670"/>
                    <a:pt x="13672" y="0"/>
                    <a:pt x="30538" y="0"/>
                  </a:cubicBezTo>
                  <a:cubicBezTo>
                    <a:pt x="47404" y="0"/>
                    <a:pt x="61076" y="16670"/>
                    <a:pt x="61076" y="3723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75" name="Freeform 107">
              <a:extLst>
                <a:ext uri="{FF2B5EF4-FFF2-40B4-BE49-F238E27FC236}">
                  <a16:creationId xmlns:a16="http://schemas.microsoft.com/office/drawing/2014/main" id="{A1942F41-3374-D4CF-DABF-B18264932834}"/>
                </a:ext>
              </a:extLst>
            </p:cNvPr>
            <p:cNvSpPr/>
            <p:nvPr/>
          </p:nvSpPr>
          <p:spPr>
            <a:xfrm>
              <a:off x="2993068" y="3242568"/>
              <a:ext cx="61076" cy="74466"/>
            </a:xfrm>
            <a:custGeom>
              <a:avLst/>
              <a:gdLst>
                <a:gd name="connsiteX0" fmla="*/ 61076 w 61076"/>
                <a:gd name="connsiteY0" fmla="*/ 37233 h 74466"/>
                <a:gd name="connsiteX1" fmla="*/ 30538 w 61076"/>
                <a:gd name="connsiteY1" fmla="*/ 74467 h 74466"/>
                <a:gd name="connsiteX2" fmla="*/ 0 w 61076"/>
                <a:gd name="connsiteY2" fmla="*/ 37233 h 74466"/>
                <a:gd name="connsiteX3" fmla="*/ 30538 w 61076"/>
                <a:gd name="connsiteY3" fmla="*/ 0 h 74466"/>
                <a:gd name="connsiteX4" fmla="*/ 61076 w 61076"/>
                <a:gd name="connsiteY4" fmla="*/ 37233 h 7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76" h="74466">
                  <a:moveTo>
                    <a:pt x="61076" y="37233"/>
                  </a:moveTo>
                  <a:cubicBezTo>
                    <a:pt x="61076" y="57797"/>
                    <a:pt x="47404" y="74467"/>
                    <a:pt x="30538" y="74467"/>
                  </a:cubicBezTo>
                  <a:cubicBezTo>
                    <a:pt x="13672" y="74467"/>
                    <a:pt x="0" y="57797"/>
                    <a:pt x="0" y="37233"/>
                  </a:cubicBezTo>
                  <a:cubicBezTo>
                    <a:pt x="0" y="16670"/>
                    <a:pt x="13672" y="0"/>
                    <a:pt x="30538" y="0"/>
                  </a:cubicBezTo>
                  <a:cubicBezTo>
                    <a:pt x="47404" y="0"/>
                    <a:pt x="61076" y="16670"/>
                    <a:pt x="61076" y="3723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76" name="Freeform 108">
              <a:extLst>
                <a:ext uri="{FF2B5EF4-FFF2-40B4-BE49-F238E27FC236}">
                  <a16:creationId xmlns:a16="http://schemas.microsoft.com/office/drawing/2014/main" id="{01A512B7-6967-87D2-4D9B-5AD0288A0F38}"/>
                </a:ext>
              </a:extLst>
            </p:cNvPr>
            <p:cNvSpPr/>
            <p:nvPr/>
          </p:nvSpPr>
          <p:spPr>
            <a:xfrm>
              <a:off x="2993068" y="3350835"/>
              <a:ext cx="61076" cy="74466"/>
            </a:xfrm>
            <a:custGeom>
              <a:avLst/>
              <a:gdLst>
                <a:gd name="connsiteX0" fmla="*/ 61076 w 61076"/>
                <a:gd name="connsiteY0" fmla="*/ 37233 h 74466"/>
                <a:gd name="connsiteX1" fmla="*/ 30538 w 61076"/>
                <a:gd name="connsiteY1" fmla="*/ 74467 h 74466"/>
                <a:gd name="connsiteX2" fmla="*/ 0 w 61076"/>
                <a:gd name="connsiteY2" fmla="*/ 37233 h 74466"/>
                <a:gd name="connsiteX3" fmla="*/ 30538 w 61076"/>
                <a:gd name="connsiteY3" fmla="*/ 0 h 74466"/>
                <a:gd name="connsiteX4" fmla="*/ 61076 w 61076"/>
                <a:gd name="connsiteY4" fmla="*/ 37233 h 7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76" h="74466">
                  <a:moveTo>
                    <a:pt x="61076" y="37233"/>
                  </a:moveTo>
                  <a:cubicBezTo>
                    <a:pt x="61076" y="57797"/>
                    <a:pt x="47404" y="74467"/>
                    <a:pt x="30538" y="74467"/>
                  </a:cubicBezTo>
                  <a:cubicBezTo>
                    <a:pt x="13672" y="74467"/>
                    <a:pt x="0" y="57797"/>
                    <a:pt x="0" y="37233"/>
                  </a:cubicBezTo>
                  <a:cubicBezTo>
                    <a:pt x="0" y="16670"/>
                    <a:pt x="13672" y="0"/>
                    <a:pt x="30538" y="0"/>
                  </a:cubicBezTo>
                  <a:cubicBezTo>
                    <a:pt x="47404" y="0"/>
                    <a:pt x="61076" y="16670"/>
                    <a:pt x="61076" y="3723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77" name="Freeform 109">
              <a:extLst>
                <a:ext uri="{FF2B5EF4-FFF2-40B4-BE49-F238E27FC236}">
                  <a16:creationId xmlns:a16="http://schemas.microsoft.com/office/drawing/2014/main" id="{69507516-B480-B205-A931-16ADD0741B94}"/>
                </a:ext>
              </a:extLst>
            </p:cNvPr>
            <p:cNvSpPr/>
            <p:nvPr/>
          </p:nvSpPr>
          <p:spPr>
            <a:xfrm>
              <a:off x="2993068" y="3459101"/>
              <a:ext cx="61076" cy="74466"/>
            </a:xfrm>
            <a:custGeom>
              <a:avLst/>
              <a:gdLst>
                <a:gd name="connsiteX0" fmla="*/ 61076 w 61076"/>
                <a:gd name="connsiteY0" fmla="*/ 37233 h 74466"/>
                <a:gd name="connsiteX1" fmla="*/ 30538 w 61076"/>
                <a:gd name="connsiteY1" fmla="*/ 74467 h 74466"/>
                <a:gd name="connsiteX2" fmla="*/ 0 w 61076"/>
                <a:gd name="connsiteY2" fmla="*/ 37233 h 74466"/>
                <a:gd name="connsiteX3" fmla="*/ 30538 w 61076"/>
                <a:gd name="connsiteY3" fmla="*/ 0 h 74466"/>
                <a:gd name="connsiteX4" fmla="*/ 61076 w 61076"/>
                <a:gd name="connsiteY4" fmla="*/ 37233 h 7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076" h="74466">
                  <a:moveTo>
                    <a:pt x="61076" y="37233"/>
                  </a:moveTo>
                  <a:cubicBezTo>
                    <a:pt x="61076" y="57797"/>
                    <a:pt x="47404" y="74467"/>
                    <a:pt x="30538" y="74467"/>
                  </a:cubicBezTo>
                  <a:cubicBezTo>
                    <a:pt x="13672" y="74467"/>
                    <a:pt x="0" y="57797"/>
                    <a:pt x="0" y="37233"/>
                  </a:cubicBezTo>
                  <a:cubicBezTo>
                    <a:pt x="0" y="16670"/>
                    <a:pt x="13672" y="0"/>
                    <a:pt x="30538" y="0"/>
                  </a:cubicBezTo>
                  <a:cubicBezTo>
                    <a:pt x="47404" y="0"/>
                    <a:pt x="61076" y="16670"/>
                    <a:pt x="61076" y="3723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78" name="Freeform 110">
              <a:extLst>
                <a:ext uri="{FF2B5EF4-FFF2-40B4-BE49-F238E27FC236}">
                  <a16:creationId xmlns:a16="http://schemas.microsoft.com/office/drawing/2014/main" id="{D10D6C31-2576-F700-5442-C5AA69C0BCE8}"/>
                </a:ext>
              </a:extLst>
            </p:cNvPr>
            <p:cNvSpPr/>
            <p:nvPr/>
          </p:nvSpPr>
          <p:spPr>
            <a:xfrm>
              <a:off x="2564451" y="2949762"/>
              <a:ext cx="755140" cy="1404489"/>
            </a:xfrm>
            <a:custGeom>
              <a:avLst/>
              <a:gdLst>
                <a:gd name="connsiteX0" fmla="*/ 754960 w 755140"/>
                <a:gd name="connsiteY0" fmla="*/ 81877 h 1404489"/>
                <a:gd name="connsiteX1" fmla="*/ 748093 w 755140"/>
                <a:gd name="connsiteY1" fmla="*/ 50428 h 1404489"/>
                <a:gd name="connsiteX2" fmla="*/ 729843 w 755140"/>
                <a:gd name="connsiteY2" fmla="*/ 23858 h 1404489"/>
                <a:gd name="connsiteX3" fmla="*/ 702919 w 755140"/>
                <a:gd name="connsiteY3" fmla="*/ 6145 h 1404489"/>
                <a:gd name="connsiteX4" fmla="*/ 671296 w 755140"/>
                <a:gd name="connsiteY4" fmla="*/ 0 h 1404489"/>
                <a:gd name="connsiteX5" fmla="*/ 88000 w 755140"/>
                <a:gd name="connsiteY5" fmla="*/ 0 h 1404489"/>
                <a:gd name="connsiteX6" fmla="*/ 83483 w 755140"/>
                <a:gd name="connsiteY6" fmla="*/ 0 h 1404489"/>
                <a:gd name="connsiteX7" fmla="*/ 79508 w 755140"/>
                <a:gd name="connsiteY7" fmla="*/ 181 h 1404489"/>
                <a:gd name="connsiteX8" fmla="*/ 48247 w 755140"/>
                <a:gd name="connsiteY8" fmla="*/ 7953 h 1404489"/>
                <a:gd name="connsiteX9" fmla="*/ 22226 w 755140"/>
                <a:gd name="connsiteY9" fmla="*/ 27112 h 1404489"/>
                <a:gd name="connsiteX10" fmla="*/ 5421 w 755140"/>
                <a:gd name="connsiteY10" fmla="*/ 54585 h 1404489"/>
                <a:gd name="connsiteX11" fmla="*/ 3975 w 755140"/>
                <a:gd name="connsiteY11" fmla="*/ 58381 h 1404489"/>
                <a:gd name="connsiteX12" fmla="*/ 2891 w 755140"/>
                <a:gd name="connsiteY12" fmla="*/ 62357 h 1404489"/>
                <a:gd name="connsiteX13" fmla="*/ 1807 w 755140"/>
                <a:gd name="connsiteY13" fmla="*/ 66333 h 1404489"/>
                <a:gd name="connsiteX14" fmla="*/ 1084 w 755140"/>
                <a:gd name="connsiteY14" fmla="*/ 70310 h 1404489"/>
                <a:gd name="connsiteX15" fmla="*/ 181 w 755140"/>
                <a:gd name="connsiteY15" fmla="*/ 78443 h 1404489"/>
                <a:gd name="connsiteX16" fmla="*/ 0 w 755140"/>
                <a:gd name="connsiteY16" fmla="*/ 82420 h 1404489"/>
                <a:gd name="connsiteX17" fmla="*/ 0 w 755140"/>
                <a:gd name="connsiteY17" fmla="*/ 84589 h 1404489"/>
                <a:gd name="connsiteX18" fmla="*/ 0 w 755140"/>
                <a:gd name="connsiteY18" fmla="*/ 480420 h 1404489"/>
                <a:gd name="connsiteX19" fmla="*/ 181 w 755140"/>
                <a:gd name="connsiteY19" fmla="*/ 484396 h 1404489"/>
                <a:gd name="connsiteX20" fmla="*/ 542 w 755140"/>
                <a:gd name="connsiteY20" fmla="*/ 488372 h 1404489"/>
                <a:gd name="connsiteX21" fmla="*/ 1084 w 755140"/>
                <a:gd name="connsiteY21" fmla="*/ 492349 h 1404489"/>
                <a:gd name="connsiteX22" fmla="*/ 5060 w 755140"/>
                <a:gd name="connsiteY22" fmla="*/ 508074 h 1404489"/>
                <a:gd name="connsiteX23" fmla="*/ 11926 w 755140"/>
                <a:gd name="connsiteY23" fmla="*/ 522714 h 1404489"/>
                <a:gd name="connsiteX24" fmla="*/ 13010 w 755140"/>
                <a:gd name="connsiteY24" fmla="*/ 524521 h 1404489"/>
                <a:gd name="connsiteX25" fmla="*/ 14095 w 755140"/>
                <a:gd name="connsiteY25" fmla="*/ 526148 h 1404489"/>
                <a:gd name="connsiteX26" fmla="*/ 16444 w 755140"/>
                <a:gd name="connsiteY26" fmla="*/ 529401 h 1404489"/>
                <a:gd name="connsiteX27" fmla="*/ 21503 w 755140"/>
                <a:gd name="connsiteY27" fmla="*/ 535728 h 1404489"/>
                <a:gd name="connsiteX28" fmla="*/ 33429 w 755140"/>
                <a:gd name="connsiteY28" fmla="*/ 546753 h 1404489"/>
                <a:gd name="connsiteX29" fmla="*/ 36682 w 755140"/>
                <a:gd name="connsiteY29" fmla="*/ 549103 h 1404489"/>
                <a:gd name="connsiteX30" fmla="*/ 40115 w 755140"/>
                <a:gd name="connsiteY30" fmla="*/ 551272 h 1404489"/>
                <a:gd name="connsiteX31" fmla="*/ 47162 w 755140"/>
                <a:gd name="connsiteY31" fmla="*/ 555248 h 1404489"/>
                <a:gd name="connsiteX32" fmla="*/ 63787 w 755140"/>
                <a:gd name="connsiteY32" fmla="*/ 563382 h 1404489"/>
                <a:gd name="connsiteX33" fmla="*/ 130465 w 755140"/>
                <a:gd name="connsiteY33" fmla="*/ 595735 h 1404489"/>
                <a:gd name="connsiteX34" fmla="*/ 258941 w 755140"/>
                <a:gd name="connsiteY34" fmla="*/ 658092 h 1404489"/>
                <a:gd name="connsiteX35" fmla="*/ 266531 w 755140"/>
                <a:gd name="connsiteY35" fmla="*/ 662430 h 1404489"/>
                <a:gd name="connsiteX36" fmla="*/ 266531 w 755140"/>
                <a:gd name="connsiteY36" fmla="*/ 662430 h 1404489"/>
                <a:gd name="connsiteX37" fmla="*/ 269422 w 755140"/>
                <a:gd name="connsiteY37" fmla="*/ 664599 h 1404489"/>
                <a:gd name="connsiteX38" fmla="*/ 271048 w 755140"/>
                <a:gd name="connsiteY38" fmla="*/ 666045 h 1404489"/>
                <a:gd name="connsiteX39" fmla="*/ 279360 w 755140"/>
                <a:gd name="connsiteY39" fmla="*/ 681950 h 1404489"/>
                <a:gd name="connsiteX40" fmla="*/ 280083 w 755140"/>
                <a:gd name="connsiteY40" fmla="*/ 694060 h 1404489"/>
                <a:gd name="connsiteX41" fmla="*/ 280083 w 755140"/>
                <a:gd name="connsiteY41" fmla="*/ 810279 h 1404489"/>
                <a:gd name="connsiteX42" fmla="*/ 280083 w 755140"/>
                <a:gd name="connsiteY42" fmla="*/ 815701 h 1404489"/>
                <a:gd name="connsiteX43" fmla="*/ 280083 w 755140"/>
                <a:gd name="connsiteY43" fmla="*/ 1306604 h 1404489"/>
                <a:gd name="connsiteX44" fmla="*/ 280445 w 755140"/>
                <a:gd name="connsiteY44" fmla="*/ 1314918 h 1404489"/>
                <a:gd name="connsiteX45" fmla="*/ 283155 w 755140"/>
                <a:gd name="connsiteY45" fmla="*/ 1331185 h 1404489"/>
                <a:gd name="connsiteX46" fmla="*/ 296527 w 755140"/>
                <a:gd name="connsiteY46" fmla="*/ 1361189 h 1404489"/>
                <a:gd name="connsiteX47" fmla="*/ 319114 w 755140"/>
                <a:gd name="connsiteY47" fmla="*/ 1385047 h 1404489"/>
                <a:gd name="connsiteX48" fmla="*/ 348387 w 755140"/>
                <a:gd name="connsiteY48" fmla="*/ 1400049 h 1404489"/>
                <a:gd name="connsiteX49" fmla="*/ 380913 w 755140"/>
                <a:gd name="connsiteY49" fmla="*/ 1404387 h 1404489"/>
                <a:gd name="connsiteX50" fmla="*/ 397357 w 755140"/>
                <a:gd name="connsiteY50" fmla="*/ 1402580 h 1404489"/>
                <a:gd name="connsiteX51" fmla="*/ 413078 w 755140"/>
                <a:gd name="connsiteY51" fmla="*/ 1397880 h 1404489"/>
                <a:gd name="connsiteX52" fmla="*/ 441267 w 755140"/>
                <a:gd name="connsiteY52" fmla="*/ 1380890 h 1404489"/>
                <a:gd name="connsiteX53" fmla="*/ 462228 w 755140"/>
                <a:gd name="connsiteY53" fmla="*/ 1355586 h 1404489"/>
                <a:gd name="connsiteX54" fmla="*/ 469275 w 755140"/>
                <a:gd name="connsiteY54" fmla="*/ 1340765 h 1404489"/>
                <a:gd name="connsiteX55" fmla="*/ 473612 w 755140"/>
                <a:gd name="connsiteY55" fmla="*/ 1324859 h 1404489"/>
                <a:gd name="connsiteX56" fmla="*/ 475238 w 755140"/>
                <a:gd name="connsiteY56" fmla="*/ 1308412 h 1404489"/>
                <a:gd name="connsiteX57" fmla="*/ 475238 w 755140"/>
                <a:gd name="connsiteY57" fmla="*/ 1303893 h 1404489"/>
                <a:gd name="connsiteX58" fmla="*/ 475238 w 755140"/>
                <a:gd name="connsiteY58" fmla="*/ 808110 h 1404489"/>
                <a:gd name="connsiteX59" fmla="*/ 475238 w 755140"/>
                <a:gd name="connsiteY59" fmla="*/ 696410 h 1404489"/>
                <a:gd name="connsiteX60" fmla="*/ 475599 w 755140"/>
                <a:gd name="connsiteY60" fmla="*/ 684300 h 1404489"/>
                <a:gd name="connsiteX61" fmla="*/ 479213 w 755140"/>
                <a:gd name="connsiteY61" fmla="*/ 672913 h 1404489"/>
                <a:gd name="connsiteX62" fmla="*/ 486983 w 755140"/>
                <a:gd name="connsiteY62" fmla="*/ 663876 h 1404489"/>
                <a:gd name="connsiteX63" fmla="*/ 497464 w 755140"/>
                <a:gd name="connsiteY63" fmla="*/ 657911 h 1404489"/>
                <a:gd name="connsiteX64" fmla="*/ 633169 w 755140"/>
                <a:gd name="connsiteY64" fmla="*/ 594650 h 1404489"/>
                <a:gd name="connsiteX65" fmla="*/ 700389 w 755140"/>
                <a:gd name="connsiteY65" fmla="*/ 563382 h 1404489"/>
                <a:gd name="connsiteX66" fmla="*/ 704545 w 755140"/>
                <a:gd name="connsiteY66" fmla="*/ 561393 h 1404489"/>
                <a:gd name="connsiteX67" fmla="*/ 706713 w 755140"/>
                <a:gd name="connsiteY67" fmla="*/ 560490 h 1404489"/>
                <a:gd name="connsiteX68" fmla="*/ 708520 w 755140"/>
                <a:gd name="connsiteY68" fmla="*/ 559586 h 1404489"/>
                <a:gd name="connsiteX69" fmla="*/ 712134 w 755140"/>
                <a:gd name="connsiteY69" fmla="*/ 557778 h 1404489"/>
                <a:gd name="connsiteX70" fmla="*/ 715568 w 755140"/>
                <a:gd name="connsiteY70" fmla="*/ 555609 h 1404489"/>
                <a:gd name="connsiteX71" fmla="*/ 717375 w 755140"/>
                <a:gd name="connsiteY71" fmla="*/ 554525 h 1404489"/>
                <a:gd name="connsiteX72" fmla="*/ 719001 w 755140"/>
                <a:gd name="connsiteY72" fmla="*/ 553441 h 1404489"/>
                <a:gd name="connsiteX73" fmla="*/ 722253 w 755140"/>
                <a:gd name="connsiteY73" fmla="*/ 551091 h 1404489"/>
                <a:gd name="connsiteX74" fmla="*/ 725325 w 755140"/>
                <a:gd name="connsiteY74" fmla="*/ 548560 h 1404489"/>
                <a:gd name="connsiteX75" fmla="*/ 726952 w 755140"/>
                <a:gd name="connsiteY75" fmla="*/ 547295 h 1404489"/>
                <a:gd name="connsiteX76" fmla="*/ 728397 w 755140"/>
                <a:gd name="connsiteY76" fmla="*/ 545849 h 1404489"/>
                <a:gd name="connsiteX77" fmla="*/ 739239 w 755140"/>
                <a:gd name="connsiteY77" fmla="*/ 533739 h 1404489"/>
                <a:gd name="connsiteX78" fmla="*/ 743576 w 755140"/>
                <a:gd name="connsiteY78" fmla="*/ 526871 h 1404489"/>
                <a:gd name="connsiteX79" fmla="*/ 747371 w 755140"/>
                <a:gd name="connsiteY79" fmla="*/ 519641 h 1404489"/>
                <a:gd name="connsiteX80" fmla="*/ 752791 w 755140"/>
                <a:gd name="connsiteY80" fmla="*/ 504278 h 1404489"/>
                <a:gd name="connsiteX81" fmla="*/ 753334 w 755140"/>
                <a:gd name="connsiteY81" fmla="*/ 502290 h 1404489"/>
                <a:gd name="connsiteX82" fmla="*/ 753695 w 755140"/>
                <a:gd name="connsiteY82" fmla="*/ 500302 h 1404489"/>
                <a:gd name="connsiteX83" fmla="*/ 754418 w 755140"/>
                <a:gd name="connsiteY83" fmla="*/ 496325 h 1404489"/>
                <a:gd name="connsiteX84" fmla="*/ 754779 w 755140"/>
                <a:gd name="connsiteY84" fmla="*/ 492349 h 1404489"/>
                <a:gd name="connsiteX85" fmla="*/ 754960 w 755140"/>
                <a:gd name="connsiteY85" fmla="*/ 490361 h 1404489"/>
                <a:gd name="connsiteX86" fmla="*/ 754960 w 755140"/>
                <a:gd name="connsiteY86" fmla="*/ 488372 h 1404489"/>
                <a:gd name="connsiteX87" fmla="*/ 755141 w 755140"/>
                <a:gd name="connsiteY87" fmla="*/ 484396 h 1404489"/>
                <a:gd name="connsiteX88" fmla="*/ 755141 w 755140"/>
                <a:gd name="connsiteY88" fmla="*/ 83866 h 1404489"/>
                <a:gd name="connsiteX89" fmla="*/ 754960 w 755140"/>
                <a:gd name="connsiteY89" fmla="*/ 81877 h 1404489"/>
                <a:gd name="connsiteX90" fmla="*/ 80772 w 755140"/>
                <a:gd name="connsiteY90" fmla="*/ 24943 h 1404489"/>
                <a:gd name="connsiteX91" fmla="*/ 80772 w 755140"/>
                <a:gd name="connsiteY91" fmla="*/ 24943 h 1404489"/>
                <a:gd name="connsiteX92" fmla="*/ 83664 w 755140"/>
                <a:gd name="connsiteY92" fmla="*/ 24762 h 1404489"/>
                <a:gd name="connsiteX93" fmla="*/ 84748 w 755140"/>
                <a:gd name="connsiteY93" fmla="*/ 24762 h 1404489"/>
                <a:gd name="connsiteX94" fmla="*/ 671477 w 755140"/>
                <a:gd name="connsiteY94" fmla="*/ 24762 h 1404489"/>
                <a:gd name="connsiteX95" fmla="*/ 688824 w 755140"/>
                <a:gd name="connsiteY95" fmla="*/ 27473 h 1404489"/>
                <a:gd name="connsiteX96" fmla="*/ 405669 w 755140"/>
                <a:gd name="connsiteY96" fmla="*/ 148211 h 1404489"/>
                <a:gd name="connsiteX97" fmla="*/ 347303 w 755140"/>
                <a:gd name="connsiteY97" fmla="*/ 147488 h 1404489"/>
                <a:gd name="connsiteX98" fmla="*/ 66136 w 755140"/>
                <a:gd name="connsiteY98" fmla="*/ 27473 h 1404489"/>
                <a:gd name="connsiteX99" fmla="*/ 80772 w 755140"/>
                <a:gd name="connsiteY99" fmla="*/ 24943 h 1404489"/>
                <a:gd name="connsiteX100" fmla="*/ 277192 w 755140"/>
                <a:gd name="connsiteY100" fmla="*/ 639656 h 1404489"/>
                <a:gd name="connsiteX101" fmla="*/ 277192 w 755140"/>
                <a:gd name="connsiteY101" fmla="*/ 639656 h 1404489"/>
                <a:gd name="connsiteX102" fmla="*/ 273036 w 755140"/>
                <a:gd name="connsiteY102" fmla="*/ 637306 h 1404489"/>
                <a:gd name="connsiteX103" fmla="*/ 141126 w 755140"/>
                <a:gd name="connsiteY103" fmla="*/ 573322 h 1404489"/>
                <a:gd name="connsiteX104" fmla="*/ 141126 w 755140"/>
                <a:gd name="connsiteY104" fmla="*/ 573322 h 1404489"/>
                <a:gd name="connsiteX105" fmla="*/ 74448 w 755140"/>
                <a:gd name="connsiteY105" fmla="*/ 540969 h 1404489"/>
                <a:gd name="connsiteX106" fmla="*/ 58004 w 755140"/>
                <a:gd name="connsiteY106" fmla="*/ 533016 h 1404489"/>
                <a:gd name="connsiteX107" fmla="*/ 52945 w 755140"/>
                <a:gd name="connsiteY107" fmla="*/ 530124 h 1404489"/>
                <a:gd name="connsiteX108" fmla="*/ 50596 w 755140"/>
                <a:gd name="connsiteY108" fmla="*/ 528679 h 1404489"/>
                <a:gd name="connsiteX109" fmla="*/ 48247 w 755140"/>
                <a:gd name="connsiteY109" fmla="*/ 527052 h 1404489"/>
                <a:gd name="connsiteX110" fmla="*/ 39934 w 755140"/>
                <a:gd name="connsiteY110" fmla="*/ 519280 h 1404489"/>
                <a:gd name="connsiteX111" fmla="*/ 36320 w 755140"/>
                <a:gd name="connsiteY111" fmla="*/ 514942 h 1404489"/>
                <a:gd name="connsiteX112" fmla="*/ 34694 w 755140"/>
                <a:gd name="connsiteY112" fmla="*/ 512592 h 1404489"/>
                <a:gd name="connsiteX113" fmla="*/ 33791 w 755140"/>
                <a:gd name="connsiteY113" fmla="*/ 511508 h 1404489"/>
                <a:gd name="connsiteX114" fmla="*/ 33068 w 755140"/>
                <a:gd name="connsiteY114" fmla="*/ 510243 h 1404489"/>
                <a:gd name="connsiteX115" fmla="*/ 28189 w 755140"/>
                <a:gd name="connsiteY115" fmla="*/ 499940 h 1404489"/>
                <a:gd name="connsiteX116" fmla="*/ 25479 w 755140"/>
                <a:gd name="connsiteY116" fmla="*/ 488915 h 1404489"/>
                <a:gd name="connsiteX117" fmla="*/ 25117 w 755140"/>
                <a:gd name="connsiteY117" fmla="*/ 486023 h 1404489"/>
                <a:gd name="connsiteX118" fmla="*/ 24936 w 755140"/>
                <a:gd name="connsiteY118" fmla="*/ 483131 h 1404489"/>
                <a:gd name="connsiteX119" fmla="*/ 24756 w 755140"/>
                <a:gd name="connsiteY119" fmla="*/ 480239 h 1404489"/>
                <a:gd name="connsiteX120" fmla="*/ 24756 w 755140"/>
                <a:gd name="connsiteY120" fmla="*/ 84408 h 1404489"/>
                <a:gd name="connsiteX121" fmla="*/ 24756 w 755140"/>
                <a:gd name="connsiteY121" fmla="*/ 83504 h 1404489"/>
                <a:gd name="connsiteX122" fmla="*/ 24756 w 755140"/>
                <a:gd name="connsiteY122" fmla="*/ 82781 h 1404489"/>
                <a:gd name="connsiteX123" fmla="*/ 24936 w 755140"/>
                <a:gd name="connsiteY123" fmla="*/ 79889 h 1404489"/>
                <a:gd name="connsiteX124" fmla="*/ 25659 w 755140"/>
                <a:gd name="connsiteY124" fmla="*/ 74286 h 1404489"/>
                <a:gd name="connsiteX125" fmla="*/ 26021 w 755140"/>
                <a:gd name="connsiteY125" fmla="*/ 71394 h 1404489"/>
                <a:gd name="connsiteX126" fmla="*/ 26743 w 755140"/>
                <a:gd name="connsiteY126" fmla="*/ 68683 h 1404489"/>
                <a:gd name="connsiteX127" fmla="*/ 27466 w 755140"/>
                <a:gd name="connsiteY127" fmla="*/ 65972 h 1404489"/>
                <a:gd name="connsiteX128" fmla="*/ 28550 w 755140"/>
                <a:gd name="connsiteY128" fmla="*/ 63261 h 1404489"/>
                <a:gd name="connsiteX129" fmla="*/ 39031 w 755140"/>
                <a:gd name="connsiteY129" fmla="*/ 45548 h 1404489"/>
                <a:gd name="connsiteX130" fmla="*/ 336642 w 755140"/>
                <a:gd name="connsiteY130" fmla="*/ 172250 h 1404489"/>
                <a:gd name="connsiteX131" fmla="*/ 363385 w 755140"/>
                <a:gd name="connsiteY131" fmla="*/ 179660 h 1404489"/>
                <a:gd name="connsiteX132" fmla="*/ 363385 w 755140"/>
                <a:gd name="connsiteY132" fmla="*/ 658092 h 1404489"/>
                <a:gd name="connsiteX133" fmla="*/ 277192 w 755140"/>
                <a:gd name="connsiteY133" fmla="*/ 639656 h 1404489"/>
                <a:gd name="connsiteX134" fmla="*/ 450482 w 755140"/>
                <a:gd name="connsiteY134" fmla="*/ 1303712 h 1404489"/>
                <a:gd name="connsiteX135" fmla="*/ 450482 w 755140"/>
                <a:gd name="connsiteY135" fmla="*/ 1307869 h 1404489"/>
                <a:gd name="connsiteX136" fmla="*/ 449217 w 755140"/>
                <a:gd name="connsiteY136" fmla="*/ 1320160 h 1404489"/>
                <a:gd name="connsiteX137" fmla="*/ 445965 w 755140"/>
                <a:gd name="connsiteY137" fmla="*/ 1331908 h 1404489"/>
                <a:gd name="connsiteX138" fmla="*/ 440725 w 755140"/>
                <a:gd name="connsiteY138" fmla="*/ 1342934 h 1404489"/>
                <a:gd name="connsiteX139" fmla="*/ 425004 w 755140"/>
                <a:gd name="connsiteY139" fmla="*/ 1361912 h 1404489"/>
                <a:gd name="connsiteX140" fmla="*/ 404043 w 755140"/>
                <a:gd name="connsiteY140" fmla="*/ 1374564 h 1404489"/>
                <a:gd name="connsiteX141" fmla="*/ 392297 w 755140"/>
                <a:gd name="connsiteY141" fmla="*/ 1377998 h 1404489"/>
                <a:gd name="connsiteX142" fmla="*/ 380010 w 755140"/>
                <a:gd name="connsiteY142" fmla="*/ 1379444 h 1404489"/>
                <a:gd name="connsiteX143" fmla="*/ 355615 w 755140"/>
                <a:gd name="connsiteY143" fmla="*/ 1376191 h 1404489"/>
                <a:gd name="connsiteX144" fmla="*/ 333751 w 755140"/>
                <a:gd name="connsiteY144" fmla="*/ 1364985 h 1404489"/>
                <a:gd name="connsiteX145" fmla="*/ 316765 w 755140"/>
                <a:gd name="connsiteY145" fmla="*/ 1347091 h 1404489"/>
                <a:gd name="connsiteX146" fmla="*/ 306646 w 755140"/>
                <a:gd name="connsiteY146" fmla="*/ 1324859 h 1404489"/>
                <a:gd name="connsiteX147" fmla="*/ 304658 w 755140"/>
                <a:gd name="connsiteY147" fmla="*/ 1312749 h 1404489"/>
                <a:gd name="connsiteX148" fmla="*/ 304297 w 755140"/>
                <a:gd name="connsiteY148" fmla="*/ 1306423 h 1404489"/>
                <a:gd name="connsiteX149" fmla="*/ 304297 w 755140"/>
                <a:gd name="connsiteY149" fmla="*/ 815701 h 1404489"/>
                <a:gd name="connsiteX150" fmla="*/ 304297 w 755140"/>
                <a:gd name="connsiteY150" fmla="*/ 810279 h 1404489"/>
                <a:gd name="connsiteX151" fmla="*/ 304297 w 755140"/>
                <a:gd name="connsiteY151" fmla="*/ 691891 h 1404489"/>
                <a:gd name="connsiteX152" fmla="*/ 303935 w 755140"/>
                <a:gd name="connsiteY152" fmla="*/ 682673 h 1404489"/>
                <a:gd name="connsiteX153" fmla="*/ 303393 w 755140"/>
                <a:gd name="connsiteY153" fmla="*/ 678154 h 1404489"/>
                <a:gd name="connsiteX154" fmla="*/ 378022 w 755140"/>
                <a:gd name="connsiteY154" fmla="*/ 688457 h 1404489"/>
                <a:gd name="connsiteX155" fmla="*/ 450663 w 755140"/>
                <a:gd name="connsiteY155" fmla="*/ 678877 h 1404489"/>
                <a:gd name="connsiteX156" fmla="*/ 449759 w 755140"/>
                <a:gd name="connsiteY156" fmla="*/ 695144 h 1404489"/>
                <a:gd name="connsiteX157" fmla="*/ 449759 w 755140"/>
                <a:gd name="connsiteY157" fmla="*/ 808110 h 1404489"/>
                <a:gd name="connsiteX158" fmla="*/ 449759 w 755140"/>
                <a:gd name="connsiteY158" fmla="*/ 808110 h 1404489"/>
                <a:gd name="connsiteX159" fmla="*/ 449759 w 755140"/>
                <a:gd name="connsiteY159" fmla="*/ 1303712 h 1404489"/>
                <a:gd name="connsiteX160" fmla="*/ 730385 w 755140"/>
                <a:gd name="connsiteY160" fmla="*/ 484396 h 1404489"/>
                <a:gd name="connsiteX161" fmla="*/ 730204 w 755140"/>
                <a:gd name="connsiteY161" fmla="*/ 487288 h 1404489"/>
                <a:gd name="connsiteX162" fmla="*/ 730204 w 755140"/>
                <a:gd name="connsiteY162" fmla="*/ 488734 h 1404489"/>
                <a:gd name="connsiteX163" fmla="*/ 730023 w 755140"/>
                <a:gd name="connsiteY163" fmla="*/ 490180 h 1404489"/>
                <a:gd name="connsiteX164" fmla="*/ 729662 w 755140"/>
                <a:gd name="connsiteY164" fmla="*/ 493072 h 1404489"/>
                <a:gd name="connsiteX165" fmla="*/ 729120 w 755140"/>
                <a:gd name="connsiteY165" fmla="*/ 495783 h 1404489"/>
                <a:gd name="connsiteX166" fmla="*/ 728939 w 755140"/>
                <a:gd name="connsiteY166" fmla="*/ 497229 h 1404489"/>
                <a:gd name="connsiteX167" fmla="*/ 728578 w 755140"/>
                <a:gd name="connsiteY167" fmla="*/ 498675 h 1404489"/>
                <a:gd name="connsiteX168" fmla="*/ 724783 w 755140"/>
                <a:gd name="connsiteY168" fmla="*/ 509520 h 1404489"/>
                <a:gd name="connsiteX169" fmla="*/ 722073 w 755140"/>
                <a:gd name="connsiteY169" fmla="*/ 514580 h 1404489"/>
                <a:gd name="connsiteX170" fmla="*/ 719001 w 755140"/>
                <a:gd name="connsiteY170" fmla="*/ 519280 h 1404489"/>
                <a:gd name="connsiteX171" fmla="*/ 711411 w 755140"/>
                <a:gd name="connsiteY171" fmla="*/ 527775 h 1404489"/>
                <a:gd name="connsiteX172" fmla="*/ 710327 w 755140"/>
                <a:gd name="connsiteY172" fmla="*/ 528679 h 1404489"/>
                <a:gd name="connsiteX173" fmla="*/ 709243 w 755140"/>
                <a:gd name="connsiteY173" fmla="*/ 529582 h 1404489"/>
                <a:gd name="connsiteX174" fmla="*/ 707075 w 755140"/>
                <a:gd name="connsiteY174" fmla="*/ 531390 h 1404489"/>
                <a:gd name="connsiteX175" fmla="*/ 704726 w 755140"/>
                <a:gd name="connsiteY175" fmla="*/ 533016 h 1404489"/>
                <a:gd name="connsiteX176" fmla="*/ 703641 w 755140"/>
                <a:gd name="connsiteY176" fmla="*/ 533920 h 1404489"/>
                <a:gd name="connsiteX177" fmla="*/ 702376 w 755140"/>
                <a:gd name="connsiteY177" fmla="*/ 534643 h 1404489"/>
                <a:gd name="connsiteX178" fmla="*/ 700027 w 755140"/>
                <a:gd name="connsiteY178" fmla="*/ 536089 h 1404489"/>
                <a:gd name="connsiteX179" fmla="*/ 697498 w 755140"/>
                <a:gd name="connsiteY179" fmla="*/ 537354 h 1404489"/>
                <a:gd name="connsiteX180" fmla="*/ 696233 w 755140"/>
                <a:gd name="connsiteY180" fmla="*/ 538077 h 1404489"/>
                <a:gd name="connsiteX181" fmla="*/ 694064 w 755140"/>
                <a:gd name="connsiteY181" fmla="*/ 538981 h 1404489"/>
                <a:gd name="connsiteX182" fmla="*/ 689908 w 755140"/>
                <a:gd name="connsiteY182" fmla="*/ 540969 h 1404489"/>
                <a:gd name="connsiteX183" fmla="*/ 622688 w 755140"/>
                <a:gd name="connsiteY183" fmla="*/ 572238 h 1404489"/>
                <a:gd name="connsiteX184" fmla="*/ 483912 w 755140"/>
                <a:gd name="connsiteY184" fmla="*/ 636764 h 1404489"/>
                <a:gd name="connsiteX185" fmla="*/ 479756 w 755140"/>
                <a:gd name="connsiteY185" fmla="*/ 638752 h 1404489"/>
                <a:gd name="connsiteX186" fmla="*/ 475780 w 755140"/>
                <a:gd name="connsiteY186" fmla="*/ 641102 h 1404489"/>
                <a:gd name="connsiteX187" fmla="*/ 390310 w 755140"/>
                <a:gd name="connsiteY187" fmla="*/ 658273 h 1404489"/>
                <a:gd name="connsiteX188" fmla="*/ 390310 w 755140"/>
                <a:gd name="connsiteY188" fmla="*/ 179660 h 1404489"/>
                <a:gd name="connsiteX189" fmla="*/ 415607 w 755140"/>
                <a:gd name="connsiteY189" fmla="*/ 173154 h 1404489"/>
                <a:gd name="connsiteX190" fmla="*/ 415969 w 755140"/>
                <a:gd name="connsiteY190" fmla="*/ 172973 h 1404489"/>
                <a:gd name="connsiteX191" fmla="*/ 715929 w 755140"/>
                <a:gd name="connsiteY191" fmla="*/ 45186 h 1404489"/>
                <a:gd name="connsiteX192" fmla="*/ 725506 w 755140"/>
                <a:gd name="connsiteY192" fmla="*/ 60188 h 1404489"/>
                <a:gd name="connsiteX193" fmla="*/ 730385 w 755140"/>
                <a:gd name="connsiteY193" fmla="*/ 82420 h 1404489"/>
                <a:gd name="connsiteX194" fmla="*/ 730566 w 755140"/>
                <a:gd name="connsiteY194" fmla="*/ 83866 h 1404489"/>
                <a:gd name="connsiteX195" fmla="*/ 730566 w 755140"/>
                <a:gd name="connsiteY195" fmla="*/ 484396 h 1404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</a:cxnLst>
              <a:rect l="l" t="t" r="r" b="b"/>
              <a:pathLst>
                <a:path w="755140" h="1404489">
                  <a:moveTo>
                    <a:pt x="754960" y="81877"/>
                  </a:moveTo>
                  <a:cubicBezTo>
                    <a:pt x="754779" y="71033"/>
                    <a:pt x="752430" y="60369"/>
                    <a:pt x="748093" y="50428"/>
                  </a:cubicBezTo>
                  <a:cubicBezTo>
                    <a:pt x="743757" y="40487"/>
                    <a:pt x="737613" y="31450"/>
                    <a:pt x="729843" y="23858"/>
                  </a:cubicBezTo>
                  <a:cubicBezTo>
                    <a:pt x="722073" y="16267"/>
                    <a:pt x="712857" y="10302"/>
                    <a:pt x="702919" y="6145"/>
                  </a:cubicBezTo>
                  <a:cubicBezTo>
                    <a:pt x="692980" y="1988"/>
                    <a:pt x="682138" y="0"/>
                    <a:pt x="671296" y="0"/>
                  </a:cubicBezTo>
                  <a:lnTo>
                    <a:pt x="88000" y="0"/>
                  </a:lnTo>
                  <a:cubicBezTo>
                    <a:pt x="86555" y="0"/>
                    <a:pt x="84928" y="0"/>
                    <a:pt x="83483" y="0"/>
                  </a:cubicBezTo>
                  <a:lnTo>
                    <a:pt x="79508" y="181"/>
                  </a:lnTo>
                  <a:cubicBezTo>
                    <a:pt x="68666" y="723"/>
                    <a:pt x="58004" y="3434"/>
                    <a:pt x="48247" y="7953"/>
                  </a:cubicBezTo>
                  <a:cubicBezTo>
                    <a:pt x="38489" y="12652"/>
                    <a:pt x="29635" y="19159"/>
                    <a:pt x="22226" y="27112"/>
                  </a:cubicBezTo>
                  <a:cubicBezTo>
                    <a:pt x="14817" y="35064"/>
                    <a:pt x="9216" y="44463"/>
                    <a:pt x="5421" y="54585"/>
                  </a:cubicBezTo>
                  <a:lnTo>
                    <a:pt x="3975" y="58381"/>
                  </a:lnTo>
                  <a:cubicBezTo>
                    <a:pt x="3433" y="59646"/>
                    <a:pt x="3253" y="60911"/>
                    <a:pt x="2891" y="62357"/>
                  </a:cubicBezTo>
                  <a:lnTo>
                    <a:pt x="1807" y="66333"/>
                  </a:lnTo>
                  <a:cubicBezTo>
                    <a:pt x="1446" y="67599"/>
                    <a:pt x="1446" y="69045"/>
                    <a:pt x="1084" y="70310"/>
                  </a:cubicBezTo>
                  <a:cubicBezTo>
                    <a:pt x="723" y="73021"/>
                    <a:pt x="181" y="75732"/>
                    <a:pt x="181" y="78443"/>
                  </a:cubicBezTo>
                  <a:lnTo>
                    <a:pt x="0" y="82420"/>
                  </a:lnTo>
                  <a:cubicBezTo>
                    <a:pt x="0" y="83143"/>
                    <a:pt x="0" y="83685"/>
                    <a:pt x="0" y="84589"/>
                  </a:cubicBezTo>
                  <a:lnTo>
                    <a:pt x="0" y="480420"/>
                  </a:lnTo>
                  <a:lnTo>
                    <a:pt x="181" y="484396"/>
                  </a:lnTo>
                  <a:cubicBezTo>
                    <a:pt x="181" y="485842"/>
                    <a:pt x="361" y="487107"/>
                    <a:pt x="542" y="488372"/>
                  </a:cubicBezTo>
                  <a:cubicBezTo>
                    <a:pt x="723" y="489638"/>
                    <a:pt x="723" y="491084"/>
                    <a:pt x="1084" y="492349"/>
                  </a:cubicBezTo>
                  <a:cubicBezTo>
                    <a:pt x="1988" y="497771"/>
                    <a:pt x="3253" y="503013"/>
                    <a:pt x="5060" y="508074"/>
                  </a:cubicBezTo>
                  <a:cubicBezTo>
                    <a:pt x="6867" y="513134"/>
                    <a:pt x="9035" y="518195"/>
                    <a:pt x="11926" y="522714"/>
                  </a:cubicBezTo>
                  <a:lnTo>
                    <a:pt x="13010" y="524521"/>
                  </a:lnTo>
                  <a:lnTo>
                    <a:pt x="14095" y="526148"/>
                  </a:lnTo>
                  <a:cubicBezTo>
                    <a:pt x="14817" y="527233"/>
                    <a:pt x="15540" y="528317"/>
                    <a:pt x="16444" y="529401"/>
                  </a:cubicBezTo>
                  <a:cubicBezTo>
                    <a:pt x="18070" y="531570"/>
                    <a:pt x="19696" y="533739"/>
                    <a:pt x="21503" y="535728"/>
                  </a:cubicBezTo>
                  <a:cubicBezTo>
                    <a:pt x="25117" y="539885"/>
                    <a:pt x="29093" y="543319"/>
                    <a:pt x="33429" y="546753"/>
                  </a:cubicBezTo>
                  <a:lnTo>
                    <a:pt x="36682" y="549103"/>
                  </a:lnTo>
                  <a:cubicBezTo>
                    <a:pt x="37766" y="549826"/>
                    <a:pt x="39031" y="550549"/>
                    <a:pt x="40115" y="551272"/>
                  </a:cubicBezTo>
                  <a:cubicBezTo>
                    <a:pt x="42284" y="552718"/>
                    <a:pt x="44813" y="553983"/>
                    <a:pt x="47162" y="555248"/>
                  </a:cubicBezTo>
                  <a:lnTo>
                    <a:pt x="63787" y="563382"/>
                  </a:lnTo>
                  <a:lnTo>
                    <a:pt x="130465" y="595735"/>
                  </a:lnTo>
                  <a:lnTo>
                    <a:pt x="258941" y="658092"/>
                  </a:lnTo>
                  <a:cubicBezTo>
                    <a:pt x="261652" y="659357"/>
                    <a:pt x="264182" y="660803"/>
                    <a:pt x="266531" y="662430"/>
                  </a:cubicBezTo>
                  <a:lnTo>
                    <a:pt x="266531" y="662430"/>
                  </a:lnTo>
                  <a:cubicBezTo>
                    <a:pt x="267434" y="663153"/>
                    <a:pt x="268519" y="663876"/>
                    <a:pt x="269422" y="664599"/>
                  </a:cubicBezTo>
                  <a:cubicBezTo>
                    <a:pt x="269964" y="665141"/>
                    <a:pt x="270506" y="665502"/>
                    <a:pt x="271048" y="666045"/>
                  </a:cubicBezTo>
                  <a:cubicBezTo>
                    <a:pt x="275385" y="670382"/>
                    <a:pt x="278276" y="675986"/>
                    <a:pt x="279360" y="681950"/>
                  </a:cubicBezTo>
                  <a:cubicBezTo>
                    <a:pt x="280083" y="685926"/>
                    <a:pt x="280083" y="689903"/>
                    <a:pt x="280083" y="694060"/>
                  </a:cubicBezTo>
                  <a:lnTo>
                    <a:pt x="280083" y="810279"/>
                  </a:lnTo>
                  <a:lnTo>
                    <a:pt x="280083" y="815701"/>
                  </a:lnTo>
                  <a:lnTo>
                    <a:pt x="280083" y="1306604"/>
                  </a:lnTo>
                  <a:cubicBezTo>
                    <a:pt x="280083" y="1309315"/>
                    <a:pt x="280264" y="1312207"/>
                    <a:pt x="280445" y="1314918"/>
                  </a:cubicBezTo>
                  <a:cubicBezTo>
                    <a:pt x="280806" y="1320341"/>
                    <a:pt x="281890" y="1325763"/>
                    <a:pt x="283155" y="1331185"/>
                  </a:cubicBezTo>
                  <a:cubicBezTo>
                    <a:pt x="285866" y="1341849"/>
                    <a:pt x="290564" y="1351971"/>
                    <a:pt x="296527" y="1361189"/>
                  </a:cubicBezTo>
                  <a:cubicBezTo>
                    <a:pt x="302671" y="1370226"/>
                    <a:pt x="310441" y="1378360"/>
                    <a:pt x="319114" y="1385047"/>
                  </a:cubicBezTo>
                  <a:cubicBezTo>
                    <a:pt x="327968" y="1391554"/>
                    <a:pt x="337907" y="1396796"/>
                    <a:pt x="348387" y="1400049"/>
                  </a:cubicBezTo>
                  <a:cubicBezTo>
                    <a:pt x="358868" y="1403303"/>
                    <a:pt x="369891" y="1404929"/>
                    <a:pt x="380913" y="1404387"/>
                  </a:cubicBezTo>
                  <a:cubicBezTo>
                    <a:pt x="386334" y="1404206"/>
                    <a:pt x="391936" y="1403483"/>
                    <a:pt x="397357" y="1402580"/>
                  </a:cubicBezTo>
                  <a:cubicBezTo>
                    <a:pt x="402778" y="1401495"/>
                    <a:pt x="408018" y="1399868"/>
                    <a:pt x="413078" y="1397880"/>
                  </a:cubicBezTo>
                  <a:cubicBezTo>
                    <a:pt x="423377" y="1393904"/>
                    <a:pt x="432954" y="1388120"/>
                    <a:pt x="441267" y="1380890"/>
                  </a:cubicBezTo>
                  <a:cubicBezTo>
                    <a:pt x="449579" y="1373660"/>
                    <a:pt x="456807" y="1365165"/>
                    <a:pt x="462228" y="1355586"/>
                  </a:cubicBezTo>
                  <a:cubicBezTo>
                    <a:pt x="464938" y="1350887"/>
                    <a:pt x="467287" y="1345826"/>
                    <a:pt x="469275" y="1340765"/>
                  </a:cubicBezTo>
                  <a:cubicBezTo>
                    <a:pt x="471082" y="1335523"/>
                    <a:pt x="472528" y="1330282"/>
                    <a:pt x="473612" y="1324859"/>
                  </a:cubicBezTo>
                  <a:cubicBezTo>
                    <a:pt x="474696" y="1319437"/>
                    <a:pt x="475238" y="1314015"/>
                    <a:pt x="475238" y="1308412"/>
                  </a:cubicBezTo>
                  <a:cubicBezTo>
                    <a:pt x="475238" y="1307146"/>
                    <a:pt x="475238" y="1305520"/>
                    <a:pt x="475238" y="1303893"/>
                  </a:cubicBezTo>
                  <a:lnTo>
                    <a:pt x="475238" y="808110"/>
                  </a:lnTo>
                  <a:lnTo>
                    <a:pt x="475238" y="696410"/>
                  </a:lnTo>
                  <a:cubicBezTo>
                    <a:pt x="475238" y="692253"/>
                    <a:pt x="475238" y="688276"/>
                    <a:pt x="475599" y="684300"/>
                  </a:cubicBezTo>
                  <a:cubicBezTo>
                    <a:pt x="475961" y="680323"/>
                    <a:pt x="477226" y="676528"/>
                    <a:pt x="479213" y="672913"/>
                  </a:cubicBezTo>
                  <a:cubicBezTo>
                    <a:pt x="481201" y="669479"/>
                    <a:pt x="483731" y="666225"/>
                    <a:pt x="486983" y="663876"/>
                  </a:cubicBezTo>
                  <a:cubicBezTo>
                    <a:pt x="490055" y="661345"/>
                    <a:pt x="493669" y="659718"/>
                    <a:pt x="497464" y="657911"/>
                  </a:cubicBezTo>
                  <a:lnTo>
                    <a:pt x="633169" y="594650"/>
                  </a:lnTo>
                  <a:lnTo>
                    <a:pt x="700389" y="563382"/>
                  </a:lnTo>
                  <a:lnTo>
                    <a:pt x="704545" y="561393"/>
                  </a:lnTo>
                  <a:lnTo>
                    <a:pt x="706713" y="560490"/>
                  </a:lnTo>
                  <a:lnTo>
                    <a:pt x="708520" y="559586"/>
                  </a:lnTo>
                  <a:lnTo>
                    <a:pt x="712134" y="557778"/>
                  </a:lnTo>
                  <a:lnTo>
                    <a:pt x="715568" y="555609"/>
                  </a:lnTo>
                  <a:lnTo>
                    <a:pt x="717375" y="554525"/>
                  </a:lnTo>
                  <a:lnTo>
                    <a:pt x="719001" y="553441"/>
                  </a:lnTo>
                  <a:lnTo>
                    <a:pt x="722253" y="551091"/>
                  </a:lnTo>
                  <a:lnTo>
                    <a:pt x="725325" y="548560"/>
                  </a:lnTo>
                  <a:cubicBezTo>
                    <a:pt x="725867" y="548199"/>
                    <a:pt x="726409" y="547657"/>
                    <a:pt x="726952" y="547295"/>
                  </a:cubicBezTo>
                  <a:lnTo>
                    <a:pt x="728397" y="545849"/>
                  </a:lnTo>
                  <a:cubicBezTo>
                    <a:pt x="732373" y="542234"/>
                    <a:pt x="735986" y="538077"/>
                    <a:pt x="739239" y="533739"/>
                  </a:cubicBezTo>
                  <a:cubicBezTo>
                    <a:pt x="740685" y="531570"/>
                    <a:pt x="742311" y="529401"/>
                    <a:pt x="743576" y="526871"/>
                  </a:cubicBezTo>
                  <a:cubicBezTo>
                    <a:pt x="745021" y="524521"/>
                    <a:pt x="746106" y="522172"/>
                    <a:pt x="747371" y="519641"/>
                  </a:cubicBezTo>
                  <a:cubicBezTo>
                    <a:pt x="749539" y="514761"/>
                    <a:pt x="751527" y="509700"/>
                    <a:pt x="752791" y="504278"/>
                  </a:cubicBezTo>
                  <a:lnTo>
                    <a:pt x="753334" y="502290"/>
                  </a:lnTo>
                  <a:cubicBezTo>
                    <a:pt x="753514" y="501567"/>
                    <a:pt x="753514" y="501025"/>
                    <a:pt x="753695" y="500302"/>
                  </a:cubicBezTo>
                  <a:lnTo>
                    <a:pt x="754418" y="496325"/>
                  </a:lnTo>
                  <a:lnTo>
                    <a:pt x="754779" y="492349"/>
                  </a:lnTo>
                  <a:lnTo>
                    <a:pt x="754960" y="490361"/>
                  </a:lnTo>
                  <a:lnTo>
                    <a:pt x="754960" y="488372"/>
                  </a:lnTo>
                  <a:lnTo>
                    <a:pt x="755141" y="484396"/>
                  </a:lnTo>
                  <a:lnTo>
                    <a:pt x="755141" y="83866"/>
                  </a:lnTo>
                  <a:lnTo>
                    <a:pt x="754960" y="81877"/>
                  </a:lnTo>
                  <a:close/>
                  <a:moveTo>
                    <a:pt x="80772" y="24943"/>
                  </a:moveTo>
                  <a:lnTo>
                    <a:pt x="80772" y="24943"/>
                  </a:lnTo>
                  <a:lnTo>
                    <a:pt x="83664" y="24762"/>
                  </a:lnTo>
                  <a:cubicBezTo>
                    <a:pt x="83844" y="24762"/>
                    <a:pt x="84206" y="24762"/>
                    <a:pt x="84748" y="24762"/>
                  </a:cubicBezTo>
                  <a:lnTo>
                    <a:pt x="671477" y="24762"/>
                  </a:lnTo>
                  <a:cubicBezTo>
                    <a:pt x="677440" y="24762"/>
                    <a:pt x="683222" y="25666"/>
                    <a:pt x="688824" y="27473"/>
                  </a:cubicBezTo>
                  <a:lnTo>
                    <a:pt x="405669" y="148211"/>
                  </a:lnTo>
                  <a:cubicBezTo>
                    <a:pt x="386696" y="155802"/>
                    <a:pt x="366096" y="155441"/>
                    <a:pt x="347303" y="147488"/>
                  </a:cubicBezTo>
                  <a:lnTo>
                    <a:pt x="66136" y="27473"/>
                  </a:lnTo>
                  <a:cubicBezTo>
                    <a:pt x="70834" y="26027"/>
                    <a:pt x="75713" y="25124"/>
                    <a:pt x="80772" y="24943"/>
                  </a:cubicBezTo>
                  <a:close/>
                  <a:moveTo>
                    <a:pt x="277192" y="639656"/>
                  </a:moveTo>
                  <a:lnTo>
                    <a:pt x="277192" y="639656"/>
                  </a:lnTo>
                  <a:cubicBezTo>
                    <a:pt x="275746" y="638752"/>
                    <a:pt x="274482" y="638029"/>
                    <a:pt x="273036" y="637306"/>
                  </a:cubicBezTo>
                  <a:lnTo>
                    <a:pt x="141126" y="573322"/>
                  </a:lnTo>
                  <a:lnTo>
                    <a:pt x="141126" y="573322"/>
                  </a:lnTo>
                  <a:lnTo>
                    <a:pt x="74448" y="540969"/>
                  </a:lnTo>
                  <a:lnTo>
                    <a:pt x="58004" y="533016"/>
                  </a:lnTo>
                  <a:cubicBezTo>
                    <a:pt x="56378" y="532113"/>
                    <a:pt x="54571" y="531390"/>
                    <a:pt x="52945" y="530124"/>
                  </a:cubicBezTo>
                  <a:cubicBezTo>
                    <a:pt x="52222" y="529582"/>
                    <a:pt x="51318" y="529221"/>
                    <a:pt x="50596" y="528679"/>
                  </a:cubicBezTo>
                  <a:lnTo>
                    <a:pt x="48247" y="527052"/>
                  </a:lnTo>
                  <a:cubicBezTo>
                    <a:pt x="45175" y="524702"/>
                    <a:pt x="42284" y="522172"/>
                    <a:pt x="39934" y="519280"/>
                  </a:cubicBezTo>
                  <a:cubicBezTo>
                    <a:pt x="38489" y="517834"/>
                    <a:pt x="37585" y="516388"/>
                    <a:pt x="36320" y="514942"/>
                  </a:cubicBezTo>
                  <a:lnTo>
                    <a:pt x="34694" y="512592"/>
                  </a:lnTo>
                  <a:lnTo>
                    <a:pt x="33791" y="511508"/>
                  </a:lnTo>
                  <a:lnTo>
                    <a:pt x="33068" y="510243"/>
                  </a:lnTo>
                  <a:cubicBezTo>
                    <a:pt x="31080" y="506989"/>
                    <a:pt x="29635" y="503374"/>
                    <a:pt x="28189" y="499940"/>
                  </a:cubicBezTo>
                  <a:cubicBezTo>
                    <a:pt x="26924" y="496325"/>
                    <a:pt x="26021" y="492710"/>
                    <a:pt x="25479" y="488915"/>
                  </a:cubicBezTo>
                  <a:cubicBezTo>
                    <a:pt x="25298" y="488011"/>
                    <a:pt x="25298" y="487107"/>
                    <a:pt x="25117" y="486023"/>
                  </a:cubicBezTo>
                  <a:cubicBezTo>
                    <a:pt x="24936" y="485119"/>
                    <a:pt x="24936" y="484215"/>
                    <a:pt x="24936" y="483131"/>
                  </a:cubicBezTo>
                  <a:lnTo>
                    <a:pt x="24756" y="480239"/>
                  </a:lnTo>
                  <a:lnTo>
                    <a:pt x="24756" y="84408"/>
                  </a:lnTo>
                  <a:cubicBezTo>
                    <a:pt x="24756" y="84046"/>
                    <a:pt x="24756" y="83685"/>
                    <a:pt x="24756" y="83504"/>
                  </a:cubicBezTo>
                  <a:lnTo>
                    <a:pt x="24756" y="82781"/>
                  </a:lnTo>
                  <a:lnTo>
                    <a:pt x="24936" y="79889"/>
                  </a:lnTo>
                  <a:cubicBezTo>
                    <a:pt x="24936" y="77901"/>
                    <a:pt x="25298" y="76094"/>
                    <a:pt x="25659" y="74286"/>
                  </a:cubicBezTo>
                  <a:cubicBezTo>
                    <a:pt x="25840" y="73382"/>
                    <a:pt x="25840" y="72479"/>
                    <a:pt x="26021" y="71394"/>
                  </a:cubicBezTo>
                  <a:lnTo>
                    <a:pt x="26743" y="68683"/>
                  </a:lnTo>
                  <a:cubicBezTo>
                    <a:pt x="26924" y="67779"/>
                    <a:pt x="27105" y="66876"/>
                    <a:pt x="27466" y="65972"/>
                  </a:cubicBezTo>
                  <a:lnTo>
                    <a:pt x="28550" y="63261"/>
                  </a:lnTo>
                  <a:cubicBezTo>
                    <a:pt x="30900" y="56754"/>
                    <a:pt x="34513" y="50789"/>
                    <a:pt x="39031" y="45548"/>
                  </a:cubicBezTo>
                  <a:lnTo>
                    <a:pt x="336642" y="172250"/>
                  </a:lnTo>
                  <a:cubicBezTo>
                    <a:pt x="345316" y="175865"/>
                    <a:pt x="354350" y="178395"/>
                    <a:pt x="363385" y="179660"/>
                  </a:cubicBezTo>
                  <a:lnTo>
                    <a:pt x="363385" y="658092"/>
                  </a:lnTo>
                  <a:cubicBezTo>
                    <a:pt x="314597" y="655200"/>
                    <a:pt x="280264" y="641102"/>
                    <a:pt x="277192" y="639656"/>
                  </a:cubicBezTo>
                  <a:close/>
                  <a:moveTo>
                    <a:pt x="450482" y="1303712"/>
                  </a:moveTo>
                  <a:cubicBezTo>
                    <a:pt x="450482" y="1305158"/>
                    <a:pt x="450482" y="1306966"/>
                    <a:pt x="450482" y="1307869"/>
                  </a:cubicBezTo>
                  <a:cubicBezTo>
                    <a:pt x="450482" y="1312026"/>
                    <a:pt x="450121" y="1316184"/>
                    <a:pt x="449217" y="1320160"/>
                  </a:cubicBezTo>
                  <a:cubicBezTo>
                    <a:pt x="448495" y="1324136"/>
                    <a:pt x="447410" y="1328113"/>
                    <a:pt x="445965" y="1331908"/>
                  </a:cubicBezTo>
                  <a:cubicBezTo>
                    <a:pt x="444519" y="1335704"/>
                    <a:pt x="442712" y="1339500"/>
                    <a:pt x="440725" y="1342934"/>
                  </a:cubicBezTo>
                  <a:cubicBezTo>
                    <a:pt x="436568" y="1349983"/>
                    <a:pt x="431328" y="1356490"/>
                    <a:pt x="425004" y="1361912"/>
                  </a:cubicBezTo>
                  <a:cubicBezTo>
                    <a:pt x="418679" y="1367334"/>
                    <a:pt x="411632" y="1371672"/>
                    <a:pt x="404043" y="1374564"/>
                  </a:cubicBezTo>
                  <a:cubicBezTo>
                    <a:pt x="400248" y="1376010"/>
                    <a:pt x="396273" y="1377275"/>
                    <a:pt x="392297" y="1377998"/>
                  </a:cubicBezTo>
                  <a:cubicBezTo>
                    <a:pt x="388322" y="1378721"/>
                    <a:pt x="384166" y="1379263"/>
                    <a:pt x="380010" y="1379444"/>
                  </a:cubicBezTo>
                  <a:cubicBezTo>
                    <a:pt x="371698" y="1379806"/>
                    <a:pt x="363566" y="1378540"/>
                    <a:pt x="355615" y="1376191"/>
                  </a:cubicBezTo>
                  <a:cubicBezTo>
                    <a:pt x="347845" y="1373660"/>
                    <a:pt x="340437" y="1369865"/>
                    <a:pt x="333751" y="1364985"/>
                  </a:cubicBezTo>
                  <a:cubicBezTo>
                    <a:pt x="327246" y="1360105"/>
                    <a:pt x="321463" y="1353959"/>
                    <a:pt x="316765" y="1347091"/>
                  </a:cubicBezTo>
                  <a:cubicBezTo>
                    <a:pt x="312248" y="1340223"/>
                    <a:pt x="308814" y="1332631"/>
                    <a:pt x="306646" y="1324859"/>
                  </a:cubicBezTo>
                  <a:cubicBezTo>
                    <a:pt x="305742" y="1320883"/>
                    <a:pt x="305020" y="1316907"/>
                    <a:pt x="304658" y="1312749"/>
                  </a:cubicBezTo>
                  <a:cubicBezTo>
                    <a:pt x="304478" y="1310761"/>
                    <a:pt x="304478" y="1308773"/>
                    <a:pt x="304297" y="1306423"/>
                  </a:cubicBezTo>
                  <a:lnTo>
                    <a:pt x="304297" y="815701"/>
                  </a:lnTo>
                  <a:lnTo>
                    <a:pt x="304297" y="810279"/>
                  </a:lnTo>
                  <a:lnTo>
                    <a:pt x="304297" y="691891"/>
                  </a:lnTo>
                  <a:cubicBezTo>
                    <a:pt x="304297" y="688818"/>
                    <a:pt x="304297" y="685746"/>
                    <a:pt x="303935" y="682673"/>
                  </a:cubicBezTo>
                  <a:cubicBezTo>
                    <a:pt x="303755" y="681046"/>
                    <a:pt x="303574" y="679600"/>
                    <a:pt x="303393" y="678154"/>
                  </a:cubicBezTo>
                  <a:cubicBezTo>
                    <a:pt x="322186" y="683577"/>
                    <a:pt x="347845" y="688457"/>
                    <a:pt x="378022" y="688457"/>
                  </a:cubicBezTo>
                  <a:cubicBezTo>
                    <a:pt x="400067" y="688457"/>
                    <a:pt x="424642" y="685926"/>
                    <a:pt x="450663" y="678877"/>
                  </a:cubicBezTo>
                  <a:cubicBezTo>
                    <a:pt x="449759" y="684119"/>
                    <a:pt x="449759" y="689722"/>
                    <a:pt x="449759" y="695144"/>
                  </a:cubicBezTo>
                  <a:lnTo>
                    <a:pt x="449759" y="808110"/>
                  </a:lnTo>
                  <a:lnTo>
                    <a:pt x="449759" y="808110"/>
                  </a:lnTo>
                  <a:lnTo>
                    <a:pt x="449759" y="1303712"/>
                  </a:lnTo>
                  <a:close/>
                  <a:moveTo>
                    <a:pt x="730385" y="484396"/>
                  </a:moveTo>
                  <a:lnTo>
                    <a:pt x="730204" y="487288"/>
                  </a:lnTo>
                  <a:lnTo>
                    <a:pt x="730204" y="488734"/>
                  </a:lnTo>
                  <a:lnTo>
                    <a:pt x="730023" y="490180"/>
                  </a:lnTo>
                  <a:lnTo>
                    <a:pt x="729662" y="493072"/>
                  </a:lnTo>
                  <a:lnTo>
                    <a:pt x="729120" y="495783"/>
                  </a:lnTo>
                  <a:cubicBezTo>
                    <a:pt x="729120" y="496325"/>
                    <a:pt x="728939" y="496687"/>
                    <a:pt x="728939" y="497229"/>
                  </a:cubicBezTo>
                  <a:lnTo>
                    <a:pt x="728578" y="498675"/>
                  </a:lnTo>
                  <a:cubicBezTo>
                    <a:pt x="727855" y="502470"/>
                    <a:pt x="726409" y="505905"/>
                    <a:pt x="724783" y="509520"/>
                  </a:cubicBezTo>
                  <a:cubicBezTo>
                    <a:pt x="723880" y="511146"/>
                    <a:pt x="723157" y="512954"/>
                    <a:pt x="722073" y="514580"/>
                  </a:cubicBezTo>
                  <a:cubicBezTo>
                    <a:pt x="721169" y="516207"/>
                    <a:pt x="720085" y="517834"/>
                    <a:pt x="719001" y="519280"/>
                  </a:cubicBezTo>
                  <a:cubicBezTo>
                    <a:pt x="716652" y="522352"/>
                    <a:pt x="714303" y="525244"/>
                    <a:pt x="711411" y="527775"/>
                  </a:cubicBezTo>
                  <a:lnTo>
                    <a:pt x="710327" y="528679"/>
                  </a:lnTo>
                  <a:cubicBezTo>
                    <a:pt x="709966" y="529040"/>
                    <a:pt x="709604" y="529221"/>
                    <a:pt x="709243" y="529582"/>
                  </a:cubicBezTo>
                  <a:lnTo>
                    <a:pt x="707075" y="531390"/>
                  </a:lnTo>
                  <a:lnTo>
                    <a:pt x="704726" y="533016"/>
                  </a:lnTo>
                  <a:lnTo>
                    <a:pt x="703641" y="533920"/>
                  </a:lnTo>
                  <a:lnTo>
                    <a:pt x="702376" y="534643"/>
                  </a:lnTo>
                  <a:lnTo>
                    <a:pt x="700027" y="536089"/>
                  </a:lnTo>
                  <a:lnTo>
                    <a:pt x="697498" y="537354"/>
                  </a:lnTo>
                  <a:lnTo>
                    <a:pt x="696233" y="538077"/>
                  </a:lnTo>
                  <a:lnTo>
                    <a:pt x="694064" y="538981"/>
                  </a:lnTo>
                  <a:lnTo>
                    <a:pt x="689908" y="540969"/>
                  </a:lnTo>
                  <a:lnTo>
                    <a:pt x="622688" y="572238"/>
                  </a:lnTo>
                  <a:lnTo>
                    <a:pt x="483912" y="636764"/>
                  </a:lnTo>
                  <a:cubicBezTo>
                    <a:pt x="482466" y="637487"/>
                    <a:pt x="481201" y="638210"/>
                    <a:pt x="479756" y="638752"/>
                  </a:cubicBezTo>
                  <a:cubicBezTo>
                    <a:pt x="478310" y="639475"/>
                    <a:pt x="477226" y="640198"/>
                    <a:pt x="475780" y="641102"/>
                  </a:cubicBezTo>
                  <a:cubicBezTo>
                    <a:pt x="445784" y="652669"/>
                    <a:pt x="416511" y="657369"/>
                    <a:pt x="390310" y="658273"/>
                  </a:cubicBezTo>
                  <a:lnTo>
                    <a:pt x="390310" y="179660"/>
                  </a:lnTo>
                  <a:cubicBezTo>
                    <a:pt x="398983" y="178576"/>
                    <a:pt x="407476" y="176407"/>
                    <a:pt x="415607" y="173154"/>
                  </a:cubicBezTo>
                  <a:cubicBezTo>
                    <a:pt x="415607" y="173154"/>
                    <a:pt x="415788" y="173154"/>
                    <a:pt x="415969" y="172973"/>
                  </a:cubicBezTo>
                  <a:lnTo>
                    <a:pt x="715929" y="45186"/>
                  </a:lnTo>
                  <a:cubicBezTo>
                    <a:pt x="719904" y="49705"/>
                    <a:pt x="723157" y="54766"/>
                    <a:pt x="725506" y="60188"/>
                  </a:cubicBezTo>
                  <a:cubicBezTo>
                    <a:pt x="728578" y="67237"/>
                    <a:pt x="730204" y="74648"/>
                    <a:pt x="730385" y="82420"/>
                  </a:cubicBezTo>
                  <a:lnTo>
                    <a:pt x="730566" y="83866"/>
                  </a:lnTo>
                  <a:lnTo>
                    <a:pt x="730566" y="484396"/>
                  </a:ln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79" name="Freeform 111">
              <a:extLst>
                <a:ext uri="{FF2B5EF4-FFF2-40B4-BE49-F238E27FC236}">
                  <a16:creationId xmlns:a16="http://schemas.microsoft.com/office/drawing/2014/main" id="{5894E1DF-491D-E42F-DFF4-4F5A0B611815}"/>
                </a:ext>
              </a:extLst>
            </p:cNvPr>
            <p:cNvSpPr/>
            <p:nvPr/>
          </p:nvSpPr>
          <p:spPr>
            <a:xfrm>
              <a:off x="3882452" y="3195729"/>
              <a:ext cx="361632" cy="387543"/>
            </a:xfrm>
            <a:custGeom>
              <a:avLst/>
              <a:gdLst>
                <a:gd name="connsiteX0" fmla="*/ 13929 w 361632"/>
                <a:gd name="connsiteY0" fmla="*/ 27319 h 387543"/>
                <a:gd name="connsiteX1" fmla="*/ 252091 w 361632"/>
                <a:gd name="connsiteY1" fmla="*/ 126548 h 387543"/>
                <a:gd name="connsiteX2" fmla="*/ 332502 w 361632"/>
                <a:gd name="connsiteY2" fmla="*/ 372541 h 387543"/>
                <a:gd name="connsiteX3" fmla="*/ 344428 w 361632"/>
                <a:gd name="connsiteY3" fmla="*/ 387543 h 387543"/>
                <a:gd name="connsiteX4" fmla="*/ 346054 w 361632"/>
                <a:gd name="connsiteY4" fmla="*/ 387543 h 387543"/>
                <a:gd name="connsiteX5" fmla="*/ 359426 w 361632"/>
                <a:gd name="connsiteY5" fmla="*/ 375614 h 387543"/>
                <a:gd name="connsiteX6" fmla="*/ 272148 w 361632"/>
                <a:gd name="connsiteY6" fmla="*/ 108112 h 387543"/>
                <a:gd name="connsiteX7" fmla="*/ 13026 w 361632"/>
                <a:gd name="connsiteY7" fmla="*/ 207 h 387543"/>
                <a:gd name="connsiteX8" fmla="*/ 16 w 361632"/>
                <a:gd name="connsiteY8" fmla="*/ 14305 h 387543"/>
                <a:gd name="connsiteX9" fmla="*/ 13929 w 361632"/>
                <a:gd name="connsiteY9" fmla="*/ 27319 h 387543"/>
                <a:gd name="connsiteX10" fmla="*/ 13929 w 361632"/>
                <a:gd name="connsiteY10" fmla="*/ 27319 h 387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1632" h="387543">
                  <a:moveTo>
                    <a:pt x="13929" y="27319"/>
                  </a:moveTo>
                  <a:cubicBezTo>
                    <a:pt x="104098" y="24246"/>
                    <a:pt x="191014" y="60395"/>
                    <a:pt x="252091" y="126548"/>
                  </a:cubicBezTo>
                  <a:cubicBezTo>
                    <a:pt x="313528" y="192881"/>
                    <a:pt x="342801" y="282530"/>
                    <a:pt x="332502" y="372541"/>
                  </a:cubicBezTo>
                  <a:cubicBezTo>
                    <a:pt x="331598" y="379952"/>
                    <a:pt x="337019" y="386639"/>
                    <a:pt x="344428" y="387543"/>
                  </a:cubicBezTo>
                  <a:cubicBezTo>
                    <a:pt x="344970" y="387543"/>
                    <a:pt x="345512" y="387543"/>
                    <a:pt x="346054" y="387543"/>
                  </a:cubicBezTo>
                  <a:cubicBezTo>
                    <a:pt x="352921" y="387543"/>
                    <a:pt x="358703" y="382482"/>
                    <a:pt x="359426" y="375614"/>
                  </a:cubicBezTo>
                  <a:cubicBezTo>
                    <a:pt x="370629" y="277831"/>
                    <a:pt x="338826" y="180410"/>
                    <a:pt x="272148" y="108112"/>
                  </a:cubicBezTo>
                  <a:cubicBezTo>
                    <a:pt x="205651" y="36175"/>
                    <a:pt x="111145" y="-3227"/>
                    <a:pt x="13026" y="207"/>
                  </a:cubicBezTo>
                  <a:cubicBezTo>
                    <a:pt x="5617" y="388"/>
                    <a:pt x="-346" y="6714"/>
                    <a:pt x="16" y="14305"/>
                  </a:cubicBezTo>
                  <a:cubicBezTo>
                    <a:pt x="377" y="21897"/>
                    <a:pt x="6521" y="27500"/>
                    <a:pt x="13929" y="27319"/>
                  </a:cubicBezTo>
                  <a:lnTo>
                    <a:pt x="13929" y="27319"/>
                  </a:ln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80" name="Freeform 112">
              <a:extLst>
                <a:ext uri="{FF2B5EF4-FFF2-40B4-BE49-F238E27FC236}">
                  <a16:creationId xmlns:a16="http://schemas.microsoft.com/office/drawing/2014/main" id="{2432FD1B-D61D-33F5-4A79-3DBE048A0EAA}"/>
                </a:ext>
              </a:extLst>
            </p:cNvPr>
            <p:cNvSpPr/>
            <p:nvPr/>
          </p:nvSpPr>
          <p:spPr>
            <a:xfrm>
              <a:off x="3885524" y="3283987"/>
              <a:ext cx="270357" cy="289163"/>
            </a:xfrm>
            <a:custGeom>
              <a:avLst/>
              <a:gdLst>
                <a:gd name="connsiteX0" fmla="*/ 253717 w 270357"/>
                <a:gd name="connsiteY0" fmla="*/ 289163 h 289163"/>
                <a:gd name="connsiteX1" fmla="*/ 255343 w 270357"/>
                <a:gd name="connsiteY1" fmla="*/ 289163 h 289163"/>
                <a:gd name="connsiteX2" fmla="*/ 268715 w 270357"/>
                <a:gd name="connsiteY2" fmla="*/ 277234 h 289163"/>
                <a:gd name="connsiteX3" fmla="*/ 204205 w 270357"/>
                <a:gd name="connsiteY3" fmla="*/ 79861 h 289163"/>
                <a:gd name="connsiteX4" fmla="*/ 13026 w 270357"/>
                <a:gd name="connsiteY4" fmla="*/ 152 h 289163"/>
                <a:gd name="connsiteX5" fmla="*/ 16 w 270357"/>
                <a:gd name="connsiteY5" fmla="*/ 14250 h 289163"/>
                <a:gd name="connsiteX6" fmla="*/ 14110 w 270357"/>
                <a:gd name="connsiteY6" fmla="*/ 27264 h 289163"/>
                <a:gd name="connsiteX7" fmla="*/ 184509 w 270357"/>
                <a:gd name="connsiteY7" fmla="*/ 98297 h 289163"/>
                <a:gd name="connsiteX8" fmla="*/ 241971 w 270357"/>
                <a:gd name="connsiteY8" fmla="*/ 274161 h 289163"/>
                <a:gd name="connsiteX9" fmla="*/ 253717 w 270357"/>
                <a:gd name="connsiteY9" fmla="*/ 289163 h 289163"/>
                <a:gd name="connsiteX10" fmla="*/ 253717 w 270357"/>
                <a:gd name="connsiteY10" fmla="*/ 289163 h 289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0357" h="289163">
                  <a:moveTo>
                    <a:pt x="253717" y="289163"/>
                  </a:moveTo>
                  <a:cubicBezTo>
                    <a:pt x="254259" y="289163"/>
                    <a:pt x="254801" y="289163"/>
                    <a:pt x="255343" y="289163"/>
                  </a:cubicBezTo>
                  <a:cubicBezTo>
                    <a:pt x="262210" y="289163"/>
                    <a:pt x="267992" y="284102"/>
                    <a:pt x="268715" y="277234"/>
                  </a:cubicBezTo>
                  <a:cubicBezTo>
                    <a:pt x="277027" y="205117"/>
                    <a:pt x="253536" y="133000"/>
                    <a:pt x="204205" y="79861"/>
                  </a:cubicBezTo>
                  <a:cubicBezTo>
                    <a:pt x="155055" y="26722"/>
                    <a:pt x="85305" y="-2378"/>
                    <a:pt x="13026" y="152"/>
                  </a:cubicBezTo>
                  <a:cubicBezTo>
                    <a:pt x="5617" y="333"/>
                    <a:pt x="-346" y="6659"/>
                    <a:pt x="16" y="14250"/>
                  </a:cubicBezTo>
                  <a:cubicBezTo>
                    <a:pt x="196" y="21661"/>
                    <a:pt x="6521" y="27626"/>
                    <a:pt x="14110" y="27264"/>
                  </a:cubicBezTo>
                  <a:cubicBezTo>
                    <a:pt x="78620" y="25095"/>
                    <a:pt x="140780" y="50942"/>
                    <a:pt x="184509" y="98297"/>
                  </a:cubicBezTo>
                  <a:cubicBezTo>
                    <a:pt x="228419" y="145833"/>
                    <a:pt x="249380" y="209997"/>
                    <a:pt x="241971" y="274161"/>
                  </a:cubicBezTo>
                  <a:cubicBezTo>
                    <a:pt x="241068" y="281572"/>
                    <a:pt x="246308" y="288259"/>
                    <a:pt x="253717" y="289163"/>
                  </a:cubicBezTo>
                  <a:lnTo>
                    <a:pt x="253717" y="289163"/>
                  </a:ln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81" name="Freeform 113">
              <a:extLst>
                <a:ext uri="{FF2B5EF4-FFF2-40B4-BE49-F238E27FC236}">
                  <a16:creationId xmlns:a16="http://schemas.microsoft.com/office/drawing/2014/main" id="{FAB366BE-C526-89E6-2C25-F71A745C482C}"/>
                </a:ext>
              </a:extLst>
            </p:cNvPr>
            <p:cNvSpPr/>
            <p:nvPr/>
          </p:nvSpPr>
          <p:spPr>
            <a:xfrm>
              <a:off x="3888608" y="3370174"/>
              <a:ext cx="180457" cy="193035"/>
            </a:xfrm>
            <a:custGeom>
              <a:avLst/>
              <a:gdLst>
                <a:gd name="connsiteX0" fmla="*/ 165705 w 180457"/>
                <a:gd name="connsiteY0" fmla="*/ 193035 h 193035"/>
                <a:gd name="connsiteX1" fmla="*/ 166608 w 180457"/>
                <a:gd name="connsiteY1" fmla="*/ 193035 h 193035"/>
                <a:gd name="connsiteX2" fmla="*/ 180161 w 180457"/>
                <a:gd name="connsiteY2" fmla="*/ 180203 h 193035"/>
                <a:gd name="connsiteX3" fmla="*/ 135167 w 180457"/>
                <a:gd name="connsiteY3" fmla="*/ 54585 h 193035"/>
                <a:gd name="connsiteX4" fmla="*/ 13918 w 180457"/>
                <a:gd name="connsiteY4" fmla="*/ 0 h 193035"/>
                <a:gd name="connsiteX5" fmla="*/ 4 w 180457"/>
                <a:gd name="connsiteY5" fmla="*/ 13375 h 193035"/>
                <a:gd name="connsiteX6" fmla="*/ 13195 w 180457"/>
                <a:gd name="connsiteY6" fmla="*/ 27112 h 193035"/>
                <a:gd name="connsiteX7" fmla="*/ 115109 w 180457"/>
                <a:gd name="connsiteY7" fmla="*/ 73021 h 193035"/>
                <a:gd name="connsiteX8" fmla="*/ 152875 w 180457"/>
                <a:gd name="connsiteY8" fmla="*/ 178576 h 193035"/>
                <a:gd name="connsiteX9" fmla="*/ 165705 w 180457"/>
                <a:gd name="connsiteY9" fmla="*/ 193035 h 193035"/>
                <a:gd name="connsiteX10" fmla="*/ 165705 w 180457"/>
                <a:gd name="connsiteY10" fmla="*/ 193035 h 193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0457" h="193035">
                  <a:moveTo>
                    <a:pt x="165705" y="193035"/>
                  </a:moveTo>
                  <a:cubicBezTo>
                    <a:pt x="166066" y="193035"/>
                    <a:pt x="166247" y="193035"/>
                    <a:pt x="166608" y="193035"/>
                  </a:cubicBezTo>
                  <a:cubicBezTo>
                    <a:pt x="173656" y="193035"/>
                    <a:pt x="179619" y="187432"/>
                    <a:pt x="180161" y="180203"/>
                  </a:cubicBezTo>
                  <a:cubicBezTo>
                    <a:pt x="182871" y="133570"/>
                    <a:pt x="166970" y="88926"/>
                    <a:pt x="135167" y="54585"/>
                  </a:cubicBezTo>
                  <a:cubicBezTo>
                    <a:pt x="103544" y="20424"/>
                    <a:pt x="60538" y="1084"/>
                    <a:pt x="13918" y="0"/>
                  </a:cubicBezTo>
                  <a:cubicBezTo>
                    <a:pt x="6328" y="0"/>
                    <a:pt x="185" y="5784"/>
                    <a:pt x="4" y="13375"/>
                  </a:cubicBezTo>
                  <a:cubicBezTo>
                    <a:pt x="-177" y="20786"/>
                    <a:pt x="5786" y="27112"/>
                    <a:pt x="13195" y="27112"/>
                  </a:cubicBezTo>
                  <a:cubicBezTo>
                    <a:pt x="52407" y="27835"/>
                    <a:pt x="88546" y="44282"/>
                    <a:pt x="115109" y="73021"/>
                  </a:cubicBezTo>
                  <a:cubicBezTo>
                    <a:pt x="141853" y="101940"/>
                    <a:pt x="155224" y="139354"/>
                    <a:pt x="152875" y="178576"/>
                  </a:cubicBezTo>
                  <a:cubicBezTo>
                    <a:pt x="152333" y="186167"/>
                    <a:pt x="158116" y="192674"/>
                    <a:pt x="165705" y="193035"/>
                  </a:cubicBezTo>
                  <a:lnTo>
                    <a:pt x="165705" y="193035"/>
                  </a:ln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</p:grpSp>
      <p:sp>
        <p:nvSpPr>
          <p:cNvPr id="82" name="Graphic 11">
            <a:extLst>
              <a:ext uri="{FF2B5EF4-FFF2-40B4-BE49-F238E27FC236}">
                <a16:creationId xmlns:a16="http://schemas.microsoft.com/office/drawing/2014/main" id="{98190784-4D25-21BB-8641-A8441CCC2CC4}"/>
              </a:ext>
            </a:extLst>
          </p:cNvPr>
          <p:cNvSpPr/>
          <p:nvPr/>
        </p:nvSpPr>
        <p:spPr>
          <a:xfrm>
            <a:off x="8764284" y="3598535"/>
            <a:ext cx="551627" cy="562815"/>
          </a:xfrm>
          <a:custGeom>
            <a:avLst/>
            <a:gdLst>
              <a:gd name="connsiteX0" fmla="*/ 1950116 w 2070872"/>
              <a:gd name="connsiteY0" fmla="*/ 987842 h 2112876"/>
              <a:gd name="connsiteX1" fmla="*/ 1842104 w 2070872"/>
              <a:gd name="connsiteY1" fmla="*/ 1054753 h 2112876"/>
              <a:gd name="connsiteX2" fmla="*/ 1420993 w 2070872"/>
              <a:gd name="connsiteY2" fmla="*/ 1054753 h 2112876"/>
              <a:gd name="connsiteX3" fmla="*/ 1420993 w 2070872"/>
              <a:gd name="connsiteY3" fmla="*/ 261617 h 2112876"/>
              <a:gd name="connsiteX4" fmla="*/ 1170779 w 2070872"/>
              <a:gd name="connsiteY4" fmla="*/ 0 h 2112876"/>
              <a:gd name="connsiteX5" fmla="*/ 920586 w 2070872"/>
              <a:gd name="connsiteY5" fmla="*/ 261617 h 2112876"/>
              <a:gd name="connsiteX6" fmla="*/ 920586 w 2070872"/>
              <a:gd name="connsiteY6" fmla="*/ 1054753 h 2112876"/>
              <a:gd name="connsiteX7" fmla="*/ 689102 w 2070872"/>
              <a:gd name="connsiteY7" fmla="*/ 1054753 h 2112876"/>
              <a:gd name="connsiteX8" fmla="*/ 689102 w 2070872"/>
              <a:gd name="connsiteY8" fmla="*/ 550374 h 2112876"/>
              <a:gd name="connsiteX9" fmla="*/ 542740 w 2070872"/>
              <a:gd name="connsiteY9" fmla="*/ 403963 h 2112876"/>
              <a:gd name="connsiteX10" fmla="*/ 396377 w 2070872"/>
              <a:gd name="connsiteY10" fmla="*/ 550374 h 2112876"/>
              <a:gd name="connsiteX11" fmla="*/ 396377 w 2070872"/>
              <a:gd name="connsiteY11" fmla="*/ 1054753 h 2112876"/>
              <a:gd name="connsiteX12" fmla="*/ 228769 w 2070872"/>
              <a:gd name="connsiteY12" fmla="*/ 1054753 h 2112876"/>
              <a:gd name="connsiteX13" fmla="*/ 120737 w 2070872"/>
              <a:gd name="connsiteY13" fmla="*/ 987842 h 2112876"/>
              <a:gd name="connsiteX14" fmla="*/ 0 w 2070872"/>
              <a:gd name="connsiteY14" fmla="*/ 1108619 h 2112876"/>
              <a:gd name="connsiteX15" fmla="*/ 120737 w 2070872"/>
              <a:gd name="connsiteY15" fmla="*/ 1229395 h 2112876"/>
              <a:gd name="connsiteX16" fmla="*/ 221951 w 2070872"/>
              <a:gd name="connsiteY16" fmla="*/ 1174360 h 2112876"/>
              <a:gd name="connsiteX17" fmla="*/ 523812 w 2070872"/>
              <a:gd name="connsiteY17" fmla="*/ 1174360 h 2112876"/>
              <a:gd name="connsiteX18" fmla="*/ 523812 w 2070872"/>
              <a:gd name="connsiteY18" fmla="*/ 1816883 h 2112876"/>
              <a:gd name="connsiteX19" fmla="*/ 713202 w 2070872"/>
              <a:gd name="connsiteY19" fmla="*/ 2035696 h 2112876"/>
              <a:gd name="connsiteX20" fmla="*/ 902591 w 2070872"/>
              <a:gd name="connsiteY20" fmla="*/ 1817616 h 2112876"/>
              <a:gd name="connsiteX21" fmla="*/ 904434 w 2070872"/>
              <a:gd name="connsiteY21" fmla="*/ 1792319 h 2112876"/>
              <a:gd name="connsiteX22" fmla="*/ 962463 w 2070872"/>
              <a:gd name="connsiteY22" fmla="*/ 1675666 h 2112876"/>
              <a:gd name="connsiteX23" fmla="*/ 962463 w 2070872"/>
              <a:gd name="connsiteY23" fmla="*/ 1174340 h 2112876"/>
              <a:gd name="connsiteX24" fmla="*/ 1271558 w 2070872"/>
              <a:gd name="connsiteY24" fmla="*/ 1174340 h 2112876"/>
              <a:gd name="connsiteX25" fmla="*/ 1271558 w 2070872"/>
              <a:gd name="connsiteY25" fmla="*/ 1675666 h 2112876"/>
              <a:gd name="connsiteX26" fmla="*/ 1304953 w 2070872"/>
              <a:gd name="connsiteY26" fmla="*/ 1768647 h 2112876"/>
              <a:gd name="connsiteX27" fmla="*/ 1313277 w 2070872"/>
              <a:gd name="connsiteY27" fmla="*/ 1825606 h 2112876"/>
              <a:gd name="connsiteX28" fmla="*/ 1313218 w 2070872"/>
              <a:gd name="connsiteY28" fmla="*/ 1825606 h 2112876"/>
              <a:gd name="connsiteX29" fmla="*/ 1367640 w 2070872"/>
              <a:gd name="connsiteY29" fmla="*/ 1942219 h 2112876"/>
              <a:gd name="connsiteX30" fmla="*/ 1476525 w 2070872"/>
              <a:gd name="connsiteY30" fmla="*/ 2018547 h 2112876"/>
              <a:gd name="connsiteX31" fmla="*/ 1629705 w 2070872"/>
              <a:gd name="connsiteY31" fmla="*/ 2048365 h 2112876"/>
              <a:gd name="connsiteX32" fmla="*/ 1593635 w 2070872"/>
              <a:gd name="connsiteY32" fmla="*/ 2081969 h 2112876"/>
              <a:gd name="connsiteX33" fmla="*/ 1587966 w 2070872"/>
              <a:gd name="connsiteY33" fmla="*/ 2094399 h 2112876"/>
              <a:gd name="connsiteX34" fmla="*/ 1592763 w 2070872"/>
              <a:gd name="connsiteY34" fmla="*/ 2107207 h 2112876"/>
              <a:gd name="connsiteX35" fmla="*/ 1605823 w 2070872"/>
              <a:gd name="connsiteY35" fmla="*/ 2112877 h 2112876"/>
              <a:gd name="connsiteX36" fmla="*/ 1617972 w 2070872"/>
              <a:gd name="connsiteY36" fmla="*/ 2108099 h 2112876"/>
              <a:gd name="connsiteX37" fmla="*/ 1690014 w 2070872"/>
              <a:gd name="connsiteY37" fmla="*/ 2040990 h 2112876"/>
              <a:gd name="connsiteX38" fmla="*/ 1695702 w 2070872"/>
              <a:gd name="connsiteY38" fmla="*/ 2027925 h 2112876"/>
              <a:gd name="connsiteX39" fmla="*/ 1689994 w 2070872"/>
              <a:gd name="connsiteY39" fmla="*/ 2014860 h 2112876"/>
              <a:gd name="connsiteX40" fmla="*/ 1617834 w 2070872"/>
              <a:gd name="connsiteY40" fmla="*/ 1947850 h 2112876"/>
              <a:gd name="connsiteX41" fmla="*/ 1592624 w 2070872"/>
              <a:gd name="connsiteY41" fmla="*/ 1948781 h 2112876"/>
              <a:gd name="connsiteX42" fmla="*/ 1587867 w 2070872"/>
              <a:gd name="connsiteY42" fmla="*/ 1961589 h 2112876"/>
              <a:gd name="connsiteX43" fmla="*/ 1593555 w 2070872"/>
              <a:gd name="connsiteY43" fmla="*/ 1974019 h 2112876"/>
              <a:gd name="connsiteX44" fmla="*/ 1630993 w 2070872"/>
              <a:gd name="connsiteY44" fmla="*/ 2008753 h 2112876"/>
              <a:gd name="connsiteX45" fmla="*/ 1492975 w 2070872"/>
              <a:gd name="connsiteY45" fmla="*/ 1982425 h 2112876"/>
              <a:gd name="connsiteX46" fmla="*/ 1399251 w 2070872"/>
              <a:gd name="connsiteY46" fmla="*/ 1918131 h 2112876"/>
              <a:gd name="connsiteX47" fmla="*/ 1352717 w 2070872"/>
              <a:gd name="connsiteY47" fmla="*/ 1821819 h 2112876"/>
              <a:gd name="connsiteX48" fmla="*/ 1352657 w 2070872"/>
              <a:gd name="connsiteY48" fmla="*/ 1821819 h 2112876"/>
              <a:gd name="connsiteX49" fmla="*/ 1350636 w 2070872"/>
              <a:gd name="connsiteY49" fmla="*/ 1805602 h 2112876"/>
              <a:gd name="connsiteX50" fmla="*/ 1417941 w 2070872"/>
              <a:gd name="connsiteY50" fmla="*/ 1822077 h 2112876"/>
              <a:gd name="connsiteX51" fmla="*/ 1564303 w 2070872"/>
              <a:gd name="connsiteY51" fmla="*/ 1675666 h 2112876"/>
              <a:gd name="connsiteX52" fmla="*/ 1564303 w 2070872"/>
              <a:gd name="connsiteY52" fmla="*/ 1174340 h 2112876"/>
              <a:gd name="connsiteX53" fmla="*/ 1848921 w 2070872"/>
              <a:gd name="connsiteY53" fmla="*/ 1174340 h 2112876"/>
              <a:gd name="connsiteX54" fmla="*/ 1950136 w 2070872"/>
              <a:gd name="connsiteY54" fmla="*/ 1229376 h 2112876"/>
              <a:gd name="connsiteX55" fmla="*/ 2070873 w 2070872"/>
              <a:gd name="connsiteY55" fmla="*/ 1108599 h 2112876"/>
              <a:gd name="connsiteX56" fmla="*/ 1950136 w 2070872"/>
              <a:gd name="connsiteY56" fmla="*/ 987822 h 2112876"/>
              <a:gd name="connsiteX57" fmla="*/ 960224 w 2070872"/>
              <a:gd name="connsiteY57" fmla="*/ 261617 h 2112876"/>
              <a:gd name="connsiteX58" fmla="*/ 1170779 w 2070872"/>
              <a:gd name="connsiteY58" fmla="*/ 39651 h 2112876"/>
              <a:gd name="connsiteX59" fmla="*/ 1381335 w 2070872"/>
              <a:gd name="connsiteY59" fmla="*/ 261617 h 2112876"/>
              <a:gd name="connsiteX60" fmla="*/ 1381335 w 2070872"/>
              <a:gd name="connsiteY60" fmla="*/ 1054753 h 2112876"/>
              <a:gd name="connsiteX61" fmla="*/ 1311196 w 2070872"/>
              <a:gd name="connsiteY61" fmla="*/ 1054753 h 2112876"/>
              <a:gd name="connsiteX62" fmla="*/ 1311196 w 2070872"/>
              <a:gd name="connsiteY62" fmla="*/ 542464 h 2112876"/>
              <a:gd name="connsiteX63" fmla="*/ 1170779 w 2070872"/>
              <a:gd name="connsiteY63" fmla="*/ 396053 h 2112876"/>
              <a:gd name="connsiteX64" fmla="*/ 1030343 w 2070872"/>
              <a:gd name="connsiteY64" fmla="*/ 542464 h 2112876"/>
              <a:gd name="connsiteX65" fmla="*/ 1030343 w 2070872"/>
              <a:gd name="connsiteY65" fmla="*/ 1054753 h 2112876"/>
              <a:gd name="connsiteX66" fmla="*/ 960204 w 2070872"/>
              <a:gd name="connsiteY66" fmla="*/ 1054753 h 2112876"/>
              <a:gd name="connsiteX67" fmla="*/ 960204 w 2070872"/>
              <a:gd name="connsiteY67" fmla="*/ 261617 h 2112876"/>
              <a:gd name="connsiteX68" fmla="*/ 1271578 w 2070872"/>
              <a:gd name="connsiteY68" fmla="*/ 1054753 h 2112876"/>
              <a:gd name="connsiteX69" fmla="*/ 1070001 w 2070872"/>
              <a:gd name="connsiteY69" fmla="*/ 1054753 h 2112876"/>
              <a:gd name="connsiteX70" fmla="*/ 1070001 w 2070872"/>
              <a:gd name="connsiteY70" fmla="*/ 542464 h 2112876"/>
              <a:gd name="connsiteX71" fmla="*/ 1170799 w 2070872"/>
              <a:gd name="connsiteY71" fmla="*/ 435704 h 2112876"/>
              <a:gd name="connsiteX72" fmla="*/ 1271578 w 2070872"/>
              <a:gd name="connsiteY72" fmla="*/ 542464 h 2112876"/>
              <a:gd name="connsiteX73" fmla="*/ 1271578 w 2070872"/>
              <a:gd name="connsiteY73" fmla="*/ 1054753 h 2112876"/>
              <a:gd name="connsiteX74" fmla="*/ 436015 w 2070872"/>
              <a:gd name="connsiteY74" fmla="*/ 550374 h 2112876"/>
              <a:gd name="connsiteX75" fmla="*/ 542740 w 2070872"/>
              <a:gd name="connsiteY75" fmla="*/ 443614 h 2112876"/>
              <a:gd name="connsiteX76" fmla="*/ 649464 w 2070872"/>
              <a:gd name="connsiteY76" fmla="*/ 550374 h 2112876"/>
              <a:gd name="connsiteX77" fmla="*/ 649464 w 2070872"/>
              <a:gd name="connsiteY77" fmla="*/ 1054753 h 2112876"/>
              <a:gd name="connsiteX78" fmla="*/ 436015 w 2070872"/>
              <a:gd name="connsiteY78" fmla="*/ 1054753 h 2112876"/>
              <a:gd name="connsiteX79" fmla="*/ 436015 w 2070872"/>
              <a:gd name="connsiteY79" fmla="*/ 550374 h 2112876"/>
              <a:gd name="connsiteX80" fmla="*/ 120737 w 2070872"/>
              <a:gd name="connsiteY80" fmla="*/ 1189764 h 2112876"/>
              <a:gd name="connsiteX81" fmla="*/ 39638 w 2070872"/>
              <a:gd name="connsiteY81" fmla="*/ 1108639 h 2112876"/>
              <a:gd name="connsiteX82" fmla="*/ 120737 w 2070872"/>
              <a:gd name="connsiteY82" fmla="*/ 1027513 h 2112876"/>
              <a:gd name="connsiteX83" fmla="*/ 201855 w 2070872"/>
              <a:gd name="connsiteY83" fmla="*/ 1108639 h 2112876"/>
              <a:gd name="connsiteX84" fmla="*/ 120737 w 2070872"/>
              <a:gd name="connsiteY84" fmla="*/ 1189764 h 2112876"/>
              <a:gd name="connsiteX85" fmla="*/ 862993 w 2070872"/>
              <a:gd name="connsiteY85" fmla="*/ 1815455 h 2112876"/>
              <a:gd name="connsiteX86" fmla="*/ 862933 w 2070872"/>
              <a:gd name="connsiteY86" fmla="*/ 1816903 h 2112876"/>
              <a:gd name="connsiteX87" fmla="*/ 713182 w 2070872"/>
              <a:gd name="connsiteY87" fmla="*/ 1996065 h 2112876"/>
              <a:gd name="connsiteX88" fmla="*/ 563430 w 2070872"/>
              <a:gd name="connsiteY88" fmla="*/ 1816903 h 2112876"/>
              <a:gd name="connsiteX89" fmla="*/ 563430 w 2070872"/>
              <a:gd name="connsiteY89" fmla="*/ 1174380 h 2112876"/>
              <a:gd name="connsiteX90" fmla="*/ 669719 w 2070872"/>
              <a:gd name="connsiteY90" fmla="*/ 1174380 h 2112876"/>
              <a:gd name="connsiteX91" fmla="*/ 669719 w 2070872"/>
              <a:gd name="connsiteY91" fmla="*/ 1675706 h 2112876"/>
              <a:gd name="connsiteX92" fmla="*/ 816081 w 2070872"/>
              <a:gd name="connsiteY92" fmla="*/ 1822117 h 2112876"/>
              <a:gd name="connsiteX93" fmla="*/ 863052 w 2070872"/>
              <a:gd name="connsiteY93" fmla="*/ 1814345 h 2112876"/>
              <a:gd name="connsiteX94" fmla="*/ 862973 w 2070872"/>
              <a:gd name="connsiteY94" fmla="*/ 1815475 h 2112876"/>
              <a:gd name="connsiteX95" fmla="*/ 922826 w 2070872"/>
              <a:gd name="connsiteY95" fmla="*/ 1675706 h 2112876"/>
              <a:gd name="connsiteX96" fmla="*/ 816101 w 2070872"/>
              <a:gd name="connsiteY96" fmla="*/ 1782466 h 2112876"/>
              <a:gd name="connsiteX97" fmla="*/ 709377 w 2070872"/>
              <a:gd name="connsiteY97" fmla="*/ 1675706 h 2112876"/>
              <a:gd name="connsiteX98" fmla="*/ 709377 w 2070872"/>
              <a:gd name="connsiteY98" fmla="*/ 1174380 h 2112876"/>
              <a:gd name="connsiteX99" fmla="*/ 922826 w 2070872"/>
              <a:gd name="connsiteY99" fmla="*/ 1174380 h 2112876"/>
              <a:gd name="connsiteX100" fmla="*/ 922826 w 2070872"/>
              <a:gd name="connsiteY100" fmla="*/ 1675706 h 2112876"/>
              <a:gd name="connsiteX101" fmla="*/ 1524645 w 2070872"/>
              <a:gd name="connsiteY101" fmla="*/ 1675706 h 2112876"/>
              <a:gd name="connsiteX102" fmla="*/ 1417921 w 2070872"/>
              <a:gd name="connsiteY102" fmla="*/ 1782466 h 2112876"/>
              <a:gd name="connsiteX103" fmla="*/ 1311196 w 2070872"/>
              <a:gd name="connsiteY103" fmla="*/ 1675706 h 2112876"/>
              <a:gd name="connsiteX104" fmla="*/ 1311196 w 2070872"/>
              <a:gd name="connsiteY104" fmla="*/ 1174380 h 2112876"/>
              <a:gd name="connsiteX105" fmla="*/ 1524645 w 2070872"/>
              <a:gd name="connsiteY105" fmla="*/ 1174380 h 2112876"/>
              <a:gd name="connsiteX106" fmla="*/ 1524645 w 2070872"/>
              <a:gd name="connsiteY106" fmla="*/ 1675706 h 2112876"/>
              <a:gd name="connsiteX107" fmla="*/ 1627465 w 2070872"/>
              <a:gd name="connsiteY107" fmla="*/ 1134055 h 2112876"/>
              <a:gd name="connsiteX108" fmla="*/ 563470 w 2070872"/>
              <a:gd name="connsiteY108" fmla="*/ 1134055 h 2112876"/>
              <a:gd name="connsiteX109" fmla="*/ 563470 w 2070872"/>
              <a:gd name="connsiteY109" fmla="*/ 1133282 h 2112876"/>
              <a:gd name="connsiteX110" fmla="*/ 523832 w 2070872"/>
              <a:gd name="connsiteY110" fmla="*/ 1133282 h 2112876"/>
              <a:gd name="connsiteX111" fmla="*/ 523832 w 2070872"/>
              <a:gd name="connsiteY111" fmla="*/ 1134055 h 2112876"/>
              <a:gd name="connsiteX112" fmla="*/ 238778 w 2070872"/>
              <a:gd name="connsiteY112" fmla="*/ 1134055 h 2112876"/>
              <a:gd name="connsiteX113" fmla="*/ 241493 w 2070872"/>
              <a:gd name="connsiteY113" fmla="*/ 1108639 h 2112876"/>
              <a:gd name="connsiteX114" fmla="*/ 240720 w 2070872"/>
              <a:gd name="connsiteY114" fmla="*/ 1095078 h 2112876"/>
              <a:gd name="connsiteX115" fmla="*/ 1830153 w 2070872"/>
              <a:gd name="connsiteY115" fmla="*/ 1095078 h 2112876"/>
              <a:gd name="connsiteX116" fmla="*/ 1829380 w 2070872"/>
              <a:gd name="connsiteY116" fmla="*/ 1108639 h 2112876"/>
              <a:gd name="connsiteX117" fmla="*/ 1832095 w 2070872"/>
              <a:gd name="connsiteY117" fmla="*/ 1134055 h 2112876"/>
              <a:gd name="connsiteX118" fmla="*/ 1627465 w 2070872"/>
              <a:gd name="connsiteY118" fmla="*/ 1134055 h 2112876"/>
              <a:gd name="connsiteX119" fmla="*/ 1950116 w 2070872"/>
              <a:gd name="connsiteY119" fmla="*/ 1189764 h 2112876"/>
              <a:gd name="connsiteX120" fmla="*/ 1869018 w 2070872"/>
              <a:gd name="connsiteY120" fmla="*/ 1108639 h 2112876"/>
              <a:gd name="connsiteX121" fmla="*/ 1950116 w 2070872"/>
              <a:gd name="connsiteY121" fmla="*/ 1027513 h 2112876"/>
              <a:gd name="connsiteX122" fmla="*/ 2031215 w 2070872"/>
              <a:gd name="connsiteY122" fmla="*/ 1108639 h 2112876"/>
              <a:gd name="connsiteX123" fmla="*/ 1950116 w 2070872"/>
              <a:gd name="connsiteY123" fmla="*/ 1189764 h 2112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2070872" h="2112876">
                <a:moveTo>
                  <a:pt x="1950116" y="987842"/>
                </a:moveTo>
                <a:cubicBezTo>
                  <a:pt x="1902888" y="987842"/>
                  <a:pt x="1861923" y="1015122"/>
                  <a:pt x="1842104" y="1054753"/>
                </a:cubicBezTo>
                <a:lnTo>
                  <a:pt x="1420993" y="1054753"/>
                </a:lnTo>
                <a:lnTo>
                  <a:pt x="1420993" y="261617"/>
                </a:lnTo>
                <a:cubicBezTo>
                  <a:pt x="1420973" y="117367"/>
                  <a:pt x="1308739" y="0"/>
                  <a:pt x="1170779" y="0"/>
                </a:cubicBezTo>
                <a:cubicBezTo>
                  <a:pt x="1032820" y="0"/>
                  <a:pt x="920586" y="117367"/>
                  <a:pt x="920586" y="261617"/>
                </a:cubicBezTo>
                <a:lnTo>
                  <a:pt x="920586" y="1054753"/>
                </a:lnTo>
                <a:lnTo>
                  <a:pt x="689102" y="1054753"/>
                </a:lnTo>
                <a:lnTo>
                  <a:pt x="689102" y="550374"/>
                </a:lnTo>
                <a:cubicBezTo>
                  <a:pt x="689102" y="469645"/>
                  <a:pt x="623442" y="403963"/>
                  <a:pt x="542740" y="403963"/>
                </a:cubicBezTo>
                <a:cubicBezTo>
                  <a:pt x="462037" y="403963"/>
                  <a:pt x="396377" y="469645"/>
                  <a:pt x="396377" y="550374"/>
                </a:cubicBezTo>
                <a:lnTo>
                  <a:pt x="396377" y="1054753"/>
                </a:lnTo>
                <a:lnTo>
                  <a:pt x="228769" y="1054753"/>
                </a:lnTo>
                <a:cubicBezTo>
                  <a:pt x="208930" y="1015122"/>
                  <a:pt x="167985" y="987842"/>
                  <a:pt x="120737" y="987842"/>
                </a:cubicBezTo>
                <a:cubicBezTo>
                  <a:pt x="54165" y="987842"/>
                  <a:pt x="0" y="1042025"/>
                  <a:pt x="0" y="1108619"/>
                </a:cubicBezTo>
                <a:cubicBezTo>
                  <a:pt x="0" y="1175213"/>
                  <a:pt x="54165" y="1229395"/>
                  <a:pt x="120737" y="1229395"/>
                </a:cubicBezTo>
                <a:cubicBezTo>
                  <a:pt x="163089" y="1229395"/>
                  <a:pt x="200389" y="1207449"/>
                  <a:pt x="221951" y="1174360"/>
                </a:cubicBezTo>
                <a:lnTo>
                  <a:pt x="523812" y="1174360"/>
                </a:lnTo>
                <a:lnTo>
                  <a:pt x="523812" y="1816883"/>
                </a:lnTo>
                <a:cubicBezTo>
                  <a:pt x="523812" y="1937540"/>
                  <a:pt x="608776" y="2035696"/>
                  <a:pt x="713202" y="2035696"/>
                </a:cubicBezTo>
                <a:cubicBezTo>
                  <a:pt x="817627" y="2035696"/>
                  <a:pt x="902234" y="1937937"/>
                  <a:pt x="902591" y="1817616"/>
                </a:cubicBezTo>
                <a:lnTo>
                  <a:pt x="904434" y="1792319"/>
                </a:lnTo>
                <a:cubicBezTo>
                  <a:pt x="939672" y="1765555"/>
                  <a:pt x="962463" y="1723227"/>
                  <a:pt x="962463" y="1675666"/>
                </a:cubicBezTo>
                <a:lnTo>
                  <a:pt x="962463" y="1174340"/>
                </a:lnTo>
                <a:lnTo>
                  <a:pt x="1271558" y="1174340"/>
                </a:lnTo>
                <a:lnTo>
                  <a:pt x="1271558" y="1675666"/>
                </a:lnTo>
                <a:cubicBezTo>
                  <a:pt x="1271558" y="1710936"/>
                  <a:pt x="1284104" y="1743350"/>
                  <a:pt x="1304953" y="1768647"/>
                </a:cubicBezTo>
                <a:lnTo>
                  <a:pt x="1313277" y="1825606"/>
                </a:lnTo>
                <a:lnTo>
                  <a:pt x="1313218" y="1825606"/>
                </a:lnTo>
                <a:cubicBezTo>
                  <a:pt x="1313436" y="1828045"/>
                  <a:pt x="1319362" y="1885816"/>
                  <a:pt x="1367640" y="1942219"/>
                </a:cubicBezTo>
                <a:cubicBezTo>
                  <a:pt x="1395704" y="1975011"/>
                  <a:pt x="1432349" y="2000684"/>
                  <a:pt x="1476525" y="2018547"/>
                </a:cubicBezTo>
                <a:cubicBezTo>
                  <a:pt x="1520345" y="2036271"/>
                  <a:pt x="1571735" y="2046243"/>
                  <a:pt x="1629705" y="2048365"/>
                </a:cubicBezTo>
                <a:lnTo>
                  <a:pt x="1593635" y="2081969"/>
                </a:lnTo>
                <a:cubicBezTo>
                  <a:pt x="1590147" y="2085220"/>
                  <a:pt x="1588125" y="2089641"/>
                  <a:pt x="1587966" y="2094399"/>
                </a:cubicBezTo>
                <a:cubicBezTo>
                  <a:pt x="1587808" y="2099177"/>
                  <a:pt x="1589493" y="2103717"/>
                  <a:pt x="1592763" y="2107207"/>
                </a:cubicBezTo>
                <a:cubicBezTo>
                  <a:pt x="1596271" y="2110973"/>
                  <a:pt x="1601027" y="2112877"/>
                  <a:pt x="1605823" y="2112877"/>
                </a:cubicBezTo>
                <a:cubicBezTo>
                  <a:pt x="1610183" y="2112877"/>
                  <a:pt x="1614544" y="2111291"/>
                  <a:pt x="1617972" y="2108099"/>
                </a:cubicBezTo>
                <a:lnTo>
                  <a:pt x="1690014" y="2040990"/>
                </a:lnTo>
                <a:cubicBezTo>
                  <a:pt x="1693621" y="2037619"/>
                  <a:pt x="1695702" y="2032861"/>
                  <a:pt x="1695702" y="2027925"/>
                </a:cubicBezTo>
                <a:cubicBezTo>
                  <a:pt x="1695702" y="2022988"/>
                  <a:pt x="1693621" y="2018210"/>
                  <a:pt x="1689994" y="2014860"/>
                </a:cubicBezTo>
                <a:lnTo>
                  <a:pt x="1617834" y="1947850"/>
                </a:lnTo>
                <a:cubicBezTo>
                  <a:pt x="1610639" y="1941149"/>
                  <a:pt x="1599323" y="1941565"/>
                  <a:pt x="1592624" y="1948781"/>
                </a:cubicBezTo>
                <a:cubicBezTo>
                  <a:pt x="1589374" y="1952271"/>
                  <a:pt x="1587689" y="1956831"/>
                  <a:pt x="1587867" y="1961589"/>
                </a:cubicBezTo>
                <a:cubicBezTo>
                  <a:pt x="1588046" y="1966347"/>
                  <a:pt x="1590067" y="1970768"/>
                  <a:pt x="1593555" y="1974019"/>
                </a:cubicBezTo>
                <a:lnTo>
                  <a:pt x="1630993" y="2008753"/>
                </a:lnTo>
                <a:cubicBezTo>
                  <a:pt x="1578453" y="2006830"/>
                  <a:pt x="1532137" y="1998008"/>
                  <a:pt x="1492975" y="1982425"/>
                </a:cubicBezTo>
                <a:cubicBezTo>
                  <a:pt x="1454823" y="1967239"/>
                  <a:pt x="1423272" y="1945609"/>
                  <a:pt x="1399251" y="1918131"/>
                </a:cubicBezTo>
                <a:cubicBezTo>
                  <a:pt x="1358206" y="1871205"/>
                  <a:pt x="1352776" y="1822315"/>
                  <a:pt x="1352717" y="1821819"/>
                </a:cubicBezTo>
                <a:lnTo>
                  <a:pt x="1352657" y="1821819"/>
                </a:lnTo>
                <a:lnTo>
                  <a:pt x="1350636" y="1805602"/>
                </a:lnTo>
                <a:cubicBezTo>
                  <a:pt x="1370811" y="1816090"/>
                  <a:pt x="1393682" y="1822077"/>
                  <a:pt x="1417941" y="1822077"/>
                </a:cubicBezTo>
                <a:cubicBezTo>
                  <a:pt x="1498643" y="1822077"/>
                  <a:pt x="1564303" y="1756395"/>
                  <a:pt x="1564303" y="1675666"/>
                </a:cubicBezTo>
                <a:lnTo>
                  <a:pt x="1564303" y="1174340"/>
                </a:lnTo>
                <a:lnTo>
                  <a:pt x="1848921" y="1174340"/>
                </a:lnTo>
                <a:cubicBezTo>
                  <a:pt x="1870484" y="1207429"/>
                  <a:pt x="1907783" y="1229376"/>
                  <a:pt x="1950136" y="1229376"/>
                </a:cubicBezTo>
                <a:cubicBezTo>
                  <a:pt x="2016708" y="1229376"/>
                  <a:pt x="2070873" y="1175193"/>
                  <a:pt x="2070873" y="1108599"/>
                </a:cubicBezTo>
                <a:cubicBezTo>
                  <a:pt x="2070873" y="1042005"/>
                  <a:pt x="2016708" y="987822"/>
                  <a:pt x="1950136" y="987822"/>
                </a:cubicBezTo>
                <a:close/>
                <a:moveTo>
                  <a:pt x="960224" y="261617"/>
                </a:moveTo>
                <a:cubicBezTo>
                  <a:pt x="960224" y="139214"/>
                  <a:pt x="1054681" y="39651"/>
                  <a:pt x="1170779" y="39651"/>
                </a:cubicBezTo>
                <a:cubicBezTo>
                  <a:pt x="1286878" y="39651"/>
                  <a:pt x="1381335" y="139234"/>
                  <a:pt x="1381335" y="261617"/>
                </a:cubicBezTo>
                <a:lnTo>
                  <a:pt x="1381335" y="1054753"/>
                </a:lnTo>
                <a:lnTo>
                  <a:pt x="1311196" y="1054753"/>
                </a:lnTo>
                <a:lnTo>
                  <a:pt x="1311196" y="542464"/>
                </a:lnTo>
                <a:cubicBezTo>
                  <a:pt x="1311196" y="461735"/>
                  <a:pt x="1248192" y="396053"/>
                  <a:pt x="1170779" y="396053"/>
                </a:cubicBezTo>
                <a:cubicBezTo>
                  <a:pt x="1093367" y="396053"/>
                  <a:pt x="1030343" y="461735"/>
                  <a:pt x="1030343" y="542464"/>
                </a:cubicBezTo>
                <a:lnTo>
                  <a:pt x="1030343" y="1054753"/>
                </a:lnTo>
                <a:lnTo>
                  <a:pt x="960204" y="1054753"/>
                </a:lnTo>
                <a:lnTo>
                  <a:pt x="960204" y="261617"/>
                </a:lnTo>
                <a:close/>
                <a:moveTo>
                  <a:pt x="1271578" y="1054753"/>
                </a:moveTo>
                <a:lnTo>
                  <a:pt x="1070001" y="1054753"/>
                </a:lnTo>
                <a:lnTo>
                  <a:pt x="1070001" y="542464"/>
                </a:lnTo>
                <a:cubicBezTo>
                  <a:pt x="1070001" y="483602"/>
                  <a:pt x="1115207" y="435704"/>
                  <a:pt x="1170799" y="435704"/>
                </a:cubicBezTo>
                <a:cubicBezTo>
                  <a:pt x="1226391" y="435704"/>
                  <a:pt x="1271578" y="483602"/>
                  <a:pt x="1271578" y="542464"/>
                </a:cubicBezTo>
                <a:lnTo>
                  <a:pt x="1271578" y="1054753"/>
                </a:lnTo>
                <a:close/>
                <a:moveTo>
                  <a:pt x="436015" y="550374"/>
                </a:moveTo>
                <a:cubicBezTo>
                  <a:pt x="436015" y="491512"/>
                  <a:pt x="483897" y="443614"/>
                  <a:pt x="542740" y="443614"/>
                </a:cubicBezTo>
                <a:cubicBezTo>
                  <a:pt x="601582" y="443614"/>
                  <a:pt x="649464" y="491512"/>
                  <a:pt x="649464" y="550374"/>
                </a:cubicBezTo>
                <a:lnTo>
                  <a:pt x="649464" y="1054753"/>
                </a:lnTo>
                <a:lnTo>
                  <a:pt x="436015" y="1054753"/>
                </a:lnTo>
                <a:lnTo>
                  <a:pt x="436015" y="550374"/>
                </a:lnTo>
                <a:close/>
                <a:moveTo>
                  <a:pt x="120737" y="1189764"/>
                </a:moveTo>
                <a:cubicBezTo>
                  <a:pt x="76005" y="1189764"/>
                  <a:pt x="39638" y="1153365"/>
                  <a:pt x="39638" y="1108639"/>
                </a:cubicBezTo>
                <a:cubicBezTo>
                  <a:pt x="39638" y="1063913"/>
                  <a:pt x="76025" y="1027513"/>
                  <a:pt x="120737" y="1027513"/>
                </a:cubicBezTo>
                <a:cubicBezTo>
                  <a:pt x="165448" y="1027513"/>
                  <a:pt x="201855" y="1063913"/>
                  <a:pt x="201855" y="1108639"/>
                </a:cubicBezTo>
                <a:cubicBezTo>
                  <a:pt x="201855" y="1153365"/>
                  <a:pt x="165468" y="1189764"/>
                  <a:pt x="120737" y="1189764"/>
                </a:cubicBezTo>
                <a:close/>
                <a:moveTo>
                  <a:pt x="862993" y="1815455"/>
                </a:moveTo>
                <a:lnTo>
                  <a:pt x="862933" y="1816903"/>
                </a:lnTo>
                <a:cubicBezTo>
                  <a:pt x="862933" y="1915693"/>
                  <a:pt x="795767" y="1996065"/>
                  <a:pt x="713182" y="1996065"/>
                </a:cubicBezTo>
                <a:cubicBezTo>
                  <a:pt x="630597" y="1996065"/>
                  <a:pt x="563430" y="1915693"/>
                  <a:pt x="563430" y="1816903"/>
                </a:cubicBezTo>
                <a:lnTo>
                  <a:pt x="563430" y="1174380"/>
                </a:lnTo>
                <a:lnTo>
                  <a:pt x="669719" y="1174380"/>
                </a:lnTo>
                <a:lnTo>
                  <a:pt x="669719" y="1675706"/>
                </a:lnTo>
                <a:cubicBezTo>
                  <a:pt x="669719" y="1756435"/>
                  <a:pt x="735379" y="1822117"/>
                  <a:pt x="816081" y="1822117"/>
                </a:cubicBezTo>
                <a:cubicBezTo>
                  <a:pt x="832511" y="1822117"/>
                  <a:pt x="848307" y="1819361"/>
                  <a:pt x="863052" y="1814345"/>
                </a:cubicBezTo>
                <a:lnTo>
                  <a:pt x="862973" y="1815475"/>
                </a:lnTo>
                <a:close/>
                <a:moveTo>
                  <a:pt x="922826" y="1675706"/>
                </a:moveTo>
                <a:cubicBezTo>
                  <a:pt x="922826" y="1734568"/>
                  <a:pt x="874943" y="1782466"/>
                  <a:pt x="816101" y="1782466"/>
                </a:cubicBezTo>
                <a:cubicBezTo>
                  <a:pt x="757259" y="1782466"/>
                  <a:pt x="709377" y="1734568"/>
                  <a:pt x="709377" y="1675706"/>
                </a:cubicBezTo>
                <a:lnTo>
                  <a:pt x="709377" y="1174380"/>
                </a:lnTo>
                <a:lnTo>
                  <a:pt x="922826" y="1174380"/>
                </a:lnTo>
                <a:lnTo>
                  <a:pt x="922826" y="1675706"/>
                </a:lnTo>
                <a:close/>
                <a:moveTo>
                  <a:pt x="1524645" y="1675706"/>
                </a:moveTo>
                <a:cubicBezTo>
                  <a:pt x="1524645" y="1734568"/>
                  <a:pt x="1476763" y="1782466"/>
                  <a:pt x="1417921" y="1782466"/>
                </a:cubicBezTo>
                <a:cubicBezTo>
                  <a:pt x="1359078" y="1782466"/>
                  <a:pt x="1311196" y="1734568"/>
                  <a:pt x="1311196" y="1675706"/>
                </a:cubicBezTo>
                <a:lnTo>
                  <a:pt x="1311196" y="1174380"/>
                </a:lnTo>
                <a:lnTo>
                  <a:pt x="1524645" y="1174380"/>
                </a:lnTo>
                <a:lnTo>
                  <a:pt x="1524645" y="1675706"/>
                </a:lnTo>
                <a:close/>
                <a:moveTo>
                  <a:pt x="1627465" y="1134055"/>
                </a:moveTo>
                <a:lnTo>
                  <a:pt x="563470" y="1134055"/>
                </a:lnTo>
                <a:lnTo>
                  <a:pt x="563470" y="1133282"/>
                </a:lnTo>
                <a:lnTo>
                  <a:pt x="523832" y="1133282"/>
                </a:lnTo>
                <a:lnTo>
                  <a:pt x="523832" y="1134055"/>
                </a:lnTo>
                <a:lnTo>
                  <a:pt x="238778" y="1134055"/>
                </a:lnTo>
                <a:cubicBezTo>
                  <a:pt x="240542" y="1125847"/>
                  <a:pt x="241493" y="1117362"/>
                  <a:pt x="241493" y="1108639"/>
                </a:cubicBezTo>
                <a:cubicBezTo>
                  <a:pt x="241493" y="1104059"/>
                  <a:pt x="241215" y="1099539"/>
                  <a:pt x="240720" y="1095078"/>
                </a:cubicBezTo>
                <a:lnTo>
                  <a:pt x="1830153" y="1095078"/>
                </a:lnTo>
                <a:cubicBezTo>
                  <a:pt x="1829658" y="1099539"/>
                  <a:pt x="1829380" y="1104059"/>
                  <a:pt x="1829380" y="1108639"/>
                </a:cubicBezTo>
                <a:cubicBezTo>
                  <a:pt x="1829380" y="1117362"/>
                  <a:pt x="1830331" y="1125867"/>
                  <a:pt x="1832095" y="1134055"/>
                </a:cubicBezTo>
                <a:lnTo>
                  <a:pt x="1627465" y="1134055"/>
                </a:lnTo>
                <a:close/>
                <a:moveTo>
                  <a:pt x="1950116" y="1189764"/>
                </a:moveTo>
                <a:cubicBezTo>
                  <a:pt x="1905385" y="1189764"/>
                  <a:pt x="1869018" y="1153365"/>
                  <a:pt x="1869018" y="1108639"/>
                </a:cubicBezTo>
                <a:cubicBezTo>
                  <a:pt x="1869018" y="1063913"/>
                  <a:pt x="1905405" y="1027513"/>
                  <a:pt x="1950116" y="1027513"/>
                </a:cubicBezTo>
                <a:cubicBezTo>
                  <a:pt x="1994828" y="1027513"/>
                  <a:pt x="2031215" y="1063913"/>
                  <a:pt x="2031215" y="1108639"/>
                </a:cubicBezTo>
                <a:cubicBezTo>
                  <a:pt x="2031215" y="1153365"/>
                  <a:pt x="1994828" y="1189764"/>
                  <a:pt x="1950116" y="1189764"/>
                </a:cubicBezTo>
                <a:close/>
              </a:path>
            </a:pathLst>
          </a:custGeom>
          <a:solidFill>
            <a:schemeClr val="accent5"/>
          </a:solidFill>
          <a:ln w="1986" cap="flat">
            <a:noFill/>
            <a:prstDash val="solid"/>
            <a:miter/>
          </a:ln>
        </p:spPr>
        <p:txBody>
          <a:bodyPr rtlCol="0" anchor="ctr"/>
          <a:lstStyle/>
          <a:p>
            <a:pPr defTabSz="743407">
              <a:defRPr/>
            </a:pPr>
            <a:endParaRPr lang="en-US" sz="1463">
              <a:solidFill>
                <a:srgbClr val="13161E"/>
              </a:solidFill>
              <a:latin typeface="Microsoft Sans Serif"/>
            </a:endParaRP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74A30D6C-C4BA-DF86-684B-71E8317559E3}"/>
              </a:ext>
            </a:extLst>
          </p:cNvPr>
          <p:cNvGrpSpPr/>
          <p:nvPr/>
        </p:nvGrpSpPr>
        <p:grpSpPr>
          <a:xfrm>
            <a:off x="8764282" y="2280319"/>
            <a:ext cx="489050" cy="489834"/>
            <a:chOff x="8307256" y="3237870"/>
            <a:chExt cx="326796" cy="327320"/>
          </a:xfrm>
          <a:solidFill>
            <a:schemeClr val="accent5"/>
          </a:solidFill>
        </p:grpSpPr>
        <p:sp>
          <p:nvSpPr>
            <p:cNvPr id="84" name="Freeform 4">
              <a:extLst>
                <a:ext uri="{FF2B5EF4-FFF2-40B4-BE49-F238E27FC236}">
                  <a16:creationId xmlns:a16="http://schemas.microsoft.com/office/drawing/2014/main" id="{7C0C2A9E-CE4C-ECD4-1DAD-605BCBB59571}"/>
                </a:ext>
              </a:extLst>
            </p:cNvPr>
            <p:cNvSpPr/>
            <p:nvPr/>
          </p:nvSpPr>
          <p:spPr>
            <a:xfrm>
              <a:off x="8410454" y="3343864"/>
              <a:ext cx="115952" cy="115993"/>
            </a:xfrm>
            <a:custGeom>
              <a:avLst/>
              <a:gdLst>
                <a:gd name="connsiteX0" fmla="*/ 544761 w 691695"/>
                <a:gd name="connsiteY0" fmla="*/ 0 h 691936"/>
                <a:gd name="connsiteX1" fmla="*/ 146935 w 691695"/>
                <a:gd name="connsiteY1" fmla="*/ 0 h 691936"/>
                <a:gd name="connsiteX2" fmla="*/ 0 w 691695"/>
                <a:gd name="connsiteY2" fmla="*/ 146982 h 691936"/>
                <a:gd name="connsiteX3" fmla="*/ 0 w 691695"/>
                <a:gd name="connsiteY3" fmla="*/ 544955 h 691936"/>
                <a:gd name="connsiteX4" fmla="*/ 146935 w 691695"/>
                <a:gd name="connsiteY4" fmla="*/ 691937 h 691936"/>
                <a:gd name="connsiteX5" fmla="*/ 544761 w 691695"/>
                <a:gd name="connsiteY5" fmla="*/ 691937 h 691936"/>
                <a:gd name="connsiteX6" fmla="*/ 691696 w 691695"/>
                <a:gd name="connsiteY6" fmla="*/ 544955 h 691936"/>
                <a:gd name="connsiteX7" fmla="*/ 691696 w 691695"/>
                <a:gd name="connsiteY7" fmla="*/ 146982 h 691936"/>
                <a:gd name="connsiteX8" fmla="*/ 544761 w 691695"/>
                <a:gd name="connsiteY8" fmla="*/ 0 h 691936"/>
                <a:gd name="connsiteX9" fmla="*/ 654160 w 691695"/>
                <a:gd name="connsiteY9" fmla="*/ 544955 h 691936"/>
                <a:gd name="connsiteX10" fmla="*/ 544761 w 691695"/>
                <a:gd name="connsiteY10" fmla="*/ 654389 h 691936"/>
                <a:gd name="connsiteX11" fmla="*/ 146935 w 691695"/>
                <a:gd name="connsiteY11" fmla="*/ 654389 h 691936"/>
                <a:gd name="connsiteX12" fmla="*/ 37536 w 691695"/>
                <a:gd name="connsiteY12" fmla="*/ 544955 h 691936"/>
                <a:gd name="connsiteX13" fmla="*/ 37536 w 691695"/>
                <a:gd name="connsiteY13" fmla="*/ 146982 h 691936"/>
                <a:gd name="connsiteX14" fmla="*/ 146935 w 691695"/>
                <a:gd name="connsiteY14" fmla="*/ 37548 h 691936"/>
                <a:gd name="connsiteX15" fmla="*/ 544761 w 691695"/>
                <a:gd name="connsiteY15" fmla="*/ 37548 h 691936"/>
                <a:gd name="connsiteX16" fmla="*/ 654160 w 691695"/>
                <a:gd name="connsiteY16" fmla="*/ 146982 h 691936"/>
                <a:gd name="connsiteX17" fmla="*/ 654160 w 691695"/>
                <a:gd name="connsiteY17" fmla="*/ 544955 h 691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91695" h="691936">
                  <a:moveTo>
                    <a:pt x="544761" y="0"/>
                  </a:moveTo>
                  <a:lnTo>
                    <a:pt x="146935" y="0"/>
                  </a:lnTo>
                  <a:cubicBezTo>
                    <a:pt x="65913" y="0"/>
                    <a:pt x="0" y="65953"/>
                    <a:pt x="0" y="146982"/>
                  </a:cubicBezTo>
                  <a:lnTo>
                    <a:pt x="0" y="544955"/>
                  </a:lnTo>
                  <a:cubicBezTo>
                    <a:pt x="0" y="625983"/>
                    <a:pt x="65913" y="691937"/>
                    <a:pt x="146935" y="691937"/>
                  </a:cubicBezTo>
                  <a:lnTo>
                    <a:pt x="544761" y="691937"/>
                  </a:lnTo>
                  <a:cubicBezTo>
                    <a:pt x="625783" y="691937"/>
                    <a:pt x="691696" y="625983"/>
                    <a:pt x="691696" y="544955"/>
                  </a:cubicBezTo>
                  <a:lnTo>
                    <a:pt x="691696" y="146982"/>
                  </a:lnTo>
                  <a:cubicBezTo>
                    <a:pt x="691696" y="65953"/>
                    <a:pt x="625783" y="0"/>
                    <a:pt x="544761" y="0"/>
                  </a:cubicBezTo>
                  <a:close/>
                  <a:moveTo>
                    <a:pt x="654160" y="544955"/>
                  </a:moveTo>
                  <a:cubicBezTo>
                    <a:pt x="654160" y="605294"/>
                    <a:pt x="605081" y="654389"/>
                    <a:pt x="544761" y="654389"/>
                  </a:cubicBezTo>
                  <a:lnTo>
                    <a:pt x="146935" y="654389"/>
                  </a:lnTo>
                  <a:cubicBezTo>
                    <a:pt x="86614" y="654389"/>
                    <a:pt x="37536" y="605294"/>
                    <a:pt x="37536" y="544955"/>
                  </a:cubicBezTo>
                  <a:lnTo>
                    <a:pt x="37536" y="146982"/>
                  </a:lnTo>
                  <a:cubicBezTo>
                    <a:pt x="37536" y="86642"/>
                    <a:pt x="86614" y="37548"/>
                    <a:pt x="146935" y="37548"/>
                  </a:cubicBezTo>
                  <a:lnTo>
                    <a:pt x="544761" y="37548"/>
                  </a:lnTo>
                  <a:cubicBezTo>
                    <a:pt x="605081" y="37548"/>
                    <a:pt x="654160" y="86642"/>
                    <a:pt x="654160" y="146982"/>
                  </a:cubicBezTo>
                  <a:lnTo>
                    <a:pt x="654160" y="544955"/>
                  </a:ln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85" name="Freeform 5">
              <a:extLst>
                <a:ext uri="{FF2B5EF4-FFF2-40B4-BE49-F238E27FC236}">
                  <a16:creationId xmlns:a16="http://schemas.microsoft.com/office/drawing/2014/main" id="{764B3AE9-932C-3785-9FAF-2BC6DF771E77}"/>
                </a:ext>
              </a:extLst>
            </p:cNvPr>
            <p:cNvSpPr/>
            <p:nvPr/>
          </p:nvSpPr>
          <p:spPr>
            <a:xfrm>
              <a:off x="8495304" y="3285806"/>
              <a:ext cx="46577" cy="44909"/>
            </a:xfrm>
            <a:custGeom>
              <a:avLst/>
              <a:gdLst>
                <a:gd name="connsiteX0" fmla="*/ 58344 w 277846"/>
                <a:gd name="connsiteY0" fmla="*/ 257759 h 267897"/>
                <a:gd name="connsiteX1" fmla="*/ 71538 w 277846"/>
                <a:gd name="connsiteY1" fmla="*/ 267390 h 267897"/>
                <a:gd name="connsiteX2" fmla="*/ 75986 w 277846"/>
                <a:gd name="connsiteY2" fmla="*/ 267897 h 267897"/>
                <a:gd name="connsiteX3" fmla="*/ 87603 w 277846"/>
                <a:gd name="connsiteY3" fmla="*/ 264293 h 267897"/>
                <a:gd name="connsiteX4" fmla="*/ 178271 w 277846"/>
                <a:gd name="connsiteY4" fmla="*/ 202000 h 267897"/>
                <a:gd name="connsiteX5" fmla="*/ 187149 w 277846"/>
                <a:gd name="connsiteY5" fmla="*/ 185085 h 267897"/>
                <a:gd name="connsiteX6" fmla="*/ 183564 w 277846"/>
                <a:gd name="connsiteY6" fmla="*/ 173539 h 267897"/>
                <a:gd name="connsiteX7" fmla="*/ 170426 w 277846"/>
                <a:gd name="connsiteY7" fmla="*/ 164997 h 267897"/>
                <a:gd name="connsiteX8" fmla="*/ 155093 w 277846"/>
                <a:gd name="connsiteY8" fmla="*/ 168245 h 267897"/>
                <a:gd name="connsiteX9" fmla="*/ 103124 w 277846"/>
                <a:gd name="connsiteY9" fmla="*/ 203972 h 267897"/>
                <a:gd name="connsiteX10" fmla="*/ 146084 w 277846"/>
                <a:gd name="connsiteY10" fmla="*/ 122868 h 267897"/>
                <a:gd name="connsiteX11" fmla="*/ 265374 w 277846"/>
                <a:gd name="connsiteY11" fmla="*/ 36470 h 267897"/>
                <a:gd name="connsiteX12" fmla="*/ 276747 w 277846"/>
                <a:gd name="connsiteY12" fmla="*/ 12476 h 267897"/>
                <a:gd name="connsiteX13" fmla="*/ 252762 w 277846"/>
                <a:gd name="connsiteY13" fmla="*/ 1099 h 267897"/>
                <a:gd name="connsiteX14" fmla="*/ 116449 w 277846"/>
                <a:gd name="connsiteY14" fmla="*/ 99794 h 267897"/>
                <a:gd name="connsiteX15" fmla="*/ 67446 w 277846"/>
                <a:gd name="connsiteY15" fmla="*/ 192294 h 267897"/>
                <a:gd name="connsiteX16" fmla="*/ 67446 w 277846"/>
                <a:gd name="connsiteY16" fmla="*/ 192257 h 267897"/>
                <a:gd name="connsiteX17" fmla="*/ 38130 w 277846"/>
                <a:gd name="connsiteY17" fmla="*/ 142092 h 267897"/>
                <a:gd name="connsiteX18" fmla="*/ 25650 w 277846"/>
                <a:gd name="connsiteY18" fmla="*/ 132611 h 267897"/>
                <a:gd name="connsiteX19" fmla="*/ 10110 w 277846"/>
                <a:gd name="connsiteY19" fmla="*/ 134752 h 267897"/>
                <a:gd name="connsiteX20" fmla="*/ 2790 w 277846"/>
                <a:gd name="connsiteY20" fmla="*/ 162763 h 267897"/>
                <a:gd name="connsiteX21" fmla="*/ 58325 w 277846"/>
                <a:gd name="connsiteY21" fmla="*/ 257759 h 267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77846" h="267897">
                  <a:moveTo>
                    <a:pt x="58344" y="257759"/>
                  </a:moveTo>
                  <a:cubicBezTo>
                    <a:pt x="61196" y="262641"/>
                    <a:pt x="66020" y="266170"/>
                    <a:pt x="71538" y="267390"/>
                  </a:cubicBezTo>
                  <a:cubicBezTo>
                    <a:pt x="73020" y="267728"/>
                    <a:pt x="74503" y="267897"/>
                    <a:pt x="75986" y="267897"/>
                  </a:cubicBezTo>
                  <a:cubicBezTo>
                    <a:pt x="80096" y="267897"/>
                    <a:pt x="84168" y="266658"/>
                    <a:pt x="87603" y="264293"/>
                  </a:cubicBezTo>
                  <a:lnTo>
                    <a:pt x="178271" y="202000"/>
                  </a:lnTo>
                  <a:cubicBezTo>
                    <a:pt x="184033" y="198039"/>
                    <a:pt x="187149" y="191618"/>
                    <a:pt x="187149" y="185085"/>
                  </a:cubicBezTo>
                  <a:cubicBezTo>
                    <a:pt x="187149" y="181105"/>
                    <a:pt x="185985" y="177068"/>
                    <a:pt x="183564" y="173539"/>
                  </a:cubicBezTo>
                  <a:cubicBezTo>
                    <a:pt x="180467" y="169033"/>
                    <a:pt x="175813" y="165992"/>
                    <a:pt x="170426" y="164997"/>
                  </a:cubicBezTo>
                  <a:cubicBezTo>
                    <a:pt x="165040" y="164002"/>
                    <a:pt x="159597" y="165147"/>
                    <a:pt x="155093" y="168245"/>
                  </a:cubicBezTo>
                  <a:lnTo>
                    <a:pt x="103124" y="203972"/>
                  </a:lnTo>
                  <a:cubicBezTo>
                    <a:pt x="112564" y="174797"/>
                    <a:pt x="127091" y="147255"/>
                    <a:pt x="146084" y="122868"/>
                  </a:cubicBezTo>
                  <a:cubicBezTo>
                    <a:pt x="176995" y="83142"/>
                    <a:pt x="218247" y="53272"/>
                    <a:pt x="265374" y="36470"/>
                  </a:cubicBezTo>
                  <a:cubicBezTo>
                    <a:pt x="275133" y="32996"/>
                    <a:pt x="280238" y="22258"/>
                    <a:pt x="276747" y="12476"/>
                  </a:cubicBezTo>
                  <a:cubicBezTo>
                    <a:pt x="273275" y="2714"/>
                    <a:pt x="262540" y="-2393"/>
                    <a:pt x="252762" y="1099"/>
                  </a:cubicBezTo>
                  <a:cubicBezTo>
                    <a:pt x="198879" y="20305"/>
                    <a:pt x="151752" y="54436"/>
                    <a:pt x="116449" y="99794"/>
                  </a:cubicBezTo>
                  <a:cubicBezTo>
                    <a:pt x="94810" y="127599"/>
                    <a:pt x="78238" y="159008"/>
                    <a:pt x="67446" y="192294"/>
                  </a:cubicBezTo>
                  <a:lnTo>
                    <a:pt x="67446" y="192257"/>
                  </a:lnTo>
                  <a:cubicBezTo>
                    <a:pt x="67446" y="192257"/>
                    <a:pt x="38130" y="142092"/>
                    <a:pt x="38130" y="142092"/>
                  </a:cubicBezTo>
                  <a:cubicBezTo>
                    <a:pt x="35372" y="137361"/>
                    <a:pt x="30942" y="134001"/>
                    <a:pt x="25650" y="132611"/>
                  </a:cubicBezTo>
                  <a:cubicBezTo>
                    <a:pt x="20338" y="131222"/>
                    <a:pt x="14839" y="131992"/>
                    <a:pt x="10110" y="134752"/>
                  </a:cubicBezTo>
                  <a:cubicBezTo>
                    <a:pt x="388" y="140459"/>
                    <a:pt x="-2897" y="153019"/>
                    <a:pt x="2790" y="162763"/>
                  </a:cubicBezTo>
                  <a:lnTo>
                    <a:pt x="58325" y="257759"/>
                  </a:ln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86" name="Freeform 6">
              <a:extLst>
                <a:ext uri="{FF2B5EF4-FFF2-40B4-BE49-F238E27FC236}">
                  <a16:creationId xmlns:a16="http://schemas.microsoft.com/office/drawing/2014/main" id="{ECC1F33B-5C43-AE62-2F51-109DC6E79E0D}"/>
                </a:ext>
              </a:extLst>
            </p:cNvPr>
            <p:cNvSpPr/>
            <p:nvPr/>
          </p:nvSpPr>
          <p:spPr>
            <a:xfrm>
              <a:off x="8539725" y="3325287"/>
              <a:ext cx="46573" cy="44906"/>
            </a:xfrm>
            <a:custGeom>
              <a:avLst/>
              <a:gdLst>
                <a:gd name="connsiteX0" fmla="*/ 12472 w 277827"/>
                <a:gd name="connsiteY0" fmla="*/ 231402 h 267879"/>
                <a:gd name="connsiteX1" fmla="*/ 1099 w 277827"/>
                <a:gd name="connsiteY1" fmla="*/ 255395 h 267879"/>
                <a:gd name="connsiteX2" fmla="*/ 18778 w 277827"/>
                <a:gd name="connsiteY2" fmla="*/ 267880 h 267879"/>
                <a:gd name="connsiteX3" fmla="*/ 25084 w 277827"/>
                <a:gd name="connsiteY3" fmla="*/ 266791 h 267879"/>
                <a:gd name="connsiteX4" fmla="*/ 161397 w 277827"/>
                <a:gd name="connsiteY4" fmla="*/ 168095 h 267879"/>
                <a:gd name="connsiteX5" fmla="*/ 210381 w 277827"/>
                <a:gd name="connsiteY5" fmla="*/ 75633 h 267879"/>
                <a:gd name="connsiteX6" fmla="*/ 210381 w 277827"/>
                <a:gd name="connsiteY6" fmla="*/ 75633 h 267879"/>
                <a:gd name="connsiteX7" fmla="*/ 239697 w 277827"/>
                <a:gd name="connsiteY7" fmla="*/ 125797 h 267879"/>
                <a:gd name="connsiteX8" fmla="*/ 252178 w 277827"/>
                <a:gd name="connsiteY8" fmla="*/ 135278 h 267879"/>
                <a:gd name="connsiteX9" fmla="*/ 257395 w 277827"/>
                <a:gd name="connsiteY9" fmla="*/ 135954 h 267879"/>
                <a:gd name="connsiteX10" fmla="*/ 267718 w 277827"/>
                <a:gd name="connsiteY10" fmla="*/ 133138 h 267879"/>
                <a:gd name="connsiteX11" fmla="*/ 275037 w 277827"/>
                <a:gd name="connsiteY11" fmla="*/ 105127 h 267879"/>
                <a:gd name="connsiteX12" fmla="*/ 219502 w 277827"/>
                <a:gd name="connsiteY12" fmla="*/ 10131 h 267879"/>
                <a:gd name="connsiteX13" fmla="*/ 206290 w 277827"/>
                <a:gd name="connsiteY13" fmla="*/ 481 h 267879"/>
                <a:gd name="connsiteX14" fmla="*/ 190243 w 277827"/>
                <a:gd name="connsiteY14" fmla="*/ 3597 h 267879"/>
                <a:gd name="connsiteX15" fmla="*/ 99575 w 277827"/>
                <a:gd name="connsiteY15" fmla="*/ 65889 h 267879"/>
                <a:gd name="connsiteX16" fmla="*/ 90697 w 277827"/>
                <a:gd name="connsiteY16" fmla="*/ 82805 h 267879"/>
                <a:gd name="connsiteX17" fmla="*/ 94282 w 277827"/>
                <a:gd name="connsiteY17" fmla="*/ 94351 h 267879"/>
                <a:gd name="connsiteX18" fmla="*/ 107420 w 277827"/>
                <a:gd name="connsiteY18" fmla="*/ 102893 h 267879"/>
                <a:gd name="connsiteX19" fmla="*/ 122753 w 277827"/>
                <a:gd name="connsiteY19" fmla="*/ 99645 h 267879"/>
                <a:gd name="connsiteX20" fmla="*/ 174703 w 277827"/>
                <a:gd name="connsiteY20" fmla="*/ 63937 h 267879"/>
                <a:gd name="connsiteX21" fmla="*/ 131762 w 277827"/>
                <a:gd name="connsiteY21" fmla="*/ 145041 h 267879"/>
                <a:gd name="connsiteX22" fmla="*/ 12472 w 277827"/>
                <a:gd name="connsiteY22" fmla="*/ 231439 h 267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77827" h="267879">
                  <a:moveTo>
                    <a:pt x="12472" y="231402"/>
                  </a:moveTo>
                  <a:cubicBezTo>
                    <a:pt x="2713" y="234875"/>
                    <a:pt x="-2392" y="245614"/>
                    <a:pt x="1099" y="255395"/>
                  </a:cubicBezTo>
                  <a:cubicBezTo>
                    <a:pt x="3839" y="263073"/>
                    <a:pt x="11065" y="267880"/>
                    <a:pt x="18778" y="267880"/>
                  </a:cubicBezTo>
                  <a:cubicBezTo>
                    <a:pt x="20862" y="267880"/>
                    <a:pt x="23001" y="267523"/>
                    <a:pt x="25084" y="266791"/>
                  </a:cubicBezTo>
                  <a:cubicBezTo>
                    <a:pt x="78967" y="247585"/>
                    <a:pt x="126094" y="213454"/>
                    <a:pt x="161397" y="168095"/>
                  </a:cubicBezTo>
                  <a:cubicBezTo>
                    <a:pt x="183036" y="140291"/>
                    <a:pt x="199608" y="108901"/>
                    <a:pt x="210381" y="75633"/>
                  </a:cubicBezTo>
                  <a:lnTo>
                    <a:pt x="210381" y="75633"/>
                  </a:lnTo>
                  <a:cubicBezTo>
                    <a:pt x="210381" y="75633"/>
                    <a:pt x="239697" y="125797"/>
                    <a:pt x="239697" y="125797"/>
                  </a:cubicBezTo>
                  <a:cubicBezTo>
                    <a:pt x="242456" y="130529"/>
                    <a:pt x="246885" y="133889"/>
                    <a:pt x="252178" y="135278"/>
                  </a:cubicBezTo>
                  <a:cubicBezTo>
                    <a:pt x="253904" y="135729"/>
                    <a:pt x="255668" y="135954"/>
                    <a:pt x="257395" y="135954"/>
                  </a:cubicBezTo>
                  <a:cubicBezTo>
                    <a:pt x="260999" y="135954"/>
                    <a:pt x="264527" y="134997"/>
                    <a:pt x="267718" y="133138"/>
                  </a:cubicBezTo>
                  <a:cubicBezTo>
                    <a:pt x="277439" y="127431"/>
                    <a:pt x="280724" y="114871"/>
                    <a:pt x="275037" y="105127"/>
                  </a:cubicBezTo>
                  <a:lnTo>
                    <a:pt x="219502" y="10131"/>
                  </a:lnTo>
                  <a:cubicBezTo>
                    <a:pt x="216631" y="5249"/>
                    <a:pt x="211826" y="1720"/>
                    <a:pt x="206290" y="481"/>
                  </a:cubicBezTo>
                  <a:cubicBezTo>
                    <a:pt x="200753" y="-740"/>
                    <a:pt x="194916" y="387"/>
                    <a:pt x="190243" y="3597"/>
                  </a:cubicBezTo>
                  <a:lnTo>
                    <a:pt x="99575" y="65889"/>
                  </a:lnTo>
                  <a:cubicBezTo>
                    <a:pt x="93813" y="69851"/>
                    <a:pt x="90697" y="76272"/>
                    <a:pt x="90697" y="82805"/>
                  </a:cubicBezTo>
                  <a:cubicBezTo>
                    <a:pt x="90697" y="86785"/>
                    <a:pt x="91861" y="90821"/>
                    <a:pt x="94282" y="94351"/>
                  </a:cubicBezTo>
                  <a:cubicBezTo>
                    <a:pt x="97379" y="98857"/>
                    <a:pt x="102033" y="101898"/>
                    <a:pt x="107420" y="102893"/>
                  </a:cubicBezTo>
                  <a:cubicBezTo>
                    <a:pt x="112787" y="103888"/>
                    <a:pt x="118230" y="102743"/>
                    <a:pt x="122753" y="99645"/>
                  </a:cubicBezTo>
                  <a:lnTo>
                    <a:pt x="174703" y="63937"/>
                  </a:lnTo>
                  <a:cubicBezTo>
                    <a:pt x="165263" y="93112"/>
                    <a:pt x="150736" y="120653"/>
                    <a:pt x="131762" y="145041"/>
                  </a:cubicBezTo>
                  <a:cubicBezTo>
                    <a:pt x="100851" y="184748"/>
                    <a:pt x="59599" y="214636"/>
                    <a:pt x="12472" y="231439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87" name="Freeform 7">
              <a:extLst>
                <a:ext uri="{FF2B5EF4-FFF2-40B4-BE49-F238E27FC236}">
                  <a16:creationId xmlns:a16="http://schemas.microsoft.com/office/drawing/2014/main" id="{AE890522-8AD1-CB28-43A0-80388C8C1B12}"/>
                </a:ext>
              </a:extLst>
            </p:cNvPr>
            <p:cNvSpPr/>
            <p:nvPr/>
          </p:nvSpPr>
          <p:spPr>
            <a:xfrm>
              <a:off x="8393729" y="3282492"/>
              <a:ext cx="44733" cy="46587"/>
            </a:xfrm>
            <a:custGeom>
              <a:avLst/>
              <a:gdLst>
                <a:gd name="connsiteX0" fmla="*/ 64916 w 266851"/>
                <a:gd name="connsiteY0" fmla="*/ 178291 h 277906"/>
                <a:gd name="connsiteX1" fmla="*/ 81808 w 266851"/>
                <a:gd name="connsiteY1" fmla="*/ 187171 h 277906"/>
                <a:gd name="connsiteX2" fmla="*/ 93350 w 266851"/>
                <a:gd name="connsiteY2" fmla="*/ 183585 h 277906"/>
                <a:gd name="connsiteX3" fmla="*/ 101908 w 266851"/>
                <a:gd name="connsiteY3" fmla="*/ 170443 h 277906"/>
                <a:gd name="connsiteX4" fmla="*/ 98642 w 266851"/>
                <a:gd name="connsiteY4" fmla="*/ 155105 h 277906"/>
                <a:gd name="connsiteX5" fmla="*/ 62946 w 266851"/>
                <a:gd name="connsiteY5" fmla="*/ 103138 h 277906"/>
                <a:gd name="connsiteX6" fmla="*/ 62946 w 266851"/>
                <a:gd name="connsiteY6" fmla="*/ 103138 h 277906"/>
                <a:gd name="connsiteX7" fmla="*/ 144024 w 266851"/>
                <a:gd name="connsiteY7" fmla="*/ 146093 h 277906"/>
                <a:gd name="connsiteX8" fmla="*/ 230394 w 266851"/>
                <a:gd name="connsiteY8" fmla="*/ 265421 h 277906"/>
                <a:gd name="connsiteX9" fmla="*/ 248074 w 266851"/>
                <a:gd name="connsiteY9" fmla="*/ 277906 h 277906"/>
                <a:gd name="connsiteX10" fmla="*/ 254380 w 266851"/>
                <a:gd name="connsiteY10" fmla="*/ 276817 h 277906"/>
                <a:gd name="connsiteX11" fmla="*/ 265753 w 266851"/>
                <a:gd name="connsiteY11" fmla="*/ 252824 h 277906"/>
                <a:gd name="connsiteX12" fmla="*/ 167089 w 266851"/>
                <a:gd name="connsiteY12" fmla="*/ 116468 h 277906"/>
                <a:gd name="connsiteX13" fmla="*/ 74657 w 266851"/>
                <a:gd name="connsiteY13" fmla="*/ 67468 h 277906"/>
                <a:gd name="connsiteX14" fmla="*/ 74657 w 266851"/>
                <a:gd name="connsiteY14" fmla="*/ 67468 h 277906"/>
                <a:gd name="connsiteX15" fmla="*/ 124805 w 266851"/>
                <a:gd name="connsiteY15" fmla="*/ 38143 h 277906"/>
                <a:gd name="connsiteX16" fmla="*/ 134264 w 266851"/>
                <a:gd name="connsiteY16" fmla="*/ 25658 h 277906"/>
                <a:gd name="connsiteX17" fmla="*/ 132125 w 266851"/>
                <a:gd name="connsiteY17" fmla="*/ 10113 h 277906"/>
                <a:gd name="connsiteX18" fmla="*/ 104141 w 266851"/>
                <a:gd name="connsiteY18" fmla="*/ 2791 h 277906"/>
                <a:gd name="connsiteX19" fmla="*/ 11221 w 266851"/>
                <a:gd name="connsiteY19" fmla="*/ 57142 h 277906"/>
                <a:gd name="connsiteX20" fmla="*/ 542 w 266851"/>
                <a:gd name="connsiteY20" fmla="*/ 71786 h 277906"/>
                <a:gd name="connsiteX21" fmla="*/ 3976 w 266851"/>
                <a:gd name="connsiteY21" fmla="*/ 89565 h 277906"/>
                <a:gd name="connsiteX22" fmla="*/ 64916 w 266851"/>
                <a:gd name="connsiteY22" fmla="*/ 178310 h 277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6851" h="277906">
                  <a:moveTo>
                    <a:pt x="64916" y="178291"/>
                  </a:moveTo>
                  <a:cubicBezTo>
                    <a:pt x="68876" y="184055"/>
                    <a:pt x="75295" y="187171"/>
                    <a:pt x="81808" y="187171"/>
                  </a:cubicBezTo>
                  <a:cubicBezTo>
                    <a:pt x="85805" y="187171"/>
                    <a:pt x="89821" y="186007"/>
                    <a:pt x="93350" y="183585"/>
                  </a:cubicBezTo>
                  <a:cubicBezTo>
                    <a:pt x="97854" y="180488"/>
                    <a:pt x="100895" y="175832"/>
                    <a:pt x="101908" y="170443"/>
                  </a:cubicBezTo>
                  <a:cubicBezTo>
                    <a:pt x="102903" y="165074"/>
                    <a:pt x="101739" y="159611"/>
                    <a:pt x="98642" y="155105"/>
                  </a:cubicBezTo>
                  <a:lnTo>
                    <a:pt x="62946" y="103138"/>
                  </a:lnTo>
                  <a:lnTo>
                    <a:pt x="62946" y="103138"/>
                  </a:lnTo>
                  <a:cubicBezTo>
                    <a:pt x="92111" y="112582"/>
                    <a:pt x="119644" y="127113"/>
                    <a:pt x="144024" y="146093"/>
                  </a:cubicBezTo>
                  <a:cubicBezTo>
                    <a:pt x="183737" y="177014"/>
                    <a:pt x="213597" y="218280"/>
                    <a:pt x="230394" y="265421"/>
                  </a:cubicBezTo>
                  <a:cubicBezTo>
                    <a:pt x="233134" y="273100"/>
                    <a:pt x="240360" y="277906"/>
                    <a:pt x="248074" y="277906"/>
                  </a:cubicBezTo>
                  <a:cubicBezTo>
                    <a:pt x="250157" y="277906"/>
                    <a:pt x="252296" y="277549"/>
                    <a:pt x="254380" y="276817"/>
                  </a:cubicBezTo>
                  <a:cubicBezTo>
                    <a:pt x="264139" y="273344"/>
                    <a:pt x="269244" y="262605"/>
                    <a:pt x="265753" y="252824"/>
                  </a:cubicBezTo>
                  <a:cubicBezTo>
                    <a:pt x="246553" y="198924"/>
                    <a:pt x="212433" y="151782"/>
                    <a:pt x="167089" y="116468"/>
                  </a:cubicBezTo>
                  <a:cubicBezTo>
                    <a:pt x="139294" y="94822"/>
                    <a:pt x="107914" y="78244"/>
                    <a:pt x="74657" y="67468"/>
                  </a:cubicBezTo>
                  <a:lnTo>
                    <a:pt x="74657" y="67468"/>
                  </a:lnTo>
                  <a:cubicBezTo>
                    <a:pt x="74657" y="67468"/>
                    <a:pt x="124805" y="38143"/>
                    <a:pt x="124805" y="38143"/>
                  </a:cubicBezTo>
                  <a:cubicBezTo>
                    <a:pt x="129516" y="35383"/>
                    <a:pt x="132894" y="30952"/>
                    <a:pt x="134264" y="25658"/>
                  </a:cubicBezTo>
                  <a:cubicBezTo>
                    <a:pt x="135653" y="20364"/>
                    <a:pt x="134902" y="14844"/>
                    <a:pt x="132125" y="10113"/>
                  </a:cubicBezTo>
                  <a:cubicBezTo>
                    <a:pt x="126438" y="388"/>
                    <a:pt x="113882" y="-2897"/>
                    <a:pt x="104141" y="2791"/>
                  </a:cubicBezTo>
                  <a:lnTo>
                    <a:pt x="11221" y="57142"/>
                  </a:lnTo>
                  <a:cubicBezTo>
                    <a:pt x="5816" y="60315"/>
                    <a:pt x="1912" y="65647"/>
                    <a:pt x="542" y="71786"/>
                  </a:cubicBezTo>
                  <a:cubicBezTo>
                    <a:pt x="-828" y="77906"/>
                    <a:pt x="429" y="84402"/>
                    <a:pt x="3976" y="89565"/>
                  </a:cubicBezTo>
                  <a:lnTo>
                    <a:pt x="64916" y="178310"/>
                  </a:ln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88" name="Freeform 8">
              <a:extLst>
                <a:ext uri="{FF2B5EF4-FFF2-40B4-BE49-F238E27FC236}">
                  <a16:creationId xmlns:a16="http://schemas.microsoft.com/office/drawing/2014/main" id="{72093124-70B2-56A3-622B-33972079C35D}"/>
                </a:ext>
              </a:extLst>
            </p:cNvPr>
            <p:cNvSpPr/>
            <p:nvPr/>
          </p:nvSpPr>
          <p:spPr>
            <a:xfrm>
              <a:off x="8354101" y="3326922"/>
              <a:ext cx="44029" cy="46588"/>
            </a:xfrm>
            <a:custGeom>
              <a:avLst/>
              <a:gdLst>
                <a:gd name="connsiteX0" fmla="*/ 36458 w 262650"/>
                <a:gd name="connsiteY0" fmla="*/ 12469 h 277915"/>
                <a:gd name="connsiteX1" fmla="*/ 12472 w 262650"/>
                <a:gd name="connsiteY1" fmla="*/ 1092 h 277915"/>
                <a:gd name="connsiteX2" fmla="*/ 1099 w 262650"/>
                <a:gd name="connsiteY2" fmla="*/ 25085 h 277915"/>
                <a:gd name="connsiteX3" fmla="*/ 99762 w 262650"/>
                <a:gd name="connsiteY3" fmla="*/ 161441 h 277915"/>
                <a:gd name="connsiteX4" fmla="*/ 192195 w 262650"/>
                <a:gd name="connsiteY4" fmla="*/ 210441 h 277915"/>
                <a:gd name="connsiteX5" fmla="*/ 192195 w 262650"/>
                <a:gd name="connsiteY5" fmla="*/ 210441 h 277915"/>
                <a:gd name="connsiteX6" fmla="*/ 142047 w 262650"/>
                <a:gd name="connsiteY6" fmla="*/ 239766 h 277915"/>
                <a:gd name="connsiteX7" fmla="*/ 132588 w 262650"/>
                <a:gd name="connsiteY7" fmla="*/ 252251 h 277915"/>
                <a:gd name="connsiteX8" fmla="*/ 134727 w 262650"/>
                <a:gd name="connsiteY8" fmla="*/ 267796 h 277915"/>
                <a:gd name="connsiteX9" fmla="*/ 152426 w 262650"/>
                <a:gd name="connsiteY9" fmla="*/ 277915 h 277915"/>
                <a:gd name="connsiteX10" fmla="*/ 162710 w 262650"/>
                <a:gd name="connsiteY10" fmla="*/ 275118 h 277915"/>
                <a:gd name="connsiteX11" fmla="*/ 246604 w 262650"/>
                <a:gd name="connsiteY11" fmla="*/ 226042 h 277915"/>
                <a:gd name="connsiteX12" fmla="*/ 261881 w 262650"/>
                <a:gd name="connsiteY12" fmla="*/ 205128 h 277915"/>
                <a:gd name="connsiteX13" fmla="*/ 256963 w 262650"/>
                <a:gd name="connsiteY13" fmla="*/ 179727 h 277915"/>
                <a:gd name="connsiteX14" fmla="*/ 201954 w 262650"/>
                <a:gd name="connsiteY14" fmla="*/ 99599 h 277915"/>
                <a:gd name="connsiteX15" fmla="*/ 185026 w 262650"/>
                <a:gd name="connsiteY15" fmla="*/ 90719 h 277915"/>
                <a:gd name="connsiteX16" fmla="*/ 173502 w 262650"/>
                <a:gd name="connsiteY16" fmla="*/ 94305 h 277915"/>
                <a:gd name="connsiteX17" fmla="*/ 164963 w 262650"/>
                <a:gd name="connsiteY17" fmla="*/ 107447 h 277915"/>
                <a:gd name="connsiteX18" fmla="*/ 168209 w 262650"/>
                <a:gd name="connsiteY18" fmla="*/ 122785 h 277915"/>
                <a:gd name="connsiteX19" fmla="*/ 203906 w 262650"/>
                <a:gd name="connsiteY19" fmla="*/ 174752 h 277915"/>
                <a:gd name="connsiteX20" fmla="*/ 203906 w 262650"/>
                <a:gd name="connsiteY20" fmla="*/ 174752 h 277915"/>
                <a:gd name="connsiteX21" fmla="*/ 122828 w 262650"/>
                <a:gd name="connsiteY21" fmla="*/ 131797 h 277915"/>
                <a:gd name="connsiteX22" fmla="*/ 36458 w 262650"/>
                <a:gd name="connsiteY22" fmla="*/ 12469 h 277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2650" h="277915">
                  <a:moveTo>
                    <a:pt x="36458" y="12469"/>
                  </a:moveTo>
                  <a:cubicBezTo>
                    <a:pt x="32986" y="2706"/>
                    <a:pt x="22232" y="-2381"/>
                    <a:pt x="12472" y="1092"/>
                  </a:cubicBezTo>
                  <a:cubicBezTo>
                    <a:pt x="2713" y="4565"/>
                    <a:pt x="-2392" y="15304"/>
                    <a:pt x="1099" y="25085"/>
                  </a:cubicBezTo>
                  <a:cubicBezTo>
                    <a:pt x="20299" y="78985"/>
                    <a:pt x="54419" y="126127"/>
                    <a:pt x="99762" y="161441"/>
                  </a:cubicBezTo>
                  <a:cubicBezTo>
                    <a:pt x="127558" y="183087"/>
                    <a:pt x="158938" y="199665"/>
                    <a:pt x="192195" y="210441"/>
                  </a:cubicBezTo>
                  <a:lnTo>
                    <a:pt x="192195" y="210441"/>
                  </a:lnTo>
                  <a:cubicBezTo>
                    <a:pt x="192195" y="210441"/>
                    <a:pt x="142047" y="239766"/>
                    <a:pt x="142047" y="239766"/>
                  </a:cubicBezTo>
                  <a:cubicBezTo>
                    <a:pt x="137336" y="242526"/>
                    <a:pt x="133977" y="246957"/>
                    <a:pt x="132588" y="252251"/>
                  </a:cubicBezTo>
                  <a:cubicBezTo>
                    <a:pt x="131199" y="257545"/>
                    <a:pt x="131950" y="263065"/>
                    <a:pt x="134727" y="267796"/>
                  </a:cubicBezTo>
                  <a:cubicBezTo>
                    <a:pt x="138537" y="274292"/>
                    <a:pt x="145387" y="277915"/>
                    <a:pt x="152426" y="277915"/>
                  </a:cubicBezTo>
                  <a:cubicBezTo>
                    <a:pt x="155916" y="277915"/>
                    <a:pt x="159482" y="277014"/>
                    <a:pt x="162710" y="275118"/>
                  </a:cubicBezTo>
                  <a:lnTo>
                    <a:pt x="246604" y="226042"/>
                  </a:lnTo>
                  <a:cubicBezTo>
                    <a:pt x="254355" y="221518"/>
                    <a:pt x="259910" y="213896"/>
                    <a:pt x="261881" y="205128"/>
                  </a:cubicBezTo>
                  <a:cubicBezTo>
                    <a:pt x="263833" y="196379"/>
                    <a:pt x="262031" y="187124"/>
                    <a:pt x="256963" y="179727"/>
                  </a:cubicBezTo>
                  <a:lnTo>
                    <a:pt x="201954" y="99599"/>
                  </a:lnTo>
                  <a:cubicBezTo>
                    <a:pt x="197976" y="93836"/>
                    <a:pt x="191557" y="90719"/>
                    <a:pt x="185026" y="90719"/>
                  </a:cubicBezTo>
                  <a:cubicBezTo>
                    <a:pt x="181047" y="90719"/>
                    <a:pt x="177030" y="91883"/>
                    <a:pt x="173502" y="94305"/>
                  </a:cubicBezTo>
                  <a:cubicBezTo>
                    <a:pt x="168998" y="97403"/>
                    <a:pt x="165957" y="102059"/>
                    <a:pt x="164963" y="107447"/>
                  </a:cubicBezTo>
                  <a:cubicBezTo>
                    <a:pt x="163949" y="112816"/>
                    <a:pt x="165113" y="118279"/>
                    <a:pt x="168209" y="122785"/>
                  </a:cubicBezTo>
                  <a:lnTo>
                    <a:pt x="203906" y="174752"/>
                  </a:lnTo>
                  <a:lnTo>
                    <a:pt x="203906" y="174752"/>
                  </a:lnTo>
                  <a:cubicBezTo>
                    <a:pt x="174741" y="165308"/>
                    <a:pt x="147208" y="150777"/>
                    <a:pt x="122828" y="131797"/>
                  </a:cubicBezTo>
                  <a:cubicBezTo>
                    <a:pt x="83115" y="100876"/>
                    <a:pt x="53255" y="59610"/>
                    <a:pt x="36458" y="12469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89" name="Freeform 9">
              <a:extLst>
                <a:ext uri="{FF2B5EF4-FFF2-40B4-BE49-F238E27FC236}">
                  <a16:creationId xmlns:a16="http://schemas.microsoft.com/office/drawing/2014/main" id="{7C4D9BB2-6822-803C-31CE-8257CEE36704}"/>
                </a:ext>
              </a:extLst>
            </p:cNvPr>
            <p:cNvSpPr/>
            <p:nvPr/>
          </p:nvSpPr>
          <p:spPr>
            <a:xfrm>
              <a:off x="8397257" y="3472848"/>
              <a:ext cx="46575" cy="44234"/>
            </a:xfrm>
            <a:custGeom>
              <a:avLst/>
              <a:gdLst>
                <a:gd name="connsiteX0" fmla="*/ 224551 w 277839"/>
                <a:gd name="connsiteY0" fmla="*/ 14741 h 263872"/>
                <a:gd name="connsiteX1" fmla="*/ 205333 w 277839"/>
                <a:gd name="connsiteY1" fmla="*/ 716 h 263872"/>
                <a:gd name="connsiteX2" fmla="*/ 181985 w 277839"/>
                <a:gd name="connsiteY2" fmla="*/ 5222 h 263872"/>
                <a:gd name="connsiteX3" fmla="*/ 99575 w 277839"/>
                <a:gd name="connsiteY3" fmla="*/ 61845 h 263872"/>
                <a:gd name="connsiteX4" fmla="*/ 90697 w 277839"/>
                <a:gd name="connsiteY4" fmla="*/ 78741 h 263872"/>
                <a:gd name="connsiteX5" fmla="*/ 94282 w 277839"/>
                <a:gd name="connsiteY5" fmla="*/ 90306 h 263872"/>
                <a:gd name="connsiteX6" fmla="*/ 107420 w 277839"/>
                <a:gd name="connsiteY6" fmla="*/ 98848 h 263872"/>
                <a:gd name="connsiteX7" fmla="*/ 122734 w 277839"/>
                <a:gd name="connsiteY7" fmla="*/ 95600 h 263872"/>
                <a:gd name="connsiteX8" fmla="*/ 174703 w 277839"/>
                <a:gd name="connsiteY8" fmla="*/ 59892 h 263872"/>
                <a:gd name="connsiteX9" fmla="*/ 131762 w 277839"/>
                <a:gd name="connsiteY9" fmla="*/ 140996 h 263872"/>
                <a:gd name="connsiteX10" fmla="*/ 12472 w 277839"/>
                <a:gd name="connsiteY10" fmla="*/ 227394 h 263872"/>
                <a:gd name="connsiteX11" fmla="*/ 1099 w 277839"/>
                <a:gd name="connsiteY11" fmla="*/ 251388 h 263872"/>
                <a:gd name="connsiteX12" fmla="*/ 18778 w 277839"/>
                <a:gd name="connsiteY12" fmla="*/ 263872 h 263872"/>
                <a:gd name="connsiteX13" fmla="*/ 25084 w 277839"/>
                <a:gd name="connsiteY13" fmla="*/ 262783 h 263872"/>
                <a:gd name="connsiteX14" fmla="*/ 161397 w 277839"/>
                <a:gd name="connsiteY14" fmla="*/ 164088 h 263872"/>
                <a:gd name="connsiteX15" fmla="*/ 210400 w 277839"/>
                <a:gd name="connsiteY15" fmla="*/ 71607 h 263872"/>
                <a:gd name="connsiteX16" fmla="*/ 210400 w 277839"/>
                <a:gd name="connsiteY16" fmla="*/ 71607 h 263872"/>
                <a:gd name="connsiteX17" fmla="*/ 239716 w 277839"/>
                <a:gd name="connsiteY17" fmla="*/ 121790 h 263872"/>
                <a:gd name="connsiteX18" fmla="*/ 252196 w 277839"/>
                <a:gd name="connsiteY18" fmla="*/ 131271 h 263872"/>
                <a:gd name="connsiteX19" fmla="*/ 257414 w 277839"/>
                <a:gd name="connsiteY19" fmla="*/ 131947 h 263872"/>
                <a:gd name="connsiteX20" fmla="*/ 267718 w 277839"/>
                <a:gd name="connsiteY20" fmla="*/ 129131 h 263872"/>
                <a:gd name="connsiteX21" fmla="*/ 275037 w 277839"/>
                <a:gd name="connsiteY21" fmla="*/ 101139 h 263872"/>
                <a:gd name="connsiteX22" fmla="*/ 224570 w 277839"/>
                <a:gd name="connsiteY22" fmla="*/ 14778 h 263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77839" h="263872">
                  <a:moveTo>
                    <a:pt x="224551" y="14741"/>
                  </a:moveTo>
                  <a:cubicBezTo>
                    <a:pt x="220385" y="7625"/>
                    <a:pt x="213384" y="2500"/>
                    <a:pt x="205333" y="716"/>
                  </a:cubicBezTo>
                  <a:cubicBezTo>
                    <a:pt x="197300" y="-1086"/>
                    <a:pt x="188779" y="547"/>
                    <a:pt x="181985" y="5222"/>
                  </a:cubicBezTo>
                  <a:lnTo>
                    <a:pt x="99575" y="61845"/>
                  </a:lnTo>
                  <a:cubicBezTo>
                    <a:pt x="93794" y="65806"/>
                    <a:pt x="90697" y="72227"/>
                    <a:pt x="90697" y="78741"/>
                  </a:cubicBezTo>
                  <a:cubicBezTo>
                    <a:pt x="90697" y="82740"/>
                    <a:pt x="91861" y="86777"/>
                    <a:pt x="94282" y="90306"/>
                  </a:cubicBezTo>
                  <a:cubicBezTo>
                    <a:pt x="97360" y="94812"/>
                    <a:pt x="102033" y="97853"/>
                    <a:pt x="107420" y="98848"/>
                  </a:cubicBezTo>
                  <a:cubicBezTo>
                    <a:pt x="112787" y="99862"/>
                    <a:pt x="118230" y="98698"/>
                    <a:pt x="122734" y="95600"/>
                  </a:cubicBezTo>
                  <a:lnTo>
                    <a:pt x="174703" y="59892"/>
                  </a:lnTo>
                  <a:cubicBezTo>
                    <a:pt x="165263" y="89067"/>
                    <a:pt x="150736" y="116609"/>
                    <a:pt x="131762" y="140996"/>
                  </a:cubicBezTo>
                  <a:cubicBezTo>
                    <a:pt x="100851" y="180722"/>
                    <a:pt x="59599" y="210592"/>
                    <a:pt x="12472" y="227394"/>
                  </a:cubicBezTo>
                  <a:cubicBezTo>
                    <a:pt x="2713" y="230868"/>
                    <a:pt x="-2392" y="241606"/>
                    <a:pt x="1099" y="251388"/>
                  </a:cubicBezTo>
                  <a:cubicBezTo>
                    <a:pt x="3839" y="259066"/>
                    <a:pt x="11065" y="263872"/>
                    <a:pt x="18778" y="263872"/>
                  </a:cubicBezTo>
                  <a:cubicBezTo>
                    <a:pt x="20862" y="263872"/>
                    <a:pt x="23001" y="263516"/>
                    <a:pt x="25084" y="262783"/>
                  </a:cubicBezTo>
                  <a:cubicBezTo>
                    <a:pt x="78967" y="243578"/>
                    <a:pt x="126094" y="209446"/>
                    <a:pt x="161397" y="164088"/>
                  </a:cubicBezTo>
                  <a:cubicBezTo>
                    <a:pt x="183036" y="136284"/>
                    <a:pt x="199608" y="104875"/>
                    <a:pt x="210400" y="71607"/>
                  </a:cubicBezTo>
                  <a:lnTo>
                    <a:pt x="210400" y="71607"/>
                  </a:lnTo>
                  <a:cubicBezTo>
                    <a:pt x="210400" y="71607"/>
                    <a:pt x="239716" y="121790"/>
                    <a:pt x="239716" y="121790"/>
                  </a:cubicBezTo>
                  <a:cubicBezTo>
                    <a:pt x="242475" y="126521"/>
                    <a:pt x="246904" y="129882"/>
                    <a:pt x="252196" y="131271"/>
                  </a:cubicBezTo>
                  <a:cubicBezTo>
                    <a:pt x="253923" y="131722"/>
                    <a:pt x="255668" y="131947"/>
                    <a:pt x="257414" y="131947"/>
                  </a:cubicBezTo>
                  <a:cubicBezTo>
                    <a:pt x="260999" y="131947"/>
                    <a:pt x="264546" y="130990"/>
                    <a:pt x="267718" y="129131"/>
                  </a:cubicBezTo>
                  <a:cubicBezTo>
                    <a:pt x="277458" y="123424"/>
                    <a:pt x="280743" y="110864"/>
                    <a:pt x="275037" y="101139"/>
                  </a:cubicBezTo>
                  <a:lnTo>
                    <a:pt x="224570" y="14778"/>
                  </a:ln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90" name="Freeform 10">
              <a:extLst>
                <a:ext uri="{FF2B5EF4-FFF2-40B4-BE49-F238E27FC236}">
                  <a16:creationId xmlns:a16="http://schemas.microsoft.com/office/drawing/2014/main" id="{9AB5DF38-2D62-CDC9-3275-667C4615A1FD}"/>
                </a:ext>
              </a:extLst>
            </p:cNvPr>
            <p:cNvSpPr/>
            <p:nvPr/>
          </p:nvSpPr>
          <p:spPr>
            <a:xfrm>
              <a:off x="8352837" y="3432692"/>
              <a:ext cx="46575" cy="44119"/>
            </a:xfrm>
            <a:custGeom>
              <a:avLst/>
              <a:gdLst>
                <a:gd name="connsiteX0" fmla="*/ 265363 w 277835"/>
                <a:gd name="connsiteY0" fmla="*/ 36470 h 263184"/>
                <a:gd name="connsiteX1" fmla="*/ 276737 w 277835"/>
                <a:gd name="connsiteY1" fmla="*/ 12476 h 263184"/>
                <a:gd name="connsiteX2" fmla="*/ 252751 w 277835"/>
                <a:gd name="connsiteY2" fmla="*/ 1099 h 263184"/>
                <a:gd name="connsiteX3" fmla="*/ 116439 w 277835"/>
                <a:gd name="connsiteY3" fmla="*/ 99794 h 263184"/>
                <a:gd name="connsiteX4" fmla="*/ 67454 w 277835"/>
                <a:gd name="connsiteY4" fmla="*/ 192257 h 263184"/>
                <a:gd name="connsiteX5" fmla="*/ 67454 w 277835"/>
                <a:gd name="connsiteY5" fmla="*/ 192257 h 263184"/>
                <a:gd name="connsiteX6" fmla="*/ 38139 w 277835"/>
                <a:gd name="connsiteY6" fmla="*/ 142092 h 263184"/>
                <a:gd name="connsiteX7" fmla="*/ 25639 w 277835"/>
                <a:gd name="connsiteY7" fmla="*/ 132630 h 263184"/>
                <a:gd name="connsiteX8" fmla="*/ 10118 w 277835"/>
                <a:gd name="connsiteY8" fmla="*/ 134770 h 263184"/>
                <a:gd name="connsiteX9" fmla="*/ 2799 w 277835"/>
                <a:gd name="connsiteY9" fmla="*/ 162763 h 263184"/>
                <a:gd name="connsiteX10" fmla="*/ 52421 w 277835"/>
                <a:gd name="connsiteY10" fmla="*/ 247659 h 263184"/>
                <a:gd name="connsiteX11" fmla="*/ 72634 w 277835"/>
                <a:gd name="connsiteY11" fmla="*/ 262434 h 263184"/>
                <a:gd name="connsiteX12" fmla="*/ 79447 w 277835"/>
                <a:gd name="connsiteY12" fmla="*/ 263185 h 263184"/>
                <a:gd name="connsiteX13" fmla="*/ 97221 w 277835"/>
                <a:gd name="connsiteY13" fmla="*/ 257684 h 263184"/>
                <a:gd name="connsiteX14" fmla="*/ 178261 w 277835"/>
                <a:gd name="connsiteY14" fmla="*/ 202000 h 263184"/>
                <a:gd name="connsiteX15" fmla="*/ 187119 w 277835"/>
                <a:gd name="connsiteY15" fmla="*/ 185104 h 263184"/>
                <a:gd name="connsiteX16" fmla="*/ 183553 w 277835"/>
                <a:gd name="connsiteY16" fmla="*/ 173558 h 263184"/>
                <a:gd name="connsiteX17" fmla="*/ 170416 w 277835"/>
                <a:gd name="connsiteY17" fmla="*/ 164997 h 263184"/>
                <a:gd name="connsiteX18" fmla="*/ 155082 w 277835"/>
                <a:gd name="connsiteY18" fmla="*/ 168263 h 263184"/>
                <a:gd name="connsiteX19" fmla="*/ 103114 w 277835"/>
                <a:gd name="connsiteY19" fmla="*/ 203972 h 263184"/>
                <a:gd name="connsiteX20" fmla="*/ 146074 w 277835"/>
                <a:gd name="connsiteY20" fmla="*/ 122868 h 263184"/>
                <a:gd name="connsiteX21" fmla="*/ 265363 w 277835"/>
                <a:gd name="connsiteY21" fmla="*/ 36470 h 263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77835" h="263184">
                  <a:moveTo>
                    <a:pt x="265363" y="36470"/>
                  </a:moveTo>
                  <a:cubicBezTo>
                    <a:pt x="275123" y="32996"/>
                    <a:pt x="280228" y="22258"/>
                    <a:pt x="276737" y="12476"/>
                  </a:cubicBezTo>
                  <a:cubicBezTo>
                    <a:pt x="273265" y="2714"/>
                    <a:pt x="262529" y="-2393"/>
                    <a:pt x="252751" y="1099"/>
                  </a:cubicBezTo>
                  <a:cubicBezTo>
                    <a:pt x="198868" y="20305"/>
                    <a:pt x="151742" y="54436"/>
                    <a:pt x="116439" y="99794"/>
                  </a:cubicBezTo>
                  <a:cubicBezTo>
                    <a:pt x="94799" y="127599"/>
                    <a:pt x="78227" y="158989"/>
                    <a:pt x="67454" y="192257"/>
                  </a:cubicBezTo>
                  <a:lnTo>
                    <a:pt x="67454" y="192257"/>
                  </a:lnTo>
                  <a:cubicBezTo>
                    <a:pt x="67454" y="192257"/>
                    <a:pt x="38139" y="142092"/>
                    <a:pt x="38139" y="142092"/>
                  </a:cubicBezTo>
                  <a:cubicBezTo>
                    <a:pt x="35380" y="137380"/>
                    <a:pt x="30932" y="134001"/>
                    <a:pt x="25639" y="132630"/>
                  </a:cubicBezTo>
                  <a:cubicBezTo>
                    <a:pt x="20347" y="131241"/>
                    <a:pt x="14848" y="131992"/>
                    <a:pt x="10118" y="134770"/>
                  </a:cubicBezTo>
                  <a:cubicBezTo>
                    <a:pt x="396" y="140459"/>
                    <a:pt x="-2907" y="153019"/>
                    <a:pt x="2799" y="162763"/>
                  </a:cubicBezTo>
                  <a:lnTo>
                    <a:pt x="52421" y="247659"/>
                  </a:lnTo>
                  <a:cubicBezTo>
                    <a:pt x="56813" y="255150"/>
                    <a:pt x="64170" y="260538"/>
                    <a:pt x="72634" y="262434"/>
                  </a:cubicBezTo>
                  <a:cubicBezTo>
                    <a:pt x="74887" y="262941"/>
                    <a:pt x="77176" y="263185"/>
                    <a:pt x="79447" y="263185"/>
                  </a:cubicBezTo>
                  <a:cubicBezTo>
                    <a:pt x="85734" y="263185"/>
                    <a:pt x="91965" y="261289"/>
                    <a:pt x="97221" y="257684"/>
                  </a:cubicBezTo>
                  <a:lnTo>
                    <a:pt x="178261" y="202000"/>
                  </a:lnTo>
                  <a:cubicBezTo>
                    <a:pt x="184023" y="198039"/>
                    <a:pt x="187119" y="191618"/>
                    <a:pt x="187119" y="185104"/>
                  </a:cubicBezTo>
                  <a:cubicBezTo>
                    <a:pt x="187119" y="181105"/>
                    <a:pt x="185975" y="177087"/>
                    <a:pt x="183553" y="173558"/>
                  </a:cubicBezTo>
                  <a:cubicBezTo>
                    <a:pt x="180457" y="169033"/>
                    <a:pt x="175784" y="165992"/>
                    <a:pt x="170416" y="164997"/>
                  </a:cubicBezTo>
                  <a:cubicBezTo>
                    <a:pt x="165029" y="164002"/>
                    <a:pt x="159587" y="165166"/>
                    <a:pt x="155082" y="168263"/>
                  </a:cubicBezTo>
                  <a:lnTo>
                    <a:pt x="103114" y="203972"/>
                  </a:lnTo>
                  <a:cubicBezTo>
                    <a:pt x="112554" y="174797"/>
                    <a:pt x="127080" y="147255"/>
                    <a:pt x="146074" y="122868"/>
                  </a:cubicBezTo>
                  <a:cubicBezTo>
                    <a:pt x="176985" y="83142"/>
                    <a:pt x="218237" y="53272"/>
                    <a:pt x="265363" y="36470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91" name="Freeform 11">
              <a:extLst>
                <a:ext uri="{FF2B5EF4-FFF2-40B4-BE49-F238E27FC236}">
                  <a16:creationId xmlns:a16="http://schemas.microsoft.com/office/drawing/2014/main" id="{65F837F6-0349-9D13-CDF9-33AC397D0AD4}"/>
                </a:ext>
              </a:extLst>
            </p:cNvPr>
            <p:cNvSpPr/>
            <p:nvPr/>
          </p:nvSpPr>
          <p:spPr>
            <a:xfrm>
              <a:off x="8500675" y="3473807"/>
              <a:ext cx="43822" cy="46593"/>
            </a:xfrm>
            <a:custGeom>
              <a:avLst/>
              <a:gdLst>
                <a:gd name="connsiteX0" fmla="*/ 201936 w 261415"/>
                <a:gd name="connsiteY0" fmla="*/ 99607 h 277941"/>
                <a:gd name="connsiteX1" fmla="*/ 185044 w 261415"/>
                <a:gd name="connsiteY1" fmla="*/ 90745 h 277941"/>
                <a:gd name="connsiteX2" fmla="*/ 173502 w 261415"/>
                <a:gd name="connsiteY2" fmla="*/ 94312 h 277941"/>
                <a:gd name="connsiteX3" fmla="*/ 164944 w 261415"/>
                <a:gd name="connsiteY3" fmla="*/ 107454 h 277941"/>
                <a:gd name="connsiteX4" fmla="*/ 168191 w 261415"/>
                <a:gd name="connsiteY4" fmla="*/ 122793 h 277941"/>
                <a:gd name="connsiteX5" fmla="*/ 203887 w 261415"/>
                <a:gd name="connsiteY5" fmla="*/ 174759 h 277941"/>
                <a:gd name="connsiteX6" fmla="*/ 122828 w 261415"/>
                <a:gd name="connsiteY6" fmla="*/ 131804 h 277941"/>
                <a:gd name="connsiteX7" fmla="*/ 36458 w 261415"/>
                <a:gd name="connsiteY7" fmla="*/ 12476 h 277941"/>
                <a:gd name="connsiteX8" fmla="*/ 12472 w 261415"/>
                <a:gd name="connsiteY8" fmla="*/ 1099 h 277941"/>
                <a:gd name="connsiteX9" fmla="*/ 1099 w 261415"/>
                <a:gd name="connsiteY9" fmla="*/ 25092 h 277941"/>
                <a:gd name="connsiteX10" fmla="*/ 99762 w 261415"/>
                <a:gd name="connsiteY10" fmla="*/ 161448 h 277941"/>
                <a:gd name="connsiteX11" fmla="*/ 192214 w 261415"/>
                <a:gd name="connsiteY11" fmla="*/ 210467 h 277941"/>
                <a:gd name="connsiteX12" fmla="*/ 192195 w 261415"/>
                <a:gd name="connsiteY12" fmla="*/ 210467 h 277941"/>
                <a:gd name="connsiteX13" fmla="*/ 142047 w 261415"/>
                <a:gd name="connsiteY13" fmla="*/ 239793 h 277941"/>
                <a:gd name="connsiteX14" fmla="*/ 132569 w 261415"/>
                <a:gd name="connsiteY14" fmla="*/ 252296 h 277941"/>
                <a:gd name="connsiteX15" fmla="*/ 134708 w 261415"/>
                <a:gd name="connsiteY15" fmla="*/ 267822 h 277941"/>
                <a:gd name="connsiteX16" fmla="*/ 152407 w 261415"/>
                <a:gd name="connsiteY16" fmla="*/ 277941 h 277941"/>
                <a:gd name="connsiteX17" fmla="*/ 162710 w 261415"/>
                <a:gd name="connsiteY17" fmla="*/ 275144 h 277941"/>
                <a:gd name="connsiteX18" fmla="*/ 243976 w 261415"/>
                <a:gd name="connsiteY18" fmla="*/ 227608 h 277941"/>
                <a:gd name="connsiteX19" fmla="*/ 260567 w 261415"/>
                <a:gd name="connsiteY19" fmla="*/ 204873 h 277941"/>
                <a:gd name="connsiteX20" fmla="*/ 255237 w 261415"/>
                <a:gd name="connsiteY20" fmla="*/ 177256 h 277941"/>
                <a:gd name="connsiteX21" fmla="*/ 201936 w 261415"/>
                <a:gd name="connsiteY21" fmla="*/ 99625 h 277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61415" h="277941">
                  <a:moveTo>
                    <a:pt x="201936" y="99607"/>
                  </a:moveTo>
                  <a:cubicBezTo>
                    <a:pt x="197976" y="93843"/>
                    <a:pt x="191557" y="90745"/>
                    <a:pt x="185044" y="90745"/>
                  </a:cubicBezTo>
                  <a:cubicBezTo>
                    <a:pt x="181047" y="90745"/>
                    <a:pt x="177030" y="91890"/>
                    <a:pt x="173502" y="94312"/>
                  </a:cubicBezTo>
                  <a:cubicBezTo>
                    <a:pt x="168979" y="97410"/>
                    <a:pt x="165939" y="102066"/>
                    <a:pt x="164944" y="107454"/>
                  </a:cubicBezTo>
                  <a:cubicBezTo>
                    <a:pt x="163949" y="112842"/>
                    <a:pt x="165094" y="118287"/>
                    <a:pt x="168191" y="122793"/>
                  </a:cubicBezTo>
                  <a:lnTo>
                    <a:pt x="203887" y="174759"/>
                  </a:lnTo>
                  <a:cubicBezTo>
                    <a:pt x="174722" y="165316"/>
                    <a:pt x="147189" y="150785"/>
                    <a:pt x="122828" y="131804"/>
                  </a:cubicBezTo>
                  <a:cubicBezTo>
                    <a:pt x="83115" y="100883"/>
                    <a:pt x="53255" y="59618"/>
                    <a:pt x="36458" y="12476"/>
                  </a:cubicBezTo>
                  <a:cubicBezTo>
                    <a:pt x="32986" y="2714"/>
                    <a:pt x="22232" y="-2393"/>
                    <a:pt x="12472" y="1099"/>
                  </a:cubicBezTo>
                  <a:cubicBezTo>
                    <a:pt x="2713" y="4572"/>
                    <a:pt x="-2392" y="15311"/>
                    <a:pt x="1099" y="25092"/>
                  </a:cubicBezTo>
                  <a:cubicBezTo>
                    <a:pt x="20299" y="78993"/>
                    <a:pt x="54419" y="126134"/>
                    <a:pt x="99762" y="161448"/>
                  </a:cubicBezTo>
                  <a:cubicBezTo>
                    <a:pt x="127558" y="183095"/>
                    <a:pt x="158957" y="199672"/>
                    <a:pt x="192214" y="210467"/>
                  </a:cubicBezTo>
                  <a:lnTo>
                    <a:pt x="192195" y="210467"/>
                  </a:lnTo>
                  <a:cubicBezTo>
                    <a:pt x="192195" y="210467"/>
                    <a:pt x="142047" y="239793"/>
                    <a:pt x="142047" y="239793"/>
                  </a:cubicBezTo>
                  <a:cubicBezTo>
                    <a:pt x="137317" y="242552"/>
                    <a:pt x="133958" y="247002"/>
                    <a:pt x="132569" y="252296"/>
                  </a:cubicBezTo>
                  <a:cubicBezTo>
                    <a:pt x="131180" y="257590"/>
                    <a:pt x="131950" y="263091"/>
                    <a:pt x="134708" y="267822"/>
                  </a:cubicBezTo>
                  <a:cubicBezTo>
                    <a:pt x="138518" y="274318"/>
                    <a:pt x="145369" y="277941"/>
                    <a:pt x="152407" y="277941"/>
                  </a:cubicBezTo>
                  <a:cubicBezTo>
                    <a:pt x="155916" y="277941"/>
                    <a:pt x="159464" y="277040"/>
                    <a:pt x="162710" y="275144"/>
                  </a:cubicBezTo>
                  <a:lnTo>
                    <a:pt x="243976" y="227608"/>
                  </a:lnTo>
                  <a:cubicBezTo>
                    <a:pt x="252403" y="222689"/>
                    <a:pt x="258446" y="214391"/>
                    <a:pt x="260567" y="204873"/>
                  </a:cubicBezTo>
                  <a:cubicBezTo>
                    <a:pt x="262707" y="195354"/>
                    <a:pt x="260755" y="185291"/>
                    <a:pt x="255237" y="177256"/>
                  </a:cubicBezTo>
                  <a:lnTo>
                    <a:pt x="201936" y="99625"/>
                  </a:ln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92" name="Freeform 13">
              <a:extLst>
                <a:ext uri="{FF2B5EF4-FFF2-40B4-BE49-F238E27FC236}">
                  <a16:creationId xmlns:a16="http://schemas.microsoft.com/office/drawing/2014/main" id="{5B4BEE79-97ED-3700-27B7-E7F13EA07521}"/>
                </a:ext>
              </a:extLst>
            </p:cNvPr>
            <p:cNvSpPr/>
            <p:nvPr/>
          </p:nvSpPr>
          <p:spPr>
            <a:xfrm>
              <a:off x="8540140" y="3429371"/>
              <a:ext cx="44896" cy="46593"/>
            </a:xfrm>
            <a:custGeom>
              <a:avLst/>
              <a:gdLst>
                <a:gd name="connsiteX0" fmla="*/ 94321 w 267822"/>
                <a:gd name="connsiteY0" fmla="*/ 183622 h 277943"/>
                <a:gd name="connsiteX1" fmla="*/ 102860 w 267822"/>
                <a:gd name="connsiteY1" fmla="*/ 170480 h 277943"/>
                <a:gd name="connsiteX2" fmla="*/ 99613 w 267822"/>
                <a:gd name="connsiteY2" fmla="*/ 155142 h 277943"/>
                <a:gd name="connsiteX3" fmla="*/ 63917 w 267822"/>
                <a:gd name="connsiteY3" fmla="*/ 103175 h 277943"/>
                <a:gd name="connsiteX4" fmla="*/ 144994 w 267822"/>
                <a:gd name="connsiteY4" fmla="*/ 146130 h 277943"/>
                <a:gd name="connsiteX5" fmla="*/ 231365 w 267822"/>
                <a:gd name="connsiteY5" fmla="*/ 265458 h 277943"/>
                <a:gd name="connsiteX6" fmla="*/ 249044 w 267822"/>
                <a:gd name="connsiteY6" fmla="*/ 277943 h 277943"/>
                <a:gd name="connsiteX7" fmla="*/ 255350 w 267822"/>
                <a:gd name="connsiteY7" fmla="*/ 276854 h 277943"/>
                <a:gd name="connsiteX8" fmla="*/ 266724 w 267822"/>
                <a:gd name="connsiteY8" fmla="*/ 252861 h 277943"/>
                <a:gd name="connsiteX9" fmla="*/ 168060 w 267822"/>
                <a:gd name="connsiteY9" fmla="*/ 116505 h 277943"/>
                <a:gd name="connsiteX10" fmla="*/ 75609 w 267822"/>
                <a:gd name="connsiteY10" fmla="*/ 67486 h 277943"/>
                <a:gd name="connsiteX11" fmla="*/ 75609 w 267822"/>
                <a:gd name="connsiteY11" fmla="*/ 67486 h 277943"/>
                <a:gd name="connsiteX12" fmla="*/ 125757 w 267822"/>
                <a:gd name="connsiteY12" fmla="*/ 38142 h 277943"/>
                <a:gd name="connsiteX13" fmla="*/ 135235 w 267822"/>
                <a:gd name="connsiteY13" fmla="*/ 25657 h 277943"/>
                <a:gd name="connsiteX14" fmla="*/ 133095 w 267822"/>
                <a:gd name="connsiteY14" fmla="*/ 10131 h 277943"/>
                <a:gd name="connsiteX15" fmla="*/ 105094 w 267822"/>
                <a:gd name="connsiteY15" fmla="*/ 2790 h 277943"/>
                <a:gd name="connsiteX16" fmla="*/ 10127 w 267822"/>
                <a:gd name="connsiteY16" fmla="*/ 58343 h 277943"/>
                <a:gd name="connsiteX17" fmla="*/ 480 w 267822"/>
                <a:gd name="connsiteY17" fmla="*/ 71560 h 277943"/>
                <a:gd name="connsiteX18" fmla="*/ 3596 w 267822"/>
                <a:gd name="connsiteY18" fmla="*/ 87612 h 277943"/>
                <a:gd name="connsiteX19" fmla="*/ 65868 w 267822"/>
                <a:gd name="connsiteY19" fmla="*/ 178309 h 277943"/>
                <a:gd name="connsiteX20" fmla="*/ 82778 w 267822"/>
                <a:gd name="connsiteY20" fmla="*/ 187189 h 277943"/>
                <a:gd name="connsiteX21" fmla="*/ 94321 w 267822"/>
                <a:gd name="connsiteY21" fmla="*/ 183603 h 277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67822" h="277943">
                  <a:moveTo>
                    <a:pt x="94321" y="183622"/>
                  </a:moveTo>
                  <a:cubicBezTo>
                    <a:pt x="98825" y="180543"/>
                    <a:pt x="101865" y="175868"/>
                    <a:pt x="102860" y="170480"/>
                  </a:cubicBezTo>
                  <a:cubicBezTo>
                    <a:pt x="103855" y="165111"/>
                    <a:pt x="102710" y="159667"/>
                    <a:pt x="99613" y="155142"/>
                  </a:cubicBezTo>
                  <a:lnTo>
                    <a:pt x="63917" y="103175"/>
                  </a:lnTo>
                  <a:cubicBezTo>
                    <a:pt x="93082" y="112619"/>
                    <a:pt x="120615" y="127150"/>
                    <a:pt x="144994" y="146130"/>
                  </a:cubicBezTo>
                  <a:cubicBezTo>
                    <a:pt x="184708" y="177051"/>
                    <a:pt x="214567" y="218317"/>
                    <a:pt x="231365" y="265458"/>
                  </a:cubicBezTo>
                  <a:cubicBezTo>
                    <a:pt x="234105" y="273137"/>
                    <a:pt x="241331" y="277943"/>
                    <a:pt x="249044" y="277943"/>
                  </a:cubicBezTo>
                  <a:cubicBezTo>
                    <a:pt x="251128" y="277943"/>
                    <a:pt x="253267" y="277586"/>
                    <a:pt x="255350" y="276854"/>
                  </a:cubicBezTo>
                  <a:cubicBezTo>
                    <a:pt x="265110" y="273381"/>
                    <a:pt x="270215" y="262642"/>
                    <a:pt x="266724" y="252861"/>
                  </a:cubicBezTo>
                  <a:cubicBezTo>
                    <a:pt x="247524" y="198961"/>
                    <a:pt x="213404" y="151819"/>
                    <a:pt x="168060" y="116505"/>
                  </a:cubicBezTo>
                  <a:cubicBezTo>
                    <a:pt x="140265" y="94858"/>
                    <a:pt x="108866" y="78281"/>
                    <a:pt x="75609" y="67486"/>
                  </a:cubicBezTo>
                  <a:lnTo>
                    <a:pt x="75609" y="67486"/>
                  </a:lnTo>
                  <a:cubicBezTo>
                    <a:pt x="75609" y="67486"/>
                    <a:pt x="125757" y="38142"/>
                    <a:pt x="125757" y="38142"/>
                  </a:cubicBezTo>
                  <a:cubicBezTo>
                    <a:pt x="130487" y="35382"/>
                    <a:pt x="133846" y="30951"/>
                    <a:pt x="135235" y="25657"/>
                  </a:cubicBezTo>
                  <a:cubicBezTo>
                    <a:pt x="136624" y="20363"/>
                    <a:pt x="135854" y="14843"/>
                    <a:pt x="133095" y="10131"/>
                  </a:cubicBezTo>
                  <a:cubicBezTo>
                    <a:pt x="127390" y="387"/>
                    <a:pt x="114834" y="-2898"/>
                    <a:pt x="105094" y="2790"/>
                  </a:cubicBezTo>
                  <a:lnTo>
                    <a:pt x="10127" y="58343"/>
                  </a:lnTo>
                  <a:cubicBezTo>
                    <a:pt x="5248" y="61215"/>
                    <a:pt x="1719" y="66021"/>
                    <a:pt x="480" y="71560"/>
                  </a:cubicBezTo>
                  <a:cubicBezTo>
                    <a:pt x="-739" y="77098"/>
                    <a:pt x="387" y="82937"/>
                    <a:pt x="3596" y="87612"/>
                  </a:cubicBezTo>
                  <a:lnTo>
                    <a:pt x="65868" y="178309"/>
                  </a:lnTo>
                  <a:cubicBezTo>
                    <a:pt x="69828" y="184091"/>
                    <a:pt x="76247" y="187189"/>
                    <a:pt x="82778" y="187189"/>
                  </a:cubicBezTo>
                  <a:cubicBezTo>
                    <a:pt x="86757" y="187189"/>
                    <a:pt x="90792" y="186025"/>
                    <a:pt x="94321" y="18360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93" name="Freeform 19">
              <a:extLst>
                <a:ext uri="{FF2B5EF4-FFF2-40B4-BE49-F238E27FC236}">
                  <a16:creationId xmlns:a16="http://schemas.microsoft.com/office/drawing/2014/main" id="{E59DBEA8-1A1E-4198-ED06-A65CEAA23E98}"/>
                </a:ext>
              </a:extLst>
            </p:cNvPr>
            <p:cNvSpPr/>
            <p:nvPr/>
          </p:nvSpPr>
          <p:spPr>
            <a:xfrm>
              <a:off x="8552075" y="3237870"/>
              <a:ext cx="81977" cy="82003"/>
            </a:xfrm>
            <a:custGeom>
              <a:avLst/>
              <a:gdLst>
                <a:gd name="connsiteX0" fmla="*/ 244510 w 489019"/>
                <a:gd name="connsiteY0" fmla="*/ 489177 h 489176"/>
                <a:gd name="connsiteX1" fmla="*/ 332532 w 489019"/>
                <a:gd name="connsiteY1" fmla="*/ 472768 h 489176"/>
                <a:gd name="connsiteX2" fmla="*/ 401261 w 489019"/>
                <a:gd name="connsiteY2" fmla="*/ 432141 h 489176"/>
                <a:gd name="connsiteX3" fmla="*/ 489020 w 489019"/>
                <a:gd name="connsiteY3" fmla="*/ 244588 h 489176"/>
                <a:gd name="connsiteX4" fmla="*/ 244510 w 489019"/>
                <a:gd name="connsiteY4" fmla="*/ 0 h 489176"/>
                <a:gd name="connsiteX5" fmla="*/ 0 w 489019"/>
                <a:gd name="connsiteY5" fmla="*/ 244588 h 489176"/>
                <a:gd name="connsiteX6" fmla="*/ 244510 w 489019"/>
                <a:gd name="connsiteY6" fmla="*/ 489177 h 489176"/>
                <a:gd name="connsiteX7" fmla="*/ 244510 w 489019"/>
                <a:gd name="connsiteY7" fmla="*/ 451629 h 489176"/>
                <a:gd name="connsiteX8" fmla="*/ 115742 w 489019"/>
                <a:gd name="connsiteY8" fmla="*/ 406552 h 489176"/>
                <a:gd name="connsiteX9" fmla="*/ 152415 w 489019"/>
                <a:gd name="connsiteY9" fmla="*/ 291111 h 489176"/>
                <a:gd name="connsiteX10" fmla="*/ 164464 w 489019"/>
                <a:gd name="connsiteY10" fmla="*/ 276448 h 489176"/>
                <a:gd name="connsiteX11" fmla="*/ 209451 w 489019"/>
                <a:gd name="connsiteY11" fmla="*/ 251516 h 489176"/>
                <a:gd name="connsiteX12" fmla="*/ 224184 w 489019"/>
                <a:gd name="connsiteY12" fmla="*/ 241434 h 489176"/>
                <a:gd name="connsiteX13" fmla="*/ 222063 w 489019"/>
                <a:gd name="connsiteY13" fmla="*/ 226396 h 489176"/>
                <a:gd name="connsiteX14" fmla="*/ 221294 w 489019"/>
                <a:gd name="connsiteY14" fmla="*/ 225533 h 489176"/>
                <a:gd name="connsiteX15" fmla="*/ 210596 w 489019"/>
                <a:gd name="connsiteY15" fmla="*/ 215357 h 489176"/>
                <a:gd name="connsiteX16" fmla="*/ 204928 w 489019"/>
                <a:gd name="connsiteY16" fmla="*/ 206834 h 489176"/>
                <a:gd name="connsiteX17" fmla="*/ 195000 w 489019"/>
                <a:gd name="connsiteY17" fmla="*/ 175087 h 489176"/>
                <a:gd name="connsiteX18" fmla="*/ 195000 w 489019"/>
                <a:gd name="connsiteY18" fmla="*/ 155524 h 489176"/>
                <a:gd name="connsiteX19" fmla="*/ 248752 w 489019"/>
                <a:gd name="connsiteY19" fmla="*/ 102976 h 489176"/>
                <a:gd name="connsiteX20" fmla="*/ 302128 w 489019"/>
                <a:gd name="connsiteY20" fmla="*/ 155524 h 489176"/>
                <a:gd name="connsiteX21" fmla="*/ 302128 w 489019"/>
                <a:gd name="connsiteY21" fmla="*/ 175087 h 489176"/>
                <a:gd name="connsiteX22" fmla="*/ 275046 w 489019"/>
                <a:gd name="connsiteY22" fmla="*/ 226396 h 489176"/>
                <a:gd name="connsiteX23" fmla="*/ 272944 w 489019"/>
                <a:gd name="connsiteY23" fmla="*/ 241434 h 489176"/>
                <a:gd name="connsiteX24" fmla="*/ 287282 w 489019"/>
                <a:gd name="connsiteY24" fmla="*/ 251610 h 489176"/>
                <a:gd name="connsiteX25" fmla="*/ 345182 w 489019"/>
                <a:gd name="connsiteY25" fmla="*/ 291111 h 489176"/>
                <a:gd name="connsiteX26" fmla="*/ 377538 w 489019"/>
                <a:gd name="connsiteY26" fmla="*/ 394218 h 489176"/>
                <a:gd name="connsiteX27" fmla="*/ 378589 w 489019"/>
                <a:gd name="connsiteY27" fmla="*/ 402159 h 489176"/>
                <a:gd name="connsiteX28" fmla="*/ 244510 w 489019"/>
                <a:gd name="connsiteY28" fmla="*/ 451629 h 489176"/>
                <a:gd name="connsiteX29" fmla="*/ 244510 w 489019"/>
                <a:gd name="connsiteY29" fmla="*/ 37548 h 489176"/>
                <a:gd name="connsiteX30" fmla="*/ 451484 w 489019"/>
                <a:gd name="connsiteY30" fmla="*/ 244588 h 489176"/>
                <a:gd name="connsiteX31" fmla="*/ 404995 w 489019"/>
                <a:gd name="connsiteY31" fmla="*/ 375143 h 489176"/>
                <a:gd name="connsiteX32" fmla="*/ 376074 w 489019"/>
                <a:gd name="connsiteY32" fmla="*/ 282944 h 489176"/>
                <a:gd name="connsiteX33" fmla="*/ 315772 w 489019"/>
                <a:gd name="connsiteY33" fmla="*/ 229250 h 489176"/>
                <a:gd name="connsiteX34" fmla="*/ 334033 w 489019"/>
                <a:gd name="connsiteY34" fmla="*/ 175087 h 489176"/>
                <a:gd name="connsiteX35" fmla="*/ 334033 w 489019"/>
                <a:gd name="connsiteY35" fmla="*/ 155524 h 489176"/>
                <a:gd name="connsiteX36" fmla="*/ 248752 w 489019"/>
                <a:gd name="connsiteY36" fmla="*/ 71060 h 489176"/>
                <a:gd name="connsiteX37" fmla="*/ 163094 w 489019"/>
                <a:gd name="connsiteY37" fmla="*/ 155524 h 489176"/>
                <a:gd name="connsiteX38" fmla="*/ 163094 w 489019"/>
                <a:gd name="connsiteY38" fmla="*/ 175087 h 489176"/>
                <a:gd name="connsiteX39" fmla="*/ 177377 w 489019"/>
                <a:gd name="connsiteY39" fmla="*/ 222942 h 489176"/>
                <a:gd name="connsiteX40" fmla="*/ 180961 w 489019"/>
                <a:gd name="connsiteY40" fmla="*/ 228630 h 489176"/>
                <a:gd name="connsiteX41" fmla="*/ 143444 w 489019"/>
                <a:gd name="connsiteY41" fmla="*/ 252436 h 489176"/>
                <a:gd name="connsiteX42" fmla="*/ 143369 w 489019"/>
                <a:gd name="connsiteY42" fmla="*/ 252492 h 489176"/>
                <a:gd name="connsiteX43" fmla="*/ 143294 w 489019"/>
                <a:gd name="connsiteY43" fmla="*/ 252567 h 489176"/>
                <a:gd name="connsiteX44" fmla="*/ 122480 w 489019"/>
                <a:gd name="connsiteY44" fmla="*/ 280071 h 489176"/>
                <a:gd name="connsiteX45" fmla="*/ 122236 w 489019"/>
                <a:gd name="connsiteY45" fmla="*/ 280747 h 489176"/>
                <a:gd name="connsiteX46" fmla="*/ 122011 w 489019"/>
                <a:gd name="connsiteY46" fmla="*/ 281442 h 489176"/>
                <a:gd name="connsiteX47" fmla="*/ 89993 w 489019"/>
                <a:gd name="connsiteY47" fmla="*/ 382165 h 489176"/>
                <a:gd name="connsiteX48" fmla="*/ 37536 w 489019"/>
                <a:gd name="connsiteY48" fmla="*/ 244588 h 489176"/>
                <a:gd name="connsiteX49" fmla="*/ 244510 w 489019"/>
                <a:gd name="connsiteY49" fmla="*/ 37548 h 48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89019" h="489176">
                  <a:moveTo>
                    <a:pt x="244510" y="489177"/>
                  </a:moveTo>
                  <a:cubicBezTo>
                    <a:pt x="275534" y="489177"/>
                    <a:pt x="305206" y="483376"/>
                    <a:pt x="332532" y="472768"/>
                  </a:cubicBezTo>
                  <a:cubicBezTo>
                    <a:pt x="357719" y="463025"/>
                    <a:pt x="380897" y="449226"/>
                    <a:pt x="401261" y="432141"/>
                  </a:cubicBezTo>
                  <a:cubicBezTo>
                    <a:pt x="454862" y="387253"/>
                    <a:pt x="489020" y="319835"/>
                    <a:pt x="489020" y="244588"/>
                  </a:cubicBezTo>
                  <a:cubicBezTo>
                    <a:pt x="489020" y="109734"/>
                    <a:pt x="379321" y="0"/>
                    <a:pt x="244510" y="0"/>
                  </a:cubicBezTo>
                  <a:cubicBezTo>
                    <a:pt x="109699" y="0"/>
                    <a:pt x="0" y="109734"/>
                    <a:pt x="0" y="244588"/>
                  </a:cubicBezTo>
                  <a:cubicBezTo>
                    <a:pt x="0" y="379442"/>
                    <a:pt x="109680" y="489177"/>
                    <a:pt x="244510" y="489177"/>
                  </a:cubicBezTo>
                  <a:close/>
                  <a:moveTo>
                    <a:pt x="244510" y="451629"/>
                  </a:moveTo>
                  <a:cubicBezTo>
                    <a:pt x="195882" y="451629"/>
                    <a:pt x="151101" y="434770"/>
                    <a:pt x="115742" y="406552"/>
                  </a:cubicBezTo>
                  <a:cubicBezTo>
                    <a:pt x="118614" y="397484"/>
                    <a:pt x="127135" y="370637"/>
                    <a:pt x="152415" y="291111"/>
                  </a:cubicBezTo>
                  <a:cubicBezTo>
                    <a:pt x="154536" y="285366"/>
                    <a:pt x="160035" y="280372"/>
                    <a:pt x="164464" y="276448"/>
                  </a:cubicBezTo>
                  <a:cubicBezTo>
                    <a:pt x="177264" y="265221"/>
                    <a:pt x="193367" y="257167"/>
                    <a:pt x="209451" y="251516"/>
                  </a:cubicBezTo>
                  <a:cubicBezTo>
                    <a:pt x="214931" y="249601"/>
                    <a:pt x="221388" y="247010"/>
                    <a:pt x="224184" y="241434"/>
                  </a:cubicBezTo>
                  <a:cubicBezTo>
                    <a:pt x="228238" y="232911"/>
                    <a:pt x="224184" y="228405"/>
                    <a:pt x="222063" y="226396"/>
                  </a:cubicBezTo>
                  <a:cubicBezTo>
                    <a:pt x="221688" y="226002"/>
                    <a:pt x="221557" y="225946"/>
                    <a:pt x="221294" y="225533"/>
                  </a:cubicBezTo>
                  <a:cubicBezTo>
                    <a:pt x="218648" y="221290"/>
                    <a:pt x="213880" y="218999"/>
                    <a:pt x="210596" y="215357"/>
                  </a:cubicBezTo>
                  <a:cubicBezTo>
                    <a:pt x="209357" y="213724"/>
                    <a:pt x="206073" y="208843"/>
                    <a:pt x="204928" y="206834"/>
                  </a:cubicBezTo>
                  <a:cubicBezTo>
                    <a:pt x="199148" y="197053"/>
                    <a:pt x="195000" y="186107"/>
                    <a:pt x="195000" y="175087"/>
                  </a:cubicBezTo>
                  <a:lnTo>
                    <a:pt x="195000" y="155524"/>
                  </a:lnTo>
                  <a:cubicBezTo>
                    <a:pt x="195000" y="126669"/>
                    <a:pt x="219267" y="102976"/>
                    <a:pt x="248752" y="102976"/>
                  </a:cubicBezTo>
                  <a:cubicBezTo>
                    <a:pt x="278236" y="102976"/>
                    <a:pt x="302128" y="126669"/>
                    <a:pt x="302128" y="155524"/>
                  </a:cubicBezTo>
                  <a:lnTo>
                    <a:pt x="302128" y="175087"/>
                  </a:lnTo>
                  <a:cubicBezTo>
                    <a:pt x="302128" y="194161"/>
                    <a:pt x="290173" y="214587"/>
                    <a:pt x="275046" y="226396"/>
                  </a:cubicBezTo>
                  <a:cubicBezTo>
                    <a:pt x="272944" y="228405"/>
                    <a:pt x="269284" y="233681"/>
                    <a:pt x="272944" y="241434"/>
                  </a:cubicBezTo>
                  <a:cubicBezTo>
                    <a:pt x="275834" y="247104"/>
                    <a:pt x="284017" y="249977"/>
                    <a:pt x="287282" y="251610"/>
                  </a:cubicBezTo>
                  <a:cubicBezTo>
                    <a:pt x="343061" y="274420"/>
                    <a:pt x="345182" y="291111"/>
                    <a:pt x="345182" y="291111"/>
                  </a:cubicBezTo>
                  <a:lnTo>
                    <a:pt x="377538" y="394218"/>
                  </a:lnTo>
                  <a:cubicBezTo>
                    <a:pt x="378364" y="396846"/>
                    <a:pt x="378720" y="399531"/>
                    <a:pt x="378589" y="402159"/>
                  </a:cubicBezTo>
                  <a:cubicBezTo>
                    <a:pt x="342442" y="433005"/>
                    <a:pt x="295615" y="451629"/>
                    <a:pt x="244510" y="451629"/>
                  </a:cubicBezTo>
                  <a:close/>
                  <a:moveTo>
                    <a:pt x="244510" y="37548"/>
                  </a:moveTo>
                  <a:cubicBezTo>
                    <a:pt x="358620" y="37548"/>
                    <a:pt x="451484" y="130423"/>
                    <a:pt x="451484" y="244588"/>
                  </a:cubicBezTo>
                  <a:cubicBezTo>
                    <a:pt x="451484" y="294058"/>
                    <a:pt x="434048" y="339491"/>
                    <a:pt x="404995" y="375143"/>
                  </a:cubicBezTo>
                  <a:lnTo>
                    <a:pt x="376074" y="282944"/>
                  </a:lnTo>
                  <a:cubicBezTo>
                    <a:pt x="371382" y="263944"/>
                    <a:pt x="351150" y="245921"/>
                    <a:pt x="315772" y="229250"/>
                  </a:cubicBezTo>
                  <a:cubicBezTo>
                    <a:pt x="327277" y="212860"/>
                    <a:pt x="334033" y="193485"/>
                    <a:pt x="334033" y="175087"/>
                  </a:cubicBezTo>
                  <a:lnTo>
                    <a:pt x="334033" y="155524"/>
                  </a:lnTo>
                  <a:cubicBezTo>
                    <a:pt x="334033" y="108946"/>
                    <a:pt x="295784" y="71060"/>
                    <a:pt x="248752" y="71060"/>
                  </a:cubicBezTo>
                  <a:cubicBezTo>
                    <a:pt x="201719" y="71060"/>
                    <a:pt x="163094" y="108946"/>
                    <a:pt x="163094" y="155524"/>
                  </a:cubicBezTo>
                  <a:lnTo>
                    <a:pt x="163094" y="175087"/>
                  </a:lnTo>
                  <a:cubicBezTo>
                    <a:pt x="163094" y="190763"/>
                    <a:pt x="167899" y="206853"/>
                    <a:pt x="177377" y="222942"/>
                  </a:cubicBezTo>
                  <a:cubicBezTo>
                    <a:pt x="178259" y="224444"/>
                    <a:pt x="179591" y="226547"/>
                    <a:pt x="180961" y="228630"/>
                  </a:cubicBezTo>
                  <a:cubicBezTo>
                    <a:pt x="166491" y="235276"/>
                    <a:pt x="153935" y="243255"/>
                    <a:pt x="143444" y="252436"/>
                  </a:cubicBezTo>
                  <a:lnTo>
                    <a:pt x="143369" y="252492"/>
                  </a:lnTo>
                  <a:lnTo>
                    <a:pt x="143294" y="252567"/>
                  </a:lnTo>
                  <a:cubicBezTo>
                    <a:pt x="137739" y="257486"/>
                    <a:pt x="127435" y="266629"/>
                    <a:pt x="122480" y="280071"/>
                  </a:cubicBezTo>
                  <a:lnTo>
                    <a:pt x="122236" y="280747"/>
                  </a:lnTo>
                  <a:lnTo>
                    <a:pt x="122011" y="281442"/>
                  </a:lnTo>
                  <a:lnTo>
                    <a:pt x="89993" y="382165"/>
                  </a:lnTo>
                  <a:cubicBezTo>
                    <a:pt x="57374" y="345574"/>
                    <a:pt x="37536" y="297362"/>
                    <a:pt x="37536" y="244588"/>
                  </a:cubicBezTo>
                  <a:cubicBezTo>
                    <a:pt x="37536" y="130423"/>
                    <a:pt x="130381" y="37548"/>
                    <a:pt x="244510" y="37548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94" name="Freeform 20">
              <a:extLst>
                <a:ext uri="{FF2B5EF4-FFF2-40B4-BE49-F238E27FC236}">
                  <a16:creationId xmlns:a16="http://schemas.microsoft.com/office/drawing/2014/main" id="{55F23271-C013-651C-313E-634DC52ECF6C}"/>
                </a:ext>
              </a:extLst>
            </p:cNvPr>
            <p:cNvSpPr/>
            <p:nvPr/>
          </p:nvSpPr>
          <p:spPr>
            <a:xfrm>
              <a:off x="8307256" y="3237870"/>
              <a:ext cx="81977" cy="82003"/>
            </a:xfrm>
            <a:custGeom>
              <a:avLst/>
              <a:gdLst>
                <a:gd name="connsiteX0" fmla="*/ 244510 w 489019"/>
                <a:gd name="connsiteY0" fmla="*/ 489177 h 489176"/>
                <a:gd name="connsiteX1" fmla="*/ 333114 w 489019"/>
                <a:gd name="connsiteY1" fmla="*/ 472543 h 489176"/>
                <a:gd name="connsiteX2" fmla="*/ 399384 w 489019"/>
                <a:gd name="connsiteY2" fmla="*/ 433700 h 489176"/>
                <a:gd name="connsiteX3" fmla="*/ 489020 w 489019"/>
                <a:gd name="connsiteY3" fmla="*/ 244588 h 489176"/>
                <a:gd name="connsiteX4" fmla="*/ 244510 w 489019"/>
                <a:gd name="connsiteY4" fmla="*/ 0 h 489176"/>
                <a:gd name="connsiteX5" fmla="*/ 0 w 489019"/>
                <a:gd name="connsiteY5" fmla="*/ 244588 h 489176"/>
                <a:gd name="connsiteX6" fmla="*/ 244510 w 489019"/>
                <a:gd name="connsiteY6" fmla="*/ 489177 h 489176"/>
                <a:gd name="connsiteX7" fmla="*/ 244510 w 489019"/>
                <a:gd name="connsiteY7" fmla="*/ 451629 h 489176"/>
                <a:gd name="connsiteX8" fmla="*/ 115742 w 489019"/>
                <a:gd name="connsiteY8" fmla="*/ 406552 h 489176"/>
                <a:gd name="connsiteX9" fmla="*/ 152415 w 489019"/>
                <a:gd name="connsiteY9" fmla="*/ 291111 h 489176"/>
                <a:gd name="connsiteX10" fmla="*/ 164464 w 489019"/>
                <a:gd name="connsiteY10" fmla="*/ 276448 h 489176"/>
                <a:gd name="connsiteX11" fmla="*/ 209451 w 489019"/>
                <a:gd name="connsiteY11" fmla="*/ 251516 h 489176"/>
                <a:gd name="connsiteX12" fmla="*/ 224203 w 489019"/>
                <a:gd name="connsiteY12" fmla="*/ 241434 h 489176"/>
                <a:gd name="connsiteX13" fmla="*/ 222082 w 489019"/>
                <a:gd name="connsiteY13" fmla="*/ 226396 h 489176"/>
                <a:gd name="connsiteX14" fmla="*/ 221313 w 489019"/>
                <a:gd name="connsiteY14" fmla="*/ 225533 h 489176"/>
                <a:gd name="connsiteX15" fmla="*/ 210746 w 489019"/>
                <a:gd name="connsiteY15" fmla="*/ 215489 h 489176"/>
                <a:gd name="connsiteX16" fmla="*/ 210502 w 489019"/>
                <a:gd name="connsiteY16" fmla="*/ 215226 h 489176"/>
                <a:gd name="connsiteX17" fmla="*/ 204928 w 489019"/>
                <a:gd name="connsiteY17" fmla="*/ 206834 h 489176"/>
                <a:gd name="connsiteX18" fmla="*/ 195000 w 489019"/>
                <a:gd name="connsiteY18" fmla="*/ 175087 h 489176"/>
                <a:gd name="connsiteX19" fmla="*/ 195000 w 489019"/>
                <a:gd name="connsiteY19" fmla="*/ 155524 h 489176"/>
                <a:gd name="connsiteX20" fmla="*/ 248770 w 489019"/>
                <a:gd name="connsiteY20" fmla="*/ 102976 h 489176"/>
                <a:gd name="connsiteX21" fmla="*/ 302128 w 489019"/>
                <a:gd name="connsiteY21" fmla="*/ 155524 h 489176"/>
                <a:gd name="connsiteX22" fmla="*/ 302128 w 489019"/>
                <a:gd name="connsiteY22" fmla="*/ 175087 h 489176"/>
                <a:gd name="connsiteX23" fmla="*/ 275196 w 489019"/>
                <a:gd name="connsiteY23" fmla="*/ 226284 h 489176"/>
                <a:gd name="connsiteX24" fmla="*/ 274952 w 489019"/>
                <a:gd name="connsiteY24" fmla="*/ 226490 h 489176"/>
                <a:gd name="connsiteX25" fmla="*/ 272944 w 489019"/>
                <a:gd name="connsiteY25" fmla="*/ 241434 h 489176"/>
                <a:gd name="connsiteX26" fmla="*/ 287226 w 489019"/>
                <a:gd name="connsiteY26" fmla="*/ 251572 h 489176"/>
                <a:gd name="connsiteX27" fmla="*/ 287376 w 489019"/>
                <a:gd name="connsiteY27" fmla="*/ 251629 h 489176"/>
                <a:gd name="connsiteX28" fmla="*/ 345200 w 489019"/>
                <a:gd name="connsiteY28" fmla="*/ 291111 h 489176"/>
                <a:gd name="connsiteX29" fmla="*/ 376843 w 489019"/>
                <a:gd name="connsiteY29" fmla="*/ 391984 h 489176"/>
                <a:gd name="connsiteX30" fmla="*/ 377913 w 489019"/>
                <a:gd name="connsiteY30" fmla="*/ 402741 h 489176"/>
                <a:gd name="connsiteX31" fmla="*/ 244510 w 489019"/>
                <a:gd name="connsiteY31" fmla="*/ 451629 h 489176"/>
                <a:gd name="connsiteX32" fmla="*/ 244510 w 489019"/>
                <a:gd name="connsiteY32" fmla="*/ 37548 h 489176"/>
                <a:gd name="connsiteX33" fmla="*/ 451484 w 489019"/>
                <a:gd name="connsiteY33" fmla="*/ 244588 h 489176"/>
                <a:gd name="connsiteX34" fmla="*/ 404995 w 489019"/>
                <a:gd name="connsiteY34" fmla="*/ 375143 h 489176"/>
                <a:gd name="connsiteX35" fmla="*/ 376074 w 489019"/>
                <a:gd name="connsiteY35" fmla="*/ 282944 h 489176"/>
                <a:gd name="connsiteX36" fmla="*/ 315772 w 489019"/>
                <a:gd name="connsiteY36" fmla="*/ 229250 h 489176"/>
                <a:gd name="connsiteX37" fmla="*/ 334034 w 489019"/>
                <a:gd name="connsiteY37" fmla="*/ 175087 h 489176"/>
                <a:gd name="connsiteX38" fmla="*/ 334034 w 489019"/>
                <a:gd name="connsiteY38" fmla="*/ 155524 h 489176"/>
                <a:gd name="connsiteX39" fmla="*/ 248770 w 489019"/>
                <a:gd name="connsiteY39" fmla="*/ 71060 h 489176"/>
                <a:gd name="connsiteX40" fmla="*/ 163094 w 489019"/>
                <a:gd name="connsiteY40" fmla="*/ 155524 h 489176"/>
                <a:gd name="connsiteX41" fmla="*/ 163094 w 489019"/>
                <a:gd name="connsiteY41" fmla="*/ 175087 h 489176"/>
                <a:gd name="connsiteX42" fmla="*/ 177377 w 489019"/>
                <a:gd name="connsiteY42" fmla="*/ 222923 h 489176"/>
                <a:gd name="connsiteX43" fmla="*/ 180980 w 489019"/>
                <a:gd name="connsiteY43" fmla="*/ 228630 h 489176"/>
                <a:gd name="connsiteX44" fmla="*/ 143444 w 489019"/>
                <a:gd name="connsiteY44" fmla="*/ 252436 h 489176"/>
                <a:gd name="connsiteX45" fmla="*/ 143369 w 489019"/>
                <a:gd name="connsiteY45" fmla="*/ 252492 h 489176"/>
                <a:gd name="connsiteX46" fmla="*/ 143294 w 489019"/>
                <a:gd name="connsiteY46" fmla="*/ 252567 h 489176"/>
                <a:gd name="connsiteX47" fmla="*/ 122480 w 489019"/>
                <a:gd name="connsiteY47" fmla="*/ 280071 h 489176"/>
                <a:gd name="connsiteX48" fmla="*/ 122236 w 489019"/>
                <a:gd name="connsiteY48" fmla="*/ 280747 h 489176"/>
                <a:gd name="connsiteX49" fmla="*/ 122011 w 489019"/>
                <a:gd name="connsiteY49" fmla="*/ 281442 h 489176"/>
                <a:gd name="connsiteX50" fmla="*/ 90012 w 489019"/>
                <a:gd name="connsiteY50" fmla="*/ 382184 h 489176"/>
                <a:gd name="connsiteX51" fmla="*/ 37536 w 489019"/>
                <a:gd name="connsiteY51" fmla="*/ 244588 h 489176"/>
                <a:gd name="connsiteX52" fmla="*/ 244510 w 489019"/>
                <a:gd name="connsiteY52" fmla="*/ 37548 h 48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489019" h="489176">
                  <a:moveTo>
                    <a:pt x="244510" y="489177"/>
                  </a:moveTo>
                  <a:cubicBezTo>
                    <a:pt x="275740" y="489177"/>
                    <a:pt x="305638" y="483282"/>
                    <a:pt x="333114" y="472543"/>
                  </a:cubicBezTo>
                  <a:cubicBezTo>
                    <a:pt x="357306" y="463118"/>
                    <a:pt x="379640" y="449939"/>
                    <a:pt x="399384" y="433700"/>
                  </a:cubicBezTo>
                  <a:cubicBezTo>
                    <a:pt x="454074" y="388830"/>
                    <a:pt x="489020" y="320717"/>
                    <a:pt x="489020" y="244588"/>
                  </a:cubicBezTo>
                  <a:cubicBezTo>
                    <a:pt x="489020" y="109734"/>
                    <a:pt x="379340" y="0"/>
                    <a:pt x="244510" y="0"/>
                  </a:cubicBezTo>
                  <a:cubicBezTo>
                    <a:pt x="109680" y="0"/>
                    <a:pt x="0" y="109734"/>
                    <a:pt x="0" y="244588"/>
                  </a:cubicBezTo>
                  <a:cubicBezTo>
                    <a:pt x="0" y="379442"/>
                    <a:pt x="109699" y="489177"/>
                    <a:pt x="244510" y="489177"/>
                  </a:cubicBezTo>
                  <a:close/>
                  <a:moveTo>
                    <a:pt x="244510" y="451629"/>
                  </a:moveTo>
                  <a:cubicBezTo>
                    <a:pt x="195863" y="451629"/>
                    <a:pt x="151101" y="434751"/>
                    <a:pt x="115742" y="406552"/>
                  </a:cubicBezTo>
                  <a:lnTo>
                    <a:pt x="152415" y="291111"/>
                  </a:lnTo>
                  <a:cubicBezTo>
                    <a:pt x="154536" y="285366"/>
                    <a:pt x="160035" y="280372"/>
                    <a:pt x="164464" y="276448"/>
                  </a:cubicBezTo>
                  <a:cubicBezTo>
                    <a:pt x="177283" y="265221"/>
                    <a:pt x="193367" y="257167"/>
                    <a:pt x="209451" y="251516"/>
                  </a:cubicBezTo>
                  <a:cubicBezTo>
                    <a:pt x="214950" y="249601"/>
                    <a:pt x="221407" y="247010"/>
                    <a:pt x="224203" y="241434"/>
                  </a:cubicBezTo>
                  <a:cubicBezTo>
                    <a:pt x="228238" y="232911"/>
                    <a:pt x="224203" y="228405"/>
                    <a:pt x="222082" y="226396"/>
                  </a:cubicBezTo>
                  <a:cubicBezTo>
                    <a:pt x="221688" y="226002"/>
                    <a:pt x="221557" y="225946"/>
                    <a:pt x="221313" y="225533"/>
                  </a:cubicBezTo>
                  <a:cubicBezTo>
                    <a:pt x="218685" y="221346"/>
                    <a:pt x="214012" y="219056"/>
                    <a:pt x="210746" y="215489"/>
                  </a:cubicBezTo>
                  <a:cubicBezTo>
                    <a:pt x="210652" y="215414"/>
                    <a:pt x="210577" y="215320"/>
                    <a:pt x="210502" y="215226"/>
                  </a:cubicBezTo>
                  <a:cubicBezTo>
                    <a:pt x="209189" y="213461"/>
                    <a:pt x="206054" y="208786"/>
                    <a:pt x="204928" y="206834"/>
                  </a:cubicBezTo>
                  <a:cubicBezTo>
                    <a:pt x="199148" y="197053"/>
                    <a:pt x="195000" y="186107"/>
                    <a:pt x="195000" y="175087"/>
                  </a:cubicBezTo>
                  <a:lnTo>
                    <a:pt x="195000" y="155524"/>
                  </a:lnTo>
                  <a:cubicBezTo>
                    <a:pt x="195000" y="126669"/>
                    <a:pt x="219286" y="102976"/>
                    <a:pt x="248770" y="102976"/>
                  </a:cubicBezTo>
                  <a:cubicBezTo>
                    <a:pt x="278255" y="102976"/>
                    <a:pt x="302128" y="126669"/>
                    <a:pt x="302128" y="155524"/>
                  </a:cubicBezTo>
                  <a:lnTo>
                    <a:pt x="302128" y="175087"/>
                  </a:lnTo>
                  <a:cubicBezTo>
                    <a:pt x="302128" y="194105"/>
                    <a:pt x="290248" y="214475"/>
                    <a:pt x="275196" y="226284"/>
                  </a:cubicBezTo>
                  <a:cubicBezTo>
                    <a:pt x="275102" y="226359"/>
                    <a:pt x="275027" y="226415"/>
                    <a:pt x="274952" y="226490"/>
                  </a:cubicBezTo>
                  <a:cubicBezTo>
                    <a:pt x="272812" y="228593"/>
                    <a:pt x="269340" y="233812"/>
                    <a:pt x="272944" y="241434"/>
                  </a:cubicBezTo>
                  <a:cubicBezTo>
                    <a:pt x="275815" y="247067"/>
                    <a:pt x="283904" y="249939"/>
                    <a:pt x="287226" y="251572"/>
                  </a:cubicBezTo>
                  <a:cubicBezTo>
                    <a:pt x="287282" y="251591"/>
                    <a:pt x="287320" y="251610"/>
                    <a:pt x="287376" y="251629"/>
                  </a:cubicBezTo>
                  <a:cubicBezTo>
                    <a:pt x="343080" y="274439"/>
                    <a:pt x="345200" y="291111"/>
                    <a:pt x="345200" y="291111"/>
                  </a:cubicBezTo>
                  <a:lnTo>
                    <a:pt x="376843" y="391984"/>
                  </a:lnTo>
                  <a:cubicBezTo>
                    <a:pt x="377970" y="395551"/>
                    <a:pt x="378289" y="399193"/>
                    <a:pt x="377913" y="402741"/>
                  </a:cubicBezTo>
                  <a:cubicBezTo>
                    <a:pt x="341860" y="433230"/>
                    <a:pt x="295296" y="451629"/>
                    <a:pt x="244510" y="451629"/>
                  </a:cubicBezTo>
                  <a:close/>
                  <a:moveTo>
                    <a:pt x="244510" y="37548"/>
                  </a:moveTo>
                  <a:cubicBezTo>
                    <a:pt x="358638" y="37548"/>
                    <a:pt x="451484" y="130423"/>
                    <a:pt x="451484" y="244588"/>
                  </a:cubicBezTo>
                  <a:cubicBezTo>
                    <a:pt x="451484" y="294058"/>
                    <a:pt x="434048" y="339491"/>
                    <a:pt x="404995" y="375143"/>
                  </a:cubicBezTo>
                  <a:lnTo>
                    <a:pt x="376074" y="282944"/>
                  </a:lnTo>
                  <a:cubicBezTo>
                    <a:pt x="371401" y="263944"/>
                    <a:pt x="351150" y="245921"/>
                    <a:pt x="315772" y="229250"/>
                  </a:cubicBezTo>
                  <a:cubicBezTo>
                    <a:pt x="327277" y="212842"/>
                    <a:pt x="334034" y="193467"/>
                    <a:pt x="334034" y="175087"/>
                  </a:cubicBezTo>
                  <a:lnTo>
                    <a:pt x="334034" y="155524"/>
                  </a:lnTo>
                  <a:cubicBezTo>
                    <a:pt x="334034" y="108946"/>
                    <a:pt x="295784" y="71060"/>
                    <a:pt x="248770" y="71060"/>
                  </a:cubicBezTo>
                  <a:cubicBezTo>
                    <a:pt x="201756" y="71060"/>
                    <a:pt x="163094" y="108946"/>
                    <a:pt x="163094" y="155524"/>
                  </a:cubicBezTo>
                  <a:lnTo>
                    <a:pt x="163094" y="175087"/>
                  </a:lnTo>
                  <a:cubicBezTo>
                    <a:pt x="163094" y="190744"/>
                    <a:pt x="167899" y="206853"/>
                    <a:pt x="177377" y="222923"/>
                  </a:cubicBezTo>
                  <a:cubicBezTo>
                    <a:pt x="178296" y="224500"/>
                    <a:pt x="179629" y="226584"/>
                    <a:pt x="180980" y="228630"/>
                  </a:cubicBezTo>
                  <a:cubicBezTo>
                    <a:pt x="166491" y="235276"/>
                    <a:pt x="153935" y="243255"/>
                    <a:pt x="143444" y="252436"/>
                  </a:cubicBezTo>
                  <a:lnTo>
                    <a:pt x="143369" y="252492"/>
                  </a:lnTo>
                  <a:lnTo>
                    <a:pt x="143294" y="252567"/>
                  </a:lnTo>
                  <a:cubicBezTo>
                    <a:pt x="137757" y="257486"/>
                    <a:pt x="127435" y="266629"/>
                    <a:pt x="122480" y="280071"/>
                  </a:cubicBezTo>
                  <a:lnTo>
                    <a:pt x="122236" y="280747"/>
                  </a:lnTo>
                  <a:lnTo>
                    <a:pt x="122011" y="281442"/>
                  </a:lnTo>
                  <a:lnTo>
                    <a:pt x="90012" y="382184"/>
                  </a:lnTo>
                  <a:cubicBezTo>
                    <a:pt x="57374" y="345593"/>
                    <a:pt x="37536" y="297381"/>
                    <a:pt x="37536" y="244588"/>
                  </a:cubicBezTo>
                  <a:cubicBezTo>
                    <a:pt x="37536" y="130423"/>
                    <a:pt x="130382" y="37548"/>
                    <a:pt x="244510" y="37548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95" name="Freeform 21">
              <a:extLst>
                <a:ext uri="{FF2B5EF4-FFF2-40B4-BE49-F238E27FC236}">
                  <a16:creationId xmlns:a16="http://schemas.microsoft.com/office/drawing/2014/main" id="{28A35CA8-2512-D8B4-B1BD-589E63CB9132}"/>
                </a:ext>
              </a:extLst>
            </p:cNvPr>
            <p:cNvSpPr/>
            <p:nvPr/>
          </p:nvSpPr>
          <p:spPr>
            <a:xfrm>
              <a:off x="8552075" y="3483187"/>
              <a:ext cx="81977" cy="82003"/>
            </a:xfrm>
            <a:custGeom>
              <a:avLst/>
              <a:gdLst>
                <a:gd name="connsiteX0" fmla="*/ 244510 w 489019"/>
                <a:gd name="connsiteY0" fmla="*/ 0 h 489176"/>
                <a:gd name="connsiteX1" fmla="*/ 0 w 489019"/>
                <a:gd name="connsiteY1" fmla="*/ 244588 h 489176"/>
                <a:gd name="connsiteX2" fmla="*/ 244510 w 489019"/>
                <a:gd name="connsiteY2" fmla="*/ 489177 h 489176"/>
                <a:gd name="connsiteX3" fmla="*/ 332532 w 489019"/>
                <a:gd name="connsiteY3" fmla="*/ 472768 h 489176"/>
                <a:gd name="connsiteX4" fmla="*/ 401261 w 489019"/>
                <a:gd name="connsiteY4" fmla="*/ 432141 h 489176"/>
                <a:gd name="connsiteX5" fmla="*/ 489020 w 489019"/>
                <a:gd name="connsiteY5" fmla="*/ 244588 h 489176"/>
                <a:gd name="connsiteX6" fmla="*/ 244510 w 489019"/>
                <a:gd name="connsiteY6" fmla="*/ 0 h 489176"/>
                <a:gd name="connsiteX7" fmla="*/ 244510 w 489019"/>
                <a:gd name="connsiteY7" fmla="*/ 451629 h 489176"/>
                <a:gd name="connsiteX8" fmla="*/ 115742 w 489019"/>
                <a:gd name="connsiteY8" fmla="*/ 406552 h 489176"/>
                <a:gd name="connsiteX9" fmla="*/ 152415 w 489019"/>
                <a:gd name="connsiteY9" fmla="*/ 291111 h 489176"/>
                <a:gd name="connsiteX10" fmla="*/ 164464 w 489019"/>
                <a:gd name="connsiteY10" fmla="*/ 276448 h 489176"/>
                <a:gd name="connsiteX11" fmla="*/ 209451 w 489019"/>
                <a:gd name="connsiteY11" fmla="*/ 251516 h 489176"/>
                <a:gd name="connsiteX12" fmla="*/ 224184 w 489019"/>
                <a:gd name="connsiteY12" fmla="*/ 241434 h 489176"/>
                <a:gd name="connsiteX13" fmla="*/ 222063 w 489019"/>
                <a:gd name="connsiteY13" fmla="*/ 226396 h 489176"/>
                <a:gd name="connsiteX14" fmla="*/ 221294 w 489019"/>
                <a:gd name="connsiteY14" fmla="*/ 225533 h 489176"/>
                <a:gd name="connsiteX15" fmla="*/ 210596 w 489019"/>
                <a:gd name="connsiteY15" fmla="*/ 215357 h 489176"/>
                <a:gd name="connsiteX16" fmla="*/ 204928 w 489019"/>
                <a:gd name="connsiteY16" fmla="*/ 206834 h 489176"/>
                <a:gd name="connsiteX17" fmla="*/ 195000 w 489019"/>
                <a:gd name="connsiteY17" fmla="*/ 175087 h 489176"/>
                <a:gd name="connsiteX18" fmla="*/ 195000 w 489019"/>
                <a:gd name="connsiteY18" fmla="*/ 155524 h 489176"/>
                <a:gd name="connsiteX19" fmla="*/ 248752 w 489019"/>
                <a:gd name="connsiteY19" fmla="*/ 102976 h 489176"/>
                <a:gd name="connsiteX20" fmla="*/ 302128 w 489019"/>
                <a:gd name="connsiteY20" fmla="*/ 155524 h 489176"/>
                <a:gd name="connsiteX21" fmla="*/ 302128 w 489019"/>
                <a:gd name="connsiteY21" fmla="*/ 175087 h 489176"/>
                <a:gd name="connsiteX22" fmla="*/ 275046 w 489019"/>
                <a:gd name="connsiteY22" fmla="*/ 226396 h 489176"/>
                <a:gd name="connsiteX23" fmla="*/ 272944 w 489019"/>
                <a:gd name="connsiteY23" fmla="*/ 241434 h 489176"/>
                <a:gd name="connsiteX24" fmla="*/ 287282 w 489019"/>
                <a:gd name="connsiteY24" fmla="*/ 251610 h 489176"/>
                <a:gd name="connsiteX25" fmla="*/ 345182 w 489019"/>
                <a:gd name="connsiteY25" fmla="*/ 291111 h 489176"/>
                <a:gd name="connsiteX26" fmla="*/ 377538 w 489019"/>
                <a:gd name="connsiteY26" fmla="*/ 394218 h 489176"/>
                <a:gd name="connsiteX27" fmla="*/ 378589 w 489019"/>
                <a:gd name="connsiteY27" fmla="*/ 402159 h 489176"/>
                <a:gd name="connsiteX28" fmla="*/ 244510 w 489019"/>
                <a:gd name="connsiteY28" fmla="*/ 451629 h 489176"/>
                <a:gd name="connsiteX29" fmla="*/ 404995 w 489019"/>
                <a:gd name="connsiteY29" fmla="*/ 375143 h 489176"/>
                <a:gd name="connsiteX30" fmla="*/ 376074 w 489019"/>
                <a:gd name="connsiteY30" fmla="*/ 282944 h 489176"/>
                <a:gd name="connsiteX31" fmla="*/ 315772 w 489019"/>
                <a:gd name="connsiteY31" fmla="*/ 229250 h 489176"/>
                <a:gd name="connsiteX32" fmla="*/ 334033 w 489019"/>
                <a:gd name="connsiteY32" fmla="*/ 175087 h 489176"/>
                <a:gd name="connsiteX33" fmla="*/ 334033 w 489019"/>
                <a:gd name="connsiteY33" fmla="*/ 155524 h 489176"/>
                <a:gd name="connsiteX34" fmla="*/ 248752 w 489019"/>
                <a:gd name="connsiteY34" fmla="*/ 71060 h 489176"/>
                <a:gd name="connsiteX35" fmla="*/ 163094 w 489019"/>
                <a:gd name="connsiteY35" fmla="*/ 155524 h 489176"/>
                <a:gd name="connsiteX36" fmla="*/ 163094 w 489019"/>
                <a:gd name="connsiteY36" fmla="*/ 175087 h 489176"/>
                <a:gd name="connsiteX37" fmla="*/ 177377 w 489019"/>
                <a:gd name="connsiteY37" fmla="*/ 222942 h 489176"/>
                <a:gd name="connsiteX38" fmla="*/ 180961 w 489019"/>
                <a:gd name="connsiteY38" fmla="*/ 228631 h 489176"/>
                <a:gd name="connsiteX39" fmla="*/ 143444 w 489019"/>
                <a:gd name="connsiteY39" fmla="*/ 252436 h 489176"/>
                <a:gd name="connsiteX40" fmla="*/ 143369 w 489019"/>
                <a:gd name="connsiteY40" fmla="*/ 252492 h 489176"/>
                <a:gd name="connsiteX41" fmla="*/ 143294 w 489019"/>
                <a:gd name="connsiteY41" fmla="*/ 252567 h 489176"/>
                <a:gd name="connsiteX42" fmla="*/ 122480 w 489019"/>
                <a:gd name="connsiteY42" fmla="*/ 280071 h 489176"/>
                <a:gd name="connsiteX43" fmla="*/ 122236 w 489019"/>
                <a:gd name="connsiteY43" fmla="*/ 280747 h 489176"/>
                <a:gd name="connsiteX44" fmla="*/ 122011 w 489019"/>
                <a:gd name="connsiteY44" fmla="*/ 281442 h 489176"/>
                <a:gd name="connsiteX45" fmla="*/ 89993 w 489019"/>
                <a:gd name="connsiteY45" fmla="*/ 382165 h 489176"/>
                <a:gd name="connsiteX46" fmla="*/ 37536 w 489019"/>
                <a:gd name="connsiteY46" fmla="*/ 244588 h 489176"/>
                <a:gd name="connsiteX47" fmla="*/ 244510 w 489019"/>
                <a:gd name="connsiteY47" fmla="*/ 37548 h 489176"/>
                <a:gd name="connsiteX48" fmla="*/ 451484 w 489019"/>
                <a:gd name="connsiteY48" fmla="*/ 244588 h 489176"/>
                <a:gd name="connsiteX49" fmla="*/ 404995 w 489019"/>
                <a:gd name="connsiteY49" fmla="*/ 375143 h 48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89019" h="489176">
                  <a:moveTo>
                    <a:pt x="244510" y="0"/>
                  </a:moveTo>
                  <a:cubicBezTo>
                    <a:pt x="109680" y="0"/>
                    <a:pt x="0" y="109734"/>
                    <a:pt x="0" y="244588"/>
                  </a:cubicBezTo>
                  <a:cubicBezTo>
                    <a:pt x="0" y="379443"/>
                    <a:pt x="109680" y="489177"/>
                    <a:pt x="244510" y="489177"/>
                  </a:cubicBezTo>
                  <a:cubicBezTo>
                    <a:pt x="275534" y="489177"/>
                    <a:pt x="305206" y="483376"/>
                    <a:pt x="332532" y="472768"/>
                  </a:cubicBezTo>
                  <a:cubicBezTo>
                    <a:pt x="357719" y="463025"/>
                    <a:pt x="380897" y="449226"/>
                    <a:pt x="401261" y="432141"/>
                  </a:cubicBezTo>
                  <a:cubicBezTo>
                    <a:pt x="454862" y="387253"/>
                    <a:pt x="489020" y="319835"/>
                    <a:pt x="489020" y="244588"/>
                  </a:cubicBezTo>
                  <a:cubicBezTo>
                    <a:pt x="489020" y="109734"/>
                    <a:pt x="379321" y="0"/>
                    <a:pt x="244510" y="0"/>
                  </a:cubicBezTo>
                  <a:close/>
                  <a:moveTo>
                    <a:pt x="244510" y="451629"/>
                  </a:moveTo>
                  <a:cubicBezTo>
                    <a:pt x="195882" y="451629"/>
                    <a:pt x="151101" y="434770"/>
                    <a:pt x="115742" y="406552"/>
                  </a:cubicBezTo>
                  <a:cubicBezTo>
                    <a:pt x="118614" y="397484"/>
                    <a:pt x="127135" y="370638"/>
                    <a:pt x="152415" y="291111"/>
                  </a:cubicBezTo>
                  <a:cubicBezTo>
                    <a:pt x="154536" y="285366"/>
                    <a:pt x="160035" y="280372"/>
                    <a:pt x="164464" y="276448"/>
                  </a:cubicBezTo>
                  <a:cubicBezTo>
                    <a:pt x="177264" y="265221"/>
                    <a:pt x="193367" y="257167"/>
                    <a:pt x="209451" y="251516"/>
                  </a:cubicBezTo>
                  <a:cubicBezTo>
                    <a:pt x="214931" y="249601"/>
                    <a:pt x="221388" y="247010"/>
                    <a:pt x="224184" y="241434"/>
                  </a:cubicBezTo>
                  <a:cubicBezTo>
                    <a:pt x="228238" y="232911"/>
                    <a:pt x="224184" y="228405"/>
                    <a:pt x="222063" y="226396"/>
                  </a:cubicBezTo>
                  <a:cubicBezTo>
                    <a:pt x="221688" y="226002"/>
                    <a:pt x="221557" y="225946"/>
                    <a:pt x="221294" y="225533"/>
                  </a:cubicBezTo>
                  <a:cubicBezTo>
                    <a:pt x="218648" y="221290"/>
                    <a:pt x="213880" y="218999"/>
                    <a:pt x="210596" y="215357"/>
                  </a:cubicBezTo>
                  <a:cubicBezTo>
                    <a:pt x="209357" y="213724"/>
                    <a:pt x="206073" y="208843"/>
                    <a:pt x="204928" y="206834"/>
                  </a:cubicBezTo>
                  <a:cubicBezTo>
                    <a:pt x="199148" y="197053"/>
                    <a:pt x="195000" y="186107"/>
                    <a:pt x="195000" y="175087"/>
                  </a:cubicBezTo>
                  <a:lnTo>
                    <a:pt x="195000" y="155524"/>
                  </a:lnTo>
                  <a:cubicBezTo>
                    <a:pt x="195000" y="126669"/>
                    <a:pt x="219267" y="102976"/>
                    <a:pt x="248752" y="102976"/>
                  </a:cubicBezTo>
                  <a:cubicBezTo>
                    <a:pt x="278236" y="102976"/>
                    <a:pt x="302128" y="126669"/>
                    <a:pt x="302128" y="155524"/>
                  </a:cubicBezTo>
                  <a:lnTo>
                    <a:pt x="302128" y="175087"/>
                  </a:lnTo>
                  <a:cubicBezTo>
                    <a:pt x="302128" y="194161"/>
                    <a:pt x="290173" y="214588"/>
                    <a:pt x="275046" y="226396"/>
                  </a:cubicBezTo>
                  <a:cubicBezTo>
                    <a:pt x="272944" y="228405"/>
                    <a:pt x="269284" y="233681"/>
                    <a:pt x="272944" y="241434"/>
                  </a:cubicBezTo>
                  <a:cubicBezTo>
                    <a:pt x="275834" y="247104"/>
                    <a:pt x="284017" y="249977"/>
                    <a:pt x="287282" y="251610"/>
                  </a:cubicBezTo>
                  <a:cubicBezTo>
                    <a:pt x="343061" y="274420"/>
                    <a:pt x="345182" y="291111"/>
                    <a:pt x="345182" y="291111"/>
                  </a:cubicBezTo>
                  <a:lnTo>
                    <a:pt x="377538" y="394218"/>
                  </a:lnTo>
                  <a:cubicBezTo>
                    <a:pt x="378364" y="396846"/>
                    <a:pt x="378720" y="399531"/>
                    <a:pt x="378589" y="402159"/>
                  </a:cubicBezTo>
                  <a:cubicBezTo>
                    <a:pt x="342442" y="433005"/>
                    <a:pt x="295615" y="451629"/>
                    <a:pt x="244510" y="451629"/>
                  </a:cubicBezTo>
                  <a:close/>
                  <a:moveTo>
                    <a:pt x="404995" y="375143"/>
                  </a:moveTo>
                  <a:lnTo>
                    <a:pt x="376074" y="282944"/>
                  </a:lnTo>
                  <a:cubicBezTo>
                    <a:pt x="371382" y="263945"/>
                    <a:pt x="351150" y="245921"/>
                    <a:pt x="315772" y="229250"/>
                  </a:cubicBezTo>
                  <a:cubicBezTo>
                    <a:pt x="327277" y="212860"/>
                    <a:pt x="334033" y="193485"/>
                    <a:pt x="334033" y="175087"/>
                  </a:cubicBezTo>
                  <a:lnTo>
                    <a:pt x="334033" y="155524"/>
                  </a:lnTo>
                  <a:cubicBezTo>
                    <a:pt x="334033" y="108946"/>
                    <a:pt x="295784" y="71060"/>
                    <a:pt x="248752" y="71060"/>
                  </a:cubicBezTo>
                  <a:cubicBezTo>
                    <a:pt x="201719" y="71060"/>
                    <a:pt x="163094" y="108946"/>
                    <a:pt x="163094" y="155524"/>
                  </a:cubicBezTo>
                  <a:lnTo>
                    <a:pt x="163094" y="175087"/>
                  </a:lnTo>
                  <a:cubicBezTo>
                    <a:pt x="163094" y="190763"/>
                    <a:pt x="167899" y="206853"/>
                    <a:pt x="177377" y="222942"/>
                  </a:cubicBezTo>
                  <a:cubicBezTo>
                    <a:pt x="178259" y="224444"/>
                    <a:pt x="179591" y="226547"/>
                    <a:pt x="180961" y="228631"/>
                  </a:cubicBezTo>
                  <a:cubicBezTo>
                    <a:pt x="166491" y="235277"/>
                    <a:pt x="153935" y="243255"/>
                    <a:pt x="143444" y="252436"/>
                  </a:cubicBezTo>
                  <a:lnTo>
                    <a:pt x="143369" y="252492"/>
                  </a:lnTo>
                  <a:lnTo>
                    <a:pt x="143294" y="252567"/>
                  </a:lnTo>
                  <a:cubicBezTo>
                    <a:pt x="137739" y="257486"/>
                    <a:pt x="127435" y="266629"/>
                    <a:pt x="122480" y="280071"/>
                  </a:cubicBezTo>
                  <a:lnTo>
                    <a:pt x="122236" y="280747"/>
                  </a:lnTo>
                  <a:lnTo>
                    <a:pt x="122011" y="281442"/>
                  </a:lnTo>
                  <a:lnTo>
                    <a:pt x="89993" y="382165"/>
                  </a:lnTo>
                  <a:cubicBezTo>
                    <a:pt x="57374" y="345574"/>
                    <a:pt x="37536" y="297362"/>
                    <a:pt x="37536" y="244588"/>
                  </a:cubicBezTo>
                  <a:cubicBezTo>
                    <a:pt x="37536" y="130423"/>
                    <a:pt x="130381" y="37548"/>
                    <a:pt x="244510" y="37548"/>
                  </a:cubicBezTo>
                  <a:cubicBezTo>
                    <a:pt x="358638" y="37548"/>
                    <a:pt x="451484" y="130423"/>
                    <a:pt x="451484" y="244588"/>
                  </a:cubicBezTo>
                  <a:cubicBezTo>
                    <a:pt x="451484" y="294058"/>
                    <a:pt x="434048" y="339491"/>
                    <a:pt x="404995" y="37514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96" name="Freeform 22">
              <a:extLst>
                <a:ext uri="{FF2B5EF4-FFF2-40B4-BE49-F238E27FC236}">
                  <a16:creationId xmlns:a16="http://schemas.microsoft.com/office/drawing/2014/main" id="{EBFEC1E6-2969-0249-7898-FC299BE95F12}"/>
                </a:ext>
              </a:extLst>
            </p:cNvPr>
            <p:cNvSpPr/>
            <p:nvPr/>
          </p:nvSpPr>
          <p:spPr>
            <a:xfrm>
              <a:off x="8307256" y="3483187"/>
              <a:ext cx="81977" cy="82003"/>
            </a:xfrm>
            <a:custGeom>
              <a:avLst/>
              <a:gdLst>
                <a:gd name="connsiteX0" fmla="*/ 244510 w 489019"/>
                <a:gd name="connsiteY0" fmla="*/ 0 h 489176"/>
                <a:gd name="connsiteX1" fmla="*/ 0 w 489019"/>
                <a:gd name="connsiteY1" fmla="*/ 244588 h 489176"/>
                <a:gd name="connsiteX2" fmla="*/ 244510 w 489019"/>
                <a:gd name="connsiteY2" fmla="*/ 489177 h 489176"/>
                <a:gd name="connsiteX3" fmla="*/ 332532 w 489019"/>
                <a:gd name="connsiteY3" fmla="*/ 472768 h 489176"/>
                <a:gd name="connsiteX4" fmla="*/ 401261 w 489019"/>
                <a:gd name="connsiteY4" fmla="*/ 432141 h 489176"/>
                <a:gd name="connsiteX5" fmla="*/ 489020 w 489019"/>
                <a:gd name="connsiteY5" fmla="*/ 244588 h 489176"/>
                <a:gd name="connsiteX6" fmla="*/ 244510 w 489019"/>
                <a:gd name="connsiteY6" fmla="*/ 0 h 489176"/>
                <a:gd name="connsiteX7" fmla="*/ 244510 w 489019"/>
                <a:gd name="connsiteY7" fmla="*/ 451629 h 489176"/>
                <a:gd name="connsiteX8" fmla="*/ 115742 w 489019"/>
                <a:gd name="connsiteY8" fmla="*/ 406552 h 489176"/>
                <a:gd name="connsiteX9" fmla="*/ 152415 w 489019"/>
                <a:gd name="connsiteY9" fmla="*/ 291111 h 489176"/>
                <a:gd name="connsiteX10" fmla="*/ 164464 w 489019"/>
                <a:gd name="connsiteY10" fmla="*/ 276448 h 489176"/>
                <a:gd name="connsiteX11" fmla="*/ 209451 w 489019"/>
                <a:gd name="connsiteY11" fmla="*/ 251516 h 489176"/>
                <a:gd name="connsiteX12" fmla="*/ 224184 w 489019"/>
                <a:gd name="connsiteY12" fmla="*/ 241434 h 489176"/>
                <a:gd name="connsiteX13" fmla="*/ 222063 w 489019"/>
                <a:gd name="connsiteY13" fmla="*/ 226396 h 489176"/>
                <a:gd name="connsiteX14" fmla="*/ 221294 w 489019"/>
                <a:gd name="connsiteY14" fmla="*/ 225533 h 489176"/>
                <a:gd name="connsiteX15" fmla="*/ 210596 w 489019"/>
                <a:gd name="connsiteY15" fmla="*/ 215357 h 489176"/>
                <a:gd name="connsiteX16" fmla="*/ 204928 w 489019"/>
                <a:gd name="connsiteY16" fmla="*/ 206834 h 489176"/>
                <a:gd name="connsiteX17" fmla="*/ 195000 w 489019"/>
                <a:gd name="connsiteY17" fmla="*/ 175087 h 489176"/>
                <a:gd name="connsiteX18" fmla="*/ 195000 w 489019"/>
                <a:gd name="connsiteY18" fmla="*/ 155524 h 489176"/>
                <a:gd name="connsiteX19" fmla="*/ 248752 w 489019"/>
                <a:gd name="connsiteY19" fmla="*/ 102976 h 489176"/>
                <a:gd name="connsiteX20" fmla="*/ 302128 w 489019"/>
                <a:gd name="connsiteY20" fmla="*/ 155524 h 489176"/>
                <a:gd name="connsiteX21" fmla="*/ 302128 w 489019"/>
                <a:gd name="connsiteY21" fmla="*/ 175087 h 489176"/>
                <a:gd name="connsiteX22" fmla="*/ 275046 w 489019"/>
                <a:gd name="connsiteY22" fmla="*/ 226396 h 489176"/>
                <a:gd name="connsiteX23" fmla="*/ 272944 w 489019"/>
                <a:gd name="connsiteY23" fmla="*/ 241434 h 489176"/>
                <a:gd name="connsiteX24" fmla="*/ 287282 w 489019"/>
                <a:gd name="connsiteY24" fmla="*/ 251610 h 489176"/>
                <a:gd name="connsiteX25" fmla="*/ 345182 w 489019"/>
                <a:gd name="connsiteY25" fmla="*/ 291111 h 489176"/>
                <a:gd name="connsiteX26" fmla="*/ 377538 w 489019"/>
                <a:gd name="connsiteY26" fmla="*/ 394218 h 489176"/>
                <a:gd name="connsiteX27" fmla="*/ 378589 w 489019"/>
                <a:gd name="connsiteY27" fmla="*/ 402159 h 489176"/>
                <a:gd name="connsiteX28" fmla="*/ 244510 w 489019"/>
                <a:gd name="connsiteY28" fmla="*/ 451629 h 489176"/>
                <a:gd name="connsiteX29" fmla="*/ 404995 w 489019"/>
                <a:gd name="connsiteY29" fmla="*/ 375143 h 489176"/>
                <a:gd name="connsiteX30" fmla="*/ 376074 w 489019"/>
                <a:gd name="connsiteY30" fmla="*/ 282944 h 489176"/>
                <a:gd name="connsiteX31" fmla="*/ 315772 w 489019"/>
                <a:gd name="connsiteY31" fmla="*/ 229250 h 489176"/>
                <a:gd name="connsiteX32" fmla="*/ 334034 w 489019"/>
                <a:gd name="connsiteY32" fmla="*/ 175087 h 489176"/>
                <a:gd name="connsiteX33" fmla="*/ 334034 w 489019"/>
                <a:gd name="connsiteY33" fmla="*/ 155524 h 489176"/>
                <a:gd name="connsiteX34" fmla="*/ 248752 w 489019"/>
                <a:gd name="connsiteY34" fmla="*/ 71060 h 489176"/>
                <a:gd name="connsiteX35" fmla="*/ 163094 w 489019"/>
                <a:gd name="connsiteY35" fmla="*/ 155524 h 489176"/>
                <a:gd name="connsiteX36" fmla="*/ 163094 w 489019"/>
                <a:gd name="connsiteY36" fmla="*/ 175087 h 489176"/>
                <a:gd name="connsiteX37" fmla="*/ 177377 w 489019"/>
                <a:gd name="connsiteY37" fmla="*/ 222942 h 489176"/>
                <a:gd name="connsiteX38" fmla="*/ 180961 w 489019"/>
                <a:gd name="connsiteY38" fmla="*/ 228631 h 489176"/>
                <a:gd name="connsiteX39" fmla="*/ 143444 w 489019"/>
                <a:gd name="connsiteY39" fmla="*/ 252436 h 489176"/>
                <a:gd name="connsiteX40" fmla="*/ 143369 w 489019"/>
                <a:gd name="connsiteY40" fmla="*/ 252492 h 489176"/>
                <a:gd name="connsiteX41" fmla="*/ 143294 w 489019"/>
                <a:gd name="connsiteY41" fmla="*/ 252567 h 489176"/>
                <a:gd name="connsiteX42" fmla="*/ 122480 w 489019"/>
                <a:gd name="connsiteY42" fmla="*/ 280071 h 489176"/>
                <a:gd name="connsiteX43" fmla="*/ 122236 w 489019"/>
                <a:gd name="connsiteY43" fmla="*/ 280747 h 489176"/>
                <a:gd name="connsiteX44" fmla="*/ 122011 w 489019"/>
                <a:gd name="connsiteY44" fmla="*/ 281442 h 489176"/>
                <a:gd name="connsiteX45" fmla="*/ 89993 w 489019"/>
                <a:gd name="connsiteY45" fmla="*/ 382165 h 489176"/>
                <a:gd name="connsiteX46" fmla="*/ 37536 w 489019"/>
                <a:gd name="connsiteY46" fmla="*/ 244588 h 489176"/>
                <a:gd name="connsiteX47" fmla="*/ 244510 w 489019"/>
                <a:gd name="connsiteY47" fmla="*/ 37548 h 489176"/>
                <a:gd name="connsiteX48" fmla="*/ 451484 w 489019"/>
                <a:gd name="connsiteY48" fmla="*/ 244588 h 489176"/>
                <a:gd name="connsiteX49" fmla="*/ 404995 w 489019"/>
                <a:gd name="connsiteY49" fmla="*/ 375143 h 48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89019" h="489176">
                  <a:moveTo>
                    <a:pt x="244510" y="0"/>
                  </a:moveTo>
                  <a:cubicBezTo>
                    <a:pt x="109680" y="0"/>
                    <a:pt x="0" y="109734"/>
                    <a:pt x="0" y="244588"/>
                  </a:cubicBezTo>
                  <a:cubicBezTo>
                    <a:pt x="0" y="379443"/>
                    <a:pt x="109680" y="489177"/>
                    <a:pt x="244510" y="489177"/>
                  </a:cubicBezTo>
                  <a:cubicBezTo>
                    <a:pt x="275534" y="489177"/>
                    <a:pt x="305206" y="483376"/>
                    <a:pt x="332532" y="472768"/>
                  </a:cubicBezTo>
                  <a:cubicBezTo>
                    <a:pt x="357719" y="463025"/>
                    <a:pt x="380897" y="449226"/>
                    <a:pt x="401261" y="432141"/>
                  </a:cubicBezTo>
                  <a:cubicBezTo>
                    <a:pt x="454862" y="387253"/>
                    <a:pt x="489020" y="319835"/>
                    <a:pt x="489020" y="244588"/>
                  </a:cubicBezTo>
                  <a:cubicBezTo>
                    <a:pt x="489020" y="109734"/>
                    <a:pt x="379321" y="0"/>
                    <a:pt x="244510" y="0"/>
                  </a:cubicBezTo>
                  <a:close/>
                  <a:moveTo>
                    <a:pt x="244510" y="451629"/>
                  </a:moveTo>
                  <a:cubicBezTo>
                    <a:pt x="195882" y="451629"/>
                    <a:pt x="151101" y="434770"/>
                    <a:pt x="115742" y="406552"/>
                  </a:cubicBezTo>
                  <a:cubicBezTo>
                    <a:pt x="118614" y="397484"/>
                    <a:pt x="127135" y="370638"/>
                    <a:pt x="152415" y="291111"/>
                  </a:cubicBezTo>
                  <a:cubicBezTo>
                    <a:pt x="154536" y="285366"/>
                    <a:pt x="160035" y="280372"/>
                    <a:pt x="164464" y="276448"/>
                  </a:cubicBezTo>
                  <a:cubicBezTo>
                    <a:pt x="177264" y="265221"/>
                    <a:pt x="193367" y="257167"/>
                    <a:pt x="209451" y="251516"/>
                  </a:cubicBezTo>
                  <a:cubicBezTo>
                    <a:pt x="214932" y="249601"/>
                    <a:pt x="221388" y="247010"/>
                    <a:pt x="224184" y="241434"/>
                  </a:cubicBezTo>
                  <a:cubicBezTo>
                    <a:pt x="228238" y="232911"/>
                    <a:pt x="224184" y="228405"/>
                    <a:pt x="222063" y="226396"/>
                  </a:cubicBezTo>
                  <a:cubicBezTo>
                    <a:pt x="221688" y="226002"/>
                    <a:pt x="221557" y="225946"/>
                    <a:pt x="221294" y="225533"/>
                  </a:cubicBezTo>
                  <a:cubicBezTo>
                    <a:pt x="218648" y="221290"/>
                    <a:pt x="213881" y="218999"/>
                    <a:pt x="210596" y="215357"/>
                  </a:cubicBezTo>
                  <a:cubicBezTo>
                    <a:pt x="209357" y="213724"/>
                    <a:pt x="206073" y="208843"/>
                    <a:pt x="204928" y="206834"/>
                  </a:cubicBezTo>
                  <a:cubicBezTo>
                    <a:pt x="199148" y="197053"/>
                    <a:pt x="195000" y="186107"/>
                    <a:pt x="195000" y="175087"/>
                  </a:cubicBezTo>
                  <a:lnTo>
                    <a:pt x="195000" y="155524"/>
                  </a:lnTo>
                  <a:cubicBezTo>
                    <a:pt x="195000" y="126669"/>
                    <a:pt x="219267" y="102976"/>
                    <a:pt x="248752" y="102976"/>
                  </a:cubicBezTo>
                  <a:cubicBezTo>
                    <a:pt x="278236" y="102976"/>
                    <a:pt x="302128" y="126669"/>
                    <a:pt x="302128" y="155524"/>
                  </a:cubicBezTo>
                  <a:lnTo>
                    <a:pt x="302128" y="175087"/>
                  </a:lnTo>
                  <a:cubicBezTo>
                    <a:pt x="302128" y="194161"/>
                    <a:pt x="290173" y="214588"/>
                    <a:pt x="275046" y="226396"/>
                  </a:cubicBezTo>
                  <a:cubicBezTo>
                    <a:pt x="272944" y="228405"/>
                    <a:pt x="269284" y="233681"/>
                    <a:pt x="272944" y="241434"/>
                  </a:cubicBezTo>
                  <a:cubicBezTo>
                    <a:pt x="275834" y="247104"/>
                    <a:pt x="284017" y="249977"/>
                    <a:pt x="287282" y="251610"/>
                  </a:cubicBezTo>
                  <a:cubicBezTo>
                    <a:pt x="343061" y="274420"/>
                    <a:pt x="345182" y="291111"/>
                    <a:pt x="345182" y="291111"/>
                  </a:cubicBezTo>
                  <a:lnTo>
                    <a:pt x="377538" y="394218"/>
                  </a:lnTo>
                  <a:cubicBezTo>
                    <a:pt x="378364" y="396846"/>
                    <a:pt x="378720" y="399531"/>
                    <a:pt x="378589" y="402159"/>
                  </a:cubicBezTo>
                  <a:cubicBezTo>
                    <a:pt x="342442" y="433005"/>
                    <a:pt x="295615" y="451629"/>
                    <a:pt x="244510" y="451629"/>
                  </a:cubicBezTo>
                  <a:close/>
                  <a:moveTo>
                    <a:pt x="404995" y="375143"/>
                  </a:moveTo>
                  <a:lnTo>
                    <a:pt x="376074" y="282944"/>
                  </a:lnTo>
                  <a:cubicBezTo>
                    <a:pt x="371382" y="263945"/>
                    <a:pt x="351150" y="245921"/>
                    <a:pt x="315772" y="229250"/>
                  </a:cubicBezTo>
                  <a:cubicBezTo>
                    <a:pt x="327277" y="212860"/>
                    <a:pt x="334034" y="193485"/>
                    <a:pt x="334034" y="175087"/>
                  </a:cubicBezTo>
                  <a:lnTo>
                    <a:pt x="334034" y="155524"/>
                  </a:lnTo>
                  <a:cubicBezTo>
                    <a:pt x="334034" y="108946"/>
                    <a:pt x="295784" y="71060"/>
                    <a:pt x="248752" y="71060"/>
                  </a:cubicBezTo>
                  <a:cubicBezTo>
                    <a:pt x="201719" y="71060"/>
                    <a:pt x="163094" y="108946"/>
                    <a:pt x="163094" y="155524"/>
                  </a:cubicBezTo>
                  <a:lnTo>
                    <a:pt x="163094" y="175087"/>
                  </a:lnTo>
                  <a:cubicBezTo>
                    <a:pt x="163094" y="190763"/>
                    <a:pt x="167899" y="206853"/>
                    <a:pt x="177377" y="222942"/>
                  </a:cubicBezTo>
                  <a:cubicBezTo>
                    <a:pt x="178259" y="224444"/>
                    <a:pt x="179591" y="226547"/>
                    <a:pt x="180961" y="228631"/>
                  </a:cubicBezTo>
                  <a:cubicBezTo>
                    <a:pt x="166491" y="235277"/>
                    <a:pt x="153935" y="243255"/>
                    <a:pt x="143444" y="252436"/>
                  </a:cubicBezTo>
                  <a:lnTo>
                    <a:pt x="143369" y="252492"/>
                  </a:lnTo>
                  <a:lnTo>
                    <a:pt x="143294" y="252567"/>
                  </a:lnTo>
                  <a:cubicBezTo>
                    <a:pt x="137739" y="257486"/>
                    <a:pt x="127435" y="266629"/>
                    <a:pt x="122480" y="280071"/>
                  </a:cubicBezTo>
                  <a:lnTo>
                    <a:pt x="122236" y="280747"/>
                  </a:lnTo>
                  <a:lnTo>
                    <a:pt x="122011" y="281442"/>
                  </a:lnTo>
                  <a:lnTo>
                    <a:pt x="89993" y="382165"/>
                  </a:lnTo>
                  <a:cubicBezTo>
                    <a:pt x="57374" y="345574"/>
                    <a:pt x="37536" y="297362"/>
                    <a:pt x="37536" y="244588"/>
                  </a:cubicBezTo>
                  <a:cubicBezTo>
                    <a:pt x="37536" y="130423"/>
                    <a:pt x="130382" y="37548"/>
                    <a:pt x="244510" y="37548"/>
                  </a:cubicBezTo>
                  <a:cubicBezTo>
                    <a:pt x="358638" y="37548"/>
                    <a:pt x="451484" y="130423"/>
                    <a:pt x="451484" y="244588"/>
                  </a:cubicBezTo>
                  <a:cubicBezTo>
                    <a:pt x="451484" y="294058"/>
                    <a:pt x="434048" y="339491"/>
                    <a:pt x="404995" y="37514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Microsoft Sans Serif"/>
              </a:endParaRPr>
            </a:p>
          </p:txBody>
        </p: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C44ED967-0E95-B775-3EA0-60485F7CB9E6}"/>
                </a:ext>
              </a:extLst>
            </p:cNvPr>
            <p:cNvGrpSpPr/>
            <p:nvPr/>
          </p:nvGrpSpPr>
          <p:grpSpPr>
            <a:xfrm>
              <a:off x="8442404" y="3369594"/>
              <a:ext cx="54576" cy="66910"/>
              <a:chOff x="2486218" y="2762284"/>
              <a:chExt cx="1645121" cy="2016913"/>
            </a:xfrm>
            <a:grpFill/>
          </p:grpSpPr>
          <p:sp>
            <p:nvSpPr>
              <p:cNvPr id="98" name="Freeform 3">
                <a:extLst>
                  <a:ext uri="{FF2B5EF4-FFF2-40B4-BE49-F238E27FC236}">
                    <a16:creationId xmlns:a16="http://schemas.microsoft.com/office/drawing/2014/main" id="{05B8D2C0-9EEC-EE98-D3A5-DCE642E4B13D}"/>
                  </a:ext>
                </a:extLst>
              </p:cNvPr>
              <p:cNvSpPr/>
              <p:nvPr/>
            </p:nvSpPr>
            <p:spPr>
              <a:xfrm>
                <a:off x="2486218" y="2762284"/>
                <a:ext cx="1645121" cy="2016913"/>
              </a:xfrm>
              <a:custGeom>
                <a:avLst/>
                <a:gdLst>
                  <a:gd name="connsiteX0" fmla="*/ 1645083 w 1645121"/>
                  <a:gd name="connsiteY0" fmla="*/ 148664 h 2016913"/>
                  <a:gd name="connsiteX1" fmla="*/ 1644986 w 1645121"/>
                  <a:gd name="connsiteY1" fmla="*/ 145782 h 2016913"/>
                  <a:gd name="connsiteX2" fmla="*/ 1644715 w 1645121"/>
                  <a:gd name="connsiteY2" fmla="*/ 139997 h 2016913"/>
                  <a:gd name="connsiteX3" fmla="*/ 1644347 w 1645121"/>
                  <a:gd name="connsiteY3" fmla="*/ 134231 h 2016913"/>
                  <a:gd name="connsiteX4" fmla="*/ 1643554 w 1645121"/>
                  <a:gd name="connsiteY4" fmla="*/ 128485 h 2016913"/>
                  <a:gd name="connsiteX5" fmla="*/ 1642644 w 1645121"/>
                  <a:gd name="connsiteY5" fmla="*/ 122739 h 2016913"/>
                  <a:gd name="connsiteX6" fmla="*/ 1641521 w 1645121"/>
                  <a:gd name="connsiteY6" fmla="*/ 117031 h 2016913"/>
                  <a:gd name="connsiteX7" fmla="*/ 1638600 w 1645121"/>
                  <a:gd name="connsiteY7" fmla="*/ 105771 h 2016913"/>
                  <a:gd name="connsiteX8" fmla="*/ 1630011 w 1645121"/>
                  <a:gd name="connsiteY8" fmla="*/ 84161 h 2016913"/>
                  <a:gd name="connsiteX9" fmla="*/ 1603646 w 1645121"/>
                  <a:gd name="connsiteY9" fmla="*/ 46222 h 2016913"/>
                  <a:gd name="connsiteX10" fmla="*/ 1567007 w 1645121"/>
                  <a:gd name="connsiteY10" fmla="*/ 18091 h 2016913"/>
                  <a:gd name="connsiteX11" fmla="*/ 1523309 w 1645121"/>
                  <a:gd name="connsiteY11" fmla="*/ 2614 h 2016913"/>
                  <a:gd name="connsiteX12" fmla="*/ 1511818 w 1645121"/>
                  <a:gd name="connsiteY12" fmla="*/ 893 h 2016913"/>
                  <a:gd name="connsiteX13" fmla="*/ 1500289 w 1645121"/>
                  <a:gd name="connsiteY13" fmla="*/ 176 h 2016913"/>
                  <a:gd name="connsiteX14" fmla="*/ 1497387 w 1645121"/>
                  <a:gd name="connsiteY14" fmla="*/ 60 h 2016913"/>
                  <a:gd name="connsiteX15" fmla="*/ 1495954 w 1645121"/>
                  <a:gd name="connsiteY15" fmla="*/ 21 h 2016913"/>
                  <a:gd name="connsiteX16" fmla="*/ 1494986 w 1645121"/>
                  <a:gd name="connsiteY16" fmla="*/ 2 h 2016913"/>
                  <a:gd name="connsiteX17" fmla="*/ 1286340 w 1645121"/>
                  <a:gd name="connsiteY17" fmla="*/ 2 h 2016913"/>
                  <a:gd name="connsiteX18" fmla="*/ 1240650 w 1645121"/>
                  <a:gd name="connsiteY18" fmla="*/ 7179 h 2016913"/>
                  <a:gd name="connsiteX19" fmla="*/ 1199331 w 1645121"/>
                  <a:gd name="connsiteY19" fmla="*/ 28073 h 2016913"/>
                  <a:gd name="connsiteX20" fmla="*/ 1166465 w 1645121"/>
                  <a:gd name="connsiteY20" fmla="*/ 60440 h 2016913"/>
                  <a:gd name="connsiteX21" fmla="*/ 1144935 w 1645121"/>
                  <a:gd name="connsiteY21" fmla="*/ 101436 h 2016913"/>
                  <a:gd name="connsiteX22" fmla="*/ 1141666 w 1645121"/>
                  <a:gd name="connsiteY22" fmla="*/ 112599 h 2016913"/>
                  <a:gd name="connsiteX23" fmla="*/ 1140272 w 1645121"/>
                  <a:gd name="connsiteY23" fmla="*/ 118249 h 2016913"/>
                  <a:gd name="connsiteX24" fmla="*/ 1139227 w 1645121"/>
                  <a:gd name="connsiteY24" fmla="*/ 123956 h 2016913"/>
                  <a:gd name="connsiteX25" fmla="*/ 1137641 w 1645121"/>
                  <a:gd name="connsiteY25" fmla="*/ 135449 h 2016913"/>
                  <a:gd name="connsiteX26" fmla="*/ 1137041 w 1645121"/>
                  <a:gd name="connsiteY26" fmla="*/ 146999 h 2016913"/>
                  <a:gd name="connsiteX27" fmla="*/ 1136964 w 1645121"/>
                  <a:gd name="connsiteY27" fmla="*/ 149708 h 2016913"/>
                  <a:gd name="connsiteX28" fmla="*/ 1136964 w 1645121"/>
                  <a:gd name="connsiteY28" fmla="*/ 507955 h 2016913"/>
                  <a:gd name="connsiteX29" fmla="*/ 1013722 w 1645121"/>
                  <a:gd name="connsiteY29" fmla="*/ 633942 h 2016913"/>
                  <a:gd name="connsiteX30" fmla="*/ 929634 w 1645121"/>
                  <a:gd name="connsiteY30" fmla="*/ 719882 h 2016913"/>
                  <a:gd name="connsiteX31" fmla="*/ 929634 w 1645121"/>
                  <a:gd name="connsiteY31" fmla="*/ 125466 h 2016913"/>
                  <a:gd name="connsiteX32" fmla="*/ 823958 w 1645121"/>
                  <a:gd name="connsiteY32" fmla="*/ 19775 h 2016913"/>
                  <a:gd name="connsiteX33" fmla="*/ 821133 w 1645121"/>
                  <a:gd name="connsiteY33" fmla="*/ 19775 h 2016913"/>
                  <a:gd name="connsiteX34" fmla="*/ 715476 w 1645121"/>
                  <a:gd name="connsiteY34" fmla="*/ 125466 h 2016913"/>
                  <a:gd name="connsiteX35" fmla="*/ 715476 w 1645121"/>
                  <a:gd name="connsiteY35" fmla="*/ 719901 h 2016913"/>
                  <a:gd name="connsiteX36" fmla="*/ 631388 w 1645121"/>
                  <a:gd name="connsiteY36" fmla="*/ 633942 h 2016913"/>
                  <a:gd name="connsiteX37" fmla="*/ 508146 w 1645121"/>
                  <a:gd name="connsiteY37" fmla="*/ 507955 h 2016913"/>
                  <a:gd name="connsiteX38" fmla="*/ 508146 w 1645121"/>
                  <a:gd name="connsiteY38" fmla="*/ 149824 h 2016913"/>
                  <a:gd name="connsiteX39" fmla="*/ 508127 w 1645121"/>
                  <a:gd name="connsiteY39" fmla="*/ 149379 h 2016913"/>
                  <a:gd name="connsiteX40" fmla="*/ 508108 w 1645121"/>
                  <a:gd name="connsiteY40" fmla="*/ 148662 h 2016913"/>
                  <a:gd name="connsiteX41" fmla="*/ 508011 w 1645121"/>
                  <a:gd name="connsiteY41" fmla="*/ 145780 h 2016913"/>
                  <a:gd name="connsiteX42" fmla="*/ 507740 w 1645121"/>
                  <a:gd name="connsiteY42" fmla="*/ 139995 h 2016913"/>
                  <a:gd name="connsiteX43" fmla="*/ 507372 w 1645121"/>
                  <a:gd name="connsiteY43" fmla="*/ 134229 h 2016913"/>
                  <a:gd name="connsiteX44" fmla="*/ 506559 w 1645121"/>
                  <a:gd name="connsiteY44" fmla="*/ 128483 h 2016913"/>
                  <a:gd name="connsiteX45" fmla="*/ 505669 w 1645121"/>
                  <a:gd name="connsiteY45" fmla="*/ 122737 h 2016913"/>
                  <a:gd name="connsiteX46" fmla="*/ 504546 w 1645121"/>
                  <a:gd name="connsiteY46" fmla="*/ 117029 h 2016913"/>
                  <a:gd name="connsiteX47" fmla="*/ 501625 w 1645121"/>
                  <a:gd name="connsiteY47" fmla="*/ 105769 h 2016913"/>
                  <a:gd name="connsiteX48" fmla="*/ 493036 w 1645121"/>
                  <a:gd name="connsiteY48" fmla="*/ 84159 h 2016913"/>
                  <a:gd name="connsiteX49" fmla="*/ 466670 w 1645121"/>
                  <a:gd name="connsiteY49" fmla="*/ 46220 h 2016913"/>
                  <a:gd name="connsiteX50" fmla="*/ 430032 w 1645121"/>
                  <a:gd name="connsiteY50" fmla="*/ 18089 h 2016913"/>
                  <a:gd name="connsiteX51" fmla="*/ 386334 w 1645121"/>
                  <a:gd name="connsiteY51" fmla="*/ 2612 h 2016913"/>
                  <a:gd name="connsiteX52" fmla="*/ 374843 w 1645121"/>
                  <a:gd name="connsiteY52" fmla="*/ 891 h 2016913"/>
                  <a:gd name="connsiteX53" fmla="*/ 363313 w 1645121"/>
                  <a:gd name="connsiteY53" fmla="*/ 174 h 2016913"/>
                  <a:gd name="connsiteX54" fmla="*/ 360412 w 1645121"/>
                  <a:gd name="connsiteY54" fmla="*/ 58 h 2016913"/>
                  <a:gd name="connsiteX55" fmla="*/ 358981 w 1645121"/>
                  <a:gd name="connsiteY55" fmla="*/ 19 h 2016913"/>
                  <a:gd name="connsiteX56" fmla="*/ 358013 w 1645121"/>
                  <a:gd name="connsiteY56" fmla="*/ 0 h 2016913"/>
                  <a:gd name="connsiteX57" fmla="*/ 149375 w 1645121"/>
                  <a:gd name="connsiteY57" fmla="*/ 0 h 2016913"/>
                  <a:gd name="connsiteX58" fmla="*/ 103684 w 1645121"/>
                  <a:gd name="connsiteY58" fmla="*/ 7177 h 2016913"/>
                  <a:gd name="connsiteX59" fmla="*/ 62365 w 1645121"/>
                  <a:gd name="connsiteY59" fmla="*/ 28071 h 2016913"/>
                  <a:gd name="connsiteX60" fmla="*/ 29480 w 1645121"/>
                  <a:gd name="connsiteY60" fmla="*/ 60438 h 2016913"/>
                  <a:gd name="connsiteX61" fmla="*/ 7970 w 1645121"/>
                  <a:gd name="connsiteY61" fmla="*/ 101434 h 2016913"/>
                  <a:gd name="connsiteX62" fmla="*/ 4700 w 1645121"/>
                  <a:gd name="connsiteY62" fmla="*/ 112597 h 2016913"/>
                  <a:gd name="connsiteX63" fmla="*/ 3289 w 1645121"/>
                  <a:gd name="connsiteY63" fmla="*/ 118247 h 2016913"/>
                  <a:gd name="connsiteX64" fmla="*/ 2263 w 1645121"/>
                  <a:gd name="connsiteY64" fmla="*/ 123954 h 2016913"/>
                  <a:gd name="connsiteX65" fmla="*/ 678 w 1645121"/>
                  <a:gd name="connsiteY65" fmla="*/ 135447 h 2016913"/>
                  <a:gd name="connsiteX66" fmla="*/ 77 w 1645121"/>
                  <a:gd name="connsiteY66" fmla="*/ 146997 h 2016913"/>
                  <a:gd name="connsiteX67" fmla="*/ 0 w 1645121"/>
                  <a:gd name="connsiteY67" fmla="*/ 149706 h 2016913"/>
                  <a:gd name="connsiteX68" fmla="*/ 0 w 1645121"/>
                  <a:gd name="connsiteY68" fmla="*/ 1012250 h 2016913"/>
                  <a:gd name="connsiteX69" fmla="*/ 19 w 1645121"/>
                  <a:gd name="connsiteY69" fmla="*/ 1012986 h 2016913"/>
                  <a:gd name="connsiteX70" fmla="*/ 136 w 1645121"/>
                  <a:gd name="connsiteY70" fmla="*/ 1015869 h 2016913"/>
                  <a:gd name="connsiteX71" fmla="*/ 407 w 1645121"/>
                  <a:gd name="connsiteY71" fmla="*/ 1021634 h 2016913"/>
                  <a:gd name="connsiteX72" fmla="*/ 774 w 1645121"/>
                  <a:gd name="connsiteY72" fmla="*/ 1027400 h 2016913"/>
                  <a:gd name="connsiteX73" fmla="*/ 1568 w 1645121"/>
                  <a:gd name="connsiteY73" fmla="*/ 1033146 h 2016913"/>
                  <a:gd name="connsiteX74" fmla="*/ 2458 w 1645121"/>
                  <a:gd name="connsiteY74" fmla="*/ 1038892 h 2016913"/>
                  <a:gd name="connsiteX75" fmla="*/ 3581 w 1645121"/>
                  <a:gd name="connsiteY75" fmla="*/ 1044600 h 2016913"/>
                  <a:gd name="connsiteX76" fmla="*/ 6522 w 1645121"/>
                  <a:gd name="connsiteY76" fmla="*/ 1055860 h 2016913"/>
                  <a:gd name="connsiteX77" fmla="*/ 15091 w 1645121"/>
                  <a:gd name="connsiteY77" fmla="*/ 1077471 h 2016913"/>
                  <a:gd name="connsiteX78" fmla="*/ 41457 w 1645121"/>
                  <a:gd name="connsiteY78" fmla="*/ 1115429 h 2016913"/>
                  <a:gd name="connsiteX79" fmla="*/ 78115 w 1645121"/>
                  <a:gd name="connsiteY79" fmla="*/ 1143541 h 2016913"/>
                  <a:gd name="connsiteX80" fmla="*/ 121813 w 1645121"/>
                  <a:gd name="connsiteY80" fmla="*/ 1159017 h 2016913"/>
                  <a:gd name="connsiteX81" fmla="*/ 133304 w 1645121"/>
                  <a:gd name="connsiteY81" fmla="*/ 1160739 h 2016913"/>
                  <a:gd name="connsiteX82" fmla="*/ 144833 w 1645121"/>
                  <a:gd name="connsiteY82" fmla="*/ 1161455 h 2016913"/>
                  <a:gd name="connsiteX83" fmla="*/ 147716 w 1645121"/>
                  <a:gd name="connsiteY83" fmla="*/ 1161571 h 2016913"/>
                  <a:gd name="connsiteX84" fmla="*/ 149165 w 1645121"/>
                  <a:gd name="connsiteY84" fmla="*/ 1161629 h 2016913"/>
                  <a:gd name="connsiteX85" fmla="*/ 358778 w 1645121"/>
                  <a:gd name="connsiteY85" fmla="*/ 1161629 h 2016913"/>
                  <a:gd name="connsiteX86" fmla="*/ 404449 w 1645121"/>
                  <a:gd name="connsiteY86" fmla="*/ 1154452 h 2016913"/>
                  <a:gd name="connsiteX87" fmla="*/ 445768 w 1645121"/>
                  <a:gd name="connsiteY87" fmla="*/ 1133578 h 2016913"/>
                  <a:gd name="connsiteX88" fmla="*/ 478653 w 1645121"/>
                  <a:gd name="connsiteY88" fmla="*/ 1101191 h 2016913"/>
                  <a:gd name="connsiteX89" fmla="*/ 500163 w 1645121"/>
                  <a:gd name="connsiteY89" fmla="*/ 1060214 h 2016913"/>
                  <a:gd name="connsiteX90" fmla="*/ 503452 w 1645121"/>
                  <a:gd name="connsiteY90" fmla="*/ 1049051 h 2016913"/>
                  <a:gd name="connsiteX91" fmla="*/ 504844 w 1645121"/>
                  <a:gd name="connsiteY91" fmla="*/ 1043402 h 2016913"/>
                  <a:gd name="connsiteX92" fmla="*/ 505870 w 1645121"/>
                  <a:gd name="connsiteY92" fmla="*/ 1037675 h 2016913"/>
                  <a:gd name="connsiteX93" fmla="*/ 507455 w 1645121"/>
                  <a:gd name="connsiteY93" fmla="*/ 1026182 h 2016913"/>
                  <a:gd name="connsiteX94" fmla="*/ 508055 w 1645121"/>
                  <a:gd name="connsiteY94" fmla="*/ 1014632 h 2016913"/>
                  <a:gd name="connsiteX95" fmla="*/ 508152 w 1645121"/>
                  <a:gd name="connsiteY95" fmla="*/ 1011943 h 2016913"/>
                  <a:gd name="connsiteX96" fmla="*/ 508152 w 1645121"/>
                  <a:gd name="connsiteY96" fmla="*/ 674880 h 2016913"/>
                  <a:gd name="connsiteX97" fmla="*/ 547962 w 1645121"/>
                  <a:gd name="connsiteY97" fmla="*/ 715586 h 2016913"/>
                  <a:gd name="connsiteX98" fmla="*/ 715482 w 1645121"/>
                  <a:gd name="connsiteY98" fmla="*/ 886827 h 2016913"/>
                  <a:gd name="connsiteX99" fmla="*/ 715482 w 1645121"/>
                  <a:gd name="connsiteY99" fmla="*/ 1911228 h 2016913"/>
                  <a:gd name="connsiteX100" fmla="*/ 821139 w 1645121"/>
                  <a:gd name="connsiteY100" fmla="*/ 2016913 h 2016913"/>
                  <a:gd name="connsiteX101" fmla="*/ 823963 w 1645121"/>
                  <a:gd name="connsiteY101" fmla="*/ 2016913 h 2016913"/>
                  <a:gd name="connsiteX102" fmla="*/ 929640 w 1645121"/>
                  <a:gd name="connsiteY102" fmla="*/ 1911228 h 2016913"/>
                  <a:gd name="connsiteX103" fmla="*/ 929640 w 1645121"/>
                  <a:gd name="connsiteY103" fmla="*/ 886827 h 2016913"/>
                  <a:gd name="connsiteX104" fmla="*/ 1097160 w 1645121"/>
                  <a:gd name="connsiteY104" fmla="*/ 715586 h 2016913"/>
                  <a:gd name="connsiteX105" fmla="*/ 1136970 w 1645121"/>
                  <a:gd name="connsiteY105" fmla="*/ 674880 h 2016913"/>
                  <a:gd name="connsiteX106" fmla="*/ 1136970 w 1645121"/>
                  <a:gd name="connsiteY106" fmla="*/ 1012252 h 2016913"/>
                  <a:gd name="connsiteX107" fmla="*/ 1136989 w 1645121"/>
                  <a:gd name="connsiteY107" fmla="*/ 1012988 h 2016913"/>
                  <a:gd name="connsiteX108" fmla="*/ 1137105 w 1645121"/>
                  <a:gd name="connsiteY108" fmla="*/ 1015871 h 2016913"/>
                  <a:gd name="connsiteX109" fmla="*/ 1137376 w 1645121"/>
                  <a:gd name="connsiteY109" fmla="*/ 1021636 h 2016913"/>
                  <a:gd name="connsiteX110" fmla="*/ 1137744 w 1645121"/>
                  <a:gd name="connsiteY110" fmla="*/ 1027402 h 2016913"/>
                  <a:gd name="connsiteX111" fmla="*/ 1138537 w 1645121"/>
                  <a:gd name="connsiteY111" fmla="*/ 1033148 h 2016913"/>
                  <a:gd name="connsiteX112" fmla="*/ 1139447 w 1645121"/>
                  <a:gd name="connsiteY112" fmla="*/ 1038894 h 2016913"/>
                  <a:gd name="connsiteX113" fmla="*/ 1140570 w 1645121"/>
                  <a:gd name="connsiteY113" fmla="*/ 1044602 h 2016913"/>
                  <a:gd name="connsiteX114" fmla="*/ 1143491 w 1645121"/>
                  <a:gd name="connsiteY114" fmla="*/ 1055862 h 2016913"/>
                  <a:gd name="connsiteX115" fmla="*/ 1152061 w 1645121"/>
                  <a:gd name="connsiteY115" fmla="*/ 1077472 h 2016913"/>
                  <a:gd name="connsiteX116" fmla="*/ 1178426 w 1645121"/>
                  <a:gd name="connsiteY116" fmla="*/ 1115431 h 2016913"/>
                  <a:gd name="connsiteX117" fmla="*/ 1215084 w 1645121"/>
                  <a:gd name="connsiteY117" fmla="*/ 1143543 h 2016913"/>
                  <a:gd name="connsiteX118" fmla="*/ 1258782 w 1645121"/>
                  <a:gd name="connsiteY118" fmla="*/ 1159019 h 2016913"/>
                  <a:gd name="connsiteX119" fmla="*/ 1270273 w 1645121"/>
                  <a:gd name="connsiteY119" fmla="*/ 1160741 h 2016913"/>
                  <a:gd name="connsiteX120" fmla="*/ 1281803 w 1645121"/>
                  <a:gd name="connsiteY120" fmla="*/ 1161457 h 2016913"/>
                  <a:gd name="connsiteX121" fmla="*/ 1284685 w 1645121"/>
                  <a:gd name="connsiteY121" fmla="*/ 1161573 h 2016913"/>
                  <a:gd name="connsiteX122" fmla="*/ 1286135 w 1645121"/>
                  <a:gd name="connsiteY122" fmla="*/ 1161631 h 2016913"/>
                  <a:gd name="connsiteX123" fmla="*/ 1495747 w 1645121"/>
                  <a:gd name="connsiteY123" fmla="*/ 1161631 h 2016913"/>
                  <a:gd name="connsiteX124" fmla="*/ 1541418 w 1645121"/>
                  <a:gd name="connsiteY124" fmla="*/ 1154454 h 2016913"/>
                  <a:gd name="connsiteX125" fmla="*/ 1582737 w 1645121"/>
                  <a:gd name="connsiteY125" fmla="*/ 1133580 h 2016913"/>
                  <a:gd name="connsiteX126" fmla="*/ 1615622 w 1645121"/>
                  <a:gd name="connsiteY126" fmla="*/ 1101193 h 2016913"/>
                  <a:gd name="connsiteX127" fmla="*/ 1637133 w 1645121"/>
                  <a:gd name="connsiteY127" fmla="*/ 1060216 h 2016913"/>
                  <a:gd name="connsiteX128" fmla="*/ 1640422 w 1645121"/>
                  <a:gd name="connsiteY128" fmla="*/ 1049053 h 2016913"/>
                  <a:gd name="connsiteX129" fmla="*/ 1641814 w 1645121"/>
                  <a:gd name="connsiteY129" fmla="*/ 1043404 h 2016913"/>
                  <a:gd name="connsiteX130" fmla="*/ 1642839 w 1645121"/>
                  <a:gd name="connsiteY130" fmla="*/ 1037677 h 2016913"/>
                  <a:gd name="connsiteX131" fmla="*/ 1644425 w 1645121"/>
                  <a:gd name="connsiteY131" fmla="*/ 1026184 h 2016913"/>
                  <a:gd name="connsiteX132" fmla="*/ 1645025 w 1645121"/>
                  <a:gd name="connsiteY132" fmla="*/ 1014634 h 2016913"/>
                  <a:gd name="connsiteX133" fmla="*/ 1645122 w 1645121"/>
                  <a:gd name="connsiteY133" fmla="*/ 1011945 h 2016913"/>
                  <a:gd name="connsiteX134" fmla="*/ 1645122 w 1645121"/>
                  <a:gd name="connsiteY134" fmla="*/ 149379 h 2016913"/>
                  <a:gd name="connsiteX135" fmla="*/ 1645083 w 1645121"/>
                  <a:gd name="connsiteY135" fmla="*/ 148662 h 2016913"/>
                  <a:gd name="connsiteX136" fmla="*/ 468806 w 1645121"/>
                  <a:gd name="connsiteY136" fmla="*/ 1011945 h 2016913"/>
                  <a:gd name="connsiteX137" fmla="*/ 468728 w 1645121"/>
                  <a:gd name="connsiteY137" fmla="*/ 1014014 h 2016913"/>
                  <a:gd name="connsiteX138" fmla="*/ 468283 w 1645121"/>
                  <a:gd name="connsiteY138" fmla="*/ 1022527 h 2016913"/>
                  <a:gd name="connsiteX139" fmla="*/ 467102 w 1645121"/>
                  <a:gd name="connsiteY139" fmla="*/ 1031001 h 2016913"/>
                  <a:gd name="connsiteX140" fmla="*/ 466366 w 1645121"/>
                  <a:gd name="connsiteY140" fmla="*/ 1035218 h 2016913"/>
                  <a:gd name="connsiteX141" fmla="*/ 465302 w 1645121"/>
                  <a:gd name="connsiteY141" fmla="*/ 1039359 h 2016913"/>
                  <a:gd name="connsiteX142" fmla="*/ 462903 w 1645121"/>
                  <a:gd name="connsiteY142" fmla="*/ 1047562 h 2016913"/>
                  <a:gd name="connsiteX143" fmla="*/ 447061 w 1645121"/>
                  <a:gd name="connsiteY143" fmla="*/ 1077724 h 2016913"/>
                  <a:gd name="connsiteX144" fmla="*/ 422823 w 1645121"/>
                  <a:gd name="connsiteY144" fmla="*/ 1101598 h 2016913"/>
                  <a:gd name="connsiteX145" fmla="*/ 392414 w 1645121"/>
                  <a:gd name="connsiteY145" fmla="*/ 1116997 h 2016913"/>
                  <a:gd name="connsiteX146" fmla="*/ 358774 w 1645121"/>
                  <a:gd name="connsiteY146" fmla="*/ 1122279 h 2016913"/>
                  <a:gd name="connsiteX147" fmla="*/ 150130 w 1645121"/>
                  <a:gd name="connsiteY147" fmla="*/ 1122279 h 2016913"/>
                  <a:gd name="connsiteX148" fmla="*/ 148157 w 1645121"/>
                  <a:gd name="connsiteY148" fmla="*/ 1122221 h 2016913"/>
                  <a:gd name="connsiteX149" fmla="*/ 146010 w 1645121"/>
                  <a:gd name="connsiteY149" fmla="*/ 1122124 h 2016913"/>
                  <a:gd name="connsiteX150" fmla="*/ 137499 w 1645121"/>
                  <a:gd name="connsiteY150" fmla="*/ 1121620 h 2016913"/>
                  <a:gd name="connsiteX151" fmla="*/ 129045 w 1645121"/>
                  <a:gd name="connsiteY151" fmla="*/ 1120343 h 2016913"/>
                  <a:gd name="connsiteX152" fmla="*/ 96896 w 1645121"/>
                  <a:gd name="connsiteY152" fmla="*/ 1108966 h 2016913"/>
                  <a:gd name="connsiteX153" fmla="*/ 69891 w 1645121"/>
                  <a:gd name="connsiteY153" fmla="*/ 1088227 h 2016913"/>
                  <a:gd name="connsiteX154" fmla="*/ 50470 w 1645121"/>
                  <a:gd name="connsiteY154" fmla="*/ 1060271 h 2016913"/>
                  <a:gd name="connsiteX155" fmla="*/ 44144 w 1645121"/>
                  <a:gd name="connsiteY155" fmla="*/ 1044387 h 2016913"/>
                  <a:gd name="connsiteX156" fmla="*/ 41997 w 1645121"/>
                  <a:gd name="connsiteY156" fmla="*/ 1036087 h 2016913"/>
                  <a:gd name="connsiteX157" fmla="*/ 41184 w 1645121"/>
                  <a:gd name="connsiteY157" fmla="*/ 1031888 h 2016913"/>
                  <a:gd name="connsiteX158" fmla="*/ 40526 w 1645121"/>
                  <a:gd name="connsiteY158" fmla="*/ 1027671 h 2016913"/>
                  <a:gd name="connsiteX159" fmla="*/ 39906 w 1645121"/>
                  <a:gd name="connsiteY159" fmla="*/ 1023435 h 2016913"/>
                  <a:gd name="connsiteX160" fmla="*/ 39674 w 1645121"/>
                  <a:gd name="connsiteY160" fmla="*/ 1019180 h 2016913"/>
                  <a:gd name="connsiteX161" fmla="*/ 39461 w 1645121"/>
                  <a:gd name="connsiteY161" fmla="*/ 1014924 h 2016913"/>
                  <a:gd name="connsiteX162" fmla="*/ 39345 w 1645121"/>
                  <a:gd name="connsiteY162" fmla="*/ 1010918 h 2016913"/>
                  <a:gd name="connsiteX163" fmla="*/ 39345 w 1645121"/>
                  <a:gd name="connsiteY163" fmla="*/ 149708 h 2016913"/>
                  <a:gd name="connsiteX164" fmla="*/ 39422 w 1645121"/>
                  <a:gd name="connsiteY164" fmla="*/ 147638 h 2016913"/>
                  <a:gd name="connsiteX165" fmla="*/ 39848 w 1645121"/>
                  <a:gd name="connsiteY165" fmla="*/ 139106 h 2016913"/>
                  <a:gd name="connsiteX166" fmla="*/ 41048 w 1645121"/>
                  <a:gd name="connsiteY166" fmla="*/ 130632 h 2016913"/>
                  <a:gd name="connsiteX167" fmla="*/ 41784 w 1645121"/>
                  <a:gd name="connsiteY167" fmla="*/ 126434 h 2016913"/>
                  <a:gd name="connsiteX168" fmla="*/ 42829 w 1645121"/>
                  <a:gd name="connsiteY168" fmla="*/ 122274 h 2016913"/>
                  <a:gd name="connsiteX169" fmla="*/ 45228 w 1645121"/>
                  <a:gd name="connsiteY169" fmla="*/ 114071 h 2016913"/>
                  <a:gd name="connsiteX170" fmla="*/ 61070 w 1645121"/>
                  <a:gd name="connsiteY170" fmla="*/ 83909 h 2016913"/>
                  <a:gd name="connsiteX171" fmla="*/ 85308 w 1645121"/>
                  <a:gd name="connsiteY171" fmla="*/ 60035 h 2016913"/>
                  <a:gd name="connsiteX172" fmla="*/ 115717 w 1645121"/>
                  <a:gd name="connsiteY172" fmla="*/ 44636 h 2016913"/>
                  <a:gd name="connsiteX173" fmla="*/ 149376 w 1645121"/>
                  <a:gd name="connsiteY173" fmla="*/ 39354 h 2016913"/>
                  <a:gd name="connsiteX174" fmla="*/ 358023 w 1645121"/>
                  <a:gd name="connsiteY174" fmla="*/ 39354 h 2016913"/>
                  <a:gd name="connsiteX175" fmla="*/ 359995 w 1645121"/>
                  <a:gd name="connsiteY175" fmla="*/ 39412 h 2016913"/>
                  <a:gd name="connsiteX176" fmla="*/ 362123 w 1645121"/>
                  <a:gd name="connsiteY176" fmla="*/ 39509 h 2016913"/>
                  <a:gd name="connsiteX177" fmla="*/ 370634 w 1645121"/>
                  <a:gd name="connsiteY177" fmla="*/ 40013 h 2016913"/>
                  <a:gd name="connsiteX178" fmla="*/ 379107 w 1645121"/>
                  <a:gd name="connsiteY178" fmla="*/ 41310 h 2016913"/>
                  <a:gd name="connsiteX179" fmla="*/ 411257 w 1645121"/>
                  <a:gd name="connsiteY179" fmla="*/ 52667 h 2016913"/>
                  <a:gd name="connsiteX180" fmla="*/ 438242 w 1645121"/>
                  <a:gd name="connsiteY180" fmla="*/ 73406 h 2016913"/>
                  <a:gd name="connsiteX181" fmla="*/ 457663 w 1645121"/>
                  <a:gd name="connsiteY181" fmla="*/ 101362 h 2016913"/>
                  <a:gd name="connsiteX182" fmla="*/ 464009 w 1645121"/>
                  <a:gd name="connsiteY182" fmla="*/ 117265 h 2016913"/>
                  <a:gd name="connsiteX183" fmla="*/ 466136 w 1645121"/>
                  <a:gd name="connsiteY183" fmla="*/ 125546 h 2016913"/>
                  <a:gd name="connsiteX184" fmla="*/ 466969 w 1645121"/>
                  <a:gd name="connsiteY184" fmla="*/ 129743 h 2016913"/>
                  <a:gd name="connsiteX185" fmla="*/ 467607 w 1645121"/>
                  <a:gd name="connsiteY185" fmla="*/ 133960 h 2016913"/>
                  <a:gd name="connsiteX186" fmla="*/ 468227 w 1645121"/>
                  <a:gd name="connsiteY186" fmla="*/ 138196 h 2016913"/>
                  <a:gd name="connsiteX187" fmla="*/ 468478 w 1645121"/>
                  <a:gd name="connsiteY187" fmla="*/ 142452 h 2016913"/>
                  <a:gd name="connsiteX188" fmla="*/ 468691 w 1645121"/>
                  <a:gd name="connsiteY188" fmla="*/ 146726 h 2016913"/>
                  <a:gd name="connsiteX189" fmla="*/ 468807 w 1645121"/>
                  <a:gd name="connsiteY189" fmla="*/ 150713 h 2016913"/>
                  <a:gd name="connsiteX190" fmla="*/ 468807 w 1645121"/>
                  <a:gd name="connsiteY190" fmla="*/ 1011943 h 2016913"/>
                  <a:gd name="connsiteX191" fmla="*/ 715482 w 1645121"/>
                  <a:gd name="connsiteY191" fmla="*/ 830567 h 2016913"/>
                  <a:gd name="connsiteX192" fmla="*/ 576089 w 1645121"/>
                  <a:gd name="connsiteY192" fmla="*/ 688057 h 2016913"/>
                  <a:gd name="connsiteX193" fmla="*/ 508152 w 1645121"/>
                  <a:gd name="connsiteY193" fmla="*/ 618601 h 2016913"/>
                  <a:gd name="connsiteX194" fmla="*/ 508152 w 1645121"/>
                  <a:gd name="connsiteY194" fmla="*/ 564217 h 2016913"/>
                  <a:gd name="connsiteX195" fmla="*/ 603267 w 1645121"/>
                  <a:gd name="connsiteY195" fmla="*/ 661455 h 2016913"/>
                  <a:gd name="connsiteX196" fmla="*/ 715482 w 1645121"/>
                  <a:gd name="connsiteY196" fmla="*/ 776183 h 2016913"/>
                  <a:gd name="connsiteX197" fmla="*/ 715482 w 1645121"/>
                  <a:gd name="connsiteY197" fmla="*/ 830567 h 2016913"/>
                  <a:gd name="connsiteX198" fmla="*/ 890953 w 1645121"/>
                  <a:gd name="connsiteY198" fmla="*/ 1911228 h 2016913"/>
                  <a:gd name="connsiteX199" fmla="*/ 823963 w 1645121"/>
                  <a:gd name="connsiteY199" fmla="*/ 1978231 h 2016913"/>
                  <a:gd name="connsiteX200" fmla="*/ 821139 w 1645121"/>
                  <a:gd name="connsiteY200" fmla="*/ 1978231 h 2016913"/>
                  <a:gd name="connsiteX201" fmla="*/ 754169 w 1645121"/>
                  <a:gd name="connsiteY201" fmla="*/ 1911228 h 2016913"/>
                  <a:gd name="connsiteX202" fmla="*/ 754169 w 1645121"/>
                  <a:gd name="connsiteY202" fmla="*/ 125466 h 2016913"/>
                  <a:gd name="connsiteX203" fmla="*/ 821139 w 1645121"/>
                  <a:gd name="connsiteY203" fmla="*/ 58467 h 2016913"/>
                  <a:gd name="connsiteX204" fmla="*/ 823963 w 1645121"/>
                  <a:gd name="connsiteY204" fmla="*/ 58467 h 2016913"/>
                  <a:gd name="connsiteX205" fmla="*/ 890953 w 1645121"/>
                  <a:gd name="connsiteY205" fmla="*/ 125466 h 2016913"/>
                  <a:gd name="connsiteX206" fmla="*/ 890953 w 1645121"/>
                  <a:gd name="connsiteY206" fmla="*/ 1911228 h 2016913"/>
                  <a:gd name="connsiteX207" fmla="*/ 1136971 w 1645121"/>
                  <a:gd name="connsiteY207" fmla="*/ 618601 h 2016913"/>
                  <a:gd name="connsiteX208" fmla="*/ 1069035 w 1645121"/>
                  <a:gd name="connsiteY208" fmla="*/ 688057 h 2016913"/>
                  <a:gd name="connsiteX209" fmla="*/ 929642 w 1645121"/>
                  <a:gd name="connsiteY209" fmla="*/ 830567 h 2016913"/>
                  <a:gd name="connsiteX210" fmla="*/ 929642 w 1645121"/>
                  <a:gd name="connsiteY210" fmla="*/ 776163 h 2016913"/>
                  <a:gd name="connsiteX211" fmla="*/ 1041857 w 1645121"/>
                  <a:gd name="connsiteY211" fmla="*/ 661455 h 2016913"/>
                  <a:gd name="connsiteX212" fmla="*/ 1136971 w 1645121"/>
                  <a:gd name="connsiteY212" fmla="*/ 564217 h 2016913"/>
                  <a:gd name="connsiteX213" fmla="*/ 1136971 w 1645121"/>
                  <a:gd name="connsiteY213" fmla="*/ 618601 h 2016913"/>
                  <a:gd name="connsiteX214" fmla="*/ 1605777 w 1645121"/>
                  <a:gd name="connsiteY214" fmla="*/ 1011943 h 2016913"/>
                  <a:gd name="connsiteX215" fmla="*/ 1605700 w 1645121"/>
                  <a:gd name="connsiteY215" fmla="*/ 1014012 h 2016913"/>
                  <a:gd name="connsiteX216" fmla="*/ 1605254 w 1645121"/>
                  <a:gd name="connsiteY216" fmla="*/ 1022525 h 2016913"/>
                  <a:gd name="connsiteX217" fmla="*/ 1604073 w 1645121"/>
                  <a:gd name="connsiteY217" fmla="*/ 1030999 h 2016913"/>
                  <a:gd name="connsiteX218" fmla="*/ 1603338 w 1645121"/>
                  <a:gd name="connsiteY218" fmla="*/ 1035216 h 2016913"/>
                  <a:gd name="connsiteX219" fmla="*/ 1602293 w 1645121"/>
                  <a:gd name="connsiteY219" fmla="*/ 1039357 h 2016913"/>
                  <a:gd name="connsiteX220" fmla="*/ 1599875 w 1645121"/>
                  <a:gd name="connsiteY220" fmla="*/ 1047560 h 2016913"/>
                  <a:gd name="connsiteX221" fmla="*/ 1584032 w 1645121"/>
                  <a:gd name="connsiteY221" fmla="*/ 1077722 h 2016913"/>
                  <a:gd name="connsiteX222" fmla="*/ 1559794 w 1645121"/>
                  <a:gd name="connsiteY222" fmla="*/ 1101596 h 2016913"/>
                  <a:gd name="connsiteX223" fmla="*/ 1529405 w 1645121"/>
                  <a:gd name="connsiteY223" fmla="*/ 1116995 h 2016913"/>
                  <a:gd name="connsiteX224" fmla="*/ 1495745 w 1645121"/>
                  <a:gd name="connsiteY224" fmla="*/ 1122277 h 2016913"/>
                  <a:gd name="connsiteX225" fmla="*/ 1287099 w 1645121"/>
                  <a:gd name="connsiteY225" fmla="*/ 1122277 h 2016913"/>
                  <a:gd name="connsiteX226" fmla="*/ 1285126 w 1645121"/>
                  <a:gd name="connsiteY226" fmla="*/ 1122219 h 2016913"/>
                  <a:gd name="connsiteX227" fmla="*/ 1282999 w 1645121"/>
                  <a:gd name="connsiteY227" fmla="*/ 1122122 h 2016913"/>
                  <a:gd name="connsiteX228" fmla="*/ 1274468 w 1645121"/>
                  <a:gd name="connsiteY228" fmla="*/ 1121618 h 2016913"/>
                  <a:gd name="connsiteX229" fmla="*/ 1266015 w 1645121"/>
                  <a:gd name="connsiteY229" fmla="*/ 1120341 h 2016913"/>
                  <a:gd name="connsiteX230" fmla="*/ 1233865 w 1645121"/>
                  <a:gd name="connsiteY230" fmla="*/ 1108964 h 2016913"/>
                  <a:gd name="connsiteX231" fmla="*/ 1206861 w 1645121"/>
                  <a:gd name="connsiteY231" fmla="*/ 1088225 h 2016913"/>
                  <a:gd name="connsiteX232" fmla="*/ 1187439 w 1645121"/>
                  <a:gd name="connsiteY232" fmla="*/ 1060269 h 2016913"/>
                  <a:gd name="connsiteX233" fmla="*/ 1181113 w 1645121"/>
                  <a:gd name="connsiteY233" fmla="*/ 1044385 h 2016913"/>
                  <a:gd name="connsiteX234" fmla="*/ 1178966 w 1645121"/>
                  <a:gd name="connsiteY234" fmla="*/ 1036085 h 2016913"/>
                  <a:gd name="connsiteX235" fmla="*/ 1178153 w 1645121"/>
                  <a:gd name="connsiteY235" fmla="*/ 1031886 h 2016913"/>
                  <a:gd name="connsiteX236" fmla="*/ 1177495 w 1645121"/>
                  <a:gd name="connsiteY236" fmla="*/ 1027669 h 2016913"/>
                  <a:gd name="connsiteX237" fmla="*/ 1176876 w 1645121"/>
                  <a:gd name="connsiteY237" fmla="*/ 1023433 h 2016913"/>
                  <a:gd name="connsiteX238" fmla="*/ 1176643 w 1645121"/>
                  <a:gd name="connsiteY238" fmla="*/ 1019178 h 2016913"/>
                  <a:gd name="connsiteX239" fmla="*/ 1176430 w 1645121"/>
                  <a:gd name="connsiteY239" fmla="*/ 1014922 h 2016913"/>
                  <a:gd name="connsiteX240" fmla="*/ 1176314 w 1645121"/>
                  <a:gd name="connsiteY240" fmla="*/ 1010916 h 2016913"/>
                  <a:gd name="connsiteX241" fmla="*/ 1176314 w 1645121"/>
                  <a:gd name="connsiteY241" fmla="*/ 149708 h 2016913"/>
                  <a:gd name="connsiteX242" fmla="*/ 1176392 w 1645121"/>
                  <a:gd name="connsiteY242" fmla="*/ 147638 h 2016913"/>
                  <a:gd name="connsiteX243" fmla="*/ 1176837 w 1645121"/>
                  <a:gd name="connsiteY243" fmla="*/ 139106 h 2016913"/>
                  <a:gd name="connsiteX244" fmla="*/ 1178018 w 1645121"/>
                  <a:gd name="connsiteY244" fmla="*/ 130632 h 2016913"/>
                  <a:gd name="connsiteX245" fmla="*/ 1178753 w 1645121"/>
                  <a:gd name="connsiteY245" fmla="*/ 126434 h 2016913"/>
                  <a:gd name="connsiteX246" fmla="*/ 1179799 w 1645121"/>
                  <a:gd name="connsiteY246" fmla="*/ 122274 h 2016913"/>
                  <a:gd name="connsiteX247" fmla="*/ 1182197 w 1645121"/>
                  <a:gd name="connsiteY247" fmla="*/ 114071 h 2016913"/>
                  <a:gd name="connsiteX248" fmla="*/ 1198040 w 1645121"/>
                  <a:gd name="connsiteY248" fmla="*/ 83909 h 2016913"/>
                  <a:gd name="connsiteX249" fmla="*/ 1222278 w 1645121"/>
                  <a:gd name="connsiteY249" fmla="*/ 60035 h 2016913"/>
                  <a:gd name="connsiteX250" fmla="*/ 1252687 w 1645121"/>
                  <a:gd name="connsiteY250" fmla="*/ 44636 h 2016913"/>
                  <a:gd name="connsiteX251" fmla="*/ 1286346 w 1645121"/>
                  <a:gd name="connsiteY251" fmla="*/ 39354 h 2016913"/>
                  <a:gd name="connsiteX252" fmla="*/ 1494992 w 1645121"/>
                  <a:gd name="connsiteY252" fmla="*/ 39354 h 2016913"/>
                  <a:gd name="connsiteX253" fmla="*/ 1496965 w 1645121"/>
                  <a:gd name="connsiteY253" fmla="*/ 39412 h 2016913"/>
                  <a:gd name="connsiteX254" fmla="*/ 1499092 w 1645121"/>
                  <a:gd name="connsiteY254" fmla="*/ 39509 h 2016913"/>
                  <a:gd name="connsiteX255" fmla="*/ 1507623 w 1645121"/>
                  <a:gd name="connsiteY255" fmla="*/ 40013 h 2016913"/>
                  <a:gd name="connsiteX256" fmla="*/ 1516077 w 1645121"/>
                  <a:gd name="connsiteY256" fmla="*/ 41310 h 2016913"/>
                  <a:gd name="connsiteX257" fmla="*/ 1548226 w 1645121"/>
                  <a:gd name="connsiteY257" fmla="*/ 52667 h 2016913"/>
                  <a:gd name="connsiteX258" fmla="*/ 1575211 w 1645121"/>
                  <a:gd name="connsiteY258" fmla="*/ 73406 h 2016913"/>
                  <a:gd name="connsiteX259" fmla="*/ 1594633 w 1645121"/>
                  <a:gd name="connsiteY259" fmla="*/ 101362 h 2016913"/>
                  <a:gd name="connsiteX260" fmla="*/ 1600978 w 1645121"/>
                  <a:gd name="connsiteY260" fmla="*/ 117265 h 2016913"/>
                  <a:gd name="connsiteX261" fmla="*/ 1603106 w 1645121"/>
                  <a:gd name="connsiteY261" fmla="*/ 125546 h 2016913"/>
                  <a:gd name="connsiteX262" fmla="*/ 1603938 w 1645121"/>
                  <a:gd name="connsiteY262" fmla="*/ 129743 h 2016913"/>
                  <a:gd name="connsiteX263" fmla="*/ 1604577 w 1645121"/>
                  <a:gd name="connsiteY263" fmla="*/ 133960 h 2016913"/>
                  <a:gd name="connsiteX264" fmla="*/ 1605216 w 1645121"/>
                  <a:gd name="connsiteY264" fmla="*/ 138196 h 2016913"/>
                  <a:gd name="connsiteX265" fmla="*/ 1605448 w 1645121"/>
                  <a:gd name="connsiteY265" fmla="*/ 142452 h 2016913"/>
                  <a:gd name="connsiteX266" fmla="*/ 1605661 w 1645121"/>
                  <a:gd name="connsiteY266" fmla="*/ 146726 h 2016913"/>
                  <a:gd name="connsiteX267" fmla="*/ 1605777 w 1645121"/>
                  <a:gd name="connsiteY267" fmla="*/ 150713 h 2016913"/>
                  <a:gd name="connsiteX268" fmla="*/ 1605777 w 1645121"/>
                  <a:gd name="connsiteY268" fmla="*/ 1011943 h 2016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</a:cxnLst>
                <a:rect l="l" t="t" r="r" b="b"/>
                <a:pathLst>
                  <a:path w="1645121" h="2016913">
                    <a:moveTo>
                      <a:pt x="1645083" y="148664"/>
                    </a:moveTo>
                    <a:lnTo>
                      <a:pt x="1644986" y="145782"/>
                    </a:lnTo>
                    <a:lnTo>
                      <a:pt x="1644715" y="139997"/>
                    </a:lnTo>
                    <a:lnTo>
                      <a:pt x="1644347" y="134231"/>
                    </a:lnTo>
                    <a:lnTo>
                      <a:pt x="1643554" y="128485"/>
                    </a:lnTo>
                    <a:lnTo>
                      <a:pt x="1642644" y="122739"/>
                    </a:lnTo>
                    <a:cubicBezTo>
                      <a:pt x="1642354" y="120824"/>
                      <a:pt x="1642025" y="118926"/>
                      <a:pt x="1641521" y="117031"/>
                    </a:cubicBezTo>
                    <a:cubicBezTo>
                      <a:pt x="1640611" y="113277"/>
                      <a:pt x="1639626" y="109506"/>
                      <a:pt x="1638600" y="105771"/>
                    </a:cubicBezTo>
                    <a:cubicBezTo>
                      <a:pt x="1636144" y="98420"/>
                      <a:pt x="1633571" y="91067"/>
                      <a:pt x="1630011" y="84161"/>
                    </a:cubicBezTo>
                    <a:cubicBezTo>
                      <a:pt x="1623220" y="70250"/>
                      <a:pt x="1614440" y="57269"/>
                      <a:pt x="1603646" y="46222"/>
                    </a:cubicBezTo>
                    <a:cubicBezTo>
                      <a:pt x="1592949" y="35097"/>
                      <a:pt x="1580567" y="25579"/>
                      <a:pt x="1567007" y="18091"/>
                    </a:cubicBezTo>
                    <a:cubicBezTo>
                      <a:pt x="1553331" y="10778"/>
                      <a:pt x="1538532" y="5555"/>
                      <a:pt x="1523309" y="2614"/>
                    </a:cubicBezTo>
                    <a:cubicBezTo>
                      <a:pt x="1519478" y="1994"/>
                      <a:pt x="1515649" y="1413"/>
                      <a:pt x="1511818" y="893"/>
                    </a:cubicBezTo>
                    <a:cubicBezTo>
                      <a:pt x="1507987" y="505"/>
                      <a:pt x="1504139" y="370"/>
                      <a:pt x="1500289" y="176"/>
                    </a:cubicBezTo>
                    <a:lnTo>
                      <a:pt x="1497387" y="60"/>
                    </a:lnTo>
                    <a:lnTo>
                      <a:pt x="1495954" y="21"/>
                    </a:lnTo>
                    <a:lnTo>
                      <a:pt x="1494986" y="2"/>
                    </a:lnTo>
                    <a:lnTo>
                      <a:pt x="1286340" y="2"/>
                    </a:lnTo>
                    <a:cubicBezTo>
                      <a:pt x="1270962" y="157"/>
                      <a:pt x="1255486" y="2517"/>
                      <a:pt x="1240650" y="7179"/>
                    </a:cubicBezTo>
                    <a:cubicBezTo>
                      <a:pt x="1225851" y="11918"/>
                      <a:pt x="1211925" y="19117"/>
                      <a:pt x="1199331" y="28073"/>
                    </a:cubicBezTo>
                    <a:cubicBezTo>
                      <a:pt x="1186700" y="36973"/>
                      <a:pt x="1175654" y="48039"/>
                      <a:pt x="1166465" y="60440"/>
                    </a:cubicBezTo>
                    <a:cubicBezTo>
                      <a:pt x="1157295" y="72862"/>
                      <a:pt x="1149771" y="86654"/>
                      <a:pt x="1144935" y="101436"/>
                    </a:cubicBezTo>
                    <a:cubicBezTo>
                      <a:pt x="1143542" y="105055"/>
                      <a:pt x="1142653" y="108845"/>
                      <a:pt x="1141666" y="112599"/>
                    </a:cubicBezTo>
                    <a:lnTo>
                      <a:pt x="1140272" y="118249"/>
                    </a:lnTo>
                    <a:cubicBezTo>
                      <a:pt x="1139788" y="120125"/>
                      <a:pt x="1139575" y="122061"/>
                      <a:pt x="1139227" y="123956"/>
                    </a:cubicBezTo>
                    <a:cubicBezTo>
                      <a:pt x="1138646" y="127788"/>
                      <a:pt x="1137988" y="131617"/>
                      <a:pt x="1137641" y="135449"/>
                    </a:cubicBezTo>
                    <a:cubicBezTo>
                      <a:pt x="1137390" y="139300"/>
                      <a:pt x="1137196" y="143149"/>
                      <a:pt x="1137041" y="146999"/>
                    </a:cubicBezTo>
                    <a:lnTo>
                      <a:pt x="1136964" y="149708"/>
                    </a:lnTo>
                    <a:lnTo>
                      <a:pt x="1136964" y="507955"/>
                    </a:lnTo>
                    <a:lnTo>
                      <a:pt x="1013722" y="633942"/>
                    </a:lnTo>
                    <a:lnTo>
                      <a:pt x="929634" y="719882"/>
                    </a:lnTo>
                    <a:lnTo>
                      <a:pt x="929634" y="125466"/>
                    </a:lnTo>
                    <a:cubicBezTo>
                      <a:pt x="929634" y="67193"/>
                      <a:pt x="882240" y="19775"/>
                      <a:pt x="823958" y="19775"/>
                    </a:cubicBezTo>
                    <a:lnTo>
                      <a:pt x="821133" y="19775"/>
                    </a:lnTo>
                    <a:cubicBezTo>
                      <a:pt x="762868" y="19775"/>
                      <a:pt x="715476" y="67195"/>
                      <a:pt x="715476" y="125466"/>
                    </a:cubicBezTo>
                    <a:lnTo>
                      <a:pt x="715476" y="719901"/>
                    </a:lnTo>
                    <a:lnTo>
                      <a:pt x="631388" y="633942"/>
                    </a:lnTo>
                    <a:lnTo>
                      <a:pt x="508146" y="507955"/>
                    </a:lnTo>
                    <a:lnTo>
                      <a:pt x="508146" y="149824"/>
                    </a:lnTo>
                    <a:lnTo>
                      <a:pt x="508127" y="149379"/>
                    </a:lnTo>
                    <a:lnTo>
                      <a:pt x="508108" y="148662"/>
                    </a:lnTo>
                    <a:lnTo>
                      <a:pt x="508011" y="145780"/>
                    </a:lnTo>
                    <a:lnTo>
                      <a:pt x="507740" y="139995"/>
                    </a:lnTo>
                    <a:lnTo>
                      <a:pt x="507372" y="134229"/>
                    </a:lnTo>
                    <a:lnTo>
                      <a:pt x="506559" y="128483"/>
                    </a:lnTo>
                    <a:lnTo>
                      <a:pt x="505669" y="122737"/>
                    </a:lnTo>
                    <a:cubicBezTo>
                      <a:pt x="505359" y="120822"/>
                      <a:pt x="505049" y="118925"/>
                      <a:pt x="504546" y="117029"/>
                    </a:cubicBezTo>
                    <a:cubicBezTo>
                      <a:pt x="503636" y="113275"/>
                      <a:pt x="502651" y="109504"/>
                      <a:pt x="501625" y="105769"/>
                    </a:cubicBezTo>
                    <a:cubicBezTo>
                      <a:pt x="499168" y="98418"/>
                      <a:pt x="496576" y="91065"/>
                      <a:pt x="493036" y="84159"/>
                    </a:cubicBezTo>
                    <a:cubicBezTo>
                      <a:pt x="486245" y="70248"/>
                      <a:pt x="477464" y="57267"/>
                      <a:pt x="466670" y="46220"/>
                    </a:cubicBezTo>
                    <a:cubicBezTo>
                      <a:pt x="455973" y="35095"/>
                      <a:pt x="443592" y="25577"/>
                      <a:pt x="430032" y="18089"/>
                    </a:cubicBezTo>
                    <a:cubicBezTo>
                      <a:pt x="416356" y="10776"/>
                      <a:pt x="401557" y="5553"/>
                      <a:pt x="386334" y="2612"/>
                    </a:cubicBezTo>
                    <a:cubicBezTo>
                      <a:pt x="382503" y="1992"/>
                      <a:pt x="378674" y="1411"/>
                      <a:pt x="374843" y="891"/>
                    </a:cubicBezTo>
                    <a:cubicBezTo>
                      <a:pt x="371012" y="503"/>
                      <a:pt x="367144" y="368"/>
                      <a:pt x="363313" y="174"/>
                    </a:cubicBezTo>
                    <a:lnTo>
                      <a:pt x="360412" y="58"/>
                    </a:lnTo>
                    <a:lnTo>
                      <a:pt x="358981" y="19"/>
                    </a:lnTo>
                    <a:lnTo>
                      <a:pt x="358013" y="0"/>
                    </a:lnTo>
                    <a:lnTo>
                      <a:pt x="149375" y="0"/>
                    </a:lnTo>
                    <a:cubicBezTo>
                      <a:pt x="133997" y="155"/>
                      <a:pt x="118520" y="2515"/>
                      <a:pt x="103684" y="7177"/>
                    </a:cubicBezTo>
                    <a:cubicBezTo>
                      <a:pt x="88885" y="11916"/>
                      <a:pt x="74959" y="19115"/>
                      <a:pt x="62365" y="28071"/>
                    </a:cubicBezTo>
                    <a:cubicBezTo>
                      <a:pt x="49734" y="36971"/>
                      <a:pt x="38689" y="48038"/>
                      <a:pt x="29480" y="60438"/>
                    </a:cubicBezTo>
                    <a:cubicBezTo>
                      <a:pt x="20330" y="72860"/>
                      <a:pt x="12805" y="86652"/>
                      <a:pt x="7970" y="101434"/>
                    </a:cubicBezTo>
                    <a:cubicBezTo>
                      <a:pt x="6578" y="105053"/>
                      <a:pt x="5687" y="108843"/>
                      <a:pt x="4700" y="112597"/>
                    </a:cubicBezTo>
                    <a:lnTo>
                      <a:pt x="3289" y="118247"/>
                    </a:lnTo>
                    <a:cubicBezTo>
                      <a:pt x="2824" y="120123"/>
                      <a:pt x="2611" y="122059"/>
                      <a:pt x="2263" y="123954"/>
                    </a:cubicBezTo>
                    <a:cubicBezTo>
                      <a:pt x="1682" y="127786"/>
                      <a:pt x="1024" y="131615"/>
                      <a:pt x="678" y="135447"/>
                    </a:cubicBezTo>
                    <a:cubicBezTo>
                      <a:pt x="426" y="139298"/>
                      <a:pt x="232" y="143147"/>
                      <a:pt x="77" y="146997"/>
                    </a:cubicBezTo>
                    <a:lnTo>
                      <a:pt x="0" y="149706"/>
                    </a:lnTo>
                    <a:lnTo>
                      <a:pt x="0" y="1012250"/>
                    </a:lnTo>
                    <a:lnTo>
                      <a:pt x="19" y="1012986"/>
                    </a:lnTo>
                    <a:lnTo>
                      <a:pt x="136" y="1015869"/>
                    </a:lnTo>
                    <a:lnTo>
                      <a:pt x="407" y="1021634"/>
                    </a:lnTo>
                    <a:lnTo>
                      <a:pt x="774" y="1027400"/>
                    </a:lnTo>
                    <a:lnTo>
                      <a:pt x="1568" y="1033146"/>
                    </a:lnTo>
                    <a:lnTo>
                      <a:pt x="2458" y="1038892"/>
                    </a:lnTo>
                    <a:cubicBezTo>
                      <a:pt x="2768" y="1040807"/>
                      <a:pt x="3078" y="1042724"/>
                      <a:pt x="3581" y="1044600"/>
                    </a:cubicBezTo>
                    <a:cubicBezTo>
                      <a:pt x="4510" y="1048373"/>
                      <a:pt x="5476" y="1052126"/>
                      <a:pt x="6522" y="1055860"/>
                    </a:cubicBezTo>
                    <a:cubicBezTo>
                      <a:pt x="8978" y="1063211"/>
                      <a:pt x="11551" y="1070565"/>
                      <a:pt x="15091" y="1077471"/>
                    </a:cubicBezTo>
                    <a:cubicBezTo>
                      <a:pt x="21901" y="1091381"/>
                      <a:pt x="30663" y="1104362"/>
                      <a:pt x="41457" y="1115429"/>
                    </a:cubicBezTo>
                    <a:cubicBezTo>
                      <a:pt x="52173" y="1126554"/>
                      <a:pt x="64535" y="1136054"/>
                      <a:pt x="78115" y="1143541"/>
                    </a:cubicBezTo>
                    <a:cubicBezTo>
                      <a:pt x="91772" y="1150853"/>
                      <a:pt x="106590" y="1156077"/>
                      <a:pt x="121813" y="1159017"/>
                    </a:cubicBezTo>
                    <a:cubicBezTo>
                      <a:pt x="125624" y="1159656"/>
                      <a:pt x="129453" y="1160218"/>
                      <a:pt x="133304" y="1160739"/>
                    </a:cubicBezTo>
                    <a:cubicBezTo>
                      <a:pt x="137135" y="1161126"/>
                      <a:pt x="140983" y="1161281"/>
                      <a:pt x="144833" y="1161455"/>
                    </a:cubicBezTo>
                    <a:lnTo>
                      <a:pt x="147716" y="1161571"/>
                    </a:lnTo>
                    <a:lnTo>
                      <a:pt x="149165" y="1161629"/>
                    </a:lnTo>
                    <a:lnTo>
                      <a:pt x="358778" y="1161629"/>
                    </a:lnTo>
                    <a:cubicBezTo>
                      <a:pt x="374156" y="1161474"/>
                      <a:pt x="389632" y="1159114"/>
                      <a:pt x="404449" y="1154452"/>
                    </a:cubicBezTo>
                    <a:cubicBezTo>
                      <a:pt x="419267" y="1149732"/>
                      <a:pt x="433174" y="1142514"/>
                      <a:pt x="445768" y="1133578"/>
                    </a:cubicBezTo>
                    <a:cubicBezTo>
                      <a:pt x="458418" y="1124658"/>
                      <a:pt x="469464" y="1113592"/>
                      <a:pt x="478653" y="1101191"/>
                    </a:cubicBezTo>
                    <a:cubicBezTo>
                      <a:pt x="487823" y="1088771"/>
                      <a:pt x="495347" y="1074996"/>
                      <a:pt x="500163" y="1060214"/>
                    </a:cubicBezTo>
                    <a:cubicBezTo>
                      <a:pt x="501574" y="1056577"/>
                      <a:pt x="502446" y="1052805"/>
                      <a:pt x="503452" y="1049051"/>
                    </a:cubicBezTo>
                    <a:lnTo>
                      <a:pt x="504844" y="1043402"/>
                    </a:lnTo>
                    <a:cubicBezTo>
                      <a:pt x="505309" y="1041506"/>
                      <a:pt x="505541" y="1039590"/>
                      <a:pt x="505870" y="1037675"/>
                    </a:cubicBezTo>
                    <a:cubicBezTo>
                      <a:pt x="506451" y="1033843"/>
                      <a:pt x="507128" y="1030014"/>
                      <a:pt x="507455" y="1026182"/>
                    </a:cubicBezTo>
                    <a:cubicBezTo>
                      <a:pt x="507726" y="1022331"/>
                      <a:pt x="507920" y="1018483"/>
                      <a:pt x="508055" y="1014632"/>
                    </a:cubicBezTo>
                    <a:lnTo>
                      <a:pt x="508152" y="1011943"/>
                    </a:lnTo>
                    <a:lnTo>
                      <a:pt x="508152" y="674880"/>
                    </a:lnTo>
                    <a:lnTo>
                      <a:pt x="547962" y="715586"/>
                    </a:lnTo>
                    <a:lnTo>
                      <a:pt x="715482" y="886827"/>
                    </a:lnTo>
                    <a:lnTo>
                      <a:pt x="715482" y="1911228"/>
                    </a:lnTo>
                    <a:cubicBezTo>
                      <a:pt x="715482" y="1969499"/>
                      <a:pt x="762876" y="2016913"/>
                      <a:pt x="821139" y="2016913"/>
                    </a:cubicBezTo>
                    <a:lnTo>
                      <a:pt x="823963" y="2016913"/>
                    </a:lnTo>
                    <a:cubicBezTo>
                      <a:pt x="882248" y="2016913"/>
                      <a:pt x="929640" y="1969499"/>
                      <a:pt x="929640" y="1911228"/>
                    </a:cubicBezTo>
                    <a:lnTo>
                      <a:pt x="929640" y="886827"/>
                    </a:lnTo>
                    <a:lnTo>
                      <a:pt x="1097160" y="715586"/>
                    </a:lnTo>
                    <a:lnTo>
                      <a:pt x="1136970" y="674880"/>
                    </a:lnTo>
                    <a:lnTo>
                      <a:pt x="1136970" y="1012252"/>
                    </a:lnTo>
                    <a:lnTo>
                      <a:pt x="1136989" y="1012988"/>
                    </a:lnTo>
                    <a:lnTo>
                      <a:pt x="1137105" y="1015871"/>
                    </a:lnTo>
                    <a:lnTo>
                      <a:pt x="1137376" y="1021636"/>
                    </a:lnTo>
                    <a:lnTo>
                      <a:pt x="1137744" y="1027402"/>
                    </a:lnTo>
                    <a:lnTo>
                      <a:pt x="1138537" y="1033148"/>
                    </a:lnTo>
                    <a:lnTo>
                      <a:pt x="1139447" y="1038894"/>
                    </a:lnTo>
                    <a:cubicBezTo>
                      <a:pt x="1139738" y="1040809"/>
                      <a:pt x="1140067" y="1042726"/>
                      <a:pt x="1140570" y="1044602"/>
                    </a:cubicBezTo>
                    <a:cubicBezTo>
                      <a:pt x="1141480" y="1048375"/>
                      <a:pt x="1142446" y="1052127"/>
                      <a:pt x="1143491" y="1055862"/>
                    </a:cubicBezTo>
                    <a:cubicBezTo>
                      <a:pt x="1145948" y="1063213"/>
                      <a:pt x="1148520" y="1070567"/>
                      <a:pt x="1152061" y="1077472"/>
                    </a:cubicBezTo>
                    <a:cubicBezTo>
                      <a:pt x="1158871" y="1091383"/>
                      <a:pt x="1167652" y="1104364"/>
                      <a:pt x="1178426" y="1115431"/>
                    </a:cubicBezTo>
                    <a:cubicBezTo>
                      <a:pt x="1189143" y="1126556"/>
                      <a:pt x="1201505" y="1136056"/>
                      <a:pt x="1215084" y="1143543"/>
                    </a:cubicBezTo>
                    <a:cubicBezTo>
                      <a:pt x="1228760" y="1150855"/>
                      <a:pt x="1243559" y="1156078"/>
                      <a:pt x="1258782" y="1159019"/>
                    </a:cubicBezTo>
                    <a:cubicBezTo>
                      <a:pt x="1262594" y="1159658"/>
                      <a:pt x="1266442" y="1160220"/>
                      <a:pt x="1270273" y="1160741"/>
                    </a:cubicBezTo>
                    <a:cubicBezTo>
                      <a:pt x="1274104" y="1161128"/>
                      <a:pt x="1277952" y="1161283"/>
                      <a:pt x="1281803" y="1161457"/>
                    </a:cubicBezTo>
                    <a:lnTo>
                      <a:pt x="1284685" y="1161573"/>
                    </a:lnTo>
                    <a:lnTo>
                      <a:pt x="1286135" y="1161631"/>
                    </a:lnTo>
                    <a:lnTo>
                      <a:pt x="1495747" y="1161631"/>
                    </a:lnTo>
                    <a:cubicBezTo>
                      <a:pt x="1511125" y="1161476"/>
                      <a:pt x="1526602" y="1159116"/>
                      <a:pt x="1541418" y="1154454"/>
                    </a:cubicBezTo>
                    <a:cubicBezTo>
                      <a:pt x="1556237" y="1149734"/>
                      <a:pt x="1570164" y="1142516"/>
                      <a:pt x="1582737" y="1133580"/>
                    </a:cubicBezTo>
                    <a:cubicBezTo>
                      <a:pt x="1595388" y="1124660"/>
                      <a:pt x="1606433" y="1113594"/>
                      <a:pt x="1615622" y="1101193"/>
                    </a:cubicBezTo>
                    <a:cubicBezTo>
                      <a:pt x="1624792" y="1088773"/>
                      <a:pt x="1632317" y="1074998"/>
                      <a:pt x="1637133" y="1060216"/>
                    </a:cubicBezTo>
                    <a:cubicBezTo>
                      <a:pt x="1638544" y="1056578"/>
                      <a:pt x="1639434" y="1052807"/>
                      <a:pt x="1640422" y="1049053"/>
                    </a:cubicBezTo>
                    <a:lnTo>
                      <a:pt x="1641814" y="1043404"/>
                    </a:lnTo>
                    <a:cubicBezTo>
                      <a:pt x="1642297" y="1041508"/>
                      <a:pt x="1642510" y="1039591"/>
                      <a:pt x="1642839" y="1037677"/>
                    </a:cubicBezTo>
                    <a:cubicBezTo>
                      <a:pt x="1643420" y="1033845"/>
                      <a:pt x="1644098" y="1030016"/>
                      <a:pt x="1644425" y="1026184"/>
                    </a:cubicBezTo>
                    <a:cubicBezTo>
                      <a:pt x="1644696" y="1022333"/>
                      <a:pt x="1644889" y="1018485"/>
                      <a:pt x="1645025" y="1014634"/>
                    </a:cubicBezTo>
                    <a:lnTo>
                      <a:pt x="1645122" y="1011945"/>
                    </a:lnTo>
                    <a:lnTo>
                      <a:pt x="1645122" y="149379"/>
                    </a:lnTo>
                    <a:lnTo>
                      <a:pt x="1645083" y="148662"/>
                    </a:lnTo>
                    <a:close/>
                    <a:moveTo>
                      <a:pt x="468806" y="1011945"/>
                    </a:moveTo>
                    <a:cubicBezTo>
                      <a:pt x="468806" y="1012525"/>
                      <a:pt x="468747" y="1013319"/>
                      <a:pt x="468728" y="1014014"/>
                    </a:cubicBezTo>
                    <a:lnTo>
                      <a:pt x="468283" y="1022527"/>
                    </a:lnTo>
                    <a:cubicBezTo>
                      <a:pt x="468031" y="1025371"/>
                      <a:pt x="467509" y="1028176"/>
                      <a:pt x="467102" y="1031001"/>
                    </a:cubicBezTo>
                    <a:cubicBezTo>
                      <a:pt x="466850" y="1032393"/>
                      <a:pt x="466734" y="1033826"/>
                      <a:pt x="466366" y="1035218"/>
                    </a:cubicBezTo>
                    <a:lnTo>
                      <a:pt x="465302" y="1039359"/>
                    </a:lnTo>
                    <a:cubicBezTo>
                      <a:pt x="464566" y="1042126"/>
                      <a:pt x="463985" y="1044912"/>
                      <a:pt x="462903" y="1047562"/>
                    </a:cubicBezTo>
                    <a:cubicBezTo>
                      <a:pt x="459402" y="1058454"/>
                      <a:pt x="453811" y="1068572"/>
                      <a:pt x="447061" y="1077724"/>
                    </a:cubicBezTo>
                    <a:cubicBezTo>
                      <a:pt x="440290" y="1086876"/>
                      <a:pt x="432165" y="1095060"/>
                      <a:pt x="422823" y="1101598"/>
                    </a:cubicBezTo>
                    <a:cubicBezTo>
                      <a:pt x="413537" y="1108176"/>
                      <a:pt x="403305" y="1113516"/>
                      <a:pt x="392414" y="1116997"/>
                    </a:cubicBezTo>
                    <a:cubicBezTo>
                      <a:pt x="381523" y="1120403"/>
                      <a:pt x="370148" y="1122124"/>
                      <a:pt x="358774" y="1122279"/>
                    </a:cubicBezTo>
                    <a:lnTo>
                      <a:pt x="150130" y="1122279"/>
                    </a:lnTo>
                    <a:cubicBezTo>
                      <a:pt x="149588" y="1122298"/>
                      <a:pt x="148871" y="1122259"/>
                      <a:pt x="148157" y="1122221"/>
                    </a:cubicBezTo>
                    <a:lnTo>
                      <a:pt x="146010" y="1122124"/>
                    </a:lnTo>
                    <a:cubicBezTo>
                      <a:pt x="143186" y="1121969"/>
                      <a:pt x="140323" y="1121891"/>
                      <a:pt x="137499" y="1121620"/>
                    </a:cubicBezTo>
                    <a:lnTo>
                      <a:pt x="129045" y="1120343"/>
                    </a:lnTo>
                    <a:cubicBezTo>
                      <a:pt x="117845" y="1118157"/>
                      <a:pt x="106973" y="1114325"/>
                      <a:pt x="96896" y="1108966"/>
                    </a:cubicBezTo>
                    <a:cubicBezTo>
                      <a:pt x="86915" y="1103433"/>
                      <a:pt x="77803" y="1096411"/>
                      <a:pt x="69891" y="1088227"/>
                    </a:cubicBezTo>
                    <a:cubicBezTo>
                      <a:pt x="61902" y="1080102"/>
                      <a:pt x="55479" y="1070485"/>
                      <a:pt x="50470" y="1060271"/>
                    </a:cubicBezTo>
                    <a:cubicBezTo>
                      <a:pt x="47820" y="1055202"/>
                      <a:pt x="46002" y="1049765"/>
                      <a:pt x="44144" y="1044387"/>
                    </a:cubicBezTo>
                    <a:lnTo>
                      <a:pt x="41997" y="1036087"/>
                    </a:lnTo>
                    <a:cubicBezTo>
                      <a:pt x="41610" y="1034713"/>
                      <a:pt x="41397" y="1033301"/>
                      <a:pt x="41184" y="1031888"/>
                    </a:cubicBezTo>
                    <a:lnTo>
                      <a:pt x="40526" y="1027671"/>
                    </a:lnTo>
                    <a:lnTo>
                      <a:pt x="39906" y="1023435"/>
                    </a:lnTo>
                    <a:lnTo>
                      <a:pt x="39674" y="1019180"/>
                    </a:lnTo>
                    <a:lnTo>
                      <a:pt x="39461" y="1014924"/>
                    </a:lnTo>
                    <a:cubicBezTo>
                      <a:pt x="39403" y="1013493"/>
                      <a:pt x="39325" y="1012003"/>
                      <a:pt x="39345" y="1010918"/>
                    </a:cubicBezTo>
                    <a:lnTo>
                      <a:pt x="39345" y="149708"/>
                    </a:lnTo>
                    <a:cubicBezTo>
                      <a:pt x="39345" y="149108"/>
                      <a:pt x="39403" y="148316"/>
                      <a:pt x="39422" y="147638"/>
                    </a:cubicBezTo>
                    <a:lnTo>
                      <a:pt x="39848" y="139106"/>
                    </a:lnTo>
                    <a:cubicBezTo>
                      <a:pt x="40100" y="136281"/>
                      <a:pt x="40642" y="133457"/>
                      <a:pt x="41048" y="130632"/>
                    </a:cubicBezTo>
                    <a:cubicBezTo>
                      <a:pt x="41281" y="129238"/>
                      <a:pt x="41416" y="127807"/>
                      <a:pt x="41784" y="126434"/>
                    </a:cubicBezTo>
                    <a:lnTo>
                      <a:pt x="42829" y="122274"/>
                    </a:lnTo>
                    <a:cubicBezTo>
                      <a:pt x="43565" y="119527"/>
                      <a:pt x="44165" y="116721"/>
                      <a:pt x="45228" y="114071"/>
                    </a:cubicBezTo>
                    <a:cubicBezTo>
                      <a:pt x="48749" y="103179"/>
                      <a:pt x="54339" y="93061"/>
                      <a:pt x="61070" y="83909"/>
                    </a:cubicBezTo>
                    <a:cubicBezTo>
                      <a:pt x="67841" y="74757"/>
                      <a:pt x="75985" y="66573"/>
                      <a:pt x="85308" y="60035"/>
                    </a:cubicBezTo>
                    <a:cubicBezTo>
                      <a:pt x="94594" y="53457"/>
                      <a:pt x="104826" y="48117"/>
                      <a:pt x="115717" y="44636"/>
                    </a:cubicBezTo>
                    <a:cubicBezTo>
                      <a:pt x="126627" y="41250"/>
                      <a:pt x="138002" y="39509"/>
                      <a:pt x="149376" y="39354"/>
                    </a:cubicBezTo>
                    <a:lnTo>
                      <a:pt x="358023" y="39354"/>
                    </a:lnTo>
                    <a:cubicBezTo>
                      <a:pt x="358565" y="39354"/>
                      <a:pt x="359262" y="39374"/>
                      <a:pt x="359995" y="39412"/>
                    </a:cubicBezTo>
                    <a:lnTo>
                      <a:pt x="362123" y="39509"/>
                    </a:lnTo>
                    <a:cubicBezTo>
                      <a:pt x="364966" y="39664"/>
                      <a:pt x="367810" y="39742"/>
                      <a:pt x="370634" y="40013"/>
                    </a:cubicBezTo>
                    <a:lnTo>
                      <a:pt x="379107" y="41310"/>
                    </a:lnTo>
                    <a:cubicBezTo>
                      <a:pt x="390288" y="43476"/>
                      <a:pt x="401160" y="47308"/>
                      <a:pt x="411257" y="52667"/>
                    </a:cubicBezTo>
                    <a:cubicBezTo>
                      <a:pt x="421218" y="58219"/>
                      <a:pt x="430330" y="65222"/>
                      <a:pt x="438242" y="73406"/>
                    </a:cubicBezTo>
                    <a:cubicBezTo>
                      <a:pt x="446230" y="81551"/>
                      <a:pt x="452653" y="91148"/>
                      <a:pt x="457663" y="101362"/>
                    </a:cubicBezTo>
                    <a:cubicBezTo>
                      <a:pt x="460313" y="106431"/>
                      <a:pt x="462131" y="111868"/>
                      <a:pt x="464009" y="117265"/>
                    </a:cubicBezTo>
                    <a:lnTo>
                      <a:pt x="466136" y="125546"/>
                    </a:lnTo>
                    <a:cubicBezTo>
                      <a:pt x="466523" y="126920"/>
                      <a:pt x="466756" y="128332"/>
                      <a:pt x="466969" y="129743"/>
                    </a:cubicBezTo>
                    <a:lnTo>
                      <a:pt x="467607" y="133960"/>
                    </a:lnTo>
                    <a:lnTo>
                      <a:pt x="468227" y="138196"/>
                    </a:lnTo>
                    <a:lnTo>
                      <a:pt x="468478" y="142452"/>
                    </a:lnTo>
                    <a:lnTo>
                      <a:pt x="468691" y="146726"/>
                    </a:lnTo>
                    <a:cubicBezTo>
                      <a:pt x="468749" y="148138"/>
                      <a:pt x="468827" y="149629"/>
                      <a:pt x="468807" y="150713"/>
                    </a:cubicBezTo>
                    <a:lnTo>
                      <a:pt x="468807" y="1011943"/>
                    </a:lnTo>
                    <a:close/>
                    <a:moveTo>
                      <a:pt x="715482" y="830567"/>
                    </a:moveTo>
                    <a:lnTo>
                      <a:pt x="576089" y="688057"/>
                    </a:lnTo>
                    <a:lnTo>
                      <a:pt x="508152" y="618601"/>
                    </a:lnTo>
                    <a:lnTo>
                      <a:pt x="508152" y="564217"/>
                    </a:lnTo>
                    <a:lnTo>
                      <a:pt x="603267" y="661455"/>
                    </a:lnTo>
                    <a:lnTo>
                      <a:pt x="715482" y="776183"/>
                    </a:lnTo>
                    <a:lnTo>
                      <a:pt x="715482" y="830567"/>
                    </a:lnTo>
                    <a:close/>
                    <a:moveTo>
                      <a:pt x="890953" y="1911228"/>
                    </a:moveTo>
                    <a:cubicBezTo>
                      <a:pt x="890953" y="1948183"/>
                      <a:pt x="860912" y="1978231"/>
                      <a:pt x="823963" y="1978231"/>
                    </a:cubicBezTo>
                    <a:lnTo>
                      <a:pt x="821139" y="1978231"/>
                    </a:lnTo>
                    <a:cubicBezTo>
                      <a:pt x="784212" y="1978231"/>
                      <a:pt x="754169" y="1948183"/>
                      <a:pt x="754169" y="1911228"/>
                    </a:cubicBezTo>
                    <a:lnTo>
                      <a:pt x="754169" y="125466"/>
                    </a:lnTo>
                    <a:cubicBezTo>
                      <a:pt x="754169" y="88513"/>
                      <a:pt x="784210" y="58467"/>
                      <a:pt x="821139" y="58467"/>
                    </a:cubicBezTo>
                    <a:lnTo>
                      <a:pt x="823963" y="58467"/>
                    </a:lnTo>
                    <a:cubicBezTo>
                      <a:pt x="860910" y="58467"/>
                      <a:pt x="890953" y="88513"/>
                      <a:pt x="890953" y="125466"/>
                    </a:cubicBezTo>
                    <a:lnTo>
                      <a:pt x="890953" y="1911228"/>
                    </a:lnTo>
                    <a:close/>
                    <a:moveTo>
                      <a:pt x="1136971" y="618601"/>
                    </a:moveTo>
                    <a:lnTo>
                      <a:pt x="1069035" y="688057"/>
                    </a:lnTo>
                    <a:lnTo>
                      <a:pt x="929642" y="830567"/>
                    </a:lnTo>
                    <a:lnTo>
                      <a:pt x="929642" y="776163"/>
                    </a:lnTo>
                    <a:lnTo>
                      <a:pt x="1041857" y="661455"/>
                    </a:lnTo>
                    <a:lnTo>
                      <a:pt x="1136971" y="564217"/>
                    </a:lnTo>
                    <a:lnTo>
                      <a:pt x="1136971" y="618601"/>
                    </a:lnTo>
                    <a:close/>
                    <a:moveTo>
                      <a:pt x="1605777" y="1011943"/>
                    </a:moveTo>
                    <a:cubicBezTo>
                      <a:pt x="1605777" y="1012523"/>
                      <a:pt x="1605719" y="1013317"/>
                      <a:pt x="1605700" y="1014012"/>
                    </a:cubicBezTo>
                    <a:lnTo>
                      <a:pt x="1605254" y="1022525"/>
                    </a:lnTo>
                    <a:cubicBezTo>
                      <a:pt x="1605022" y="1025369"/>
                      <a:pt x="1604480" y="1028175"/>
                      <a:pt x="1604073" y="1030999"/>
                    </a:cubicBezTo>
                    <a:cubicBezTo>
                      <a:pt x="1603822" y="1032391"/>
                      <a:pt x="1603706" y="1033824"/>
                      <a:pt x="1603338" y="1035216"/>
                    </a:cubicBezTo>
                    <a:lnTo>
                      <a:pt x="1602293" y="1039357"/>
                    </a:lnTo>
                    <a:cubicBezTo>
                      <a:pt x="1601538" y="1042124"/>
                      <a:pt x="1600959" y="1044910"/>
                      <a:pt x="1599875" y="1047560"/>
                    </a:cubicBezTo>
                    <a:cubicBezTo>
                      <a:pt x="1596373" y="1058453"/>
                      <a:pt x="1590782" y="1068570"/>
                      <a:pt x="1584032" y="1077722"/>
                    </a:cubicBezTo>
                    <a:cubicBezTo>
                      <a:pt x="1577280" y="1086874"/>
                      <a:pt x="1569137" y="1095058"/>
                      <a:pt x="1559794" y="1101596"/>
                    </a:cubicBezTo>
                    <a:cubicBezTo>
                      <a:pt x="1550509" y="1108175"/>
                      <a:pt x="1540295" y="1113514"/>
                      <a:pt x="1529405" y="1116995"/>
                    </a:cubicBezTo>
                    <a:cubicBezTo>
                      <a:pt x="1518495" y="1120401"/>
                      <a:pt x="1507120" y="1122122"/>
                      <a:pt x="1495745" y="1122277"/>
                    </a:cubicBezTo>
                    <a:lnTo>
                      <a:pt x="1287099" y="1122277"/>
                    </a:lnTo>
                    <a:cubicBezTo>
                      <a:pt x="1286557" y="1122296"/>
                      <a:pt x="1285841" y="1122257"/>
                      <a:pt x="1285126" y="1122219"/>
                    </a:cubicBezTo>
                    <a:lnTo>
                      <a:pt x="1282999" y="1122122"/>
                    </a:lnTo>
                    <a:cubicBezTo>
                      <a:pt x="1280155" y="1121967"/>
                      <a:pt x="1277312" y="1121890"/>
                      <a:pt x="1274468" y="1121618"/>
                    </a:cubicBezTo>
                    <a:lnTo>
                      <a:pt x="1266015" y="1120341"/>
                    </a:lnTo>
                    <a:cubicBezTo>
                      <a:pt x="1254814" y="1118155"/>
                      <a:pt x="1243943" y="1114323"/>
                      <a:pt x="1233865" y="1108964"/>
                    </a:cubicBezTo>
                    <a:cubicBezTo>
                      <a:pt x="1223884" y="1103431"/>
                      <a:pt x="1214772" y="1096409"/>
                      <a:pt x="1206861" y="1088225"/>
                    </a:cubicBezTo>
                    <a:cubicBezTo>
                      <a:pt x="1198872" y="1080100"/>
                      <a:pt x="1192468" y="1070483"/>
                      <a:pt x="1187439" y="1060269"/>
                    </a:cubicBezTo>
                    <a:cubicBezTo>
                      <a:pt x="1184808" y="1055200"/>
                      <a:pt x="1182971" y="1049764"/>
                      <a:pt x="1181113" y="1044385"/>
                    </a:cubicBezTo>
                    <a:lnTo>
                      <a:pt x="1178966" y="1036085"/>
                    </a:lnTo>
                    <a:cubicBezTo>
                      <a:pt x="1178579" y="1034711"/>
                      <a:pt x="1178366" y="1033299"/>
                      <a:pt x="1178153" y="1031886"/>
                    </a:cubicBezTo>
                    <a:lnTo>
                      <a:pt x="1177495" y="1027669"/>
                    </a:lnTo>
                    <a:lnTo>
                      <a:pt x="1176876" y="1023433"/>
                    </a:lnTo>
                    <a:lnTo>
                      <a:pt x="1176643" y="1019178"/>
                    </a:lnTo>
                    <a:lnTo>
                      <a:pt x="1176430" y="1014922"/>
                    </a:lnTo>
                    <a:cubicBezTo>
                      <a:pt x="1176372" y="1013491"/>
                      <a:pt x="1176295" y="1012001"/>
                      <a:pt x="1176314" y="1010916"/>
                    </a:cubicBezTo>
                    <a:lnTo>
                      <a:pt x="1176314" y="149708"/>
                    </a:lnTo>
                    <a:cubicBezTo>
                      <a:pt x="1176314" y="149108"/>
                      <a:pt x="1176372" y="148316"/>
                      <a:pt x="1176392" y="147638"/>
                    </a:cubicBezTo>
                    <a:lnTo>
                      <a:pt x="1176837" y="139106"/>
                    </a:lnTo>
                    <a:cubicBezTo>
                      <a:pt x="1177069" y="136281"/>
                      <a:pt x="1177611" y="133457"/>
                      <a:pt x="1178018" y="130632"/>
                    </a:cubicBezTo>
                    <a:cubicBezTo>
                      <a:pt x="1178269" y="129238"/>
                      <a:pt x="1178386" y="127807"/>
                      <a:pt x="1178753" y="126434"/>
                    </a:cubicBezTo>
                    <a:lnTo>
                      <a:pt x="1179799" y="122274"/>
                    </a:lnTo>
                    <a:cubicBezTo>
                      <a:pt x="1180554" y="119527"/>
                      <a:pt x="1181132" y="116721"/>
                      <a:pt x="1182197" y="114071"/>
                    </a:cubicBezTo>
                    <a:cubicBezTo>
                      <a:pt x="1185718" y="103179"/>
                      <a:pt x="1191309" y="93061"/>
                      <a:pt x="1198040" y="83909"/>
                    </a:cubicBezTo>
                    <a:cubicBezTo>
                      <a:pt x="1204811" y="74757"/>
                      <a:pt x="1212955" y="66573"/>
                      <a:pt x="1222278" y="60035"/>
                    </a:cubicBezTo>
                    <a:cubicBezTo>
                      <a:pt x="1231583" y="53457"/>
                      <a:pt x="1241796" y="48117"/>
                      <a:pt x="1252687" y="44636"/>
                    </a:cubicBezTo>
                    <a:cubicBezTo>
                      <a:pt x="1263597" y="41250"/>
                      <a:pt x="1274971" y="39509"/>
                      <a:pt x="1286346" y="39354"/>
                    </a:cubicBezTo>
                    <a:lnTo>
                      <a:pt x="1494992" y="39354"/>
                    </a:lnTo>
                    <a:cubicBezTo>
                      <a:pt x="1495534" y="39354"/>
                      <a:pt x="1496250" y="39374"/>
                      <a:pt x="1496965" y="39412"/>
                    </a:cubicBezTo>
                    <a:lnTo>
                      <a:pt x="1499092" y="39509"/>
                    </a:lnTo>
                    <a:cubicBezTo>
                      <a:pt x="1501936" y="39664"/>
                      <a:pt x="1504780" y="39742"/>
                      <a:pt x="1507623" y="40013"/>
                    </a:cubicBezTo>
                    <a:lnTo>
                      <a:pt x="1516077" y="41310"/>
                    </a:lnTo>
                    <a:cubicBezTo>
                      <a:pt x="1527277" y="43476"/>
                      <a:pt x="1538149" y="47308"/>
                      <a:pt x="1548226" y="52667"/>
                    </a:cubicBezTo>
                    <a:cubicBezTo>
                      <a:pt x="1558207" y="58219"/>
                      <a:pt x="1567319" y="65222"/>
                      <a:pt x="1575211" y="73406"/>
                    </a:cubicBezTo>
                    <a:cubicBezTo>
                      <a:pt x="1583219" y="81551"/>
                      <a:pt x="1589623" y="91148"/>
                      <a:pt x="1594633" y="101362"/>
                    </a:cubicBezTo>
                    <a:cubicBezTo>
                      <a:pt x="1597283" y="106431"/>
                      <a:pt x="1599101" y="111868"/>
                      <a:pt x="1600978" y="117265"/>
                    </a:cubicBezTo>
                    <a:lnTo>
                      <a:pt x="1603106" y="125546"/>
                    </a:lnTo>
                    <a:cubicBezTo>
                      <a:pt x="1603512" y="126920"/>
                      <a:pt x="1603725" y="128332"/>
                      <a:pt x="1603938" y="129743"/>
                    </a:cubicBezTo>
                    <a:lnTo>
                      <a:pt x="1604577" y="133960"/>
                    </a:lnTo>
                    <a:lnTo>
                      <a:pt x="1605216" y="138196"/>
                    </a:lnTo>
                    <a:lnTo>
                      <a:pt x="1605448" y="142452"/>
                    </a:lnTo>
                    <a:lnTo>
                      <a:pt x="1605661" y="146726"/>
                    </a:lnTo>
                    <a:cubicBezTo>
                      <a:pt x="1605719" y="148138"/>
                      <a:pt x="1605796" y="149629"/>
                      <a:pt x="1605777" y="150713"/>
                    </a:cubicBezTo>
                    <a:lnTo>
                      <a:pt x="1605777" y="1011943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Microsoft Sans Serif"/>
                </a:endParaRPr>
              </a:p>
            </p:txBody>
          </p:sp>
          <p:sp>
            <p:nvSpPr>
              <p:cNvPr id="100" name="Freeform 4">
                <a:extLst>
                  <a:ext uri="{FF2B5EF4-FFF2-40B4-BE49-F238E27FC236}">
                    <a16:creationId xmlns:a16="http://schemas.microsoft.com/office/drawing/2014/main" id="{7A0F7B15-22B9-61BD-58DF-5F0411E1BF38}"/>
                  </a:ext>
                </a:extLst>
              </p:cNvPr>
              <p:cNvSpPr/>
              <p:nvPr/>
            </p:nvSpPr>
            <p:spPr>
              <a:xfrm>
                <a:off x="3700565" y="2839674"/>
                <a:ext cx="353406" cy="1006857"/>
              </a:xfrm>
              <a:custGeom>
                <a:avLst/>
                <a:gdLst>
                  <a:gd name="connsiteX0" fmla="*/ 353283 w 353406"/>
                  <a:gd name="connsiteY0" fmla="*/ 70248 h 1006857"/>
                  <a:gd name="connsiteX1" fmla="*/ 353148 w 353406"/>
                  <a:gd name="connsiteY1" fmla="*/ 67443 h 1006857"/>
                  <a:gd name="connsiteX2" fmla="*/ 353012 w 353406"/>
                  <a:gd name="connsiteY2" fmla="*/ 64637 h 1006857"/>
                  <a:gd name="connsiteX3" fmla="*/ 352586 w 353406"/>
                  <a:gd name="connsiteY3" fmla="*/ 61890 h 1006857"/>
                  <a:gd name="connsiteX4" fmla="*/ 352160 w 353406"/>
                  <a:gd name="connsiteY4" fmla="*/ 59123 h 1006857"/>
                  <a:gd name="connsiteX5" fmla="*/ 351638 w 353406"/>
                  <a:gd name="connsiteY5" fmla="*/ 56376 h 1006857"/>
                  <a:gd name="connsiteX6" fmla="*/ 350246 w 353406"/>
                  <a:gd name="connsiteY6" fmla="*/ 50959 h 1006857"/>
                  <a:gd name="connsiteX7" fmla="*/ 346088 w 353406"/>
                  <a:gd name="connsiteY7" fmla="*/ 40609 h 1006857"/>
                  <a:gd name="connsiteX8" fmla="*/ 333379 w 353406"/>
                  <a:gd name="connsiteY8" fmla="*/ 22307 h 1006857"/>
                  <a:gd name="connsiteX9" fmla="*/ 315717 w 353406"/>
                  <a:gd name="connsiteY9" fmla="*/ 8687 h 1006857"/>
                  <a:gd name="connsiteX10" fmla="*/ 294730 w 353406"/>
                  <a:gd name="connsiteY10" fmla="*/ 1297 h 1006857"/>
                  <a:gd name="connsiteX11" fmla="*/ 289197 w 353406"/>
                  <a:gd name="connsiteY11" fmla="*/ 445 h 1006857"/>
                  <a:gd name="connsiteX12" fmla="*/ 283607 w 353406"/>
                  <a:gd name="connsiteY12" fmla="*/ 136 h 1006857"/>
                  <a:gd name="connsiteX13" fmla="*/ 282195 w 353406"/>
                  <a:gd name="connsiteY13" fmla="*/ 58 h 1006857"/>
                  <a:gd name="connsiteX14" fmla="*/ 280649 w 353406"/>
                  <a:gd name="connsiteY14" fmla="*/ 0 h 1006857"/>
                  <a:gd name="connsiteX15" fmla="*/ 72003 w 353406"/>
                  <a:gd name="connsiteY15" fmla="*/ 0 h 1006857"/>
                  <a:gd name="connsiteX16" fmla="*/ 49969 w 353406"/>
                  <a:gd name="connsiteY16" fmla="*/ 3464 h 1006857"/>
                  <a:gd name="connsiteX17" fmla="*/ 30122 w 353406"/>
                  <a:gd name="connsiteY17" fmla="*/ 13543 h 1006857"/>
                  <a:gd name="connsiteX18" fmla="*/ 14241 w 353406"/>
                  <a:gd name="connsiteY18" fmla="*/ 29194 h 1006857"/>
                  <a:gd name="connsiteX19" fmla="*/ 3873 w 353406"/>
                  <a:gd name="connsiteY19" fmla="*/ 48889 h 1006857"/>
                  <a:gd name="connsiteX20" fmla="*/ 2326 w 353406"/>
                  <a:gd name="connsiteY20" fmla="*/ 54248 h 1006857"/>
                  <a:gd name="connsiteX21" fmla="*/ 1610 w 353406"/>
                  <a:gd name="connsiteY21" fmla="*/ 56957 h 1006857"/>
                  <a:gd name="connsiteX22" fmla="*/ 1145 w 353406"/>
                  <a:gd name="connsiteY22" fmla="*/ 59704 h 1006857"/>
                  <a:gd name="connsiteX23" fmla="*/ 351 w 353406"/>
                  <a:gd name="connsiteY23" fmla="*/ 65238 h 1006857"/>
                  <a:gd name="connsiteX24" fmla="*/ 80 w 353406"/>
                  <a:gd name="connsiteY24" fmla="*/ 70848 h 1006857"/>
                  <a:gd name="connsiteX25" fmla="*/ 3 w 353406"/>
                  <a:gd name="connsiteY25" fmla="*/ 72318 h 1006857"/>
                  <a:gd name="connsiteX26" fmla="*/ 3 w 353406"/>
                  <a:gd name="connsiteY26" fmla="*/ 933528 h 1006857"/>
                  <a:gd name="connsiteX27" fmla="*/ 119 w 353406"/>
                  <a:gd name="connsiteY27" fmla="*/ 936605 h 1006857"/>
                  <a:gd name="connsiteX28" fmla="*/ 255 w 353406"/>
                  <a:gd name="connsiteY28" fmla="*/ 939410 h 1006857"/>
                  <a:gd name="connsiteX29" fmla="*/ 371 w 353406"/>
                  <a:gd name="connsiteY29" fmla="*/ 942215 h 1006857"/>
                  <a:gd name="connsiteX30" fmla="*/ 816 w 353406"/>
                  <a:gd name="connsiteY30" fmla="*/ 944982 h 1006857"/>
                  <a:gd name="connsiteX31" fmla="*/ 1242 w 353406"/>
                  <a:gd name="connsiteY31" fmla="*/ 947749 h 1006857"/>
                  <a:gd name="connsiteX32" fmla="*/ 1765 w 353406"/>
                  <a:gd name="connsiteY32" fmla="*/ 950477 h 1006857"/>
                  <a:gd name="connsiteX33" fmla="*/ 3158 w 353406"/>
                  <a:gd name="connsiteY33" fmla="*/ 955894 h 1006857"/>
                  <a:gd name="connsiteX34" fmla="*/ 7316 w 353406"/>
                  <a:gd name="connsiteY34" fmla="*/ 966244 h 1006857"/>
                  <a:gd name="connsiteX35" fmla="*/ 20005 w 353406"/>
                  <a:gd name="connsiteY35" fmla="*/ 984545 h 1006857"/>
                  <a:gd name="connsiteX36" fmla="*/ 37687 w 353406"/>
                  <a:gd name="connsiteY36" fmla="*/ 998166 h 1006857"/>
                  <a:gd name="connsiteX37" fmla="*/ 58675 w 353406"/>
                  <a:gd name="connsiteY37" fmla="*/ 1005555 h 1006857"/>
                  <a:gd name="connsiteX38" fmla="*/ 64207 w 353406"/>
                  <a:gd name="connsiteY38" fmla="*/ 1006407 h 1006857"/>
                  <a:gd name="connsiteX39" fmla="*/ 69798 w 353406"/>
                  <a:gd name="connsiteY39" fmla="*/ 1006717 h 1006857"/>
                  <a:gd name="connsiteX40" fmla="*/ 71191 w 353406"/>
                  <a:gd name="connsiteY40" fmla="*/ 1006795 h 1006857"/>
                  <a:gd name="connsiteX41" fmla="*/ 72757 w 353406"/>
                  <a:gd name="connsiteY41" fmla="*/ 1006853 h 1006857"/>
                  <a:gd name="connsiteX42" fmla="*/ 281404 w 353406"/>
                  <a:gd name="connsiteY42" fmla="*/ 1006853 h 1006857"/>
                  <a:gd name="connsiteX43" fmla="*/ 303417 w 353406"/>
                  <a:gd name="connsiteY43" fmla="*/ 1003389 h 1006857"/>
                  <a:gd name="connsiteX44" fmla="*/ 323284 w 353406"/>
                  <a:gd name="connsiteY44" fmla="*/ 993310 h 1006857"/>
                  <a:gd name="connsiteX45" fmla="*/ 339166 w 353406"/>
                  <a:gd name="connsiteY45" fmla="*/ 977659 h 1006857"/>
                  <a:gd name="connsiteX46" fmla="*/ 349514 w 353406"/>
                  <a:gd name="connsiteY46" fmla="*/ 957963 h 1006857"/>
                  <a:gd name="connsiteX47" fmla="*/ 351080 w 353406"/>
                  <a:gd name="connsiteY47" fmla="*/ 952604 h 1006857"/>
                  <a:gd name="connsiteX48" fmla="*/ 351796 w 353406"/>
                  <a:gd name="connsiteY48" fmla="*/ 949915 h 1006857"/>
                  <a:gd name="connsiteX49" fmla="*/ 352261 w 353406"/>
                  <a:gd name="connsiteY49" fmla="*/ 947148 h 1006857"/>
                  <a:gd name="connsiteX50" fmla="*/ 353055 w 353406"/>
                  <a:gd name="connsiteY50" fmla="*/ 941615 h 1006857"/>
                  <a:gd name="connsiteX51" fmla="*/ 353326 w 353406"/>
                  <a:gd name="connsiteY51" fmla="*/ 936004 h 1006857"/>
                  <a:gd name="connsiteX52" fmla="*/ 353403 w 353406"/>
                  <a:gd name="connsiteY52" fmla="*/ 934554 h 1006857"/>
                  <a:gd name="connsiteX53" fmla="*/ 353403 w 353406"/>
                  <a:gd name="connsiteY53" fmla="*/ 73324 h 1006857"/>
                  <a:gd name="connsiteX54" fmla="*/ 353287 w 353406"/>
                  <a:gd name="connsiteY54" fmla="*/ 70248 h 1006857"/>
                  <a:gd name="connsiteX55" fmla="*/ 314053 w 353406"/>
                  <a:gd name="connsiteY55" fmla="*/ 934554 h 1006857"/>
                  <a:gd name="connsiteX56" fmla="*/ 314014 w 353406"/>
                  <a:gd name="connsiteY56" fmla="*/ 935058 h 1006857"/>
                  <a:gd name="connsiteX57" fmla="*/ 313975 w 353406"/>
                  <a:gd name="connsiteY57" fmla="*/ 935387 h 1006857"/>
                  <a:gd name="connsiteX58" fmla="*/ 313878 w 353406"/>
                  <a:gd name="connsiteY58" fmla="*/ 937979 h 1006857"/>
                  <a:gd name="connsiteX59" fmla="*/ 313472 w 353406"/>
                  <a:gd name="connsiteY59" fmla="*/ 940475 h 1006857"/>
                  <a:gd name="connsiteX60" fmla="*/ 313298 w 353406"/>
                  <a:gd name="connsiteY60" fmla="*/ 941733 h 1006857"/>
                  <a:gd name="connsiteX61" fmla="*/ 312949 w 353406"/>
                  <a:gd name="connsiteY61" fmla="*/ 942934 h 1006857"/>
                  <a:gd name="connsiteX62" fmla="*/ 312252 w 353406"/>
                  <a:gd name="connsiteY62" fmla="*/ 945332 h 1006857"/>
                  <a:gd name="connsiteX63" fmla="*/ 307572 w 353406"/>
                  <a:gd name="connsiteY63" fmla="*/ 954213 h 1006857"/>
                  <a:gd name="connsiteX64" fmla="*/ 300338 w 353406"/>
                  <a:gd name="connsiteY64" fmla="*/ 961351 h 1006857"/>
                  <a:gd name="connsiteX65" fmla="*/ 291400 w 353406"/>
                  <a:gd name="connsiteY65" fmla="*/ 965917 h 1006857"/>
                  <a:gd name="connsiteX66" fmla="*/ 281400 w 353406"/>
                  <a:gd name="connsiteY66" fmla="*/ 967502 h 1006857"/>
                  <a:gd name="connsiteX67" fmla="*/ 71962 w 353406"/>
                  <a:gd name="connsiteY67" fmla="*/ 967502 h 1006857"/>
                  <a:gd name="connsiteX68" fmla="*/ 71633 w 353406"/>
                  <a:gd name="connsiteY68" fmla="*/ 967464 h 1006857"/>
                  <a:gd name="connsiteX69" fmla="*/ 70975 w 353406"/>
                  <a:gd name="connsiteY69" fmla="*/ 967386 h 1006857"/>
                  <a:gd name="connsiteX70" fmla="*/ 68402 w 353406"/>
                  <a:gd name="connsiteY70" fmla="*/ 967289 h 1006857"/>
                  <a:gd name="connsiteX71" fmla="*/ 65907 w 353406"/>
                  <a:gd name="connsiteY71" fmla="*/ 966883 h 1006857"/>
                  <a:gd name="connsiteX72" fmla="*/ 56466 w 353406"/>
                  <a:gd name="connsiteY72" fmla="*/ 963593 h 1006857"/>
                  <a:gd name="connsiteX73" fmla="*/ 48438 w 353406"/>
                  <a:gd name="connsiteY73" fmla="*/ 957363 h 1006857"/>
                  <a:gd name="connsiteX74" fmla="*/ 42693 w 353406"/>
                  <a:gd name="connsiteY74" fmla="*/ 949024 h 1006857"/>
                  <a:gd name="connsiteX75" fmla="*/ 40778 w 353406"/>
                  <a:gd name="connsiteY75" fmla="*/ 944401 h 1006857"/>
                  <a:gd name="connsiteX76" fmla="*/ 40178 w 353406"/>
                  <a:gd name="connsiteY76" fmla="*/ 941983 h 1006857"/>
                  <a:gd name="connsiteX77" fmla="*/ 39946 w 353406"/>
                  <a:gd name="connsiteY77" fmla="*/ 940744 h 1006857"/>
                  <a:gd name="connsiteX78" fmla="*/ 39772 w 353406"/>
                  <a:gd name="connsiteY78" fmla="*/ 939486 h 1006857"/>
                  <a:gd name="connsiteX79" fmla="*/ 39520 w 353406"/>
                  <a:gd name="connsiteY79" fmla="*/ 938246 h 1006857"/>
                  <a:gd name="connsiteX80" fmla="*/ 39520 w 353406"/>
                  <a:gd name="connsiteY80" fmla="*/ 936949 h 1006857"/>
                  <a:gd name="connsiteX81" fmla="*/ 39443 w 353406"/>
                  <a:gd name="connsiteY81" fmla="*/ 935652 h 1006857"/>
                  <a:gd name="connsiteX82" fmla="*/ 39365 w 353406"/>
                  <a:gd name="connsiteY82" fmla="*/ 935013 h 1006857"/>
                  <a:gd name="connsiteX83" fmla="*/ 39346 w 353406"/>
                  <a:gd name="connsiteY83" fmla="*/ 934839 h 1006857"/>
                  <a:gd name="connsiteX84" fmla="*/ 39346 w 353406"/>
                  <a:gd name="connsiteY84" fmla="*/ 72318 h 1006857"/>
                  <a:gd name="connsiteX85" fmla="*/ 39365 w 353406"/>
                  <a:gd name="connsiteY85" fmla="*/ 71795 h 1006857"/>
                  <a:gd name="connsiteX86" fmla="*/ 39404 w 353406"/>
                  <a:gd name="connsiteY86" fmla="*/ 71466 h 1006857"/>
                  <a:gd name="connsiteX87" fmla="*/ 39520 w 353406"/>
                  <a:gd name="connsiteY87" fmla="*/ 68893 h 1006857"/>
                  <a:gd name="connsiteX88" fmla="*/ 39927 w 353406"/>
                  <a:gd name="connsiteY88" fmla="*/ 66378 h 1006857"/>
                  <a:gd name="connsiteX89" fmla="*/ 40101 w 353406"/>
                  <a:gd name="connsiteY89" fmla="*/ 65139 h 1006857"/>
                  <a:gd name="connsiteX90" fmla="*/ 40449 w 353406"/>
                  <a:gd name="connsiteY90" fmla="*/ 63938 h 1006857"/>
                  <a:gd name="connsiteX91" fmla="*/ 41146 w 353406"/>
                  <a:gd name="connsiteY91" fmla="*/ 61540 h 1006857"/>
                  <a:gd name="connsiteX92" fmla="*/ 45827 w 353406"/>
                  <a:gd name="connsiteY92" fmla="*/ 52659 h 1006857"/>
                  <a:gd name="connsiteX93" fmla="*/ 53061 w 353406"/>
                  <a:gd name="connsiteY93" fmla="*/ 45501 h 1006857"/>
                  <a:gd name="connsiteX94" fmla="*/ 61998 w 353406"/>
                  <a:gd name="connsiteY94" fmla="*/ 40936 h 1006857"/>
                  <a:gd name="connsiteX95" fmla="*/ 71999 w 353406"/>
                  <a:gd name="connsiteY95" fmla="*/ 39350 h 1006857"/>
                  <a:gd name="connsiteX96" fmla="*/ 280645 w 353406"/>
                  <a:gd name="connsiteY96" fmla="*/ 39350 h 1006857"/>
                  <a:gd name="connsiteX97" fmla="*/ 281439 w 353406"/>
                  <a:gd name="connsiteY97" fmla="*/ 39370 h 1006857"/>
                  <a:gd name="connsiteX98" fmla="*/ 281768 w 353406"/>
                  <a:gd name="connsiteY98" fmla="*/ 39409 h 1006857"/>
                  <a:gd name="connsiteX99" fmla="*/ 282406 w 353406"/>
                  <a:gd name="connsiteY99" fmla="*/ 39467 h 1006857"/>
                  <a:gd name="connsiteX100" fmla="*/ 284999 w 353406"/>
                  <a:gd name="connsiteY100" fmla="*/ 39563 h 1006857"/>
                  <a:gd name="connsiteX101" fmla="*/ 287494 w 353406"/>
                  <a:gd name="connsiteY101" fmla="*/ 39970 h 1006857"/>
                  <a:gd name="connsiteX102" fmla="*/ 296934 w 353406"/>
                  <a:gd name="connsiteY102" fmla="*/ 43259 h 1006857"/>
                  <a:gd name="connsiteX103" fmla="*/ 304943 w 353406"/>
                  <a:gd name="connsiteY103" fmla="*/ 49509 h 1006857"/>
                  <a:gd name="connsiteX104" fmla="*/ 310708 w 353406"/>
                  <a:gd name="connsiteY104" fmla="*/ 57828 h 1006857"/>
                  <a:gd name="connsiteX105" fmla="*/ 312622 w 353406"/>
                  <a:gd name="connsiteY105" fmla="*/ 62452 h 1006857"/>
                  <a:gd name="connsiteX106" fmla="*/ 313222 w 353406"/>
                  <a:gd name="connsiteY106" fmla="*/ 64889 h 1006857"/>
                  <a:gd name="connsiteX107" fmla="*/ 313454 w 353406"/>
                  <a:gd name="connsiteY107" fmla="*/ 66128 h 1006857"/>
                  <a:gd name="connsiteX108" fmla="*/ 313629 w 353406"/>
                  <a:gd name="connsiteY108" fmla="*/ 67367 h 1006857"/>
                  <a:gd name="connsiteX109" fmla="*/ 313880 w 353406"/>
                  <a:gd name="connsiteY109" fmla="*/ 68606 h 1006857"/>
                  <a:gd name="connsiteX110" fmla="*/ 313880 w 353406"/>
                  <a:gd name="connsiteY110" fmla="*/ 69903 h 1006857"/>
                  <a:gd name="connsiteX111" fmla="*/ 313958 w 353406"/>
                  <a:gd name="connsiteY111" fmla="*/ 71201 h 1006857"/>
                  <a:gd name="connsiteX112" fmla="*/ 314035 w 353406"/>
                  <a:gd name="connsiteY112" fmla="*/ 71859 h 1006857"/>
                  <a:gd name="connsiteX113" fmla="*/ 314054 w 353406"/>
                  <a:gd name="connsiteY113" fmla="*/ 72014 h 1006857"/>
                  <a:gd name="connsiteX114" fmla="*/ 314054 w 353406"/>
                  <a:gd name="connsiteY114" fmla="*/ 934558 h 1006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</a:cxnLst>
                <a:rect l="l" t="t" r="r" b="b"/>
                <a:pathLst>
                  <a:path w="353406" h="1006857">
                    <a:moveTo>
                      <a:pt x="353283" y="70248"/>
                    </a:moveTo>
                    <a:lnTo>
                      <a:pt x="353148" y="67443"/>
                    </a:lnTo>
                    <a:lnTo>
                      <a:pt x="353012" y="64637"/>
                    </a:lnTo>
                    <a:lnTo>
                      <a:pt x="352586" y="61890"/>
                    </a:lnTo>
                    <a:lnTo>
                      <a:pt x="352160" y="59123"/>
                    </a:lnTo>
                    <a:cubicBezTo>
                      <a:pt x="352044" y="58194"/>
                      <a:pt x="351909" y="57267"/>
                      <a:pt x="351638" y="56376"/>
                    </a:cubicBezTo>
                    <a:lnTo>
                      <a:pt x="350246" y="50959"/>
                    </a:lnTo>
                    <a:cubicBezTo>
                      <a:pt x="348970" y="47476"/>
                      <a:pt x="347867" y="43898"/>
                      <a:pt x="346088" y="40609"/>
                    </a:cubicBezTo>
                    <a:cubicBezTo>
                      <a:pt x="342818" y="33953"/>
                      <a:pt x="338680" y="27608"/>
                      <a:pt x="333379" y="22307"/>
                    </a:cubicBezTo>
                    <a:cubicBezTo>
                      <a:pt x="328195" y="16948"/>
                      <a:pt x="322218" y="12344"/>
                      <a:pt x="315717" y="8687"/>
                    </a:cubicBezTo>
                    <a:cubicBezTo>
                      <a:pt x="309101" y="5223"/>
                      <a:pt x="302041" y="2747"/>
                      <a:pt x="294730" y="1297"/>
                    </a:cubicBezTo>
                    <a:lnTo>
                      <a:pt x="289197" y="445"/>
                    </a:lnTo>
                    <a:cubicBezTo>
                      <a:pt x="287341" y="271"/>
                      <a:pt x="285463" y="271"/>
                      <a:pt x="283607" y="136"/>
                    </a:cubicBezTo>
                    <a:lnTo>
                      <a:pt x="282195" y="58"/>
                    </a:lnTo>
                    <a:cubicBezTo>
                      <a:pt x="281750" y="19"/>
                      <a:pt x="281286" y="0"/>
                      <a:pt x="280649" y="0"/>
                    </a:cubicBezTo>
                    <a:lnTo>
                      <a:pt x="72003" y="0"/>
                    </a:lnTo>
                    <a:cubicBezTo>
                      <a:pt x="64497" y="155"/>
                      <a:pt x="57087" y="1297"/>
                      <a:pt x="49969" y="3464"/>
                    </a:cubicBezTo>
                    <a:cubicBezTo>
                      <a:pt x="42871" y="5727"/>
                      <a:pt x="36216" y="9268"/>
                      <a:pt x="30122" y="13543"/>
                    </a:cubicBezTo>
                    <a:cubicBezTo>
                      <a:pt x="23970" y="17798"/>
                      <a:pt x="18670" y="23196"/>
                      <a:pt x="14241" y="29194"/>
                    </a:cubicBezTo>
                    <a:cubicBezTo>
                      <a:pt x="9831" y="35192"/>
                      <a:pt x="6116" y="41788"/>
                      <a:pt x="3873" y="48889"/>
                    </a:cubicBezTo>
                    <a:cubicBezTo>
                      <a:pt x="3137" y="50611"/>
                      <a:pt x="2827" y="52450"/>
                      <a:pt x="2326" y="54248"/>
                    </a:cubicBezTo>
                    <a:lnTo>
                      <a:pt x="1610" y="56957"/>
                    </a:lnTo>
                    <a:cubicBezTo>
                      <a:pt x="1358" y="57848"/>
                      <a:pt x="1319" y="58794"/>
                      <a:pt x="1145" y="59704"/>
                    </a:cubicBezTo>
                    <a:cubicBezTo>
                      <a:pt x="913" y="61561"/>
                      <a:pt x="506" y="63381"/>
                      <a:pt x="351" y="65238"/>
                    </a:cubicBezTo>
                    <a:lnTo>
                      <a:pt x="80" y="70848"/>
                    </a:lnTo>
                    <a:cubicBezTo>
                      <a:pt x="61" y="71332"/>
                      <a:pt x="3" y="71719"/>
                      <a:pt x="3" y="72318"/>
                    </a:cubicBezTo>
                    <a:lnTo>
                      <a:pt x="3" y="933528"/>
                    </a:lnTo>
                    <a:cubicBezTo>
                      <a:pt x="-16" y="934806"/>
                      <a:pt x="61" y="935675"/>
                      <a:pt x="119" y="936605"/>
                    </a:cubicBezTo>
                    <a:lnTo>
                      <a:pt x="255" y="939410"/>
                    </a:lnTo>
                    <a:lnTo>
                      <a:pt x="371" y="942215"/>
                    </a:lnTo>
                    <a:lnTo>
                      <a:pt x="816" y="944982"/>
                    </a:lnTo>
                    <a:lnTo>
                      <a:pt x="1242" y="947749"/>
                    </a:lnTo>
                    <a:cubicBezTo>
                      <a:pt x="1358" y="948659"/>
                      <a:pt x="1474" y="949586"/>
                      <a:pt x="1765" y="950477"/>
                    </a:cubicBezTo>
                    <a:lnTo>
                      <a:pt x="3158" y="955894"/>
                    </a:lnTo>
                    <a:cubicBezTo>
                      <a:pt x="4436" y="959377"/>
                      <a:pt x="5518" y="962954"/>
                      <a:pt x="7316" y="966244"/>
                    </a:cubicBezTo>
                    <a:cubicBezTo>
                      <a:pt x="10586" y="972900"/>
                      <a:pt x="14725" y="979244"/>
                      <a:pt x="20005" y="984545"/>
                    </a:cubicBezTo>
                    <a:cubicBezTo>
                      <a:pt x="25209" y="989904"/>
                      <a:pt x="31187" y="994508"/>
                      <a:pt x="37687" y="998166"/>
                    </a:cubicBezTo>
                    <a:cubicBezTo>
                      <a:pt x="44303" y="1001629"/>
                      <a:pt x="51363" y="1004105"/>
                      <a:pt x="58675" y="1005555"/>
                    </a:cubicBezTo>
                    <a:lnTo>
                      <a:pt x="64207" y="1006407"/>
                    </a:lnTo>
                    <a:cubicBezTo>
                      <a:pt x="66063" y="1006582"/>
                      <a:pt x="67941" y="1006582"/>
                      <a:pt x="69798" y="1006717"/>
                    </a:cubicBezTo>
                    <a:lnTo>
                      <a:pt x="71191" y="1006795"/>
                    </a:lnTo>
                    <a:cubicBezTo>
                      <a:pt x="71656" y="1006833"/>
                      <a:pt x="72121" y="1006872"/>
                      <a:pt x="72757" y="1006853"/>
                    </a:cubicBezTo>
                    <a:lnTo>
                      <a:pt x="281404" y="1006853"/>
                    </a:lnTo>
                    <a:cubicBezTo>
                      <a:pt x="288889" y="1006698"/>
                      <a:pt x="296300" y="1005575"/>
                      <a:pt x="303417" y="1003389"/>
                    </a:cubicBezTo>
                    <a:cubicBezTo>
                      <a:pt x="310535" y="1001126"/>
                      <a:pt x="317190" y="997604"/>
                      <a:pt x="323284" y="993310"/>
                    </a:cubicBezTo>
                    <a:cubicBezTo>
                      <a:pt x="329417" y="989074"/>
                      <a:pt x="334736" y="983657"/>
                      <a:pt x="339166" y="977659"/>
                    </a:cubicBezTo>
                    <a:cubicBezTo>
                      <a:pt x="343556" y="971661"/>
                      <a:pt x="347290" y="965084"/>
                      <a:pt x="349514" y="957963"/>
                    </a:cubicBezTo>
                    <a:cubicBezTo>
                      <a:pt x="350269" y="956242"/>
                      <a:pt x="350579" y="954403"/>
                      <a:pt x="351080" y="952604"/>
                    </a:cubicBezTo>
                    <a:lnTo>
                      <a:pt x="351796" y="949915"/>
                    </a:lnTo>
                    <a:cubicBezTo>
                      <a:pt x="352048" y="949005"/>
                      <a:pt x="352087" y="948058"/>
                      <a:pt x="352261" y="947148"/>
                    </a:cubicBezTo>
                    <a:cubicBezTo>
                      <a:pt x="352493" y="945311"/>
                      <a:pt x="352900" y="943472"/>
                      <a:pt x="353055" y="941615"/>
                    </a:cubicBezTo>
                    <a:lnTo>
                      <a:pt x="353326" y="936004"/>
                    </a:lnTo>
                    <a:cubicBezTo>
                      <a:pt x="353345" y="935520"/>
                      <a:pt x="353403" y="935133"/>
                      <a:pt x="353403" y="934554"/>
                    </a:cubicBezTo>
                    <a:lnTo>
                      <a:pt x="353403" y="73324"/>
                    </a:lnTo>
                    <a:cubicBezTo>
                      <a:pt x="353423" y="72047"/>
                      <a:pt x="353345" y="71197"/>
                      <a:pt x="353287" y="70248"/>
                    </a:cubicBezTo>
                    <a:close/>
                    <a:moveTo>
                      <a:pt x="314053" y="934554"/>
                    </a:moveTo>
                    <a:cubicBezTo>
                      <a:pt x="314053" y="934922"/>
                      <a:pt x="314033" y="934941"/>
                      <a:pt x="314014" y="935058"/>
                    </a:cubicBezTo>
                    <a:lnTo>
                      <a:pt x="313975" y="935387"/>
                    </a:lnTo>
                    <a:cubicBezTo>
                      <a:pt x="313878" y="936239"/>
                      <a:pt x="313859" y="937108"/>
                      <a:pt x="313878" y="937979"/>
                    </a:cubicBezTo>
                    <a:cubicBezTo>
                      <a:pt x="313801" y="938831"/>
                      <a:pt x="313530" y="939623"/>
                      <a:pt x="313472" y="940475"/>
                    </a:cubicBezTo>
                    <a:cubicBezTo>
                      <a:pt x="313394" y="940881"/>
                      <a:pt x="313453" y="941327"/>
                      <a:pt x="313298" y="941733"/>
                    </a:cubicBezTo>
                    <a:cubicBezTo>
                      <a:pt x="313162" y="942120"/>
                      <a:pt x="313046" y="942527"/>
                      <a:pt x="312949" y="942934"/>
                    </a:cubicBezTo>
                    <a:cubicBezTo>
                      <a:pt x="312698" y="943727"/>
                      <a:pt x="312678" y="944577"/>
                      <a:pt x="312252" y="945332"/>
                    </a:cubicBezTo>
                    <a:cubicBezTo>
                      <a:pt x="311342" y="948544"/>
                      <a:pt x="309544" y="951466"/>
                      <a:pt x="307572" y="954213"/>
                    </a:cubicBezTo>
                    <a:cubicBezTo>
                      <a:pt x="305580" y="956941"/>
                      <a:pt x="303162" y="959475"/>
                      <a:pt x="300338" y="961351"/>
                    </a:cubicBezTo>
                    <a:cubicBezTo>
                      <a:pt x="297533" y="963266"/>
                      <a:pt x="294573" y="964912"/>
                      <a:pt x="291400" y="965917"/>
                    </a:cubicBezTo>
                    <a:cubicBezTo>
                      <a:pt x="288189" y="966846"/>
                      <a:pt x="284880" y="967347"/>
                      <a:pt x="281400" y="967502"/>
                    </a:cubicBezTo>
                    <a:lnTo>
                      <a:pt x="71962" y="967502"/>
                    </a:lnTo>
                    <a:lnTo>
                      <a:pt x="71633" y="967464"/>
                    </a:lnTo>
                    <a:lnTo>
                      <a:pt x="70975" y="967386"/>
                    </a:lnTo>
                    <a:cubicBezTo>
                      <a:pt x="70123" y="967289"/>
                      <a:pt x="69254" y="967347"/>
                      <a:pt x="68402" y="967289"/>
                    </a:cubicBezTo>
                    <a:cubicBezTo>
                      <a:pt x="67570" y="967096"/>
                      <a:pt x="66758" y="966960"/>
                      <a:pt x="65907" y="966883"/>
                    </a:cubicBezTo>
                    <a:cubicBezTo>
                      <a:pt x="62637" y="966186"/>
                      <a:pt x="59484" y="965103"/>
                      <a:pt x="56466" y="963593"/>
                    </a:cubicBezTo>
                    <a:cubicBezTo>
                      <a:pt x="53564" y="961892"/>
                      <a:pt x="50837" y="959781"/>
                      <a:pt x="48438" y="957363"/>
                    </a:cubicBezTo>
                    <a:cubicBezTo>
                      <a:pt x="45962" y="954984"/>
                      <a:pt x="44183" y="952004"/>
                      <a:pt x="42693" y="949024"/>
                    </a:cubicBezTo>
                    <a:cubicBezTo>
                      <a:pt x="41802" y="947592"/>
                      <a:pt x="41454" y="945929"/>
                      <a:pt x="40778" y="944401"/>
                    </a:cubicBezTo>
                    <a:cubicBezTo>
                      <a:pt x="40643" y="943569"/>
                      <a:pt x="40430" y="942777"/>
                      <a:pt x="40178" y="941983"/>
                    </a:cubicBezTo>
                    <a:cubicBezTo>
                      <a:pt x="40004" y="941596"/>
                      <a:pt x="39985" y="941170"/>
                      <a:pt x="39946" y="940744"/>
                    </a:cubicBezTo>
                    <a:cubicBezTo>
                      <a:pt x="39907" y="940318"/>
                      <a:pt x="39849" y="939911"/>
                      <a:pt x="39772" y="939486"/>
                    </a:cubicBezTo>
                    <a:cubicBezTo>
                      <a:pt x="39714" y="939079"/>
                      <a:pt x="39617" y="938653"/>
                      <a:pt x="39520" y="938246"/>
                    </a:cubicBezTo>
                    <a:cubicBezTo>
                      <a:pt x="39539" y="937801"/>
                      <a:pt x="39539" y="937375"/>
                      <a:pt x="39520" y="936949"/>
                    </a:cubicBezTo>
                    <a:cubicBezTo>
                      <a:pt x="39501" y="936504"/>
                      <a:pt x="39481" y="936078"/>
                      <a:pt x="39443" y="935652"/>
                    </a:cubicBezTo>
                    <a:lnTo>
                      <a:pt x="39365" y="935013"/>
                    </a:lnTo>
                    <a:lnTo>
                      <a:pt x="39346" y="934839"/>
                    </a:lnTo>
                    <a:lnTo>
                      <a:pt x="39346" y="72318"/>
                    </a:lnTo>
                    <a:cubicBezTo>
                      <a:pt x="39346" y="71930"/>
                      <a:pt x="39365" y="71930"/>
                      <a:pt x="39365" y="71795"/>
                    </a:cubicBezTo>
                    <a:lnTo>
                      <a:pt x="39404" y="71466"/>
                    </a:lnTo>
                    <a:cubicBezTo>
                      <a:pt x="39501" y="70614"/>
                      <a:pt x="39539" y="69764"/>
                      <a:pt x="39520" y="68893"/>
                    </a:cubicBezTo>
                    <a:cubicBezTo>
                      <a:pt x="39597" y="68041"/>
                      <a:pt x="39849" y="67230"/>
                      <a:pt x="39927" y="66378"/>
                    </a:cubicBezTo>
                    <a:cubicBezTo>
                      <a:pt x="40004" y="65971"/>
                      <a:pt x="39946" y="65526"/>
                      <a:pt x="40101" y="65139"/>
                    </a:cubicBezTo>
                    <a:cubicBezTo>
                      <a:pt x="40236" y="64732"/>
                      <a:pt x="40352" y="64345"/>
                      <a:pt x="40449" y="63938"/>
                    </a:cubicBezTo>
                    <a:cubicBezTo>
                      <a:pt x="40701" y="63145"/>
                      <a:pt x="40720" y="62275"/>
                      <a:pt x="41146" y="61540"/>
                    </a:cubicBezTo>
                    <a:cubicBezTo>
                      <a:pt x="42056" y="58308"/>
                      <a:pt x="43835" y="55387"/>
                      <a:pt x="45827" y="52659"/>
                    </a:cubicBezTo>
                    <a:cubicBezTo>
                      <a:pt x="47819" y="49931"/>
                      <a:pt x="50217" y="47377"/>
                      <a:pt x="53061" y="45501"/>
                    </a:cubicBezTo>
                    <a:cubicBezTo>
                      <a:pt x="55866" y="43587"/>
                      <a:pt x="58826" y="41941"/>
                      <a:pt x="61998" y="40936"/>
                    </a:cubicBezTo>
                    <a:cubicBezTo>
                      <a:pt x="65210" y="40007"/>
                      <a:pt x="68518" y="39503"/>
                      <a:pt x="71999" y="39350"/>
                    </a:cubicBezTo>
                    <a:lnTo>
                      <a:pt x="280645" y="39350"/>
                    </a:lnTo>
                    <a:cubicBezTo>
                      <a:pt x="280897" y="39350"/>
                      <a:pt x="281322" y="39350"/>
                      <a:pt x="281439" y="39370"/>
                    </a:cubicBezTo>
                    <a:lnTo>
                      <a:pt x="281768" y="39409"/>
                    </a:lnTo>
                    <a:lnTo>
                      <a:pt x="282406" y="39467"/>
                    </a:lnTo>
                    <a:cubicBezTo>
                      <a:pt x="283278" y="39563"/>
                      <a:pt x="284147" y="39505"/>
                      <a:pt x="284999" y="39563"/>
                    </a:cubicBezTo>
                    <a:cubicBezTo>
                      <a:pt x="285831" y="39757"/>
                      <a:pt x="286642" y="39893"/>
                      <a:pt x="287494" y="39970"/>
                    </a:cubicBezTo>
                    <a:cubicBezTo>
                      <a:pt x="290763" y="40686"/>
                      <a:pt x="293917" y="41749"/>
                      <a:pt x="296934" y="43259"/>
                    </a:cubicBezTo>
                    <a:cubicBezTo>
                      <a:pt x="299836" y="44981"/>
                      <a:pt x="302544" y="47071"/>
                      <a:pt x="304943" y="49509"/>
                    </a:cubicBezTo>
                    <a:cubicBezTo>
                      <a:pt x="307438" y="51869"/>
                      <a:pt x="309217" y="54849"/>
                      <a:pt x="310708" y="57828"/>
                    </a:cubicBezTo>
                    <a:cubicBezTo>
                      <a:pt x="311598" y="59278"/>
                      <a:pt x="311946" y="60924"/>
                      <a:pt x="312622" y="62452"/>
                    </a:cubicBezTo>
                    <a:cubicBezTo>
                      <a:pt x="312758" y="63284"/>
                      <a:pt x="312970" y="64076"/>
                      <a:pt x="313222" y="64889"/>
                    </a:cubicBezTo>
                    <a:cubicBezTo>
                      <a:pt x="313396" y="65276"/>
                      <a:pt x="313416" y="65702"/>
                      <a:pt x="313454" y="66128"/>
                    </a:cubicBezTo>
                    <a:cubicBezTo>
                      <a:pt x="313493" y="66535"/>
                      <a:pt x="313551" y="66961"/>
                      <a:pt x="313629" y="67367"/>
                    </a:cubicBezTo>
                    <a:cubicBezTo>
                      <a:pt x="313687" y="67793"/>
                      <a:pt x="313784" y="68200"/>
                      <a:pt x="313880" y="68606"/>
                    </a:cubicBezTo>
                    <a:cubicBezTo>
                      <a:pt x="313861" y="69052"/>
                      <a:pt x="313861" y="69478"/>
                      <a:pt x="313880" y="69903"/>
                    </a:cubicBezTo>
                    <a:cubicBezTo>
                      <a:pt x="313880" y="70349"/>
                      <a:pt x="313919" y="70775"/>
                      <a:pt x="313958" y="71201"/>
                    </a:cubicBezTo>
                    <a:lnTo>
                      <a:pt x="314035" y="71859"/>
                    </a:lnTo>
                    <a:lnTo>
                      <a:pt x="314054" y="72014"/>
                    </a:lnTo>
                    <a:lnTo>
                      <a:pt x="314054" y="934558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Microsoft Sans Serif"/>
                </a:endParaRPr>
              </a:p>
            </p:txBody>
          </p:sp>
          <p:sp>
            <p:nvSpPr>
              <p:cNvPr id="101" name="Freeform 5">
                <a:extLst>
                  <a:ext uri="{FF2B5EF4-FFF2-40B4-BE49-F238E27FC236}">
                    <a16:creationId xmlns:a16="http://schemas.microsoft.com/office/drawing/2014/main" id="{0A49FC93-3C36-E82C-EB49-8521A3C85FD0}"/>
                  </a:ext>
                </a:extLst>
              </p:cNvPr>
              <p:cNvSpPr/>
              <p:nvPr/>
            </p:nvSpPr>
            <p:spPr>
              <a:xfrm>
                <a:off x="2563590" y="2839674"/>
                <a:ext cx="353406" cy="1006857"/>
              </a:xfrm>
              <a:custGeom>
                <a:avLst/>
                <a:gdLst>
                  <a:gd name="connsiteX0" fmla="*/ 353287 w 353406"/>
                  <a:gd name="connsiteY0" fmla="*/ 70248 h 1006857"/>
                  <a:gd name="connsiteX1" fmla="*/ 353132 w 353406"/>
                  <a:gd name="connsiteY1" fmla="*/ 67443 h 1006857"/>
                  <a:gd name="connsiteX2" fmla="*/ 353016 w 353406"/>
                  <a:gd name="connsiteY2" fmla="*/ 64637 h 1006857"/>
                  <a:gd name="connsiteX3" fmla="*/ 352571 w 353406"/>
                  <a:gd name="connsiteY3" fmla="*/ 61890 h 1006857"/>
                  <a:gd name="connsiteX4" fmla="*/ 352164 w 353406"/>
                  <a:gd name="connsiteY4" fmla="*/ 59123 h 1006857"/>
                  <a:gd name="connsiteX5" fmla="*/ 351642 w 353406"/>
                  <a:gd name="connsiteY5" fmla="*/ 56376 h 1006857"/>
                  <a:gd name="connsiteX6" fmla="*/ 350250 w 353406"/>
                  <a:gd name="connsiteY6" fmla="*/ 50959 h 1006857"/>
                  <a:gd name="connsiteX7" fmla="*/ 346090 w 353406"/>
                  <a:gd name="connsiteY7" fmla="*/ 40609 h 1006857"/>
                  <a:gd name="connsiteX8" fmla="*/ 333381 w 353406"/>
                  <a:gd name="connsiteY8" fmla="*/ 22307 h 1006857"/>
                  <a:gd name="connsiteX9" fmla="*/ 315721 w 353406"/>
                  <a:gd name="connsiteY9" fmla="*/ 8687 h 1006857"/>
                  <a:gd name="connsiteX10" fmla="*/ 294734 w 353406"/>
                  <a:gd name="connsiteY10" fmla="*/ 1297 h 1006857"/>
                  <a:gd name="connsiteX11" fmla="*/ 289201 w 353406"/>
                  <a:gd name="connsiteY11" fmla="*/ 445 h 1006857"/>
                  <a:gd name="connsiteX12" fmla="*/ 283611 w 353406"/>
                  <a:gd name="connsiteY12" fmla="*/ 136 h 1006857"/>
                  <a:gd name="connsiteX13" fmla="*/ 282199 w 353406"/>
                  <a:gd name="connsiteY13" fmla="*/ 58 h 1006857"/>
                  <a:gd name="connsiteX14" fmla="*/ 280653 w 353406"/>
                  <a:gd name="connsiteY14" fmla="*/ 0 h 1006857"/>
                  <a:gd name="connsiteX15" fmla="*/ 72003 w 353406"/>
                  <a:gd name="connsiteY15" fmla="*/ 0 h 1006857"/>
                  <a:gd name="connsiteX16" fmla="*/ 49969 w 353406"/>
                  <a:gd name="connsiteY16" fmla="*/ 3464 h 1006857"/>
                  <a:gd name="connsiteX17" fmla="*/ 30122 w 353406"/>
                  <a:gd name="connsiteY17" fmla="*/ 13543 h 1006857"/>
                  <a:gd name="connsiteX18" fmla="*/ 14241 w 353406"/>
                  <a:gd name="connsiteY18" fmla="*/ 29194 h 1006857"/>
                  <a:gd name="connsiteX19" fmla="*/ 3873 w 353406"/>
                  <a:gd name="connsiteY19" fmla="*/ 48889 h 1006857"/>
                  <a:gd name="connsiteX20" fmla="*/ 2326 w 353406"/>
                  <a:gd name="connsiteY20" fmla="*/ 54248 h 1006857"/>
                  <a:gd name="connsiteX21" fmla="*/ 1610 w 353406"/>
                  <a:gd name="connsiteY21" fmla="*/ 56957 h 1006857"/>
                  <a:gd name="connsiteX22" fmla="*/ 1145 w 353406"/>
                  <a:gd name="connsiteY22" fmla="*/ 59704 h 1006857"/>
                  <a:gd name="connsiteX23" fmla="*/ 351 w 353406"/>
                  <a:gd name="connsiteY23" fmla="*/ 65238 h 1006857"/>
                  <a:gd name="connsiteX24" fmla="*/ 80 w 353406"/>
                  <a:gd name="connsiteY24" fmla="*/ 70848 h 1006857"/>
                  <a:gd name="connsiteX25" fmla="*/ 3 w 353406"/>
                  <a:gd name="connsiteY25" fmla="*/ 72318 h 1006857"/>
                  <a:gd name="connsiteX26" fmla="*/ 3 w 353406"/>
                  <a:gd name="connsiteY26" fmla="*/ 933528 h 1006857"/>
                  <a:gd name="connsiteX27" fmla="*/ 100 w 353406"/>
                  <a:gd name="connsiteY27" fmla="*/ 936605 h 1006857"/>
                  <a:gd name="connsiteX28" fmla="*/ 255 w 353406"/>
                  <a:gd name="connsiteY28" fmla="*/ 939410 h 1006857"/>
                  <a:gd name="connsiteX29" fmla="*/ 371 w 353406"/>
                  <a:gd name="connsiteY29" fmla="*/ 942215 h 1006857"/>
                  <a:gd name="connsiteX30" fmla="*/ 816 w 353406"/>
                  <a:gd name="connsiteY30" fmla="*/ 944982 h 1006857"/>
                  <a:gd name="connsiteX31" fmla="*/ 1242 w 353406"/>
                  <a:gd name="connsiteY31" fmla="*/ 947749 h 1006857"/>
                  <a:gd name="connsiteX32" fmla="*/ 1765 w 353406"/>
                  <a:gd name="connsiteY32" fmla="*/ 950477 h 1006857"/>
                  <a:gd name="connsiteX33" fmla="*/ 3139 w 353406"/>
                  <a:gd name="connsiteY33" fmla="*/ 955894 h 1006857"/>
                  <a:gd name="connsiteX34" fmla="*/ 7299 w 353406"/>
                  <a:gd name="connsiteY34" fmla="*/ 966244 h 1006857"/>
                  <a:gd name="connsiteX35" fmla="*/ 20007 w 353406"/>
                  <a:gd name="connsiteY35" fmla="*/ 984545 h 1006857"/>
                  <a:gd name="connsiteX36" fmla="*/ 37689 w 353406"/>
                  <a:gd name="connsiteY36" fmla="*/ 998166 h 1006857"/>
                  <a:gd name="connsiteX37" fmla="*/ 58677 w 353406"/>
                  <a:gd name="connsiteY37" fmla="*/ 1005555 h 1006857"/>
                  <a:gd name="connsiteX38" fmla="*/ 64190 w 353406"/>
                  <a:gd name="connsiteY38" fmla="*/ 1006407 h 1006857"/>
                  <a:gd name="connsiteX39" fmla="*/ 69800 w 353406"/>
                  <a:gd name="connsiteY39" fmla="*/ 1006717 h 1006857"/>
                  <a:gd name="connsiteX40" fmla="*/ 71191 w 353406"/>
                  <a:gd name="connsiteY40" fmla="*/ 1006795 h 1006857"/>
                  <a:gd name="connsiteX41" fmla="*/ 72757 w 353406"/>
                  <a:gd name="connsiteY41" fmla="*/ 1006853 h 1006857"/>
                  <a:gd name="connsiteX42" fmla="*/ 281404 w 353406"/>
                  <a:gd name="connsiteY42" fmla="*/ 1006853 h 1006857"/>
                  <a:gd name="connsiteX43" fmla="*/ 303417 w 353406"/>
                  <a:gd name="connsiteY43" fmla="*/ 1003389 h 1006857"/>
                  <a:gd name="connsiteX44" fmla="*/ 323284 w 353406"/>
                  <a:gd name="connsiteY44" fmla="*/ 993310 h 1006857"/>
                  <a:gd name="connsiteX45" fmla="*/ 339165 w 353406"/>
                  <a:gd name="connsiteY45" fmla="*/ 977659 h 1006857"/>
                  <a:gd name="connsiteX46" fmla="*/ 349514 w 353406"/>
                  <a:gd name="connsiteY46" fmla="*/ 957963 h 1006857"/>
                  <a:gd name="connsiteX47" fmla="*/ 351080 w 353406"/>
                  <a:gd name="connsiteY47" fmla="*/ 952604 h 1006857"/>
                  <a:gd name="connsiteX48" fmla="*/ 351777 w 353406"/>
                  <a:gd name="connsiteY48" fmla="*/ 949915 h 1006857"/>
                  <a:gd name="connsiteX49" fmla="*/ 352242 w 353406"/>
                  <a:gd name="connsiteY49" fmla="*/ 947148 h 1006857"/>
                  <a:gd name="connsiteX50" fmla="*/ 353035 w 353406"/>
                  <a:gd name="connsiteY50" fmla="*/ 941615 h 1006857"/>
                  <a:gd name="connsiteX51" fmla="*/ 353326 w 353406"/>
                  <a:gd name="connsiteY51" fmla="*/ 936004 h 1006857"/>
                  <a:gd name="connsiteX52" fmla="*/ 353403 w 353406"/>
                  <a:gd name="connsiteY52" fmla="*/ 934554 h 1006857"/>
                  <a:gd name="connsiteX53" fmla="*/ 353403 w 353406"/>
                  <a:gd name="connsiteY53" fmla="*/ 73324 h 1006857"/>
                  <a:gd name="connsiteX54" fmla="*/ 353287 w 353406"/>
                  <a:gd name="connsiteY54" fmla="*/ 70248 h 1006857"/>
                  <a:gd name="connsiteX55" fmla="*/ 314056 w 353406"/>
                  <a:gd name="connsiteY55" fmla="*/ 934554 h 1006857"/>
                  <a:gd name="connsiteX56" fmla="*/ 314018 w 353406"/>
                  <a:gd name="connsiteY56" fmla="*/ 935058 h 1006857"/>
                  <a:gd name="connsiteX57" fmla="*/ 313979 w 353406"/>
                  <a:gd name="connsiteY57" fmla="*/ 935387 h 1006857"/>
                  <a:gd name="connsiteX58" fmla="*/ 313863 w 353406"/>
                  <a:gd name="connsiteY58" fmla="*/ 937979 h 1006857"/>
                  <a:gd name="connsiteX59" fmla="*/ 313476 w 353406"/>
                  <a:gd name="connsiteY59" fmla="*/ 940475 h 1006857"/>
                  <a:gd name="connsiteX60" fmla="*/ 313302 w 353406"/>
                  <a:gd name="connsiteY60" fmla="*/ 941733 h 1006857"/>
                  <a:gd name="connsiteX61" fmla="*/ 312934 w 353406"/>
                  <a:gd name="connsiteY61" fmla="*/ 942934 h 1006857"/>
                  <a:gd name="connsiteX62" fmla="*/ 312256 w 353406"/>
                  <a:gd name="connsiteY62" fmla="*/ 945332 h 1006857"/>
                  <a:gd name="connsiteX63" fmla="*/ 307575 w 353406"/>
                  <a:gd name="connsiteY63" fmla="*/ 954213 h 1006857"/>
                  <a:gd name="connsiteX64" fmla="*/ 300341 w 353406"/>
                  <a:gd name="connsiteY64" fmla="*/ 961351 h 1006857"/>
                  <a:gd name="connsiteX65" fmla="*/ 291404 w 353406"/>
                  <a:gd name="connsiteY65" fmla="*/ 965917 h 1006857"/>
                  <a:gd name="connsiteX66" fmla="*/ 281404 w 353406"/>
                  <a:gd name="connsiteY66" fmla="*/ 967502 h 1006857"/>
                  <a:gd name="connsiteX67" fmla="*/ 71944 w 353406"/>
                  <a:gd name="connsiteY67" fmla="*/ 967502 h 1006857"/>
                  <a:gd name="connsiteX68" fmla="*/ 71635 w 353406"/>
                  <a:gd name="connsiteY68" fmla="*/ 967464 h 1006857"/>
                  <a:gd name="connsiteX69" fmla="*/ 70977 w 353406"/>
                  <a:gd name="connsiteY69" fmla="*/ 967386 h 1006857"/>
                  <a:gd name="connsiteX70" fmla="*/ 68404 w 353406"/>
                  <a:gd name="connsiteY70" fmla="*/ 967289 h 1006857"/>
                  <a:gd name="connsiteX71" fmla="*/ 65909 w 353406"/>
                  <a:gd name="connsiteY71" fmla="*/ 966883 h 1006857"/>
                  <a:gd name="connsiteX72" fmla="*/ 56468 w 353406"/>
                  <a:gd name="connsiteY72" fmla="*/ 963593 h 1006857"/>
                  <a:gd name="connsiteX73" fmla="*/ 48440 w 353406"/>
                  <a:gd name="connsiteY73" fmla="*/ 957363 h 1006857"/>
                  <a:gd name="connsiteX74" fmla="*/ 42675 w 353406"/>
                  <a:gd name="connsiteY74" fmla="*/ 949024 h 1006857"/>
                  <a:gd name="connsiteX75" fmla="*/ 40780 w 353406"/>
                  <a:gd name="connsiteY75" fmla="*/ 944401 h 1006857"/>
                  <a:gd name="connsiteX76" fmla="*/ 40180 w 353406"/>
                  <a:gd name="connsiteY76" fmla="*/ 941983 h 1006857"/>
                  <a:gd name="connsiteX77" fmla="*/ 39948 w 353406"/>
                  <a:gd name="connsiteY77" fmla="*/ 940744 h 1006857"/>
                  <a:gd name="connsiteX78" fmla="*/ 39774 w 353406"/>
                  <a:gd name="connsiteY78" fmla="*/ 939486 h 1006857"/>
                  <a:gd name="connsiteX79" fmla="*/ 39522 w 353406"/>
                  <a:gd name="connsiteY79" fmla="*/ 938246 h 1006857"/>
                  <a:gd name="connsiteX80" fmla="*/ 39522 w 353406"/>
                  <a:gd name="connsiteY80" fmla="*/ 936949 h 1006857"/>
                  <a:gd name="connsiteX81" fmla="*/ 39445 w 353406"/>
                  <a:gd name="connsiteY81" fmla="*/ 935652 h 1006857"/>
                  <a:gd name="connsiteX82" fmla="*/ 39367 w 353406"/>
                  <a:gd name="connsiteY82" fmla="*/ 935013 h 1006857"/>
                  <a:gd name="connsiteX83" fmla="*/ 39348 w 353406"/>
                  <a:gd name="connsiteY83" fmla="*/ 934839 h 1006857"/>
                  <a:gd name="connsiteX84" fmla="*/ 39348 w 353406"/>
                  <a:gd name="connsiteY84" fmla="*/ 72318 h 1006857"/>
                  <a:gd name="connsiteX85" fmla="*/ 39367 w 353406"/>
                  <a:gd name="connsiteY85" fmla="*/ 71795 h 1006857"/>
                  <a:gd name="connsiteX86" fmla="*/ 39406 w 353406"/>
                  <a:gd name="connsiteY86" fmla="*/ 71466 h 1006857"/>
                  <a:gd name="connsiteX87" fmla="*/ 39522 w 353406"/>
                  <a:gd name="connsiteY87" fmla="*/ 68893 h 1006857"/>
                  <a:gd name="connsiteX88" fmla="*/ 39909 w 353406"/>
                  <a:gd name="connsiteY88" fmla="*/ 66378 h 1006857"/>
                  <a:gd name="connsiteX89" fmla="*/ 40083 w 353406"/>
                  <a:gd name="connsiteY89" fmla="*/ 65139 h 1006857"/>
                  <a:gd name="connsiteX90" fmla="*/ 40451 w 353406"/>
                  <a:gd name="connsiteY90" fmla="*/ 63938 h 1006857"/>
                  <a:gd name="connsiteX91" fmla="*/ 41129 w 353406"/>
                  <a:gd name="connsiteY91" fmla="*/ 61540 h 1006857"/>
                  <a:gd name="connsiteX92" fmla="*/ 45829 w 353406"/>
                  <a:gd name="connsiteY92" fmla="*/ 52659 h 1006857"/>
                  <a:gd name="connsiteX93" fmla="*/ 53063 w 353406"/>
                  <a:gd name="connsiteY93" fmla="*/ 45501 h 1006857"/>
                  <a:gd name="connsiteX94" fmla="*/ 62000 w 353406"/>
                  <a:gd name="connsiteY94" fmla="*/ 40936 h 1006857"/>
                  <a:gd name="connsiteX95" fmla="*/ 72001 w 353406"/>
                  <a:gd name="connsiteY95" fmla="*/ 39350 h 1006857"/>
                  <a:gd name="connsiteX96" fmla="*/ 280647 w 353406"/>
                  <a:gd name="connsiteY96" fmla="*/ 39350 h 1006857"/>
                  <a:gd name="connsiteX97" fmla="*/ 281440 w 353406"/>
                  <a:gd name="connsiteY97" fmla="*/ 39370 h 1006857"/>
                  <a:gd name="connsiteX98" fmla="*/ 281770 w 353406"/>
                  <a:gd name="connsiteY98" fmla="*/ 39409 h 1006857"/>
                  <a:gd name="connsiteX99" fmla="*/ 282408 w 353406"/>
                  <a:gd name="connsiteY99" fmla="*/ 39467 h 1006857"/>
                  <a:gd name="connsiteX100" fmla="*/ 285000 w 353406"/>
                  <a:gd name="connsiteY100" fmla="*/ 39563 h 1006857"/>
                  <a:gd name="connsiteX101" fmla="*/ 287496 w 353406"/>
                  <a:gd name="connsiteY101" fmla="*/ 39970 h 1006857"/>
                  <a:gd name="connsiteX102" fmla="*/ 296917 w 353406"/>
                  <a:gd name="connsiteY102" fmla="*/ 43259 h 1006857"/>
                  <a:gd name="connsiteX103" fmla="*/ 304945 w 353406"/>
                  <a:gd name="connsiteY103" fmla="*/ 49509 h 1006857"/>
                  <a:gd name="connsiteX104" fmla="*/ 310709 w 353406"/>
                  <a:gd name="connsiteY104" fmla="*/ 57828 h 1006857"/>
                  <a:gd name="connsiteX105" fmla="*/ 312624 w 353406"/>
                  <a:gd name="connsiteY105" fmla="*/ 62452 h 1006857"/>
                  <a:gd name="connsiteX106" fmla="*/ 313224 w 353406"/>
                  <a:gd name="connsiteY106" fmla="*/ 64889 h 1006857"/>
                  <a:gd name="connsiteX107" fmla="*/ 313437 w 353406"/>
                  <a:gd name="connsiteY107" fmla="*/ 66128 h 1006857"/>
                  <a:gd name="connsiteX108" fmla="*/ 313611 w 353406"/>
                  <a:gd name="connsiteY108" fmla="*/ 67367 h 1006857"/>
                  <a:gd name="connsiteX109" fmla="*/ 313882 w 353406"/>
                  <a:gd name="connsiteY109" fmla="*/ 68606 h 1006857"/>
                  <a:gd name="connsiteX110" fmla="*/ 313882 w 353406"/>
                  <a:gd name="connsiteY110" fmla="*/ 69903 h 1006857"/>
                  <a:gd name="connsiteX111" fmla="*/ 313960 w 353406"/>
                  <a:gd name="connsiteY111" fmla="*/ 71201 h 1006857"/>
                  <a:gd name="connsiteX112" fmla="*/ 314018 w 353406"/>
                  <a:gd name="connsiteY112" fmla="*/ 71859 h 1006857"/>
                  <a:gd name="connsiteX113" fmla="*/ 314056 w 353406"/>
                  <a:gd name="connsiteY113" fmla="*/ 72014 h 1006857"/>
                  <a:gd name="connsiteX114" fmla="*/ 314056 w 353406"/>
                  <a:gd name="connsiteY114" fmla="*/ 934558 h 1006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</a:cxnLst>
                <a:rect l="l" t="t" r="r" b="b"/>
                <a:pathLst>
                  <a:path w="353406" h="1006857">
                    <a:moveTo>
                      <a:pt x="353287" y="70248"/>
                    </a:moveTo>
                    <a:lnTo>
                      <a:pt x="353132" y="67443"/>
                    </a:lnTo>
                    <a:lnTo>
                      <a:pt x="353016" y="64637"/>
                    </a:lnTo>
                    <a:lnTo>
                      <a:pt x="352571" y="61890"/>
                    </a:lnTo>
                    <a:lnTo>
                      <a:pt x="352164" y="59123"/>
                    </a:lnTo>
                    <a:cubicBezTo>
                      <a:pt x="352048" y="58194"/>
                      <a:pt x="351913" y="57267"/>
                      <a:pt x="351642" y="56376"/>
                    </a:cubicBezTo>
                    <a:lnTo>
                      <a:pt x="350250" y="50959"/>
                    </a:lnTo>
                    <a:cubicBezTo>
                      <a:pt x="348972" y="47476"/>
                      <a:pt x="347871" y="43898"/>
                      <a:pt x="346090" y="40609"/>
                    </a:cubicBezTo>
                    <a:cubicBezTo>
                      <a:pt x="342801" y="33953"/>
                      <a:pt x="338662" y="27608"/>
                      <a:pt x="333381" y="22307"/>
                    </a:cubicBezTo>
                    <a:cubicBezTo>
                      <a:pt x="328178" y="16948"/>
                      <a:pt x="322220" y="12344"/>
                      <a:pt x="315721" y="8687"/>
                    </a:cubicBezTo>
                    <a:cubicBezTo>
                      <a:pt x="309105" y="5223"/>
                      <a:pt x="302026" y="2747"/>
                      <a:pt x="294734" y="1297"/>
                    </a:cubicBezTo>
                    <a:lnTo>
                      <a:pt x="289201" y="445"/>
                    </a:lnTo>
                    <a:cubicBezTo>
                      <a:pt x="287345" y="271"/>
                      <a:pt x="285467" y="271"/>
                      <a:pt x="283611" y="136"/>
                    </a:cubicBezTo>
                    <a:lnTo>
                      <a:pt x="282199" y="58"/>
                    </a:lnTo>
                    <a:cubicBezTo>
                      <a:pt x="281754" y="19"/>
                      <a:pt x="281289" y="0"/>
                      <a:pt x="280653" y="0"/>
                    </a:cubicBezTo>
                    <a:lnTo>
                      <a:pt x="72003" y="0"/>
                    </a:lnTo>
                    <a:cubicBezTo>
                      <a:pt x="64497" y="155"/>
                      <a:pt x="57087" y="1297"/>
                      <a:pt x="49969" y="3464"/>
                    </a:cubicBezTo>
                    <a:cubicBezTo>
                      <a:pt x="42871" y="5727"/>
                      <a:pt x="36216" y="9268"/>
                      <a:pt x="30122" y="13543"/>
                    </a:cubicBezTo>
                    <a:cubicBezTo>
                      <a:pt x="23970" y="17798"/>
                      <a:pt x="18670" y="23196"/>
                      <a:pt x="14241" y="29194"/>
                    </a:cubicBezTo>
                    <a:cubicBezTo>
                      <a:pt x="9831" y="35192"/>
                      <a:pt x="6116" y="41788"/>
                      <a:pt x="3873" y="48889"/>
                    </a:cubicBezTo>
                    <a:cubicBezTo>
                      <a:pt x="3118" y="50611"/>
                      <a:pt x="2808" y="52450"/>
                      <a:pt x="2326" y="54248"/>
                    </a:cubicBezTo>
                    <a:lnTo>
                      <a:pt x="1610" y="56957"/>
                    </a:lnTo>
                    <a:cubicBezTo>
                      <a:pt x="1339" y="57848"/>
                      <a:pt x="1319" y="58794"/>
                      <a:pt x="1145" y="59704"/>
                    </a:cubicBezTo>
                    <a:cubicBezTo>
                      <a:pt x="913" y="61561"/>
                      <a:pt x="506" y="63381"/>
                      <a:pt x="351" y="65238"/>
                    </a:cubicBezTo>
                    <a:lnTo>
                      <a:pt x="80" y="70848"/>
                    </a:lnTo>
                    <a:cubicBezTo>
                      <a:pt x="61" y="71332"/>
                      <a:pt x="3" y="71719"/>
                      <a:pt x="3" y="72318"/>
                    </a:cubicBezTo>
                    <a:lnTo>
                      <a:pt x="3" y="933528"/>
                    </a:lnTo>
                    <a:cubicBezTo>
                      <a:pt x="-16" y="934806"/>
                      <a:pt x="61" y="935675"/>
                      <a:pt x="100" y="936605"/>
                    </a:cubicBezTo>
                    <a:lnTo>
                      <a:pt x="255" y="939410"/>
                    </a:lnTo>
                    <a:lnTo>
                      <a:pt x="371" y="942215"/>
                    </a:lnTo>
                    <a:lnTo>
                      <a:pt x="816" y="944982"/>
                    </a:lnTo>
                    <a:lnTo>
                      <a:pt x="1242" y="947749"/>
                    </a:lnTo>
                    <a:cubicBezTo>
                      <a:pt x="1358" y="948659"/>
                      <a:pt x="1474" y="949586"/>
                      <a:pt x="1765" y="950477"/>
                    </a:cubicBezTo>
                    <a:lnTo>
                      <a:pt x="3139" y="955894"/>
                    </a:lnTo>
                    <a:cubicBezTo>
                      <a:pt x="4436" y="959377"/>
                      <a:pt x="5518" y="962954"/>
                      <a:pt x="7299" y="966244"/>
                    </a:cubicBezTo>
                    <a:cubicBezTo>
                      <a:pt x="10588" y="972900"/>
                      <a:pt x="14727" y="979244"/>
                      <a:pt x="20007" y="984545"/>
                    </a:cubicBezTo>
                    <a:cubicBezTo>
                      <a:pt x="25211" y="989904"/>
                      <a:pt x="31169" y="994508"/>
                      <a:pt x="37689" y="998166"/>
                    </a:cubicBezTo>
                    <a:cubicBezTo>
                      <a:pt x="44286" y="1001629"/>
                      <a:pt x="51365" y="1004105"/>
                      <a:pt x="58677" y="1005555"/>
                    </a:cubicBezTo>
                    <a:lnTo>
                      <a:pt x="64190" y="1006407"/>
                    </a:lnTo>
                    <a:cubicBezTo>
                      <a:pt x="66046" y="1006582"/>
                      <a:pt x="67924" y="1006582"/>
                      <a:pt x="69800" y="1006717"/>
                    </a:cubicBezTo>
                    <a:lnTo>
                      <a:pt x="71191" y="1006795"/>
                    </a:lnTo>
                    <a:cubicBezTo>
                      <a:pt x="71656" y="1006833"/>
                      <a:pt x="72121" y="1006872"/>
                      <a:pt x="72757" y="1006853"/>
                    </a:cubicBezTo>
                    <a:lnTo>
                      <a:pt x="281404" y="1006853"/>
                    </a:lnTo>
                    <a:cubicBezTo>
                      <a:pt x="288889" y="1006698"/>
                      <a:pt x="296300" y="1005575"/>
                      <a:pt x="303417" y="1003389"/>
                    </a:cubicBezTo>
                    <a:cubicBezTo>
                      <a:pt x="310516" y="1001126"/>
                      <a:pt x="317191" y="997604"/>
                      <a:pt x="323284" y="993310"/>
                    </a:cubicBezTo>
                    <a:cubicBezTo>
                      <a:pt x="329417" y="989074"/>
                      <a:pt x="334736" y="983657"/>
                      <a:pt x="339165" y="977659"/>
                    </a:cubicBezTo>
                    <a:cubicBezTo>
                      <a:pt x="343556" y="971661"/>
                      <a:pt x="347290" y="965084"/>
                      <a:pt x="349514" y="957963"/>
                    </a:cubicBezTo>
                    <a:cubicBezTo>
                      <a:pt x="350269" y="956242"/>
                      <a:pt x="350579" y="954403"/>
                      <a:pt x="351080" y="952604"/>
                    </a:cubicBezTo>
                    <a:lnTo>
                      <a:pt x="351777" y="949915"/>
                    </a:lnTo>
                    <a:cubicBezTo>
                      <a:pt x="352048" y="949005"/>
                      <a:pt x="352087" y="948058"/>
                      <a:pt x="352242" y="947148"/>
                    </a:cubicBezTo>
                    <a:cubicBezTo>
                      <a:pt x="352493" y="945311"/>
                      <a:pt x="352880" y="943472"/>
                      <a:pt x="353035" y="941615"/>
                    </a:cubicBezTo>
                    <a:lnTo>
                      <a:pt x="353326" y="936004"/>
                    </a:lnTo>
                    <a:cubicBezTo>
                      <a:pt x="353345" y="935520"/>
                      <a:pt x="353403" y="935133"/>
                      <a:pt x="353403" y="934554"/>
                    </a:cubicBezTo>
                    <a:lnTo>
                      <a:pt x="353403" y="73324"/>
                    </a:lnTo>
                    <a:cubicBezTo>
                      <a:pt x="353423" y="72047"/>
                      <a:pt x="353345" y="71197"/>
                      <a:pt x="353287" y="70248"/>
                    </a:cubicBezTo>
                    <a:close/>
                    <a:moveTo>
                      <a:pt x="314056" y="934554"/>
                    </a:moveTo>
                    <a:cubicBezTo>
                      <a:pt x="314056" y="934922"/>
                      <a:pt x="314037" y="934941"/>
                      <a:pt x="314018" y="935058"/>
                    </a:cubicBezTo>
                    <a:lnTo>
                      <a:pt x="313979" y="935387"/>
                    </a:lnTo>
                    <a:cubicBezTo>
                      <a:pt x="313882" y="936239"/>
                      <a:pt x="313844" y="937108"/>
                      <a:pt x="313863" y="937979"/>
                    </a:cubicBezTo>
                    <a:cubicBezTo>
                      <a:pt x="313805" y="938831"/>
                      <a:pt x="313534" y="939623"/>
                      <a:pt x="313476" y="940475"/>
                    </a:cubicBezTo>
                    <a:cubicBezTo>
                      <a:pt x="313398" y="940881"/>
                      <a:pt x="313456" y="941327"/>
                      <a:pt x="313302" y="941733"/>
                    </a:cubicBezTo>
                    <a:cubicBezTo>
                      <a:pt x="313166" y="942120"/>
                      <a:pt x="313050" y="942527"/>
                      <a:pt x="312934" y="942934"/>
                    </a:cubicBezTo>
                    <a:cubicBezTo>
                      <a:pt x="312701" y="943727"/>
                      <a:pt x="312682" y="944577"/>
                      <a:pt x="312256" y="945332"/>
                    </a:cubicBezTo>
                    <a:cubicBezTo>
                      <a:pt x="311346" y="948544"/>
                      <a:pt x="309548" y="951466"/>
                      <a:pt x="307575" y="954213"/>
                    </a:cubicBezTo>
                    <a:cubicBezTo>
                      <a:pt x="305564" y="956941"/>
                      <a:pt x="303166" y="959475"/>
                      <a:pt x="300341" y="961351"/>
                    </a:cubicBezTo>
                    <a:cubicBezTo>
                      <a:pt x="297537" y="963266"/>
                      <a:pt x="294577" y="964912"/>
                      <a:pt x="291404" y="965917"/>
                    </a:cubicBezTo>
                    <a:cubicBezTo>
                      <a:pt x="288192" y="966846"/>
                      <a:pt x="284884" y="967347"/>
                      <a:pt x="281404" y="967502"/>
                    </a:cubicBezTo>
                    <a:lnTo>
                      <a:pt x="71944" y="967502"/>
                    </a:lnTo>
                    <a:lnTo>
                      <a:pt x="71635" y="967464"/>
                    </a:lnTo>
                    <a:lnTo>
                      <a:pt x="70977" y="967386"/>
                    </a:lnTo>
                    <a:cubicBezTo>
                      <a:pt x="70125" y="967289"/>
                      <a:pt x="69256" y="967347"/>
                      <a:pt x="68404" y="967289"/>
                    </a:cubicBezTo>
                    <a:cubicBezTo>
                      <a:pt x="67572" y="967096"/>
                      <a:pt x="66741" y="966960"/>
                      <a:pt x="65909" y="966883"/>
                    </a:cubicBezTo>
                    <a:cubicBezTo>
                      <a:pt x="62639" y="966186"/>
                      <a:pt x="59486" y="965103"/>
                      <a:pt x="56468" y="963593"/>
                    </a:cubicBezTo>
                    <a:cubicBezTo>
                      <a:pt x="53547" y="961892"/>
                      <a:pt x="50839" y="959781"/>
                      <a:pt x="48440" y="957363"/>
                    </a:cubicBezTo>
                    <a:cubicBezTo>
                      <a:pt x="45964" y="954984"/>
                      <a:pt x="44185" y="952004"/>
                      <a:pt x="42675" y="949024"/>
                    </a:cubicBezTo>
                    <a:cubicBezTo>
                      <a:pt x="41804" y="947592"/>
                      <a:pt x="41456" y="945929"/>
                      <a:pt x="40780" y="944401"/>
                    </a:cubicBezTo>
                    <a:cubicBezTo>
                      <a:pt x="40625" y="943569"/>
                      <a:pt x="40432" y="942777"/>
                      <a:pt x="40180" y="941983"/>
                    </a:cubicBezTo>
                    <a:cubicBezTo>
                      <a:pt x="40006" y="941596"/>
                      <a:pt x="39987" y="941170"/>
                      <a:pt x="39948" y="940744"/>
                    </a:cubicBezTo>
                    <a:cubicBezTo>
                      <a:pt x="39909" y="940318"/>
                      <a:pt x="39851" y="939911"/>
                      <a:pt x="39774" y="939486"/>
                    </a:cubicBezTo>
                    <a:cubicBezTo>
                      <a:pt x="39696" y="939079"/>
                      <a:pt x="39619" y="938653"/>
                      <a:pt x="39522" y="938246"/>
                    </a:cubicBezTo>
                    <a:cubicBezTo>
                      <a:pt x="39541" y="937801"/>
                      <a:pt x="39541" y="937375"/>
                      <a:pt x="39522" y="936949"/>
                    </a:cubicBezTo>
                    <a:cubicBezTo>
                      <a:pt x="39503" y="936504"/>
                      <a:pt x="39483" y="936078"/>
                      <a:pt x="39445" y="935652"/>
                    </a:cubicBezTo>
                    <a:lnTo>
                      <a:pt x="39367" y="935013"/>
                    </a:lnTo>
                    <a:lnTo>
                      <a:pt x="39348" y="934839"/>
                    </a:lnTo>
                    <a:lnTo>
                      <a:pt x="39348" y="72318"/>
                    </a:lnTo>
                    <a:cubicBezTo>
                      <a:pt x="39348" y="71930"/>
                      <a:pt x="39367" y="71930"/>
                      <a:pt x="39367" y="71795"/>
                    </a:cubicBezTo>
                    <a:lnTo>
                      <a:pt x="39406" y="71466"/>
                    </a:lnTo>
                    <a:cubicBezTo>
                      <a:pt x="39503" y="70614"/>
                      <a:pt x="39541" y="69764"/>
                      <a:pt x="39522" y="68893"/>
                    </a:cubicBezTo>
                    <a:cubicBezTo>
                      <a:pt x="39580" y="68041"/>
                      <a:pt x="39851" y="67230"/>
                      <a:pt x="39909" y="66378"/>
                    </a:cubicBezTo>
                    <a:cubicBezTo>
                      <a:pt x="40006" y="65971"/>
                      <a:pt x="39929" y="65526"/>
                      <a:pt x="40083" y="65139"/>
                    </a:cubicBezTo>
                    <a:cubicBezTo>
                      <a:pt x="40219" y="64732"/>
                      <a:pt x="40354" y="64345"/>
                      <a:pt x="40451" y="63938"/>
                    </a:cubicBezTo>
                    <a:cubicBezTo>
                      <a:pt x="40703" y="63145"/>
                      <a:pt x="40722" y="62275"/>
                      <a:pt x="41129" y="61540"/>
                    </a:cubicBezTo>
                    <a:cubicBezTo>
                      <a:pt x="42058" y="58308"/>
                      <a:pt x="43837" y="55387"/>
                      <a:pt x="45829" y="52659"/>
                    </a:cubicBezTo>
                    <a:cubicBezTo>
                      <a:pt x="47821" y="49931"/>
                      <a:pt x="50219" y="47377"/>
                      <a:pt x="53063" y="45501"/>
                    </a:cubicBezTo>
                    <a:cubicBezTo>
                      <a:pt x="55848" y="43587"/>
                      <a:pt x="58808" y="41941"/>
                      <a:pt x="62000" y="40936"/>
                    </a:cubicBezTo>
                    <a:cubicBezTo>
                      <a:pt x="65212" y="40007"/>
                      <a:pt x="68501" y="39503"/>
                      <a:pt x="72001" y="39350"/>
                    </a:cubicBezTo>
                    <a:lnTo>
                      <a:pt x="280647" y="39350"/>
                    </a:lnTo>
                    <a:cubicBezTo>
                      <a:pt x="280898" y="39350"/>
                      <a:pt x="281324" y="39350"/>
                      <a:pt x="281440" y="39370"/>
                    </a:cubicBezTo>
                    <a:lnTo>
                      <a:pt x="281770" y="39409"/>
                    </a:lnTo>
                    <a:lnTo>
                      <a:pt x="282408" y="39467"/>
                    </a:lnTo>
                    <a:cubicBezTo>
                      <a:pt x="283260" y="39563"/>
                      <a:pt x="284149" y="39505"/>
                      <a:pt x="285000" y="39563"/>
                    </a:cubicBezTo>
                    <a:cubicBezTo>
                      <a:pt x="285813" y="39757"/>
                      <a:pt x="286644" y="39893"/>
                      <a:pt x="287496" y="39970"/>
                    </a:cubicBezTo>
                    <a:cubicBezTo>
                      <a:pt x="290765" y="40686"/>
                      <a:pt x="293919" y="41749"/>
                      <a:pt x="296917" y="43259"/>
                    </a:cubicBezTo>
                    <a:cubicBezTo>
                      <a:pt x="299838" y="44981"/>
                      <a:pt x="302546" y="47071"/>
                      <a:pt x="304945" y="49509"/>
                    </a:cubicBezTo>
                    <a:cubicBezTo>
                      <a:pt x="307440" y="51869"/>
                      <a:pt x="309219" y="54849"/>
                      <a:pt x="310709" y="57828"/>
                    </a:cubicBezTo>
                    <a:cubicBezTo>
                      <a:pt x="311600" y="59278"/>
                      <a:pt x="311929" y="60924"/>
                      <a:pt x="312624" y="62452"/>
                    </a:cubicBezTo>
                    <a:cubicBezTo>
                      <a:pt x="312759" y="63284"/>
                      <a:pt x="312953" y="64076"/>
                      <a:pt x="313224" y="64889"/>
                    </a:cubicBezTo>
                    <a:cubicBezTo>
                      <a:pt x="313398" y="65276"/>
                      <a:pt x="313418" y="65702"/>
                      <a:pt x="313437" y="66128"/>
                    </a:cubicBezTo>
                    <a:cubicBezTo>
                      <a:pt x="313495" y="66535"/>
                      <a:pt x="313553" y="66961"/>
                      <a:pt x="313611" y="67367"/>
                    </a:cubicBezTo>
                    <a:cubicBezTo>
                      <a:pt x="313689" y="67793"/>
                      <a:pt x="313785" y="68200"/>
                      <a:pt x="313882" y="68606"/>
                    </a:cubicBezTo>
                    <a:cubicBezTo>
                      <a:pt x="313863" y="69052"/>
                      <a:pt x="313863" y="69478"/>
                      <a:pt x="313882" y="69903"/>
                    </a:cubicBezTo>
                    <a:cubicBezTo>
                      <a:pt x="313882" y="70349"/>
                      <a:pt x="313921" y="70775"/>
                      <a:pt x="313960" y="71201"/>
                    </a:cubicBezTo>
                    <a:lnTo>
                      <a:pt x="314018" y="71859"/>
                    </a:lnTo>
                    <a:lnTo>
                      <a:pt x="314056" y="72014"/>
                    </a:lnTo>
                    <a:lnTo>
                      <a:pt x="314056" y="934558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Microsoft Sans Serif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23859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FBFFD828-53D7-BEC0-E4D2-C5ACED1568FD}"/>
              </a:ext>
            </a:extLst>
          </p:cNvPr>
          <p:cNvSpPr txBox="1"/>
          <p:nvPr/>
        </p:nvSpPr>
        <p:spPr>
          <a:xfrm>
            <a:off x="3335170" y="937073"/>
            <a:ext cx="7277273" cy="36042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743407">
              <a:lnSpc>
                <a:spcPct val="90000"/>
              </a:lnSpc>
              <a:defRPr/>
            </a:pPr>
            <a:r>
              <a:rPr lang="en-US" sz="2602" b="1">
                <a:solidFill>
                  <a:prstClr val="black"/>
                </a:solidFill>
                <a:latin typeface="Calibri"/>
              </a:rPr>
              <a:t>New 5G System Capabilities and a Direction for 6G</a:t>
            </a:r>
            <a:endParaRPr lang="en-US" sz="2602" b="1">
              <a:solidFill>
                <a:srgbClr val="C800BE"/>
              </a:solidFill>
              <a:latin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66F4D4F-422F-B059-DBFB-4950D3D23D1A}"/>
              </a:ext>
            </a:extLst>
          </p:cNvPr>
          <p:cNvSpPr txBox="1"/>
          <p:nvPr/>
        </p:nvSpPr>
        <p:spPr>
          <a:xfrm>
            <a:off x="3589651" y="4184492"/>
            <a:ext cx="468077" cy="135165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 defTabSz="743407">
              <a:lnSpc>
                <a:spcPct val="90000"/>
              </a:lnSpc>
              <a:defRPr/>
            </a:pPr>
            <a:r>
              <a:rPr lang="en-US" sz="976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Topology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8F4AA06-E638-EEE0-6A32-95A5AECFE5C4}"/>
              </a:ext>
            </a:extLst>
          </p:cNvPr>
          <p:cNvGrpSpPr/>
          <p:nvPr/>
        </p:nvGrpSpPr>
        <p:grpSpPr>
          <a:xfrm>
            <a:off x="3503385" y="3791209"/>
            <a:ext cx="640626" cy="371799"/>
            <a:chOff x="3098818" y="1753298"/>
            <a:chExt cx="675393" cy="391978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FC3FCAE-5FCC-FFCA-59B6-69AE50705033}"/>
                </a:ext>
              </a:extLst>
            </p:cNvPr>
            <p:cNvGrpSpPr/>
            <p:nvPr/>
          </p:nvGrpSpPr>
          <p:grpSpPr>
            <a:xfrm>
              <a:off x="3098818" y="1949316"/>
              <a:ext cx="182896" cy="181560"/>
              <a:chOff x="2244310" y="2788260"/>
              <a:chExt cx="2002275" cy="1987582"/>
            </a:xfrm>
            <a:solidFill>
              <a:schemeClr val="accent1"/>
            </a:solidFill>
          </p:grpSpPr>
          <p:sp>
            <p:nvSpPr>
              <p:cNvPr id="59" name="Freeform 4">
                <a:extLst>
                  <a:ext uri="{FF2B5EF4-FFF2-40B4-BE49-F238E27FC236}">
                    <a16:creationId xmlns:a16="http://schemas.microsoft.com/office/drawing/2014/main" id="{4AA8CB2F-C49B-EC7C-0F38-8C70007C7D12}"/>
                  </a:ext>
                </a:extLst>
              </p:cNvPr>
              <p:cNvSpPr/>
              <p:nvPr/>
            </p:nvSpPr>
            <p:spPr>
              <a:xfrm>
                <a:off x="2853175" y="2998316"/>
                <a:ext cx="79809" cy="9772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60" name="Freeform 5">
                <a:extLst>
                  <a:ext uri="{FF2B5EF4-FFF2-40B4-BE49-F238E27FC236}">
                    <a16:creationId xmlns:a16="http://schemas.microsoft.com/office/drawing/2014/main" id="{DD489D55-B5CF-154D-85EC-9FE502A1FC3E}"/>
                  </a:ext>
                </a:extLst>
              </p:cNvPr>
              <p:cNvSpPr/>
              <p:nvPr/>
            </p:nvSpPr>
            <p:spPr>
              <a:xfrm>
                <a:off x="2853175" y="3140169"/>
                <a:ext cx="79809" cy="9772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61" name="Freeform 6">
                <a:extLst>
                  <a:ext uri="{FF2B5EF4-FFF2-40B4-BE49-F238E27FC236}">
                    <a16:creationId xmlns:a16="http://schemas.microsoft.com/office/drawing/2014/main" id="{CAC982EC-EC6C-A405-3804-8CF5290DD231}"/>
                  </a:ext>
                </a:extLst>
              </p:cNvPr>
              <p:cNvSpPr/>
              <p:nvPr/>
            </p:nvSpPr>
            <p:spPr>
              <a:xfrm>
                <a:off x="2853175" y="3282023"/>
                <a:ext cx="79809" cy="9772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62" name="Freeform 7">
                <a:extLst>
                  <a:ext uri="{FF2B5EF4-FFF2-40B4-BE49-F238E27FC236}">
                    <a16:creationId xmlns:a16="http://schemas.microsoft.com/office/drawing/2014/main" id="{5C5CE4C8-E873-73A6-8118-5D06EB52112B}"/>
                  </a:ext>
                </a:extLst>
              </p:cNvPr>
              <p:cNvSpPr/>
              <p:nvPr/>
            </p:nvSpPr>
            <p:spPr>
              <a:xfrm>
                <a:off x="2853175" y="3423895"/>
                <a:ext cx="79809" cy="9772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63" name="Freeform 8">
                <a:extLst>
                  <a:ext uri="{FF2B5EF4-FFF2-40B4-BE49-F238E27FC236}">
                    <a16:creationId xmlns:a16="http://schemas.microsoft.com/office/drawing/2014/main" id="{E7C3EEC4-7F78-68F0-34FA-03D2F10E40B8}"/>
                  </a:ext>
                </a:extLst>
              </p:cNvPr>
              <p:cNvSpPr/>
              <p:nvPr/>
            </p:nvSpPr>
            <p:spPr>
              <a:xfrm>
                <a:off x="2985117" y="3051400"/>
                <a:ext cx="79809" cy="9772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64" name="Freeform 9">
                <a:extLst>
                  <a:ext uri="{FF2B5EF4-FFF2-40B4-BE49-F238E27FC236}">
                    <a16:creationId xmlns:a16="http://schemas.microsoft.com/office/drawing/2014/main" id="{45456325-3921-8B9B-C329-C0BEE35B4CE9}"/>
                  </a:ext>
                </a:extLst>
              </p:cNvPr>
              <p:cNvSpPr/>
              <p:nvPr/>
            </p:nvSpPr>
            <p:spPr>
              <a:xfrm>
                <a:off x="2985117" y="3193273"/>
                <a:ext cx="79809" cy="9772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65" name="Freeform 10">
                <a:extLst>
                  <a:ext uri="{FF2B5EF4-FFF2-40B4-BE49-F238E27FC236}">
                    <a16:creationId xmlns:a16="http://schemas.microsoft.com/office/drawing/2014/main" id="{8EB93565-98EA-971C-F33C-CCFFEC7ADDFB}"/>
                  </a:ext>
                </a:extLst>
              </p:cNvPr>
              <p:cNvSpPr/>
              <p:nvPr/>
            </p:nvSpPr>
            <p:spPr>
              <a:xfrm>
                <a:off x="2985117" y="3335127"/>
                <a:ext cx="79809" cy="9772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66" name="Freeform 12">
                <a:extLst>
                  <a:ext uri="{FF2B5EF4-FFF2-40B4-BE49-F238E27FC236}">
                    <a16:creationId xmlns:a16="http://schemas.microsoft.com/office/drawing/2014/main" id="{66B9D854-252E-4AB7-2666-F4597C933695}"/>
                  </a:ext>
                </a:extLst>
              </p:cNvPr>
              <p:cNvSpPr/>
              <p:nvPr/>
            </p:nvSpPr>
            <p:spPr>
              <a:xfrm>
                <a:off x="2985117" y="3476980"/>
                <a:ext cx="79809" cy="9772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67" name="Freeform 14">
                <a:extLst>
                  <a:ext uri="{FF2B5EF4-FFF2-40B4-BE49-F238E27FC236}">
                    <a16:creationId xmlns:a16="http://schemas.microsoft.com/office/drawing/2014/main" id="{66238AE2-FD01-D7B8-6C90-E3BC4896694E}"/>
                  </a:ext>
                </a:extLst>
              </p:cNvPr>
              <p:cNvSpPr/>
              <p:nvPr/>
            </p:nvSpPr>
            <p:spPr>
              <a:xfrm>
                <a:off x="3117079" y="3103679"/>
                <a:ext cx="79809" cy="9772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68" name="Freeform 15">
                <a:extLst>
                  <a:ext uri="{FF2B5EF4-FFF2-40B4-BE49-F238E27FC236}">
                    <a16:creationId xmlns:a16="http://schemas.microsoft.com/office/drawing/2014/main" id="{57C71D0B-3AAF-F462-A27F-90A1F346A0E8}"/>
                  </a:ext>
                </a:extLst>
              </p:cNvPr>
              <p:cNvSpPr/>
              <p:nvPr/>
            </p:nvSpPr>
            <p:spPr>
              <a:xfrm>
                <a:off x="3117079" y="3245533"/>
                <a:ext cx="79809" cy="9772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69" name="Freeform 16">
                <a:extLst>
                  <a:ext uri="{FF2B5EF4-FFF2-40B4-BE49-F238E27FC236}">
                    <a16:creationId xmlns:a16="http://schemas.microsoft.com/office/drawing/2014/main" id="{F10BC915-68F5-FAE5-6B4E-E14C37A745C0}"/>
                  </a:ext>
                </a:extLst>
              </p:cNvPr>
              <p:cNvSpPr/>
              <p:nvPr/>
            </p:nvSpPr>
            <p:spPr>
              <a:xfrm>
                <a:off x="3117079" y="3387386"/>
                <a:ext cx="79809" cy="9772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70" name="Freeform 17">
                <a:extLst>
                  <a:ext uri="{FF2B5EF4-FFF2-40B4-BE49-F238E27FC236}">
                    <a16:creationId xmlns:a16="http://schemas.microsoft.com/office/drawing/2014/main" id="{EAFED3F2-B294-1C89-F3A9-5889CBC0F1DC}"/>
                  </a:ext>
                </a:extLst>
              </p:cNvPr>
              <p:cNvSpPr/>
              <p:nvPr/>
            </p:nvSpPr>
            <p:spPr>
              <a:xfrm>
                <a:off x="3117079" y="3529259"/>
                <a:ext cx="79809" cy="9772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71" name="Freeform 18">
                <a:extLst>
                  <a:ext uri="{FF2B5EF4-FFF2-40B4-BE49-F238E27FC236}">
                    <a16:creationId xmlns:a16="http://schemas.microsoft.com/office/drawing/2014/main" id="{3FFAAAEC-935E-AA65-C509-665FE94FEDC6}"/>
                  </a:ext>
                </a:extLst>
              </p:cNvPr>
              <p:cNvSpPr/>
              <p:nvPr/>
            </p:nvSpPr>
            <p:spPr>
              <a:xfrm>
                <a:off x="3587102" y="2998316"/>
                <a:ext cx="79809" cy="9772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72" name="Freeform 19">
                <a:extLst>
                  <a:ext uri="{FF2B5EF4-FFF2-40B4-BE49-F238E27FC236}">
                    <a16:creationId xmlns:a16="http://schemas.microsoft.com/office/drawing/2014/main" id="{B11C1AE5-C53F-E03E-37A5-0B0E33CB850D}"/>
                  </a:ext>
                </a:extLst>
              </p:cNvPr>
              <p:cNvSpPr/>
              <p:nvPr/>
            </p:nvSpPr>
            <p:spPr>
              <a:xfrm>
                <a:off x="3587102" y="3140169"/>
                <a:ext cx="79809" cy="9772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73" name="Freeform 20">
                <a:extLst>
                  <a:ext uri="{FF2B5EF4-FFF2-40B4-BE49-F238E27FC236}">
                    <a16:creationId xmlns:a16="http://schemas.microsoft.com/office/drawing/2014/main" id="{F21C9415-7938-B6EF-7EFC-094ACE908A86}"/>
                  </a:ext>
                </a:extLst>
              </p:cNvPr>
              <p:cNvSpPr/>
              <p:nvPr/>
            </p:nvSpPr>
            <p:spPr>
              <a:xfrm>
                <a:off x="3587102" y="3282023"/>
                <a:ext cx="79809" cy="9772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74" name="Freeform 21">
                <a:extLst>
                  <a:ext uri="{FF2B5EF4-FFF2-40B4-BE49-F238E27FC236}">
                    <a16:creationId xmlns:a16="http://schemas.microsoft.com/office/drawing/2014/main" id="{B4545CF1-3CD7-7A52-DA4E-7FF19716203B}"/>
                  </a:ext>
                </a:extLst>
              </p:cNvPr>
              <p:cNvSpPr/>
              <p:nvPr/>
            </p:nvSpPr>
            <p:spPr>
              <a:xfrm>
                <a:off x="3587102" y="3423895"/>
                <a:ext cx="79809" cy="9772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75" name="Freeform 22">
                <a:extLst>
                  <a:ext uri="{FF2B5EF4-FFF2-40B4-BE49-F238E27FC236}">
                    <a16:creationId xmlns:a16="http://schemas.microsoft.com/office/drawing/2014/main" id="{CE5EAE4E-6D5C-325C-6B98-8B77270E76B6}"/>
                  </a:ext>
                </a:extLst>
              </p:cNvPr>
              <p:cNvSpPr/>
              <p:nvPr/>
            </p:nvSpPr>
            <p:spPr>
              <a:xfrm>
                <a:off x="3455140" y="3051400"/>
                <a:ext cx="79809" cy="9772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76" name="Freeform 23">
                <a:extLst>
                  <a:ext uri="{FF2B5EF4-FFF2-40B4-BE49-F238E27FC236}">
                    <a16:creationId xmlns:a16="http://schemas.microsoft.com/office/drawing/2014/main" id="{0666F5CF-BE7E-259C-7CA9-D27AB6E5F074}"/>
                  </a:ext>
                </a:extLst>
              </p:cNvPr>
              <p:cNvSpPr/>
              <p:nvPr/>
            </p:nvSpPr>
            <p:spPr>
              <a:xfrm>
                <a:off x="3455140" y="3193273"/>
                <a:ext cx="79809" cy="9772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77" name="Freeform 24">
                <a:extLst>
                  <a:ext uri="{FF2B5EF4-FFF2-40B4-BE49-F238E27FC236}">
                    <a16:creationId xmlns:a16="http://schemas.microsoft.com/office/drawing/2014/main" id="{0427AF1F-5593-AE8E-4B41-1EA67B26C1E9}"/>
                  </a:ext>
                </a:extLst>
              </p:cNvPr>
              <p:cNvSpPr/>
              <p:nvPr/>
            </p:nvSpPr>
            <p:spPr>
              <a:xfrm>
                <a:off x="3455140" y="3335127"/>
                <a:ext cx="79809" cy="9772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78" name="Freeform 25">
                <a:extLst>
                  <a:ext uri="{FF2B5EF4-FFF2-40B4-BE49-F238E27FC236}">
                    <a16:creationId xmlns:a16="http://schemas.microsoft.com/office/drawing/2014/main" id="{8D752E72-F0E2-3446-CFB3-0A6168E8C48E}"/>
                  </a:ext>
                </a:extLst>
              </p:cNvPr>
              <p:cNvSpPr/>
              <p:nvPr/>
            </p:nvSpPr>
            <p:spPr>
              <a:xfrm>
                <a:off x="3455140" y="3476980"/>
                <a:ext cx="79809" cy="9772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79" name="Freeform 26">
                <a:extLst>
                  <a:ext uri="{FF2B5EF4-FFF2-40B4-BE49-F238E27FC236}">
                    <a16:creationId xmlns:a16="http://schemas.microsoft.com/office/drawing/2014/main" id="{4DC227A2-F3F5-6197-C643-F7506268B71B}"/>
                  </a:ext>
                </a:extLst>
              </p:cNvPr>
              <p:cNvSpPr/>
              <p:nvPr/>
            </p:nvSpPr>
            <p:spPr>
              <a:xfrm>
                <a:off x="3323178" y="3103679"/>
                <a:ext cx="79809" cy="9772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80" name="Freeform 27">
                <a:extLst>
                  <a:ext uri="{FF2B5EF4-FFF2-40B4-BE49-F238E27FC236}">
                    <a16:creationId xmlns:a16="http://schemas.microsoft.com/office/drawing/2014/main" id="{ECE1623C-B2C8-476D-573D-1CEB6D269A92}"/>
                  </a:ext>
                </a:extLst>
              </p:cNvPr>
              <p:cNvSpPr/>
              <p:nvPr/>
            </p:nvSpPr>
            <p:spPr>
              <a:xfrm>
                <a:off x="3323178" y="3245533"/>
                <a:ext cx="79809" cy="9772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81" name="Freeform 28">
                <a:extLst>
                  <a:ext uri="{FF2B5EF4-FFF2-40B4-BE49-F238E27FC236}">
                    <a16:creationId xmlns:a16="http://schemas.microsoft.com/office/drawing/2014/main" id="{47B9DFCE-833E-C0B4-CBBC-80566B426314}"/>
                  </a:ext>
                </a:extLst>
              </p:cNvPr>
              <p:cNvSpPr/>
              <p:nvPr/>
            </p:nvSpPr>
            <p:spPr>
              <a:xfrm>
                <a:off x="3323178" y="3387386"/>
                <a:ext cx="79809" cy="9772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82" name="Freeform 29">
                <a:extLst>
                  <a:ext uri="{FF2B5EF4-FFF2-40B4-BE49-F238E27FC236}">
                    <a16:creationId xmlns:a16="http://schemas.microsoft.com/office/drawing/2014/main" id="{8DEDFCF3-08DF-5463-0519-D7D68FB7B800}"/>
                  </a:ext>
                </a:extLst>
              </p:cNvPr>
              <p:cNvSpPr/>
              <p:nvPr/>
            </p:nvSpPr>
            <p:spPr>
              <a:xfrm>
                <a:off x="3323178" y="3529259"/>
                <a:ext cx="79809" cy="9772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83" name="Freeform 30">
                <a:extLst>
                  <a:ext uri="{FF2B5EF4-FFF2-40B4-BE49-F238E27FC236}">
                    <a16:creationId xmlns:a16="http://schemas.microsoft.com/office/drawing/2014/main" id="{69BB2B0F-9AB3-D495-4D05-650D3F349973}"/>
                  </a:ext>
                </a:extLst>
              </p:cNvPr>
              <p:cNvSpPr/>
              <p:nvPr/>
            </p:nvSpPr>
            <p:spPr>
              <a:xfrm>
                <a:off x="4053463" y="2893493"/>
                <a:ext cx="193122" cy="702779"/>
              </a:xfrm>
              <a:custGeom>
                <a:avLst/>
                <a:gdLst>
                  <a:gd name="connsiteX0" fmla="*/ 34672 w 193122"/>
                  <a:gd name="connsiteY0" fmla="*/ 4984 h 702779"/>
                  <a:gd name="connsiteX1" fmla="*/ 5712 w 193122"/>
                  <a:gd name="connsiteY1" fmla="*/ 7114 h 702779"/>
                  <a:gd name="connsiteX2" fmla="*/ 767 w 193122"/>
                  <a:gd name="connsiteY2" fmla="*/ 22059 h 702779"/>
                  <a:gd name="connsiteX3" fmla="*/ 7839 w 193122"/>
                  <a:gd name="connsiteY3" fmla="*/ 36121 h 702779"/>
                  <a:gd name="connsiteX4" fmla="*/ 152010 w 193122"/>
                  <a:gd name="connsiteY4" fmla="*/ 351081 h 702779"/>
                  <a:gd name="connsiteX5" fmla="*/ 7149 w 193122"/>
                  <a:gd name="connsiteY5" fmla="*/ 666635 h 702779"/>
                  <a:gd name="connsiteX6" fmla="*/ 7149 w 193122"/>
                  <a:gd name="connsiteY6" fmla="*/ 666635 h 702779"/>
                  <a:gd name="connsiteX7" fmla="*/ 0 w 193122"/>
                  <a:gd name="connsiteY7" fmla="*/ 682232 h 702779"/>
                  <a:gd name="connsiteX8" fmla="*/ 4964 w 193122"/>
                  <a:gd name="connsiteY8" fmla="*/ 695623 h 702779"/>
                  <a:gd name="connsiteX9" fmla="*/ 20566 w 193122"/>
                  <a:gd name="connsiteY9" fmla="*/ 702779 h 702779"/>
                  <a:gd name="connsiteX10" fmla="*/ 33944 w 193122"/>
                  <a:gd name="connsiteY10" fmla="*/ 697829 h 702779"/>
                  <a:gd name="connsiteX11" fmla="*/ 193123 w 193122"/>
                  <a:gd name="connsiteY11" fmla="*/ 351081 h 702779"/>
                  <a:gd name="connsiteX12" fmla="*/ 34711 w 193122"/>
                  <a:gd name="connsiteY12" fmla="*/ 5003 h 702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93122" h="702779">
                    <a:moveTo>
                      <a:pt x="34672" y="4984"/>
                    </a:moveTo>
                    <a:cubicBezTo>
                      <a:pt x="26105" y="-2421"/>
                      <a:pt x="13110" y="-1462"/>
                      <a:pt x="5712" y="7114"/>
                    </a:cubicBezTo>
                    <a:cubicBezTo>
                      <a:pt x="2128" y="11277"/>
                      <a:pt x="364" y="16572"/>
                      <a:pt x="767" y="22059"/>
                    </a:cubicBezTo>
                    <a:cubicBezTo>
                      <a:pt x="1169" y="27546"/>
                      <a:pt x="3680" y="32534"/>
                      <a:pt x="7839" y="36121"/>
                    </a:cubicBezTo>
                    <a:cubicBezTo>
                      <a:pt x="99455" y="115259"/>
                      <a:pt x="152010" y="230062"/>
                      <a:pt x="152010" y="351081"/>
                    </a:cubicBezTo>
                    <a:cubicBezTo>
                      <a:pt x="152010" y="472099"/>
                      <a:pt x="99206" y="587458"/>
                      <a:pt x="7149" y="666635"/>
                    </a:cubicBezTo>
                    <a:lnTo>
                      <a:pt x="7149" y="666635"/>
                    </a:lnTo>
                    <a:cubicBezTo>
                      <a:pt x="2607" y="670548"/>
                      <a:pt x="0" y="676227"/>
                      <a:pt x="0" y="682232"/>
                    </a:cubicBezTo>
                    <a:cubicBezTo>
                      <a:pt x="0" y="687143"/>
                      <a:pt x="1763" y="691901"/>
                      <a:pt x="4964" y="695623"/>
                    </a:cubicBezTo>
                    <a:cubicBezTo>
                      <a:pt x="9028" y="700343"/>
                      <a:pt x="14777" y="702779"/>
                      <a:pt x="20566" y="702779"/>
                    </a:cubicBezTo>
                    <a:cubicBezTo>
                      <a:pt x="25300" y="702779"/>
                      <a:pt x="30072" y="701148"/>
                      <a:pt x="33944" y="697829"/>
                    </a:cubicBezTo>
                    <a:cubicBezTo>
                      <a:pt x="135105" y="610845"/>
                      <a:pt x="193123" y="484454"/>
                      <a:pt x="193123" y="351081"/>
                    </a:cubicBezTo>
                    <a:cubicBezTo>
                      <a:pt x="193123" y="217707"/>
                      <a:pt x="135393" y="91969"/>
                      <a:pt x="34711" y="5003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84" name="Freeform 31">
                <a:extLst>
                  <a:ext uri="{FF2B5EF4-FFF2-40B4-BE49-F238E27FC236}">
                    <a16:creationId xmlns:a16="http://schemas.microsoft.com/office/drawing/2014/main" id="{91362E3F-47DE-29BA-8413-B6E2C33BEB05}"/>
                  </a:ext>
                </a:extLst>
              </p:cNvPr>
              <p:cNvSpPr/>
              <p:nvPr/>
            </p:nvSpPr>
            <p:spPr>
              <a:xfrm>
                <a:off x="3976030" y="2983701"/>
                <a:ext cx="151665" cy="522306"/>
              </a:xfrm>
              <a:custGeom>
                <a:avLst/>
                <a:gdLst>
                  <a:gd name="connsiteX0" fmla="*/ 34461 w 151665"/>
                  <a:gd name="connsiteY0" fmla="*/ 4984 h 522306"/>
                  <a:gd name="connsiteX1" fmla="*/ 5501 w 151665"/>
                  <a:gd name="connsiteY1" fmla="*/ 7114 h 522306"/>
                  <a:gd name="connsiteX2" fmla="*/ 575 w 151665"/>
                  <a:gd name="connsiteY2" fmla="*/ 22059 h 522306"/>
                  <a:gd name="connsiteX3" fmla="*/ 7647 w 151665"/>
                  <a:gd name="connsiteY3" fmla="*/ 36121 h 522306"/>
                  <a:gd name="connsiteX4" fmla="*/ 110572 w 151665"/>
                  <a:gd name="connsiteY4" fmla="*/ 260930 h 522306"/>
                  <a:gd name="connsiteX5" fmla="*/ 7149 w 151665"/>
                  <a:gd name="connsiteY5" fmla="*/ 486162 h 522306"/>
                  <a:gd name="connsiteX6" fmla="*/ 0 w 151665"/>
                  <a:gd name="connsiteY6" fmla="*/ 501759 h 522306"/>
                  <a:gd name="connsiteX7" fmla="*/ 4964 w 151665"/>
                  <a:gd name="connsiteY7" fmla="*/ 515150 h 522306"/>
                  <a:gd name="connsiteX8" fmla="*/ 18994 w 151665"/>
                  <a:gd name="connsiteY8" fmla="*/ 522249 h 522306"/>
                  <a:gd name="connsiteX9" fmla="*/ 20585 w 151665"/>
                  <a:gd name="connsiteY9" fmla="*/ 522306 h 522306"/>
                  <a:gd name="connsiteX10" fmla="*/ 33925 w 151665"/>
                  <a:gd name="connsiteY10" fmla="*/ 517337 h 522306"/>
                  <a:gd name="connsiteX11" fmla="*/ 151665 w 151665"/>
                  <a:gd name="connsiteY11" fmla="*/ 260911 h 522306"/>
                  <a:gd name="connsiteX12" fmla="*/ 34500 w 151665"/>
                  <a:gd name="connsiteY12" fmla="*/ 4965 h 522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1665" h="522306">
                    <a:moveTo>
                      <a:pt x="34461" y="4984"/>
                    </a:moveTo>
                    <a:cubicBezTo>
                      <a:pt x="25894" y="-2421"/>
                      <a:pt x="12899" y="-1462"/>
                      <a:pt x="5501" y="7114"/>
                    </a:cubicBezTo>
                    <a:cubicBezTo>
                      <a:pt x="1917" y="11277"/>
                      <a:pt x="172" y="16572"/>
                      <a:pt x="575" y="22059"/>
                    </a:cubicBezTo>
                    <a:cubicBezTo>
                      <a:pt x="978" y="27526"/>
                      <a:pt x="3488" y="32534"/>
                      <a:pt x="7647" y="36121"/>
                    </a:cubicBezTo>
                    <a:cubicBezTo>
                      <a:pt x="73063" y="92602"/>
                      <a:pt x="110572" y="174541"/>
                      <a:pt x="110572" y="260930"/>
                    </a:cubicBezTo>
                    <a:cubicBezTo>
                      <a:pt x="110572" y="347320"/>
                      <a:pt x="72871" y="429681"/>
                      <a:pt x="7149" y="486162"/>
                    </a:cubicBezTo>
                    <a:cubicBezTo>
                      <a:pt x="2607" y="490076"/>
                      <a:pt x="0" y="495754"/>
                      <a:pt x="0" y="501759"/>
                    </a:cubicBezTo>
                    <a:cubicBezTo>
                      <a:pt x="0" y="506671"/>
                      <a:pt x="1763" y="511428"/>
                      <a:pt x="4964" y="515150"/>
                    </a:cubicBezTo>
                    <a:cubicBezTo>
                      <a:pt x="8529" y="519313"/>
                      <a:pt x="13512" y="521846"/>
                      <a:pt x="18994" y="522249"/>
                    </a:cubicBezTo>
                    <a:cubicBezTo>
                      <a:pt x="19531" y="522287"/>
                      <a:pt x="20048" y="522306"/>
                      <a:pt x="20585" y="522306"/>
                    </a:cubicBezTo>
                    <a:cubicBezTo>
                      <a:pt x="25492" y="522306"/>
                      <a:pt x="30168" y="520580"/>
                      <a:pt x="33925" y="517337"/>
                    </a:cubicBezTo>
                    <a:cubicBezTo>
                      <a:pt x="108751" y="453029"/>
                      <a:pt x="151665" y="359560"/>
                      <a:pt x="151665" y="260911"/>
                    </a:cubicBezTo>
                    <a:cubicBezTo>
                      <a:pt x="151665" y="162262"/>
                      <a:pt x="108962" y="69254"/>
                      <a:pt x="34500" y="4965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85" name="Freeform 32">
                <a:extLst>
                  <a:ext uri="{FF2B5EF4-FFF2-40B4-BE49-F238E27FC236}">
                    <a16:creationId xmlns:a16="http://schemas.microsoft.com/office/drawing/2014/main" id="{49419D5F-C5A0-F22D-93B1-AB3886838D22}"/>
                  </a:ext>
                </a:extLst>
              </p:cNvPr>
              <p:cNvSpPr/>
              <p:nvPr/>
            </p:nvSpPr>
            <p:spPr>
              <a:xfrm>
                <a:off x="3900169" y="3072098"/>
                <a:ext cx="105952" cy="345505"/>
              </a:xfrm>
              <a:custGeom>
                <a:avLst/>
                <a:gdLst>
                  <a:gd name="connsiteX0" fmla="*/ 35075 w 105952"/>
                  <a:gd name="connsiteY0" fmla="*/ 5759 h 345505"/>
                  <a:gd name="connsiteX1" fmla="*/ 20451 w 105952"/>
                  <a:gd name="connsiteY1" fmla="*/ 3 h 345505"/>
                  <a:gd name="connsiteX2" fmla="*/ 6038 w 105952"/>
                  <a:gd name="connsiteY2" fmla="*/ 6296 h 345505"/>
                  <a:gd name="connsiteX3" fmla="*/ 6574 w 105952"/>
                  <a:gd name="connsiteY3" fmla="*/ 35361 h 345505"/>
                  <a:gd name="connsiteX4" fmla="*/ 64860 w 105952"/>
                  <a:gd name="connsiteY4" fmla="*/ 172610 h 345505"/>
                  <a:gd name="connsiteX5" fmla="*/ 6306 w 105952"/>
                  <a:gd name="connsiteY5" fmla="*/ 310128 h 345505"/>
                  <a:gd name="connsiteX6" fmla="*/ 0 w 105952"/>
                  <a:gd name="connsiteY6" fmla="*/ 324958 h 345505"/>
                  <a:gd name="connsiteX7" fmla="*/ 5731 w 105952"/>
                  <a:gd name="connsiteY7" fmla="*/ 339193 h 345505"/>
                  <a:gd name="connsiteX8" fmla="*/ 20547 w 105952"/>
                  <a:gd name="connsiteY8" fmla="*/ 345505 h 345505"/>
                  <a:gd name="connsiteX9" fmla="*/ 34768 w 105952"/>
                  <a:gd name="connsiteY9" fmla="*/ 339788 h 345505"/>
                  <a:gd name="connsiteX10" fmla="*/ 105953 w 105952"/>
                  <a:gd name="connsiteY10" fmla="*/ 172610 h 345505"/>
                  <a:gd name="connsiteX11" fmla="*/ 35094 w 105952"/>
                  <a:gd name="connsiteY11" fmla="*/ 5759 h 345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5952" h="345505">
                    <a:moveTo>
                      <a:pt x="35075" y="5759"/>
                    </a:moveTo>
                    <a:cubicBezTo>
                      <a:pt x="31127" y="1941"/>
                      <a:pt x="25894" y="-93"/>
                      <a:pt x="20451" y="3"/>
                    </a:cubicBezTo>
                    <a:cubicBezTo>
                      <a:pt x="14969" y="99"/>
                      <a:pt x="9852" y="2344"/>
                      <a:pt x="6038" y="6296"/>
                    </a:cubicBezTo>
                    <a:cubicBezTo>
                      <a:pt x="-1821" y="14450"/>
                      <a:pt x="-1572" y="27495"/>
                      <a:pt x="6574" y="35361"/>
                    </a:cubicBezTo>
                    <a:cubicBezTo>
                      <a:pt x="44160" y="71621"/>
                      <a:pt x="64860" y="120370"/>
                      <a:pt x="64860" y="172610"/>
                    </a:cubicBezTo>
                    <a:cubicBezTo>
                      <a:pt x="64860" y="224851"/>
                      <a:pt x="44064" y="273849"/>
                      <a:pt x="6306" y="310128"/>
                    </a:cubicBezTo>
                    <a:cubicBezTo>
                      <a:pt x="2300" y="313984"/>
                      <a:pt x="0" y="319394"/>
                      <a:pt x="0" y="324958"/>
                    </a:cubicBezTo>
                    <a:cubicBezTo>
                      <a:pt x="0" y="330522"/>
                      <a:pt x="2032" y="335337"/>
                      <a:pt x="5731" y="339193"/>
                    </a:cubicBezTo>
                    <a:cubicBezTo>
                      <a:pt x="9756" y="343395"/>
                      <a:pt x="15161" y="345505"/>
                      <a:pt x="20547" y="345505"/>
                    </a:cubicBezTo>
                    <a:cubicBezTo>
                      <a:pt x="25664" y="345505"/>
                      <a:pt x="30782" y="343606"/>
                      <a:pt x="34768" y="339788"/>
                    </a:cubicBezTo>
                    <a:cubicBezTo>
                      <a:pt x="80672" y="295682"/>
                      <a:pt x="105953" y="236304"/>
                      <a:pt x="105953" y="172610"/>
                    </a:cubicBezTo>
                    <a:cubicBezTo>
                      <a:pt x="105953" y="108916"/>
                      <a:pt x="80787" y="49846"/>
                      <a:pt x="35094" y="5759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86" name="Freeform 33">
                <a:extLst>
                  <a:ext uri="{FF2B5EF4-FFF2-40B4-BE49-F238E27FC236}">
                    <a16:creationId xmlns:a16="http://schemas.microsoft.com/office/drawing/2014/main" id="{30CD6682-562A-29B6-DFB7-B72DF6259783}"/>
                  </a:ext>
                </a:extLst>
              </p:cNvPr>
              <p:cNvSpPr/>
              <p:nvPr/>
            </p:nvSpPr>
            <p:spPr>
              <a:xfrm>
                <a:off x="2244310" y="2893489"/>
                <a:ext cx="193084" cy="702744"/>
              </a:xfrm>
              <a:custGeom>
                <a:avLst/>
                <a:gdLst>
                  <a:gd name="connsiteX0" fmla="*/ 185245 w 193084"/>
                  <a:gd name="connsiteY0" fmla="*/ 666639 h 702744"/>
                  <a:gd name="connsiteX1" fmla="*/ 41074 w 193084"/>
                  <a:gd name="connsiteY1" fmla="*/ 351680 h 702744"/>
                  <a:gd name="connsiteX2" fmla="*/ 185935 w 193084"/>
                  <a:gd name="connsiteY2" fmla="*/ 36145 h 702744"/>
                  <a:gd name="connsiteX3" fmla="*/ 185935 w 193084"/>
                  <a:gd name="connsiteY3" fmla="*/ 36145 h 702744"/>
                  <a:gd name="connsiteX4" fmla="*/ 193084 w 193084"/>
                  <a:gd name="connsiteY4" fmla="*/ 20547 h 702744"/>
                  <a:gd name="connsiteX5" fmla="*/ 188120 w 193084"/>
                  <a:gd name="connsiteY5" fmla="*/ 7156 h 702744"/>
                  <a:gd name="connsiteX6" fmla="*/ 159159 w 193084"/>
                  <a:gd name="connsiteY6" fmla="*/ 4950 h 702744"/>
                  <a:gd name="connsiteX7" fmla="*/ 0 w 193084"/>
                  <a:gd name="connsiteY7" fmla="*/ 351680 h 702744"/>
                  <a:gd name="connsiteX8" fmla="*/ 158412 w 193084"/>
                  <a:gd name="connsiteY8" fmla="*/ 697757 h 702744"/>
                  <a:gd name="connsiteX9" fmla="*/ 171809 w 193084"/>
                  <a:gd name="connsiteY9" fmla="*/ 702745 h 702744"/>
                  <a:gd name="connsiteX10" fmla="*/ 187373 w 193084"/>
                  <a:gd name="connsiteY10" fmla="*/ 695627 h 702744"/>
                  <a:gd name="connsiteX11" fmla="*/ 192318 w 193084"/>
                  <a:gd name="connsiteY11" fmla="*/ 680682 h 702744"/>
                  <a:gd name="connsiteX12" fmla="*/ 185245 w 193084"/>
                  <a:gd name="connsiteY12" fmla="*/ 666620 h 702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93084" h="702744">
                    <a:moveTo>
                      <a:pt x="185245" y="666639"/>
                    </a:moveTo>
                    <a:cubicBezTo>
                      <a:pt x="93629" y="587482"/>
                      <a:pt x="41074" y="472698"/>
                      <a:pt x="41074" y="351680"/>
                    </a:cubicBezTo>
                    <a:cubicBezTo>
                      <a:pt x="41074" y="230661"/>
                      <a:pt x="93878" y="115302"/>
                      <a:pt x="185935" y="36145"/>
                    </a:cubicBezTo>
                    <a:lnTo>
                      <a:pt x="185935" y="36145"/>
                    </a:lnTo>
                    <a:cubicBezTo>
                      <a:pt x="190478" y="32231"/>
                      <a:pt x="193084" y="26552"/>
                      <a:pt x="193084" y="20547"/>
                    </a:cubicBezTo>
                    <a:cubicBezTo>
                      <a:pt x="193084" y="15636"/>
                      <a:pt x="191321" y="10878"/>
                      <a:pt x="188120" y="7156"/>
                    </a:cubicBezTo>
                    <a:cubicBezTo>
                      <a:pt x="180741" y="-1439"/>
                      <a:pt x="167746" y="-2436"/>
                      <a:pt x="159159" y="4950"/>
                    </a:cubicBezTo>
                    <a:cubicBezTo>
                      <a:pt x="58017" y="91934"/>
                      <a:pt x="0" y="218325"/>
                      <a:pt x="0" y="351680"/>
                    </a:cubicBezTo>
                    <a:cubicBezTo>
                      <a:pt x="0" y="485034"/>
                      <a:pt x="57730" y="610792"/>
                      <a:pt x="158412" y="697757"/>
                    </a:cubicBezTo>
                    <a:cubicBezTo>
                      <a:pt x="162284" y="701095"/>
                      <a:pt x="167056" y="702745"/>
                      <a:pt x="171809" y="702745"/>
                    </a:cubicBezTo>
                    <a:cubicBezTo>
                      <a:pt x="177578" y="702745"/>
                      <a:pt x="183309" y="700328"/>
                      <a:pt x="187373" y="695627"/>
                    </a:cubicBezTo>
                    <a:cubicBezTo>
                      <a:pt x="190957" y="691464"/>
                      <a:pt x="192720" y="686169"/>
                      <a:pt x="192318" y="680682"/>
                    </a:cubicBezTo>
                    <a:cubicBezTo>
                      <a:pt x="191915" y="675215"/>
                      <a:pt x="189404" y="670207"/>
                      <a:pt x="185245" y="66662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87" name="Freeform 34">
                <a:extLst>
                  <a:ext uri="{FF2B5EF4-FFF2-40B4-BE49-F238E27FC236}">
                    <a16:creationId xmlns:a16="http://schemas.microsoft.com/office/drawing/2014/main" id="{6CD452F6-96D9-F4C8-5330-A0FDED1663E3}"/>
                  </a:ext>
                </a:extLst>
              </p:cNvPr>
              <p:cNvSpPr/>
              <p:nvPr/>
            </p:nvSpPr>
            <p:spPr>
              <a:xfrm>
                <a:off x="2363200" y="2983716"/>
                <a:ext cx="151646" cy="522329"/>
              </a:xfrm>
              <a:custGeom>
                <a:avLst/>
                <a:gdLst>
                  <a:gd name="connsiteX0" fmla="*/ 143999 w 151646"/>
                  <a:gd name="connsiteY0" fmla="*/ 486185 h 522329"/>
                  <a:gd name="connsiteX1" fmla="*/ 41074 w 151646"/>
                  <a:gd name="connsiteY1" fmla="*/ 261376 h 522329"/>
                  <a:gd name="connsiteX2" fmla="*/ 144497 w 151646"/>
                  <a:gd name="connsiteY2" fmla="*/ 36144 h 522329"/>
                  <a:gd name="connsiteX3" fmla="*/ 151646 w 151646"/>
                  <a:gd name="connsiteY3" fmla="*/ 20547 h 522329"/>
                  <a:gd name="connsiteX4" fmla="*/ 146682 w 151646"/>
                  <a:gd name="connsiteY4" fmla="*/ 7156 h 522329"/>
                  <a:gd name="connsiteX5" fmla="*/ 132652 w 151646"/>
                  <a:gd name="connsiteY5" fmla="*/ 57 h 522329"/>
                  <a:gd name="connsiteX6" fmla="*/ 117721 w 151646"/>
                  <a:gd name="connsiteY6" fmla="*/ 4969 h 522329"/>
                  <a:gd name="connsiteX7" fmla="*/ 0 w 151646"/>
                  <a:gd name="connsiteY7" fmla="*/ 261395 h 522329"/>
                  <a:gd name="connsiteX8" fmla="*/ 117165 w 151646"/>
                  <a:gd name="connsiteY8" fmla="*/ 517341 h 522329"/>
                  <a:gd name="connsiteX9" fmla="*/ 130563 w 151646"/>
                  <a:gd name="connsiteY9" fmla="*/ 522329 h 522329"/>
                  <a:gd name="connsiteX10" fmla="*/ 146126 w 151646"/>
                  <a:gd name="connsiteY10" fmla="*/ 515212 h 522329"/>
                  <a:gd name="connsiteX11" fmla="*/ 143999 w 151646"/>
                  <a:gd name="connsiteY11" fmla="*/ 486223 h 522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1646" h="522329">
                    <a:moveTo>
                      <a:pt x="143999" y="486185"/>
                    </a:moveTo>
                    <a:cubicBezTo>
                      <a:pt x="78583" y="429704"/>
                      <a:pt x="41074" y="347765"/>
                      <a:pt x="41074" y="261376"/>
                    </a:cubicBezTo>
                    <a:cubicBezTo>
                      <a:pt x="41074" y="174986"/>
                      <a:pt x="78775" y="92625"/>
                      <a:pt x="144497" y="36144"/>
                    </a:cubicBezTo>
                    <a:cubicBezTo>
                      <a:pt x="149039" y="32231"/>
                      <a:pt x="151646" y="26552"/>
                      <a:pt x="151646" y="20547"/>
                    </a:cubicBezTo>
                    <a:cubicBezTo>
                      <a:pt x="151646" y="15636"/>
                      <a:pt x="149883" y="10878"/>
                      <a:pt x="146682" y="7156"/>
                    </a:cubicBezTo>
                    <a:cubicBezTo>
                      <a:pt x="143117" y="2993"/>
                      <a:pt x="138134" y="460"/>
                      <a:pt x="132652" y="57"/>
                    </a:cubicBezTo>
                    <a:cubicBezTo>
                      <a:pt x="127170" y="-345"/>
                      <a:pt x="121880" y="1381"/>
                      <a:pt x="117721" y="4969"/>
                    </a:cubicBezTo>
                    <a:cubicBezTo>
                      <a:pt x="42895" y="69277"/>
                      <a:pt x="0" y="162746"/>
                      <a:pt x="0" y="261395"/>
                    </a:cubicBezTo>
                    <a:cubicBezTo>
                      <a:pt x="0" y="360044"/>
                      <a:pt x="42703" y="453052"/>
                      <a:pt x="117165" y="517341"/>
                    </a:cubicBezTo>
                    <a:cubicBezTo>
                      <a:pt x="121037" y="520679"/>
                      <a:pt x="125810" y="522329"/>
                      <a:pt x="130563" y="522329"/>
                    </a:cubicBezTo>
                    <a:cubicBezTo>
                      <a:pt x="136332" y="522329"/>
                      <a:pt x="142063" y="519912"/>
                      <a:pt x="146126" y="515212"/>
                    </a:cubicBezTo>
                    <a:cubicBezTo>
                      <a:pt x="153524" y="506636"/>
                      <a:pt x="152566" y="493629"/>
                      <a:pt x="143999" y="486223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88" name="Freeform 35">
                <a:extLst>
                  <a:ext uri="{FF2B5EF4-FFF2-40B4-BE49-F238E27FC236}">
                    <a16:creationId xmlns:a16="http://schemas.microsoft.com/office/drawing/2014/main" id="{5191185F-F030-3879-8B92-4DE58B451F27}"/>
                  </a:ext>
                </a:extLst>
              </p:cNvPr>
              <p:cNvSpPr/>
              <p:nvPr/>
            </p:nvSpPr>
            <p:spPr>
              <a:xfrm>
                <a:off x="2484754" y="3072123"/>
                <a:ext cx="105952" cy="345479"/>
              </a:xfrm>
              <a:custGeom>
                <a:avLst/>
                <a:gdLst>
                  <a:gd name="connsiteX0" fmla="*/ 99628 w 105952"/>
                  <a:gd name="connsiteY0" fmla="*/ 35374 h 345479"/>
                  <a:gd name="connsiteX1" fmla="*/ 105953 w 105952"/>
                  <a:gd name="connsiteY1" fmla="*/ 20544 h 345479"/>
                  <a:gd name="connsiteX2" fmla="*/ 100222 w 105952"/>
                  <a:gd name="connsiteY2" fmla="*/ 6309 h 345479"/>
                  <a:gd name="connsiteX3" fmla="*/ 71185 w 105952"/>
                  <a:gd name="connsiteY3" fmla="*/ 5714 h 345479"/>
                  <a:gd name="connsiteX4" fmla="*/ 0 w 105952"/>
                  <a:gd name="connsiteY4" fmla="*/ 172892 h 345479"/>
                  <a:gd name="connsiteX5" fmla="*/ 70859 w 105952"/>
                  <a:gd name="connsiteY5" fmla="*/ 339743 h 345479"/>
                  <a:gd name="connsiteX6" fmla="*/ 85100 w 105952"/>
                  <a:gd name="connsiteY6" fmla="*/ 345480 h 345479"/>
                  <a:gd name="connsiteX7" fmla="*/ 99896 w 105952"/>
                  <a:gd name="connsiteY7" fmla="*/ 339206 h 345479"/>
                  <a:gd name="connsiteX8" fmla="*/ 99360 w 105952"/>
                  <a:gd name="connsiteY8" fmla="*/ 310141 h 345479"/>
                  <a:gd name="connsiteX9" fmla="*/ 41074 w 105952"/>
                  <a:gd name="connsiteY9" fmla="*/ 172892 h 345479"/>
                  <a:gd name="connsiteX10" fmla="*/ 99628 w 105952"/>
                  <a:gd name="connsiteY10" fmla="*/ 35374 h 345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5952" h="345479">
                    <a:moveTo>
                      <a:pt x="99628" y="35374"/>
                    </a:moveTo>
                    <a:cubicBezTo>
                      <a:pt x="103634" y="31518"/>
                      <a:pt x="105953" y="26108"/>
                      <a:pt x="105953" y="20544"/>
                    </a:cubicBezTo>
                    <a:cubicBezTo>
                      <a:pt x="105953" y="15211"/>
                      <a:pt x="103921" y="10165"/>
                      <a:pt x="100222" y="6309"/>
                    </a:cubicBezTo>
                    <a:cubicBezTo>
                      <a:pt x="92383" y="-1864"/>
                      <a:pt x="79350" y="-2132"/>
                      <a:pt x="71185" y="5714"/>
                    </a:cubicBezTo>
                    <a:cubicBezTo>
                      <a:pt x="25281" y="49820"/>
                      <a:pt x="0" y="109198"/>
                      <a:pt x="0" y="172892"/>
                    </a:cubicBezTo>
                    <a:cubicBezTo>
                      <a:pt x="0" y="236586"/>
                      <a:pt x="25166" y="295656"/>
                      <a:pt x="70859" y="339743"/>
                    </a:cubicBezTo>
                    <a:cubicBezTo>
                      <a:pt x="74846" y="343580"/>
                      <a:pt x="79982" y="345480"/>
                      <a:pt x="85100" y="345480"/>
                    </a:cubicBezTo>
                    <a:cubicBezTo>
                      <a:pt x="90486" y="345480"/>
                      <a:pt x="95871" y="343369"/>
                      <a:pt x="99896" y="339206"/>
                    </a:cubicBezTo>
                    <a:cubicBezTo>
                      <a:pt x="107755" y="331053"/>
                      <a:pt x="107505" y="318007"/>
                      <a:pt x="99360" y="310141"/>
                    </a:cubicBezTo>
                    <a:cubicBezTo>
                      <a:pt x="61774" y="273882"/>
                      <a:pt x="41074" y="225133"/>
                      <a:pt x="41074" y="172892"/>
                    </a:cubicBezTo>
                    <a:cubicBezTo>
                      <a:pt x="41074" y="120651"/>
                      <a:pt x="61870" y="71653"/>
                      <a:pt x="99628" y="3537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89" name="Freeform 36">
                <a:extLst>
                  <a:ext uri="{FF2B5EF4-FFF2-40B4-BE49-F238E27FC236}">
                    <a16:creationId xmlns:a16="http://schemas.microsoft.com/office/drawing/2014/main" id="{067D3A7E-BE45-535A-59B0-9559991EA457}"/>
                  </a:ext>
                </a:extLst>
              </p:cNvPr>
              <p:cNvSpPr/>
              <p:nvPr/>
            </p:nvSpPr>
            <p:spPr>
              <a:xfrm>
                <a:off x="2764808" y="2864999"/>
                <a:ext cx="982664" cy="1834124"/>
              </a:xfrm>
              <a:custGeom>
                <a:avLst/>
                <a:gdLst>
                  <a:gd name="connsiteX0" fmla="*/ 982182 w 982664"/>
                  <a:gd name="connsiteY0" fmla="*/ 96673 h 1834124"/>
                  <a:gd name="connsiteX1" fmla="*/ 981473 w 982664"/>
                  <a:gd name="connsiteY1" fmla="*/ 90649 h 1834124"/>
                  <a:gd name="connsiteX2" fmla="*/ 980399 w 982664"/>
                  <a:gd name="connsiteY2" fmla="*/ 84682 h 1834124"/>
                  <a:gd name="connsiteX3" fmla="*/ 960159 w 982664"/>
                  <a:gd name="connsiteY3" fmla="*/ 41133 h 1834124"/>
                  <a:gd name="connsiteX4" fmla="*/ 922880 w 982664"/>
                  <a:gd name="connsiteY4" fmla="*/ 10801 h 1834124"/>
                  <a:gd name="connsiteX5" fmla="*/ 876095 w 982664"/>
                  <a:gd name="connsiteY5" fmla="*/ 0 h 1834124"/>
                  <a:gd name="connsiteX6" fmla="*/ 106556 w 982664"/>
                  <a:gd name="connsiteY6" fmla="*/ 0 h 1834124"/>
                  <a:gd name="connsiteX7" fmla="*/ 82540 w 982664"/>
                  <a:gd name="connsiteY7" fmla="*/ 2763 h 1834124"/>
                  <a:gd name="connsiteX8" fmla="*/ 39435 w 982664"/>
                  <a:gd name="connsiteY8" fmla="*/ 23866 h 1834124"/>
                  <a:gd name="connsiteX9" fmla="*/ 9899 w 982664"/>
                  <a:gd name="connsiteY9" fmla="*/ 61795 h 1834124"/>
                  <a:gd name="connsiteX10" fmla="*/ 2271 w 982664"/>
                  <a:gd name="connsiteY10" fmla="*/ 84721 h 1834124"/>
                  <a:gd name="connsiteX11" fmla="*/ 1197 w 982664"/>
                  <a:gd name="connsiteY11" fmla="*/ 90687 h 1834124"/>
                  <a:gd name="connsiteX12" fmla="*/ 488 w 982664"/>
                  <a:gd name="connsiteY12" fmla="*/ 96711 h 1834124"/>
                  <a:gd name="connsiteX13" fmla="*/ 105 w 982664"/>
                  <a:gd name="connsiteY13" fmla="*/ 102774 h 1834124"/>
                  <a:gd name="connsiteX14" fmla="*/ 9 w 982664"/>
                  <a:gd name="connsiteY14" fmla="*/ 109220 h 1834124"/>
                  <a:gd name="connsiteX15" fmla="*/ 9 w 982664"/>
                  <a:gd name="connsiteY15" fmla="*/ 622705 h 1834124"/>
                  <a:gd name="connsiteX16" fmla="*/ 9 w 982664"/>
                  <a:gd name="connsiteY16" fmla="*/ 626197 h 1834124"/>
                  <a:gd name="connsiteX17" fmla="*/ 124 w 982664"/>
                  <a:gd name="connsiteY17" fmla="*/ 629228 h 1834124"/>
                  <a:gd name="connsiteX18" fmla="*/ 469 w 982664"/>
                  <a:gd name="connsiteY18" fmla="*/ 635271 h 1834124"/>
                  <a:gd name="connsiteX19" fmla="*/ 1140 w 982664"/>
                  <a:gd name="connsiteY19" fmla="*/ 641295 h 1834124"/>
                  <a:gd name="connsiteX20" fmla="*/ 2213 w 982664"/>
                  <a:gd name="connsiteY20" fmla="*/ 647262 h 1834124"/>
                  <a:gd name="connsiteX21" fmla="*/ 9726 w 982664"/>
                  <a:gd name="connsiteY21" fmla="*/ 670245 h 1834124"/>
                  <a:gd name="connsiteX22" fmla="*/ 22261 w 982664"/>
                  <a:gd name="connsiteY22" fmla="*/ 690927 h 1834124"/>
                  <a:gd name="connsiteX23" fmla="*/ 30139 w 982664"/>
                  <a:gd name="connsiteY23" fmla="*/ 700116 h 1834124"/>
                  <a:gd name="connsiteX24" fmla="*/ 34490 w 982664"/>
                  <a:gd name="connsiteY24" fmla="*/ 704337 h 1834124"/>
                  <a:gd name="connsiteX25" fmla="*/ 39070 w 982664"/>
                  <a:gd name="connsiteY25" fmla="*/ 708289 h 1834124"/>
                  <a:gd name="connsiteX26" fmla="*/ 59368 w 982664"/>
                  <a:gd name="connsiteY26" fmla="*/ 721431 h 1834124"/>
                  <a:gd name="connsiteX27" fmla="*/ 84879 w 982664"/>
                  <a:gd name="connsiteY27" fmla="*/ 733844 h 1834124"/>
                  <a:gd name="connsiteX28" fmla="*/ 136168 w 982664"/>
                  <a:gd name="connsiteY28" fmla="*/ 758746 h 1834124"/>
                  <a:gd name="connsiteX29" fmla="*/ 238729 w 982664"/>
                  <a:gd name="connsiteY29" fmla="*/ 808550 h 1834124"/>
                  <a:gd name="connsiteX30" fmla="*/ 343014 w 982664"/>
                  <a:gd name="connsiteY30" fmla="*/ 859198 h 1834124"/>
                  <a:gd name="connsiteX31" fmla="*/ 358808 w 982664"/>
                  <a:gd name="connsiteY31" fmla="*/ 868944 h 1834124"/>
                  <a:gd name="connsiteX32" fmla="*/ 362123 w 982664"/>
                  <a:gd name="connsiteY32" fmla="*/ 871860 h 1834124"/>
                  <a:gd name="connsiteX33" fmla="*/ 364289 w 982664"/>
                  <a:gd name="connsiteY33" fmla="*/ 875927 h 1834124"/>
                  <a:gd name="connsiteX34" fmla="*/ 365880 w 982664"/>
                  <a:gd name="connsiteY34" fmla="*/ 884676 h 1834124"/>
                  <a:gd name="connsiteX35" fmla="*/ 366685 w 982664"/>
                  <a:gd name="connsiteY35" fmla="*/ 894038 h 1834124"/>
                  <a:gd name="connsiteX36" fmla="*/ 366742 w 982664"/>
                  <a:gd name="connsiteY36" fmla="*/ 903765 h 1834124"/>
                  <a:gd name="connsiteX37" fmla="*/ 366742 w 982664"/>
                  <a:gd name="connsiteY37" fmla="*/ 1708382 h 1834124"/>
                  <a:gd name="connsiteX38" fmla="*/ 366800 w 982664"/>
                  <a:gd name="connsiteY38" fmla="*/ 1711624 h 1834124"/>
                  <a:gd name="connsiteX39" fmla="*/ 366877 w 982664"/>
                  <a:gd name="connsiteY39" fmla="*/ 1714732 h 1834124"/>
                  <a:gd name="connsiteX40" fmla="*/ 367298 w 982664"/>
                  <a:gd name="connsiteY40" fmla="*/ 1720929 h 1834124"/>
                  <a:gd name="connsiteX41" fmla="*/ 381367 w 982664"/>
                  <a:gd name="connsiteY41" fmla="*/ 1768066 h 1834124"/>
                  <a:gd name="connsiteX42" fmla="*/ 412646 w 982664"/>
                  <a:gd name="connsiteY42" fmla="*/ 1806110 h 1834124"/>
                  <a:gd name="connsiteX43" fmla="*/ 456135 w 982664"/>
                  <a:gd name="connsiteY43" fmla="*/ 1829074 h 1834124"/>
                  <a:gd name="connsiteX44" fmla="*/ 505164 w 982664"/>
                  <a:gd name="connsiteY44" fmla="*/ 1833372 h 1834124"/>
                  <a:gd name="connsiteX45" fmla="*/ 551968 w 982664"/>
                  <a:gd name="connsiteY45" fmla="*/ 1818388 h 1834124"/>
                  <a:gd name="connsiteX46" fmla="*/ 589362 w 982664"/>
                  <a:gd name="connsiteY46" fmla="*/ 1786368 h 1834124"/>
                  <a:gd name="connsiteX47" fmla="*/ 611500 w 982664"/>
                  <a:gd name="connsiteY47" fmla="*/ 1742435 h 1834124"/>
                  <a:gd name="connsiteX48" fmla="*/ 615602 w 982664"/>
                  <a:gd name="connsiteY48" fmla="*/ 1718051 h 1834124"/>
                  <a:gd name="connsiteX49" fmla="*/ 615870 w 982664"/>
                  <a:gd name="connsiteY49" fmla="*/ 1711854 h 1834124"/>
                  <a:gd name="connsiteX50" fmla="*/ 615927 w 982664"/>
                  <a:gd name="connsiteY50" fmla="*/ 1708650 h 1834124"/>
                  <a:gd name="connsiteX51" fmla="*/ 615927 w 982664"/>
                  <a:gd name="connsiteY51" fmla="*/ 897395 h 1834124"/>
                  <a:gd name="connsiteX52" fmla="*/ 618323 w 982664"/>
                  <a:gd name="connsiteY52" fmla="*/ 876292 h 1834124"/>
                  <a:gd name="connsiteX53" fmla="*/ 620777 w 982664"/>
                  <a:gd name="connsiteY53" fmla="*/ 871611 h 1834124"/>
                  <a:gd name="connsiteX54" fmla="*/ 624706 w 982664"/>
                  <a:gd name="connsiteY54" fmla="*/ 868369 h 1834124"/>
                  <a:gd name="connsiteX55" fmla="*/ 633541 w 982664"/>
                  <a:gd name="connsiteY55" fmla="*/ 862671 h 1834124"/>
                  <a:gd name="connsiteX56" fmla="*/ 643470 w 982664"/>
                  <a:gd name="connsiteY56" fmla="*/ 857682 h 1834124"/>
                  <a:gd name="connsiteX57" fmla="*/ 653666 w 982664"/>
                  <a:gd name="connsiteY57" fmla="*/ 852944 h 1834124"/>
                  <a:gd name="connsiteX58" fmla="*/ 670648 w 982664"/>
                  <a:gd name="connsiteY58" fmla="*/ 845040 h 1834124"/>
                  <a:gd name="connsiteX59" fmla="*/ 877360 w 982664"/>
                  <a:gd name="connsiteY59" fmla="*/ 748750 h 1834124"/>
                  <a:gd name="connsiteX60" fmla="*/ 903196 w 982664"/>
                  <a:gd name="connsiteY60" fmla="*/ 736721 h 1834124"/>
                  <a:gd name="connsiteX61" fmla="*/ 916115 w 982664"/>
                  <a:gd name="connsiteY61" fmla="*/ 730697 h 1834124"/>
                  <a:gd name="connsiteX62" fmla="*/ 919354 w 982664"/>
                  <a:gd name="connsiteY62" fmla="*/ 729201 h 1834124"/>
                  <a:gd name="connsiteX63" fmla="*/ 920964 w 982664"/>
                  <a:gd name="connsiteY63" fmla="*/ 728453 h 1834124"/>
                  <a:gd name="connsiteX64" fmla="*/ 922325 w 982664"/>
                  <a:gd name="connsiteY64" fmla="*/ 727762 h 1834124"/>
                  <a:gd name="connsiteX65" fmla="*/ 927729 w 982664"/>
                  <a:gd name="connsiteY65" fmla="*/ 725019 h 1834124"/>
                  <a:gd name="connsiteX66" fmla="*/ 947375 w 982664"/>
                  <a:gd name="connsiteY66" fmla="*/ 710956 h 1834124"/>
                  <a:gd name="connsiteX67" fmla="*/ 963360 w 982664"/>
                  <a:gd name="connsiteY67" fmla="*/ 692807 h 1834124"/>
                  <a:gd name="connsiteX68" fmla="*/ 965085 w 982664"/>
                  <a:gd name="connsiteY68" fmla="*/ 690313 h 1834124"/>
                  <a:gd name="connsiteX69" fmla="*/ 965948 w 982664"/>
                  <a:gd name="connsiteY69" fmla="*/ 689066 h 1834124"/>
                  <a:gd name="connsiteX70" fmla="*/ 966714 w 982664"/>
                  <a:gd name="connsiteY70" fmla="*/ 687761 h 1834124"/>
                  <a:gd name="connsiteX71" fmla="*/ 969781 w 982664"/>
                  <a:gd name="connsiteY71" fmla="*/ 682543 h 1834124"/>
                  <a:gd name="connsiteX72" fmla="*/ 972484 w 982664"/>
                  <a:gd name="connsiteY72" fmla="*/ 677114 h 1834124"/>
                  <a:gd name="connsiteX73" fmla="*/ 974879 w 982664"/>
                  <a:gd name="connsiteY73" fmla="*/ 671550 h 1834124"/>
                  <a:gd name="connsiteX74" fmla="*/ 981339 w 982664"/>
                  <a:gd name="connsiteY74" fmla="*/ 648260 h 1834124"/>
                  <a:gd name="connsiteX75" fmla="*/ 982067 w 982664"/>
                  <a:gd name="connsiteY75" fmla="*/ 642255 h 1834124"/>
                  <a:gd name="connsiteX76" fmla="*/ 982393 w 982664"/>
                  <a:gd name="connsiteY76" fmla="*/ 639243 h 1834124"/>
                  <a:gd name="connsiteX77" fmla="*/ 982488 w 982664"/>
                  <a:gd name="connsiteY77" fmla="*/ 636211 h 1834124"/>
                  <a:gd name="connsiteX78" fmla="*/ 982603 w 982664"/>
                  <a:gd name="connsiteY78" fmla="*/ 633180 h 1834124"/>
                  <a:gd name="connsiteX79" fmla="*/ 982661 w 982664"/>
                  <a:gd name="connsiteY79" fmla="*/ 631665 h 1834124"/>
                  <a:gd name="connsiteX80" fmla="*/ 982661 w 982664"/>
                  <a:gd name="connsiteY80" fmla="*/ 109162 h 1834124"/>
                  <a:gd name="connsiteX81" fmla="*/ 982565 w 982664"/>
                  <a:gd name="connsiteY81" fmla="*/ 102716 h 1834124"/>
                  <a:gd name="connsiteX82" fmla="*/ 982182 w 982664"/>
                  <a:gd name="connsiteY82" fmla="*/ 96654 h 1834124"/>
                  <a:gd name="connsiteX83" fmla="*/ 106575 w 982664"/>
                  <a:gd name="connsiteY83" fmla="*/ 39022 h 1834124"/>
                  <a:gd name="connsiteX84" fmla="*/ 135057 w 982664"/>
                  <a:gd name="connsiteY84" fmla="*/ 39022 h 1834124"/>
                  <a:gd name="connsiteX85" fmla="*/ 192058 w 982664"/>
                  <a:gd name="connsiteY85" fmla="*/ 39022 h 1834124"/>
                  <a:gd name="connsiteX86" fmla="*/ 876076 w 982664"/>
                  <a:gd name="connsiteY86" fmla="*/ 39022 h 1834124"/>
                  <a:gd name="connsiteX87" fmla="*/ 898692 w 982664"/>
                  <a:gd name="connsiteY87" fmla="*/ 42917 h 1834124"/>
                  <a:gd name="connsiteX88" fmla="*/ 528317 w 982664"/>
                  <a:gd name="connsiteY88" fmla="*/ 191197 h 1834124"/>
                  <a:gd name="connsiteX89" fmla="*/ 451305 w 982664"/>
                  <a:gd name="connsiteY89" fmla="*/ 190334 h 1834124"/>
                  <a:gd name="connsiteX90" fmla="*/ 98084 w 982664"/>
                  <a:gd name="connsiteY90" fmla="*/ 39598 h 1834124"/>
                  <a:gd name="connsiteX91" fmla="*/ 106556 w 982664"/>
                  <a:gd name="connsiteY91" fmla="*/ 39022 h 1834124"/>
                  <a:gd name="connsiteX92" fmla="*/ 255749 w 982664"/>
                  <a:gd name="connsiteY92" fmla="*/ 773441 h 1834124"/>
                  <a:gd name="connsiteX93" fmla="*/ 153188 w 982664"/>
                  <a:gd name="connsiteY93" fmla="*/ 723637 h 1834124"/>
                  <a:gd name="connsiteX94" fmla="*/ 101899 w 982664"/>
                  <a:gd name="connsiteY94" fmla="*/ 698735 h 1834124"/>
                  <a:gd name="connsiteX95" fmla="*/ 76656 w 982664"/>
                  <a:gd name="connsiteY95" fmla="*/ 686438 h 1834124"/>
                  <a:gd name="connsiteX96" fmla="*/ 63795 w 982664"/>
                  <a:gd name="connsiteY96" fmla="*/ 678092 h 1834124"/>
                  <a:gd name="connsiteX97" fmla="*/ 60882 w 982664"/>
                  <a:gd name="connsiteY97" fmla="*/ 675598 h 1834124"/>
                  <a:gd name="connsiteX98" fmla="*/ 58122 w 982664"/>
                  <a:gd name="connsiteY98" fmla="*/ 672931 h 1834124"/>
                  <a:gd name="connsiteX99" fmla="*/ 53139 w 982664"/>
                  <a:gd name="connsiteY99" fmla="*/ 667080 h 1834124"/>
                  <a:gd name="connsiteX100" fmla="*/ 45165 w 982664"/>
                  <a:gd name="connsiteY100" fmla="*/ 653957 h 1834124"/>
                  <a:gd name="connsiteX101" fmla="*/ 40412 w 982664"/>
                  <a:gd name="connsiteY101" fmla="*/ 639396 h 1834124"/>
                  <a:gd name="connsiteX102" fmla="*/ 39722 w 982664"/>
                  <a:gd name="connsiteY102" fmla="*/ 635617 h 1834124"/>
                  <a:gd name="connsiteX103" fmla="*/ 39320 w 982664"/>
                  <a:gd name="connsiteY103" fmla="*/ 631799 h 1834124"/>
                  <a:gd name="connsiteX104" fmla="*/ 39109 w 982664"/>
                  <a:gd name="connsiteY104" fmla="*/ 627962 h 1834124"/>
                  <a:gd name="connsiteX105" fmla="*/ 39013 w 982664"/>
                  <a:gd name="connsiteY105" fmla="*/ 626043 h 1834124"/>
                  <a:gd name="connsiteX106" fmla="*/ 39013 w 982664"/>
                  <a:gd name="connsiteY106" fmla="*/ 625794 h 1834124"/>
                  <a:gd name="connsiteX107" fmla="*/ 39013 w 982664"/>
                  <a:gd name="connsiteY107" fmla="*/ 625353 h 1834124"/>
                  <a:gd name="connsiteX108" fmla="*/ 39013 w 982664"/>
                  <a:gd name="connsiteY108" fmla="*/ 106592 h 1834124"/>
                  <a:gd name="connsiteX109" fmla="*/ 39032 w 982664"/>
                  <a:gd name="connsiteY109" fmla="*/ 106112 h 1834124"/>
                  <a:gd name="connsiteX110" fmla="*/ 39090 w 982664"/>
                  <a:gd name="connsiteY110" fmla="*/ 104155 h 1834124"/>
                  <a:gd name="connsiteX111" fmla="*/ 39320 w 982664"/>
                  <a:gd name="connsiteY111" fmla="*/ 100280 h 1834124"/>
                  <a:gd name="connsiteX112" fmla="*/ 39760 w 982664"/>
                  <a:gd name="connsiteY112" fmla="*/ 96462 h 1834124"/>
                  <a:gd name="connsiteX113" fmla="*/ 40450 w 982664"/>
                  <a:gd name="connsiteY113" fmla="*/ 92702 h 1834124"/>
                  <a:gd name="connsiteX114" fmla="*/ 45261 w 982664"/>
                  <a:gd name="connsiteY114" fmla="*/ 78236 h 1834124"/>
                  <a:gd name="connsiteX115" fmla="*/ 57739 w 982664"/>
                  <a:gd name="connsiteY115" fmla="*/ 60011 h 1834124"/>
                  <a:gd name="connsiteX116" fmla="*/ 437774 w 982664"/>
                  <a:gd name="connsiteY116" fmla="*/ 222200 h 1834124"/>
                  <a:gd name="connsiteX117" fmla="*/ 473079 w 982664"/>
                  <a:gd name="connsiteY117" fmla="*/ 231908 h 1834124"/>
                  <a:gd name="connsiteX118" fmla="*/ 473079 w 982664"/>
                  <a:gd name="connsiteY118" fmla="*/ 856838 h 1834124"/>
                  <a:gd name="connsiteX119" fmla="*/ 382363 w 982664"/>
                  <a:gd name="connsiteY119" fmla="*/ 836867 h 1834124"/>
                  <a:gd name="connsiteX120" fmla="*/ 381865 w 982664"/>
                  <a:gd name="connsiteY120" fmla="*/ 836445 h 1834124"/>
                  <a:gd name="connsiteX121" fmla="*/ 369943 w 982664"/>
                  <a:gd name="connsiteY121" fmla="*/ 828886 h 1834124"/>
                  <a:gd name="connsiteX122" fmla="*/ 255768 w 982664"/>
                  <a:gd name="connsiteY122" fmla="*/ 773441 h 1834124"/>
                  <a:gd name="connsiteX123" fmla="*/ 576943 w 982664"/>
                  <a:gd name="connsiteY123" fmla="*/ 1291378 h 1834124"/>
                  <a:gd name="connsiteX124" fmla="*/ 576943 w 982664"/>
                  <a:gd name="connsiteY124" fmla="*/ 1709456 h 1834124"/>
                  <a:gd name="connsiteX125" fmla="*/ 576923 w 982664"/>
                  <a:gd name="connsiteY125" fmla="*/ 1709993 h 1834124"/>
                  <a:gd name="connsiteX126" fmla="*/ 576885 w 982664"/>
                  <a:gd name="connsiteY126" fmla="*/ 1711068 h 1834124"/>
                  <a:gd name="connsiteX127" fmla="*/ 576693 w 982664"/>
                  <a:gd name="connsiteY127" fmla="*/ 1715365 h 1834124"/>
                  <a:gd name="connsiteX128" fmla="*/ 573876 w 982664"/>
                  <a:gd name="connsiteY128" fmla="*/ 1732094 h 1834124"/>
                  <a:gd name="connsiteX129" fmla="*/ 558696 w 982664"/>
                  <a:gd name="connsiteY129" fmla="*/ 1762234 h 1834124"/>
                  <a:gd name="connsiteX130" fmla="*/ 532955 w 982664"/>
                  <a:gd name="connsiteY130" fmla="*/ 1784277 h 1834124"/>
                  <a:gd name="connsiteX131" fmla="*/ 500890 w 982664"/>
                  <a:gd name="connsiteY131" fmla="*/ 1794541 h 1834124"/>
                  <a:gd name="connsiteX132" fmla="*/ 483774 w 982664"/>
                  <a:gd name="connsiteY132" fmla="*/ 1794733 h 1834124"/>
                  <a:gd name="connsiteX133" fmla="*/ 467118 w 982664"/>
                  <a:gd name="connsiteY133" fmla="*/ 1791606 h 1834124"/>
                  <a:gd name="connsiteX134" fmla="*/ 437276 w 982664"/>
                  <a:gd name="connsiteY134" fmla="*/ 1775855 h 1834124"/>
                  <a:gd name="connsiteX135" fmla="*/ 415751 w 982664"/>
                  <a:gd name="connsiteY135" fmla="*/ 1749668 h 1834124"/>
                  <a:gd name="connsiteX136" fmla="*/ 406111 w 982664"/>
                  <a:gd name="connsiteY136" fmla="*/ 1717360 h 1834124"/>
                  <a:gd name="connsiteX137" fmla="*/ 405823 w 982664"/>
                  <a:gd name="connsiteY137" fmla="*/ 1713082 h 1834124"/>
                  <a:gd name="connsiteX138" fmla="*/ 405766 w 982664"/>
                  <a:gd name="connsiteY138" fmla="*/ 1710933 h 1834124"/>
                  <a:gd name="connsiteX139" fmla="*/ 405727 w 982664"/>
                  <a:gd name="connsiteY139" fmla="*/ 1709859 h 1834124"/>
                  <a:gd name="connsiteX140" fmla="*/ 405727 w 982664"/>
                  <a:gd name="connsiteY140" fmla="*/ 1709264 h 1834124"/>
                  <a:gd name="connsiteX141" fmla="*/ 405727 w 982664"/>
                  <a:gd name="connsiteY141" fmla="*/ 1708382 h 1834124"/>
                  <a:gd name="connsiteX142" fmla="*/ 405727 w 982664"/>
                  <a:gd name="connsiteY142" fmla="*/ 896110 h 1834124"/>
                  <a:gd name="connsiteX143" fmla="*/ 405689 w 982664"/>
                  <a:gd name="connsiteY143" fmla="*/ 884983 h 1834124"/>
                  <a:gd name="connsiteX144" fmla="*/ 493376 w 982664"/>
                  <a:gd name="connsiteY144" fmla="*/ 896148 h 1834124"/>
                  <a:gd name="connsiteX145" fmla="*/ 576962 w 982664"/>
                  <a:gd name="connsiteY145" fmla="*/ 885769 h 1834124"/>
                  <a:gd name="connsiteX146" fmla="*/ 576962 w 982664"/>
                  <a:gd name="connsiteY146" fmla="*/ 886191 h 1834124"/>
                  <a:gd name="connsiteX147" fmla="*/ 576962 w 982664"/>
                  <a:gd name="connsiteY147" fmla="*/ 1291378 h 1834124"/>
                  <a:gd name="connsiteX148" fmla="*/ 943695 w 982664"/>
                  <a:gd name="connsiteY148" fmla="*/ 365915 h 1834124"/>
                  <a:gd name="connsiteX149" fmla="*/ 943695 w 982664"/>
                  <a:gd name="connsiteY149" fmla="*/ 631588 h 1834124"/>
                  <a:gd name="connsiteX150" fmla="*/ 943638 w 982664"/>
                  <a:gd name="connsiteY150" fmla="*/ 632585 h 1834124"/>
                  <a:gd name="connsiteX151" fmla="*/ 943561 w 982664"/>
                  <a:gd name="connsiteY151" fmla="*/ 634504 h 1834124"/>
                  <a:gd name="connsiteX152" fmla="*/ 943523 w 982664"/>
                  <a:gd name="connsiteY152" fmla="*/ 636422 h 1834124"/>
                  <a:gd name="connsiteX153" fmla="*/ 943293 w 982664"/>
                  <a:gd name="connsiteY153" fmla="*/ 638322 h 1834124"/>
                  <a:gd name="connsiteX154" fmla="*/ 942833 w 982664"/>
                  <a:gd name="connsiteY154" fmla="*/ 642140 h 1834124"/>
                  <a:gd name="connsiteX155" fmla="*/ 938731 w 982664"/>
                  <a:gd name="connsiteY155" fmla="*/ 656893 h 1834124"/>
                  <a:gd name="connsiteX156" fmla="*/ 937217 w 982664"/>
                  <a:gd name="connsiteY156" fmla="*/ 660423 h 1834124"/>
                  <a:gd name="connsiteX157" fmla="*/ 935511 w 982664"/>
                  <a:gd name="connsiteY157" fmla="*/ 663876 h 1834124"/>
                  <a:gd name="connsiteX158" fmla="*/ 933537 w 982664"/>
                  <a:gd name="connsiteY158" fmla="*/ 667176 h 1834124"/>
                  <a:gd name="connsiteX159" fmla="*/ 933077 w 982664"/>
                  <a:gd name="connsiteY159" fmla="*/ 668020 h 1834124"/>
                  <a:gd name="connsiteX160" fmla="*/ 932521 w 982664"/>
                  <a:gd name="connsiteY160" fmla="*/ 668807 h 1834124"/>
                  <a:gd name="connsiteX161" fmla="*/ 931429 w 982664"/>
                  <a:gd name="connsiteY161" fmla="*/ 670380 h 1834124"/>
                  <a:gd name="connsiteX162" fmla="*/ 921309 w 982664"/>
                  <a:gd name="connsiteY162" fmla="*/ 681891 h 1834124"/>
                  <a:gd name="connsiteX163" fmla="*/ 908870 w 982664"/>
                  <a:gd name="connsiteY163" fmla="*/ 690812 h 1834124"/>
                  <a:gd name="connsiteX164" fmla="*/ 905439 w 982664"/>
                  <a:gd name="connsiteY164" fmla="*/ 692538 h 1834124"/>
                  <a:gd name="connsiteX165" fmla="*/ 904557 w 982664"/>
                  <a:gd name="connsiteY165" fmla="*/ 693018 h 1834124"/>
                  <a:gd name="connsiteX166" fmla="*/ 902947 w 982664"/>
                  <a:gd name="connsiteY166" fmla="*/ 693766 h 1834124"/>
                  <a:gd name="connsiteX167" fmla="*/ 899708 w 982664"/>
                  <a:gd name="connsiteY167" fmla="*/ 695263 h 1834124"/>
                  <a:gd name="connsiteX168" fmla="*/ 886790 w 982664"/>
                  <a:gd name="connsiteY168" fmla="*/ 701287 h 1834124"/>
                  <a:gd name="connsiteX169" fmla="*/ 860953 w 982664"/>
                  <a:gd name="connsiteY169" fmla="*/ 713316 h 1834124"/>
                  <a:gd name="connsiteX170" fmla="*/ 654241 w 982664"/>
                  <a:gd name="connsiteY170" fmla="*/ 809605 h 1834124"/>
                  <a:gd name="connsiteX171" fmla="*/ 633906 w 982664"/>
                  <a:gd name="connsiteY171" fmla="*/ 819082 h 1834124"/>
                  <a:gd name="connsiteX172" fmla="*/ 618534 w 982664"/>
                  <a:gd name="connsiteY172" fmla="*/ 826238 h 1834124"/>
                  <a:gd name="connsiteX173" fmla="*/ 603967 w 982664"/>
                  <a:gd name="connsiteY173" fmla="*/ 834162 h 1834124"/>
                  <a:gd name="connsiteX174" fmla="*/ 597604 w 982664"/>
                  <a:gd name="connsiteY174" fmla="*/ 839284 h 1834124"/>
                  <a:gd name="connsiteX175" fmla="*/ 507674 w 982664"/>
                  <a:gd name="connsiteY175" fmla="*/ 857222 h 1834124"/>
                  <a:gd name="connsiteX176" fmla="*/ 507674 w 982664"/>
                  <a:gd name="connsiteY176" fmla="*/ 232023 h 1834124"/>
                  <a:gd name="connsiteX177" fmla="*/ 541197 w 982664"/>
                  <a:gd name="connsiteY177" fmla="*/ 223351 h 1834124"/>
                  <a:gd name="connsiteX178" fmla="*/ 931007 w 982664"/>
                  <a:gd name="connsiteY178" fmla="*/ 67282 h 1834124"/>
                  <a:gd name="connsiteX179" fmla="*/ 942258 w 982664"/>
                  <a:gd name="connsiteY179" fmla="*/ 92702 h 1834124"/>
                  <a:gd name="connsiteX180" fmla="*/ 942948 w 982664"/>
                  <a:gd name="connsiteY180" fmla="*/ 96462 h 1834124"/>
                  <a:gd name="connsiteX181" fmla="*/ 943389 w 982664"/>
                  <a:gd name="connsiteY181" fmla="*/ 100280 h 1834124"/>
                  <a:gd name="connsiteX182" fmla="*/ 943619 w 982664"/>
                  <a:gd name="connsiteY182" fmla="*/ 104155 h 1834124"/>
                  <a:gd name="connsiteX183" fmla="*/ 943676 w 982664"/>
                  <a:gd name="connsiteY183" fmla="*/ 106112 h 1834124"/>
                  <a:gd name="connsiteX184" fmla="*/ 943676 w 982664"/>
                  <a:gd name="connsiteY184" fmla="*/ 106592 h 1834124"/>
                  <a:gd name="connsiteX185" fmla="*/ 943695 w 982664"/>
                  <a:gd name="connsiteY185" fmla="*/ 107397 h 1834124"/>
                  <a:gd name="connsiteX186" fmla="*/ 943695 w 982664"/>
                  <a:gd name="connsiteY186" fmla="*/ 365915 h 1834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</a:cxnLst>
                <a:rect l="l" t="t" r="r" b="b"/>
                <a:pathLst>
                  <a:path w="982664" h="1834124">
                    <a:moveTo>
                      <a:pt x="982182" y="96673"/>
                    </a:moveTo>
                    <a:cubicBezTo>
                      <a:pt x="982028" y="94659"/>
                      <a:pt x="981683" y="92663"/>
                      <a:pt x="981473" y="90649"/>
                    </a:cubicBezTo>
                    <a:cubicBezTo>
                      <a:pt x="981128" y="88654"/>
                      <a:pt x="980783" y="86678"/>
                      <a:pt x="980399" y="84682"/>
                    </a:cubicBezTo>
                    <a:cubicBezTo>
                      <a:pt x="977045" y="68912"/>
                      <a:pt x="970164" y="53852"/>
                      <a:pt x="960159" y="41133"/>
                    </a:cubicBezTo>
                    <a:cubicBezTo>
                      <a:pt x="950250" y="28336"/>
                      <a:pt x="937351" y="17919"/>
                      <a:pt x="922880" y="10801"/>
                    </a:cubicBezTo>
                    <a:cubicBezTo>
                      <a:pt x="908390" y="3703"/>
                      <a:pt x="892310" y="38"/>
                      <a:pt x="876095" y="0"/>
                    </a:cubicBezTo>
                    <a:lnTo>
                      <a:pt x="106556" y="0"/>
                    </a:lnTo>
                    <a:cubicBezTo>
                      <a:pt x="98448" y="19"/>
                      <a:pt x="90379" y="940"/>
                      <a:pt x="82540" y="2763"/>
                    </a:cubicBezTo>
                    <a:cubicBezTo>
                      <a:pt x="66804" y="6331"/>
                      <a:pt x="51989" y="13679"/>
                      <a:pt x="39435" y="23866"/>
                    </a:cubicBezTo>
                    <a:cubicBezTo>
                      <a:pt x="26919" y="34092"/>
                      <a:pt x="16645" y="47137"/>
                      <a:pt x="9899" y="61795"/>
                    </a:cubicBezTo>
                    <a:cubicBezTo>
                      <a:pt x="6506" y="69123"/>
                      <a:pt x="3957" y="76817"/>
                      <a:pt x="2271" y="84721"/>
                    </a:cubicBezTo>
                    <a:cubicBezTo>
                      <a:pt x="1887" y="86697"/>
                      <a:pt x="1542" y="88692"/>
                      <a:pt x="1197" y="90687"/>
                    </a:cubicBezTo>
                    <a:cubicBezTo>
                      <a:pt x="967" y="92702"/>
                      <a:pt x="641" y="94697"/>
                      <a:pt x="488" y="96711"/>
                    </a:cubicBezTo>
                    <a:cubicBezTo>
                      <a:pt x="373" y="98726"/>
                      <a:pt x="105" y="100740"/>
                      <a:pt x="105" y="102774"/>
                    </a:cubicBezTo>
                    <a:cubicBezTo>
                      <a:pt x="66" y="104827"/>
                      <a:pt x="-29" y="106688"/>
                      <a:pt x="9" y="109220"/>
                    </a:cubicBezTo>
                    <a:lnTo>
                      <a:pt x="9" y="622705"/>
                    </a:lnTo>
                    <a:cubicBezTo>
                      <a:pt x="9" y="623856"/>
                      <a:pt x="9" y="625161"/>
                      <a:pt x="9" y="626197"/>
                    </a:cubicBezTo>
                    <a:lnTo>
                      <a:pt x="124" y="629228"/>
                    </a:lnTo>
                    <a:cubicBezTo>
                      <a:pt x="220" y="631242"/>
                      <a:pt x="162" y="633276"/>
                      <a:pt x="469" y="635271"/>
                    </a:cubicBezTo>
                    <a:cubicBezTo>
                      <a:pt x="699" y="637286"/>
                      <a:pt x="871" y="639300"/>
                      <a:pt x="1140" y="641295"/>
                    </a:cubicBezTo>
                    <a:lnTo>
                      <a:pt x="2213" y="647262"/>
                    </a:lnTo>
                    <a:cubicBezTo>
                      <a:pt x="3881" y="655166"/>
                      <a:pt x="6411" y="662878"/>
                      <a:pt x="9726" y="670245"/>
                    </a:cubicBezTo>
                    <a:cubicBezTo>
                      <a:pt x="13042" y="677632"/>
                      <a:pt x="17374" y="684519"/>
                      <a:pt x="22261" y="690927"/>
                    </a:cubicBezTo>
                    <a:cubicBezTo>
                      <a:pt x="24657" y="694188"/>
                      <a:pt x="27436" y="697124"/>
                      <a:pt x="30139" y="700116"/>
                    </a:cubicBezTo>
                    <a:lnTo>
                      <a:pt x="34490" y="704337"/>
                    </a:lnTo>
                    <a:cubicBezTo>
                      <a:pt x="35946" y="705738"/>
                      <a:pt x="37556" y="706946"/>
                      <a:pt x="39070" y="708289"/>
                    </a:cubicBezTo>
                    <a:cubicBezTo>
                      <a:pt x="45338" y="713354"/>
                      <a:pt x="52104" y="717863"/>
                      <a:pt x="59368" y="721431"/>
                    </a:cubicBezTo>
                    <a:lnTo>
                      <a:pt x="84879" y="733844"/>
                    </a:lnTo>
                    <a:lnTo>
                      <a:pt x="136168" y="758746"/>
                    </a:lnTo>
                    <a:lnTo>
                      <a:pt x="238729" y="808550"/>
                    </a:lnTo>
                    <a:lnTo>
                      <a:pt x="343014" y="859198"/>
                    </a:lnTo>
                    <a:cubicBezTo>
                      <a:pt x="348841" y="862057"/>
                      <a:pt x="354131" y="865433"/>
                      <a:pt x="358808" y="868944"/>
                    </a:cubicBezTo>
                    <a:cubicBezTo>
                      <a:pt x="359958" y="869827"/>
                      <a:pt x="361165" y="870632"/>
                      <a:pt x="362123" y="871860"/>
                    </a:cubicBezTo>
                    <a:cubicBezTo>
                      <a:pt x="363101" y="873069"/>
                      <a:pt x="363868" y="874508"/>
                      <a:pt x="364289" y="875927"/>
                    </a:cubicBezTo>
                    <a:cubicBezTo>
                      <a:pt x="364960" y="878748"/>
                      <a:pt x="365439" y="881644"/>
                      <a:pt x="365880" y="884676"/>
                    </a:cubicBezTo>
                    <a:cubicBezTo>
                      <a:pt x="366283" y="887707"/>
                      <a:pt x="366570" y="890834"/>
                      <a:pt x="366685" y="894038"/>
                    </a:cubicBezTo>
                    <a:cubicBezTo>
                      <a:pt x="366781" y="897261"/>
                      <a:pt x="366723" y="900523"/>
                      <a:pt x="366742" y="903765"/>
                    </a:cubicBezTo>
                    <a:lnTo>
                      <a:pt x="366742" y="1708382"/>
                    </a:lnTo>
                    <a:cubicBezTo>
                      <a:pt x="366742" y="1709648"/>
                      <a:pt x="366781" y="1710550"/>
                      <a:pt x="366800" y="1711624"/>
                    </a:cubicBezTo>
                    <a:lnTo>
                      <a:pt x="366877" y="1714732"/>
                    </a:lnTo>
                    <a:cubicBezTo>
                      <a:pt x="366915" y="1716804"/>
                      <a:pt x="367164" y="1718857"/>
                      <a:pt x="367298" y="1720929"/>
                    </a:cubicBezTo>
                    <a:cubicBezTo>
                      <a:pt x="368793" y="1737389"/>
                      <a:pt x="373585" y="1753485"/>
                      <a:pt x="381367" y="1768066"/>
                    </a:cubicBezTo>
                    <a:cubicBezTo>
                      <a:pt x="389110" y="1782647"/>
                      <a:pt x="399824" y="1795673"/>
                      <a:pt x="412646" y="1806110"/>
                    </a:cubicBezTo>
                    <a:cubicBezTo>
                      <a:pt x="425450" y="1816566"/>
                      <a:pt x="440323" y="1824431"/>
                      <a:pt x="456135" y="1829074"/>
                    </a:cubicBezTo>
                    <a:cubicBezTo>
                      <a:pt x="471929" y="1833736"/>
                      <a:pt x="488738" y="1835175"/>
                      <a:pt x="505164" y="1833372"/>
                    </a:cubicBezTo>
                    <a:cubicBezTo>
                      <a:pt x="521570" y="1831587"/>
                      <a:pt x="537574" y="1826465"/>
                      <a:pt x="551968" y="1818388"/>
                    </a:cubicBezTo>
                    <a:cubicBezTo>
                      <a:pt x="566382" y="1810330"/>
                      <a:pt x="579166" y="1799376"/>
                      <a:pt x="589362" y="1786368"/>
                    </a:cubicBezTo>
                    <a:cubicBezTo>
                      <a:pt x="599578" y="1773380"/>
                      <a:pt x="607149" y="1758359"/>
                      <a:pt x="611500" y="1742435"/>
                    </a:cubicBezTo>
                    <a:cubicBezTo>
                      <a:pt x="613685" y="1734473"/>
                      <a:pt x="615046" y="1726300"/>
                      <a:pt x="615602" y="1718051"/>
                    </a:cubicBezTo>
                    <a:cubicBezTo>
                      <a:pt x="615812" y="1715998"/>
                      <a:pt x="615812" y="1713926"/>
                      <a:pt x="615870" y="1711854"/>
                    </a:cubicBezTo>
                    <a:cubicBezTo>
                      <a:pt x="615870" y="1710780"/>
                      <a:pt x="615947" y="1709897"/>
                      <a:pt x="615927" y="1708650"/>
                    </a:cubicBezTo>
                    <a:lnTo>
                      <a:pt x="615927" y="897395"/>
                    </a:lnTo>
                    <a:cubicBezTo>
                      <a:pt x="615927" y="889875"/>
                      <a:pt x="616924" y="882757"/>
                      <a:pt x="618323" y="876292"/>
                    </a:cubicBezTo>
                    <a:cubicBezTo>
                      <a:pt x="618745" y="874661"/>
                      <a:pt x="619626" y="872973"/>
                      <a:pt x="620777" y="871611"/>
                    </a:cubicBezTo>
                    <a:cubicBezTo>
                      <a:pt x="621946" y="870229"/>
                      <a:pt x="623345" y="869405"/>
                      <a:pt x="624706" y="868369"/>
                    </a:cubicBezTo>
                    <a:cubicBezTo>
                      <a:pt x="627427" y="866392"/>
                      <a:pt x="630417" y="864474"/>
                      <a:pt x="633541" y="862671"/>
                    </a:cubicBezTo>
                    <a:cubicBezTo>
                      <a:pt x="636685" y="860867"/>
                      <a:pt x="640058" y="859236"/>
                      <a:pt x="643470" y="857682"/>
                    </a:cubicBezTo>
                    <a:lnTo>
                      <a:pt x="653666" y="852944"/>
                    </a:lnTo>
                    <a:lnTo>
                      <a:pt x="670648" y="845040"/>
                    </a:lnTo>
                    <a:lnTo>
                      <a:pt x="877360" y="748750"/>
                    </a:lnTo>
                    <a:lnTo>
                      <a:pt x="903196" y="736721"/>
                    </a:lnTo>
                    <a:lnTo>
                      <a:pt x="916115" y="730697"/>
                    </a:lnTo>
                    <a:lnTo>
                      <a:pt x="919354" y="729201"/>
                    </a:lnTo>
                    <a:lnTo>
                      <a:pt x="920964" y="728453"/>
                    </a:lnTo>
                    <a:lnTo>
                      <a:pt x="922325" y="727762"/>
                    </a:lnTo>
                    <a:lnTo>
                      <a:pt x="927729" y="725019"/>
                    </a:lnTo>
                    <a:cubicBezTo>
                      <a:pt x="934745" y="721028"/>
                      <a:pt x="941357" y="716328"/>
                      <a:pt x="947375" y="710956"/>
                    </a:cubicBezTo>
                    <a:cubicBezTo>
                      <a:pt x="953432" y="705603"/>
                      <a:pt x="958684" y="699387"/>
                      <a:pt x="963360" y="692807"/>
                    </a:cubicBezTo>
                    <a:lnTo>
                      <a:pt x="965085" y="690313"/>
                    </a:lnTo>
                    <a:lnTo>
                      <a:pt x="965948" y="689066"/>
                    </a:lnTo>
                    <a:lnTo>
                      <a:pt x="966714" y="687761"/>
                    </a:lnTo>
                    <a:lnTo>
                      <a:pt x="969781" y="682543"/>
                    </a:lnTo>
                    <a:lnTo>
                      <a:pt x="972484" y="677114"/>
                    </a:lnTo>
                    <a:cubicBezTo>
                      <a:pt x="973442" y="675330"/>
                      <a:pt x="974055" y="673392"/>
                      <a:pt x="974879" y="671550"/>
                    </a:cubicBezTo>
                    <a:cubicBezTo>
                      <a:pt x="977831" y="664049"/>
                      <a:pt x="980169" y="656260"/>
                      <a:pt x="981339" y="648260"/>
                    </a:cubicBezTo>
                    <a:cubicBezTo>
                      <a:pt x="981741" y="646283"/>
                      <a:pt x="981798" y="644250"/>
                      <a:pt x="982067" y="642255"/>
                    </a:cubicBezTo>
                    <a:cubicBezTo>
                      <a:pt x="982163" y="641257"/>
                      <a:pt x="982316" y="640240"/>
                      <a:pt x="982393" y="639243"/>
                    </a:cubicBezTo>
                    <a:lnTo>
                      <a:pt x="982488" y="636211"/>
                    </a:lnTo>
                    <a:lnTo>
                      <a:pt x="982603" y="633180"/>
                    </a:lnTo>
                    <a:lnTo>
                      <a:pt x="982661" y="631665"/>
                    </a:lnTo>
                    <a:lnTo>
                      <a:pt x="982661" y="109162"/>
                    </a:lnTo>
                    <a:cubicBezTo>
                      <a:pt x="982680" y="106630"/>
                      <a:pt x="982603" y="104769"/>
                      <a:pt x="982565" y="102716"/>
                    </a:cubicBezTo>
                    <a:cubicBezTo>
                      <a:pt x="982565" y="100683"/>
                      <a:pt x="982297" y="98687"/>
                      <a:pt x="982182" y="96654"/>
                    </a:cubicBezTo>
                    <a:close/>
                    <a:moveTo>
                      <a:pt x="106575" y="39022"/>
                    </a:moveTo>
                    <a:lnTo>
                      <a:pt x="135057" y="39022"/>
                    </a:lnTo>
                    <a:cubicBezTo>
                      <a:pt x="135057" y="39022"/>
                      <a:pt x="192058" y="39022"/>
                      <a:pt x="192058" y="39022"/>
                    </a:cubicBezTo>
                    <a:lnTo>
                      <a:pt x="876076" y="39022"/>
                    </a:lnTo>
                    <a:cubicBezTo>
                      <a:pt x="883895" y="39061"/>
                      <a:pt x="891505" y="40365"/>
                      <a:pt x="898692" y="42917"/>
                    </a:cubicBezTo>
                    <a:lnTo>
                      <a:pt x="528317" y="191197"/>
                    </a:lnTo>
                    <a:cubicBezTo>
                      <a:pt x="503381" y="201193"/>
                      <a:pt x="476030" y="200886"/>
                      <a:pt x="451305" y="190334"/>
                    </a:cubicBezTo>
                    <a:lnTo>
                      <a:pt x="98084" y="39598"/>
                    </a:lnTo>
                    <a:cubicBezTo>
                      <a:pt x="100883" y="39252"/>
                      <a:pt x="103700" y="39041"/>
                      <a:pt x="106556" y="39022"/>
                    </a:cubicBezTo>
                    <a:close/>
                    <a:moveTo>
                      <a:pt x="255749" y="773441"/>
                    </a:moveTo>
                    <a:lnTo>
                      <a:pt x="153188" y="723637"/>
                    </a:lnTo>
                    <a:lnTo>
                      <a:pt x="101899" y="698735"/>
                    </a:lnTo>
                    <a:lnTo>
                      <a:pt x="76656" y="686438"/>
                    </a:lnTo>
                    <a:cubicBezTo>
                      <a:pt x="72037" y="684174"/>
                      <a:pt x="67782" y="681296"/>
                      <a:pt x="63795" y="678092"/>
                    </a:cubicBezTo>
                    <a:cubicBezTo>
                      <a:pt x="62856" y="677229"/>
                      <a:pt x="61783" y="676500"/>
                      <a:pt x="60882" y="675598"/>
                    </a:cubicBezTo>
                    <a:cubicBezTo>
                      <a:pt x="59981" y="674696"/>
                      <a:pt x="59061" y="673795"/>
                      <a:pt x="58122" y="672931"/>
                    </a:cubicBezTo>
                    <a:cubicBezTo>
                      <a:pt x="56435" y="670994"/>
                      <a:pt x="54634" y="669171"/>
                      <a:pt x="53139" y="667080"/>
                    </a:cubicBezTo>
                    <a:cubicBezTo>
                      <a:pt x="50053" y="662994"/>
                      <a:pt x="47255" y="658658"/>
                      <a:pt x="45165" y="653957"/>
                    </a:cubicBezTo>
                    <a:cubicBezTo>
                      <a:pt x="43076" y="649276"/>
                      <a:pt x="41485" y="644384"/>
                      <a:pt x="40412" y="639396"/>
                    </a:cubicBezTo>
                    <a:cubicBezTo>
                      <a:pt x="40220" y="638130"/>
                      <a:pt x="39990" y="636883"/>
                      <a:pt x="39722" y="635617"/>
                    </a:cubicBezTo>
                    <a:lnTo>
                      <a:pt x="39320" y="631799"/>
                    </a:lnTo>
                    <a:cubicBezTo>
                      <a:pt x="39090" y="630533"/>
                      <a:pt x="39185" y="629228"/>
                      <a:pt x="39109" y="627962"/>
                    </a:cubicBezTo>
                    <a:lnTo>
                      <a:pt x="39013" y="626043"/>
                    </a:lnTo>
                    <a:lnTo>
                      <a:pt x="39013" y="625794"/>
                    </a:lnTo>
                    <a:cubicBezTo>
                      <a:pt x="39013" y="625794"/>
                      <a:pt x="39013" y="625353"/>
                      <a:pt x="39013" y="625353"/>
                    </a:cubicBezTo>
                    <a:lnTo>
                      <a:pt x="39013" y="106592"/>
                    </a:lnTo>
                    <a:cubicBezTo>
                      <a:pt x="39013" y="106592"/>
                      <a:pt x="39032" y="106112"/>
                      <a:pt x="39032" y="106112"/>
                    </a:cubicBezTo>
                    <a:lnTo>
                      <a:pt x="39090" y="104155"/>
                    </a:lnTo>
                    <a:cubicBezTo>
                      <a:pt x="39051" y="102851"/>
                      <a:pt x="39281" y="101584"/>
                      <a:pt x="39320" y="100280"/>
                    </a:cubicBezTo>
                    <a:cubicBezTo>
                      <a:pt x="39415" y="98994"/>
                      <a:pt x="39645" y="97728"/>
                      <a:pt x="39760" y="96462"/>
                    </a:cubicBezTo>
                    <a:lnTo>
                      <a:pt x="40450" y="92702"/>
                    </a:lnTo>
                    <a:cubicBezTo>
                      <a:pt x="41524" y="87714"/>
                      <a:pt x="43134" y="82879"/>
                      <a:pt x="45261" y="78236"/>
                    </a:cubicBezTo>
                    <a:cubicBezTo>
                      <a:pt x="48328" y="71560"/>
                      <a:pt x="52602" y="65382"/>
                      <a:pt x="57739" y="60011"/>
                    </a:cubicBezTo>
                    <a:lnTo>
                      <a:pt x="437774" y="222200"/>
                    </a:lnTo>
                    <a:cubicBezTo>
                      <a:pt x="449216" y="227073"/>
                      <a:pt x="461080" y="230296"/>
                      <a:pt x="473079" y="231908"/>
                    </a:cubicBezTo>
                    <a:lnTo>
                      <a:pt x="473079" y="856838"/>
                    </a:lnTo>
                    <a:cubicBezTo>
                      <a:pt x="423629" y="853558"/>
                      <a:pt x="388880" y="839649"/>
                      <a:pt x="382363" y="836867"/>
                    </a:cubicBezTo>
                    <a:cubicBezTo>
                      <a:pt x="382191" y="836733"/>
                      <a:pt x="382037" y="836579"/>
                      <a:pt x="381865" y="836445"/>
                    </a:cubicBezTo>
                    <a:cubicBezTo>
                      <a:pt x="378319" y="833625"/>
                      <a:pt x="374313" y="831073"/>
                      <a:pt x="369943" y="828886"/>
                    </a:cubicBezTo>
                    <a:lnTo>
                      <a:pt x="255768" y="773441"/>
                    </a:lnTo>
                    <a:close/>
                    <a:moveTo>
                      <a:pt x="576943" y="1291378"/>
                    </a:moveTo>
                    <a:lnTo>
                      <a:pt x="576943" y="1709456"/>
                    </a:lnTo>
                    <a:cubicBezTo>
                      <a:pt x="576943" y="1709456"/>
                      <a:pt x="576923" y="1709993"/>
                      <a:pt x="576923" y="1709993"/>
                    </a:cubicBezTo>
                    <a:lnTo>
                      <a:pt x="576885" y="1711068"/>
                    </a:lnTo>
                    <a:cubicBezTo>
                      <a:pt x="576828" y="1712506"/>
                      <a:pt x="576885" y="1713945"/>
                      <a:pt x="576693" y="1715365"/>
                    </a:cubicBezTo>
                    <a:cubicBezTo>
                      <a:pt x="576310" y="1721063"/>
                      <a:pt x="575371" y="1726665"/>
                      <a:pt x="573876" y="1732094"/>
                    </a:cubicBezTo>
                    <a:cubicBezTo>
                      <a:pt x="570905" y="1742972"/>
                      <a:pt x="565711" y="1753274"/>
                      <a:pt x="558696" y="1762234"/>
                    </a:cubicBezTo>
                    <a:cubicBezTo>
                      <a:pt x="551681" y="1771193"/>
                      <a:pt x="542845" y="1778752"/>
                      <a:pt x="532955" y="1784277"/>
                    </a:cubicBezTo>
                    <a:cubicBezTo>
                      <a:pt x="523065" y="1789822"/>
                      <a:pt x="512159" y="1793313"/>
                      <a:pt x="500890" y="1794541"/>
                    </a:cubicBezTo>
                    <a:cubicBezTo>
                      <a:pt x="495255" y="1795155"/>
                      <a:pt x="489447" y="1795213"/>
                      <a:pt x="483774" y="1794733"/>
                    </a:cubicBezTo>
                    <a:cubicBezTo>
                      <a:pt x="478100" y="1794234"/>
                      <a:pt x="472542" y="1793198"/>
                      <a:pt x="467118" y="1791606"/>
                    </a:cubicBezTo>
                    <a:cubicBezTo>
                      <a:pt x="456308" y="1788440"/>
                      <a:pt x="446111" y="1783050"/>
                      <a:pt x="437276" y="1775855"/>
                    </a:cubicBezTo>
                    <a:cubicBezTo>
                      <a:pt x="428440" y="1768680"/>
                      <a:pt x="421061" y="1759682"/>
                      <a:pt x="415751" y="1749668"/>
                    </a:cubicBezTo>
                    <a:cubicBezTo>
                      <a:pt x="410423" y="1739653"/>
                      <a:pt x="407146" y="1728699"/>
                      <a:pt x="406111" y="1717360"/>
                    </a:cubicBezTo>
                    <a:cubicBezTo>
                      <a:pt x="406053" y="1715940"/>
                      <a:pt x="405842" y="1714521"/>
                      <a:pt x="405823" y="1713082"/>
                    </a:cubicBezTo>
                    <a:lnTo>
                      <a:pt x="405766" y="1710933"/>
                    </a:lnTo>
                    <a:lnTo>
                      <a:pt x="405727" y="1709859"/>
                    </a:lnTo>
                    <a:lnTo>
                      <a:pt x="405727" y="1709264"/>
                    </a:lnTo>
                    <a:cubicBezTo>
                      <a:pt x="405727" y="1709264"/>
                      <a:pt x="405727" y="1708382"/>
                      <a:pt x="405727" y="1708382"/>
                    </a:cubicBezTo>
                    <a:lnTo>
                      <a:pt x="405727" y="896110"/>
                    </a:lnTo>
                    <a:cubicBezTo>
                      <a:pt x="405708" y="892407"/>
                      <a:pt x="405766" y="888666"/>
                      <a:pt x="405689" y="884983"/>
                    </a:cubicBezTo>
                    <a:cubicBezTo>
                      <a:pt x="427922" y="890757"/>
                      <a:pt x="458090" y="896148"/>
                      <a:pt x="493376" y="896148"/>
                    </a:cubicBezTo>
                    <a:cubicBezTo>
                      <a:pt x="518925" y="896148"/>
                      <a:pt x="547139" y="893309"/>
                      <a:pt x="576962" y="885769"/>
                    </a:cubicBezTo>
                    <a:cubicBezTo>
                      <a:pt x="576962" y="885904"/>
                      <a:pt x="576962" y="886057"/>
                      <a:pt x="576962" y="886191"/>
                    </a:cubicBezTo>
                    <a:lnTo>
                      <a:pt x="576962" y="1291378"/>
                    </a:lnTo>
                    <a:close/>
                    <a:moveTo>
                      <a:pt x="943695" y="365915"/>
                    </a:moveTo>
                    <a:lnTo>
                      <a:pt x="943695" y="631588"/>
                    </a:lnTo>
                    <a:lnTo>
                      <a:pt x="943638" y="632585"/>
                    </a:lnTo>
                    <a:lnTo>
                      <a:pt x="943561" y="634504"/>
                    </a:lnTo>
                    <a:lnTo>
                      <a:pt x="943523" y="636422"/>
                    </a:lnTo>
                    <a:cubicBezTo>
                      <a:pt x="943465" y="637056"/>
                      <a:pt x="943369" y="637689"/>
                      <a:pt x="943293" y="638322"/>
                    </a:cubicBezTo>
                    <a:cubicBezTo>
                      <a:pt x="943101" y="639588"/>
                      <a:pt x="943120" y="640893"/>
                      <a:pt x="942833" y="642140"/>
                    </a:cubicBezTo>
                    <a:cubicBezTo>
                      <a:pt x="942124" y="647224"/>
                      <a:pt x="940571" y="652135"/>
                      <a:pt x="938731" y="656893"/>
                    </a:cubicBezTo>
                    <a:cubicBezTo>
                      <a:pt x="938194" y="658044"/>
                      <a:pt x="937869" y="659310"/>
                      <a:pt x="937217" y="660423"/>
                    </a:cubicBezTo>
                    <a:cubicBezTo>
                      <a:pt x="936623" y="661555"/>
                      <a:pt x="936067" y="662706"/>
                      <a:pt x="935511" y="663876"/>
                    </a:cubicBezTo>
                    <a:cubicBezTo>
                      <a:pt x="934840" y="664970"/>
                      <a:pt x="934170" y="666063"/>
                      <a:pt x="933537" y="667176"/>
                    </a:cubicBezTo>
                    <a:lnTo>
                      <a:pt x="933077" y="668020"/>
                    </a:lnTo>
                    <a:lnTo>
                      <a:pt x="932521" y="668807"/>
                    </a:lnTo>
                    <a:lnTo>
                      <a:pt x="931429" y="670380"/>
                    </a:lnTo>
                    <a:cubicBezTo>
                      <a:pt x="928458" y="674543"/>
                      <a:pt x="925161" y="678533"/>
                      <a:pt x="921309" y="681891"/>
                    </a:cubicBezTo>
                    <a:cubicBezTo>
                      <a:pt x="917475" y="685267"/>
                      <a:pt x="913297" y="688260"/>
                      <a:pt x="908870" y="690812"/>
                    </a:cubicBezTo>
                    <a:cubicBezTo>
                      <a:pt x="907700" y="691368"/>
                      <a:pt x="906570" y="691944"/>
                      <a:pt x="905439" y="692538"/>
                    </a:cubicBezTo>
                    <a:lnTo>
                      <a:pt x="904557" y="693018"/>
                    </a:lnTo>
                    <a:lnTo>
                      <a:pt x="902947" y="693766"/>
                    </a:lnTo>
                    <a:lnTo>
                      <a:pt x="899708" y="695263"/>
                    </a:lnTo>
                    <a:lnTo>
                      <a:pt x="886790" y="701287"/>
                    </a:lnTo>
                    <a:lnTo>
                      <a:pt x="860953" y="713316"/>
                    </a:lnTo>
                    <a:lnTo>
                      <a:pt x="654241" y="809605"/>
                    </a:lnTo>
                    <a:lnTo>
                      <a:pt x="633906" y="819082"/>
                    </a:lnTo>
                    <a:lnTo>
                      <a:pt x="618534" y="826238"/>
                    </a:lnTo>
                    <a:cubicBezTo>
                      <a:pt x="613378" y="828560"/>
                      <a:pt x="608299" y="831073"/>
                      <a:pt x="603967" y="834162"/>
                    </a:cubicBezTo>
                    <a:cubicBezTo>
                      <a:pt x="601706" y="835773"/>
                      <a:pt x="599578" y="837500"/>
                      <a:pt x="597604" y="839284"/>
                    </a:cubicBezTo>
                    <a:cubicBezTo>
                      <a:pt x="565826" y="850929"/>
                      <a:pt x="535293" y="855994"/>
                      <a:pt x="507674" y="857222"/>
                    </a:cubicBezTo>
                    <a:lnTo>
                      <a:pt x="507674" y="232023"/>
                    </a:lnTo>
                    <a:cubicBezTo>
                      <a:pt x="519040" y="230584"/>
                      <a:pt x="530291" y="227725"/>
                      <a:pt x="541197" y="223351"/>
                    </a:cubicBezTo>
                    <a:lnTo>
                      <a:pt x="931007" y="67282"/>
                    </a:lnTo>
                    <a:cubicBezTo>
                      <a:pt x="936527" y="74879"/>
                      <a:pt x="940284" y="83608"/>
                      <a:pt x="942258" y="92702"/>
                    </a:cubicBezTo>
                    <a:lnTo>
                      <a:pt x="942948" y="96462"/>
                    </a:lnTo>
                    <a:cubicBezTo>
                      <a:pt x="943063" y="97747"/>
                      <a:pt x="943312" y="98994"/>
                      <a:pt x="943389" y="100280"/>
                    </a:cubicBezTo>
                    <a:cubicBezTo>
                      <a:pt x="943427" y="101565"/>
                      <a:pt x="943657" y="102831"/>
                      <a:pt x="943619" y="104155"/>
                    </a:cubicBezTo>
                    <a:lnTo>
                      <a:pt x="943676" y="106112"/>
                    </a:lnTo>
                    <a:lnTo>
                      <a:pt x="943676" y="106592"/>
                    </a:lnTo>
                    <a:cubicBezTo>
                      <a:pt x="943676" y="106592"/>
                      <a:pt x="943695" y="107397"/>
                      <a:pt x="943695" y="107397"/>
                    </a:cubicBezTo>
                    <a:lnTo>
                      <a:pt x="943695" y="365915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90" name="Freeform 37">
                <a:extLst>
                  <a:ext uri="{FF2B5EF4-FFF2-40B4-BE49-F238E27FC236}">
                    <a16:creationId xmlns:a16="http://schemas.microsoft.com/office/drawing/2014/main" id="{1E10B1C6-3508-6589-6EFD-95BB3B2CAAA0}"/>
                  </a:ext>
                </a:extLst>
              </p:cNvPr>
              <p:cNvSpPr/>
              <p:nvPr/>
            </p:nvSpPr>
            <p:spPr>
              <a:xfrm>
                <a:off x="2688112" y="2788260"/>
                <a:ext cx="1135965" cy="1987582"/>
              </a:xfrm>
              <a:custGeom>
                <a:avLst/>
                <a:gdLst>
                  <a:gd name="connsiteX0" fmla="*/ 1135870 w 1135965"/>
                  <a:gd name="connsiteY0" fmla="*/ 176674 h 1987582"/>
                  <a:gd name="connsiteX1" fmla="*/ 1135218 w 1135965"/>
                  <a:gd name="connsiteY1" fmla="*/ 166314 h 1987582"/>
                  <a:gd name="connsiteX2" fmla="*/ 1133972 w 1135965"/>
                  <a:gd name="connsiteY2" fmla="*/ 155974 h 1987582"/>
                  <a:gd name="connsiteX3" fmla="*/ 1132113 w 1135965"/>
                  <a:gd name="connsiteY3" fmla="*/ 145710 h 1987582"/>
                  <a:gd name="connsiteX4" fmla="*/ 1097268 w 1135965"/>
                  <a:gd name="connsiteY4" fmla="*/ 70697 h 1987582"/>
                  <a:gd name="connsiteX5" fmla="*/ 1033252 w 1135965"/>
                  <a:gd name="connsiteY5" fmla="*/ 18648 h 1987582"/>
                  <a:gd name="connsiteX6" fmla="*/ 952771 w 1135965"/>
                  <a:gd name="connsiteY6" fmla="*/ 0 h 1987582"/>
                  <a:gd name="connsiteX7" fmla="*/ 183233 w 1135965"/>
                  <a:gd name="connsiteY7" fmla="*/ 0 h 1987582"/>
                  <a:gd name="connsiteX8" fmla="*/ 142005 w 1135965"/>
                  <a:gd name="connsiteY8" fmla="*/ 4719 h 1987582"/>
                  <a:gd name="connsiteX9" fmla="*/ 102752 w 1135965"/>
                  <a:gd name="connsiteY9" fmla="*/ 18629 h 1987582"/>
                  <a:gd name="connsiteX10" fmla="*/ 67754 w 1135965"/>
                  <a:gd name="connsiteY10" fmla="*/ 41037 h 1987582"/>
                  <a:gd name="connsiteX11" fmla="*/ 17058 w 1135965"/>
                  <a:gd name="connsiteY11" fmla="*/ 106170 h 1987582"/>
                  <a:gd name="connsiteX12" fmla="*/ 3910 w 1135965"/>
                  <a:gd name="connsiteY12" fmla="*/ 145729 h 1987582"/>
                  <a:gd name="connsiteX13" fmla="*/ 2070 w 1135965"/>
                  <a:gd name="connsiteY13" fmla="*/ 155993 h 1987582"/>
                  <a:gd name="connsiteX14" fmla="*/ 824 w 1135965"/>
                  <a:gd name="connsiteY14" fmla="*/ 166334 h 1987582"/>
                  <a:gd name="connsiteX15" fmla="*/ 172 w 1135965"/>
                  <a:gd name="connsiteY15" fmla="*/ 176693 h 1987582"/>
                  <a:gd name="connsiteX16" fmla="*/ 38 w 1135965"/>
                  <a:gd name="connsiteY16" fmla="*/ 181873 h 1987582"/>
                  <a:gd name="connsiteX17" fmla="*/ 0 w 1135965"/>
                  <a:gd name="connsiteY17" fmla="*/ 184137 h 1987582"/>
                  <a:gd name="connsiteX18" fmla="*/ 0 w 1135965"/>
                  <a:gd name="connsiteY18" fmla="*/ 703224 h 1987582"/>
                  <a:gd name="connsiteX19" fmla="*/ 172 w 1135965"/>
                  <a:gd name="connsiteY19" fmla="*/ 708424 h 1987582"/>
                  <a:gd name="connsiteX20" fmla="*/ 786 w 1135965"/>
                  <a:gd name="connsiteY20" fmla="*/ 718822 h 1987582"/>
                  <a:gd name="connsiteX21" fmla="*/ 1955 w 1135965"/>
                  <a:gd name="connsiteY21" fmla="*/ 729182 h 1987582"/>
                  <a:gd name="connsiteX22" fmla="*/ 3776 w 1135965"/>
                  <a:gd name="connsiteY22" fmla="*/ 739446 h 1987582"/>
                  <a:gd name="connsiteX23" fmla="*/ 16694 w 1135965"/>
                  <a:gd name="connsiteY23" fmla="*/ 778986 h 1987582"/>
                  <a:gd name="connsiteX24" fmla="*/ 38199 w 1135965"/>
                  <a:gd name="connsiteY24" fmla="*/ 814555 h 1987582"/>
                  <a:gd name="connsiteX25" fmla="*/ 51769 w 1135965"/>
                  <a:gd name="connsiteY25" fmla="*/ 830344 h 1987582"/>
                  <a:gd name="connsiteX26" fmla="*/ 59244 w 1135965"/>
                  <a:gd name="connsiteY26" fmla="*/ 837596 h 1987582"/>
                  <a:gd name="connsiteX27" fmla="*/ 67121 w 1135965"/>
                  <a:gd name="connsiteY27" fmla="*/ 844407 h 1987582"/>
                  <a:gd name="connsiteX28" fmla="*/ 102024 w 1135965"/>
                  <a:gd name="connsiteY28" fmla="*/ 866968 h 1987582"/>
                  <a:gd name="connsiteX29" fmla="*/ 128033 w 1135965"/>
                  <a:gd name="connsiteY29" fmla="*/ 879630 h 1987582"/>
                  <a:gd name="connsiteX30" fmla="*/ 179323 w 1135965"/>
                  <a:gd name="connsiteY30" fmla="*/ 904532 h 1987582"/>
                  <a:gd name="connsiteX31" fmla="*/ 281883 w 1135965"/>
                  <a:gd name="connsiteY31" fmla="*/ 954336 h 1987582"/>
                  <a:gd name="connsiteX32" fmla="*/ 366714 w 1135965"/>
                  <a:gd name="connsiteY32" fmla="*/ 995526 h 1987582"/>
                  <a:gd name="connsiteX33" fmla="*/ 366714 w 1135965"/>
                  <a:gd name="connsiteY33" fmla="*/ 1787193 h 1987582"/>
                  <a:gd name="connsiteX34" fmla="*/ 366791 w 1135965"/>
                  <a:gd name="connsiteY34" fmla="*/ 1789687 h 1987582"/>
                  <a:gd name="connsiteX35" fmla="*/ 366925 w 1135965"/>
                  <a:gd name="connsiteY35" fmla="*/ 1794676 h 1987582"/>
                  <a:gd name="connsiteX36" fmla="*/ 367596 w 1135965"/>
                  <a:gd name="connsiteY36" fmla="*/ 1804633 h 1987582"/>
                  <a:gd name="connsiteX37" fmla="*/ 390385 w 1135965"/>
                  <a:gd name="connsiteY37" fmla="*/ 1880931 h 1987582"/>
                  <a:gd name="connsiteX38" fmla="*/ 440813 w 1135965"/>
                  <a:gd name="connsiteY38" fmla="*/ 1942285 h 1987582"/>
                  <a:gd name="connsiteX39" fmla="*/ 511135 w 1135965"/>
                  <a:gd name="connsiteY39" fmla="*/ 1979407 h 1987582"/>
                  <a:gd name="connsiteX40" fmla="*/ 550407 w 1135965"/>
                  <a:gd name="connsiteY40" fmla="*/ 1986813 h 1987582"/>
                  <a:gd name="connsiteX41" fmla="*/ 590197 w 1135965"/>
                  <a:gd name="connsiteY41" fmla="*/ 1986372 h 1987582"/>
                  <a:gd name="connsiteX42" fmla="*/ 665982 w 1135965"/>
                  <a:gd name="connsiteY42" fmla="*/ 1962122 h 1987582"/>
                  <a:gd name="connsiteX43" fmla="*/ 726299 w 1135965"/>
                  <a:gd name="connsiteY43" fmla="*/ 1910495 h 1987582"/>
                  <a:gd name="connsiteX44" fmla="*/ 762083 w 1135965"/>
                  <a:gd name="connsiteY44" fmla="*/ 1839415 h 1987582"/>
                  <a:gd name="connsiteX45" fmla="*/ 768734 w 1135965"/>
                  <a:gd name="connsiteY45" fmla="*/ 1799990 h 1987582"/>
                  <a:gd name="connsiteX46" fmla="*/ 769155 w 1135965"/>
                  <a:gd name="connsiteY46" fmla="*/ 1790033 h 1987582"/>
                  <a:gd name="connsiteX47" fmla="*/ 769213 w 1135965"/>
                  <a:gd name="connsiteY47" fmla="*/ 1787539 h 1987582"/>
                  <a:gd name="connsiteX48" fmla="*/ 769213 w 1135965"/>
                  <a:gd name="connsiteY48" fmla="*/ 1785371 h 1987582"/>
                  <a:gd name="connsiteX49" fmla="*/ 769232 w 1135965"/>
                  <a:gd name="connsiteY49" fmla="*/ 1781802 h 1987582"/>
                  <a:gd name="connsiteX50" fmla="*/ 769232 w 1135965"/>
                  <a:gd name="connsiteY50" fmla="*/ 996198 h 1987582"/>
                  <a:gd name="connsiteX51" fmla="*/ 779640 w 1135965"/>
                  <a:gd name="connsiteY51" fmla="*/ 991344 h 1987582"/>
                  <a:gd name="connsiteX52" fmla="*/ 986351 w 1135965"/>
                  <a:gd name="connsiteY52" fmla="*/ 895055 h 1987582"/>
                  <a:gd name="connsiteX53" fmla="*/ 1012188 w 1135965"/>
                  <a:gd name="connsiteY53" fmla="*/ 883026 h 1987582"/>
                  <a:gd name="connsiteX54" fmla="*/ 1025106 w 1135965"/>
                  <a:gd name="connsiteY54" fmla="*/ 877002 h 1987582"/>
                  <a:gd name="connsiteX55" fmla="*/ 1028345 w 1135965"/>
                  <a:gd name="connsiteY55" fmla="*/ 875505 h 1987582"/>
                  <a:gd name="connsiteX56" fmla="*/ 1029955 w 1135965"/>
                  <a:gd name="connsiteY56" fmla="*/ 874757 h 1987582"/>
                  <a:gd name="connsiteX57" fmla="*/ 1032255 w 1135965"/>
                  <a:gd name="connsiteY57" fmla="*/ 873606 h 1987582"/>
                  <a:gd name="connsiteX58" fmla="*/ 1041513 w 1135965"/>
                  <a:gd name="connsiteY58" fmla="*/ 868867 h 1987582"/>
                  <a:gd name="connsiteX59" fmla="*/ 1075342 w 1135965"/>
                  <a:gd name="connsiteY59" fmla="*/ 844675 h 1987582"/>
                  <a:gd name="connsiteX60" fmla="*/ 1102827 w 1135965"/>
                  <a:gd name="connsiteY60" fmla="*/ 813500 h 1987582"/>
                  <a:gd name="connsiteX61" fmla="*/ 1105759 w 1135965"/>
                  <a:gd name="connsiteY61" fmla="*/ 809202 h 1987582"/>
                  <a:gd name="connsiteX62" fmla="*/ 1107216 w 1135965"/>
                  <a:gd name="connsiteY62" fmla="*/ 807053 h 1987582"/>
                  <a:gd name="connsiteX63" fmla="*/ 1108557 w 1135965"/>
                  <a:gd name="connsiteY63" fmla="*/ 804828 h 1987582"/>
                  <a:gd name="connsiteX64" fmla="*/ 1113809 w 1135965"/>
                  <a:gd name="connsiteY64" fmla="*/ 795830 h 1987582"/>
                  <a:gd name="connsiteX65" fmla="*/ 1118467 w 1135965"/>
                  <a:gd name="connsiteY65" fmla="*/ 786525 h 1987582"/>
                  <a:gd name="connsiteX66" fmla="*/ 1122607 w 1135965"/>
                  <a:gd name="connsiteY66" fmla="*/ 776971 h 1987582"/>
                  <a:gd name="connsiteX67" fmla="*/ 1133704 w 1135965"/>
                  <a:gd name="connsiteY67" fmla="*/ 736875 h 1987582"/>
                  <a:gd name="connsiteX68" fmla="*/ 1134988 w 1135965"/>
                  <a:gd name="connsiteY68" fmla="*/ 726534 h 1987582"/>
                  <a:gd name="connsiteX69" fmla="*/ 1135487 w 1135965"/>
                  <a:gd name="connsiteY69" fmla="*/ 721354 h 1987582"/>
                  <a:gd name="connsiteX70" fmla="*/ 1135716 w 1135965"/>
                  <a:gd name="connsiteY70" fmla="*/ 716155 h 1987582"/>
                  <a:gd name="connsiteX71" fmla="*/ 1135889 w 1135965"/>
                  <a:gd name="connsiteY71" fmla="*/ 710956 h 1987582"/>
                  <a:gd name="connsiteX72" fmla="*/ 1135966 w 1135965"/>
                  <a:gd name="connsiteY72" fmla="*/ 708385 h 1987582"/>
                  <a:gd name="connsiteX73" fmla="*/ 1135966 w 1135965"/>
                  <a:gd name="connsiteY73" fmla="*/ 184118 h 1987582"/>
                  <a:gd name="connsiteX74" fmla="*/ 1135927 w 1135965"/>
                  <a:gd name="connsiteY74" fmla="*/ 181835 h 1987582"/>
                  <a:gd name="connsiteX75" fmla="*/ 1135793 w 1135965"/>
                  <a:gd name="connsiteY75" fmla="*/ 176655 h 1987582"/>
                  <a:gd name="connsiteX76" fmla="*/ 1097038 w 1135965"/>
                  <a:gd name="connsiteY76" fmla="*/ 442674 h 1987582"/>
                  <a:gd name="connsiteX77" fmla="*/ 1097038 w 1135965"/>
                  <a:gd name="connsiteY77" fmla="*/ 708347 h 1987582"/>
                  <a:gd name="connsiteX78" fmla="*/ 1096981 w 1135965"/>
                  <a:gd name="connsiteY78" fmla="*/ 710380 h 1987582"/>
                  <a:gd name="connsiteX79" fmla="*/ 1096847 w 1135965"/>
                  <a:gd name="connsiteY79" fmla="*/ 714486 h 1987582"/>
                  <a:gd name="connsiteX80" fmla="*/ 1096693 w 1135965"/>
                  <a:gd name="connsiteY80" fmla="*/ 718592 h 1987582"/>
                  <a:gd name="connsiteX81" fmla="*/ 1096272 w 1135965"/>
                  <a:gd name="connsiteY81" fmla="*/ 722678 h 1987582"/>
                  <a:gd name="connsiteX82" fmla="*/ 1095256 w 1135965"/>
                  <a:gd name="connsiteY82" fmla="*/ 730812 h 1987582"/>
                  <a:gd name="connsiteX83" fmla="*/ 1086516 w 1135965"/>
                  <a:gd name="connsiteY83" fmla="*/ 762372 h 1987582"/>
                  <a:gd name="connsiteX84" fmla="*/ 1083258 w 1135965"/>
                  <a:gd name="connsiteY84" fmla="*/ 769892 h 1987582"/>
                  <a:gd name="connsiteX85" fmla="*/ 1079597 w 1135965"/>
                  <a:gd name="connsiteY85" fmla="*/ 777221 h 1987582"/>
                  <a:gd name="connsiteX86" fmla="*/ 1075457 w 1135965"/>
                  <a:gd name="connsiteY86" fmla="*/ 784300 h 1987582"/>
                  <a:gd name="connsiteX87" fmla="*/ 1074403 w 1135965"/>
                  <a:gd name="connsiteY87" fmla="*/ 786065 h 1987582"/>
                  <a:gd name="connsiteX88" fmla="*/ 1073253 w 1135965"/>
                  <a:gd name="connsiteY88" fmla="*/ 787753 h 1987582"/>
                  <a:gd name="connsiteX89" fmla="*/ 1070933 w 1135965"/>
                  <a:gd name="connsiteY89" fmla="*/ 791130 h 1987582"/>
                  <a:gd name="connsiteX90" fmla="*/ 1049294 w 1135965"/>
                  <a:gd name="connsiteY90" fmla="*/ 815687 h 1987582"/>
                  <a:gd name="connsiteX91" fmla="*/ 1022672 w 1135965"/>
                  <a:gd name="connsiteY91" fmla="*/ 834718 h 1987582"/>
                  <a:gd name="connsiteX92" fmla="*/ 1015369 w 1135965"/>
                  <a:gd name="connsiteY92" fmla="*/ 838440 h 1987582"/>
                  <a:gd name="connsiteX93" fmla="*/ 1013549 w 1135965"/>
                  <a:gd name="connsiteY93" fmla="*/ 839361 h 1987582"/>
                  <a:gd name="connsiteX94" fmla="*/ 1011939 w 1135965"/>
                  <a:gd name="connsiteY94" fmla="*/ 840109 h 1987582"/>
                  <a:gd name="connsiteX95" fmla="*/ 1008700 w 1135965"/>
                  <a:gd name="connsiteY95" fmla="*/ 841605 h 1987582"/>
                  <a:gd name="connsiteX96" fmla="*/ 995781 w 1135965"/>
                  <a:gd name="connsiteY96" fmla="*/ 847630 h 1987582"/>
                  <a:gd name="connsiteX97" fmla="*/ 969945 w 1135965"/>
                  <a:gd name="connsiteY97" fmla="*/ 859659 h 1987582"/>
                  <a:gd name="connsiteX98" fmla="*/ 763233 w 1135965"/>
                  <a:gd name="connsiteY98" fmla="*/ 955948 h 1987582"/>
                  <a:gd name="connsiteX99" fmla="*/ 739121 w 1135965"/>
                  <a:gd name="connsiteY99" fmla="*/ 967190 h 1987582"/>
                  <a:gd name="connsiteX100" fmla="*/ 733946 w 1135965"/>
                  <a:gd name="connsiteY100" fmla="*/ 969607 h 1987582"/>
                  <a:gd name="connsiteX101" fmla="*/ 731474 w 1135965"/>
                  <a:gd name="connsiteY101" fmla="*/ 971008 h 1987582"/>
                  <a:gd name="connsiteX102" fmla="*/ 730305 w 1135965"/>
                  <a:gd name="connsiteY102" fmla="*/ 973540 h 1987582"/>
                  <a:gd name="connsiteX103" fmla="*/ 730305 w 1135965"/>
                  <a:gd name="connsiteY103" fmla="*/ 984975 h 1987582"/>
                  <a:gd name="connsiteX104" fmla="*/ 730305 w 1135965"/>
                  <a:gd name="connsiteY104" fmla="*/ 1139912 h 1987582"/>
                  <a:gd name="connsiteX105" fmla="*/ 730305 w 1135965"/>
                  <a:gd name="connsiteY105" fmla="*/ 1785352 h 1987582"/>
                  <a:gd name="connsiteX106" fmla="*/ 730228 w 1135965"/>
                  <a:gd name="connsiteY106" fmla="*/ 1789265 h 1987582"/>
                  <a:gd name="connsiteX107" fmla="*/ 729883 w 1135965"/>
                  <a:gd name="connsiteY107" fmla="*/ 1797304 h 1987582"/>
                  <a:gd name="connsiteX108" fmla="*/ 724536 w 1135965"/>
                  <a:gd name="connsiteY108" fmla="*/ 1829074 h 1987582"/>
                  <a:gd name="connsiteX109" fmla="*/ 695690 w 1135965"/>
                  <a:gd name="connsiteY109" fmla="*/ 1886341 h 1987582"/>
                  <a:gd name="connsiteX110" fmla="*/ 647026 w 1135965"/>
                  <a:gd name="connsiteY110" fmla="*/ 1927992 h 1987582"/>
                  <a:gd name="connsiteX111" fmla="*/ 585980 w 1135965"/>
                  <a:gd name="connsiteY111" fmla="*/ 1947522 h 1987582"/>
                  <a:gd name="connsiteX112" fmla="*/ 522194 w 1135965"/>
                  <a:gd name="connsiteY112" fmla="*/ 1941920 h 1987582"/>
                  <a:gd name="connsiteX113" fmla="*/ 465518 w 1135965"/>
                  <a:gd name="connsiteY113" fmla="*/ 1911992 h 1987582"/>
                  <a:gd name="connsiteX114" fmla="*/ 424828 w 1135965"/>
                  <a:gd name="connsiteY114" fmla="*/ 1862494 h 1987582"/>
                  <a:gd name="connsiteX115" fmla="*/ 406485 w 1135965"/>
                  <a:gd name="connsiteY115" fmla="*/ 1801026 h 1987582"/>
                  <a:gd name="connsiteX116" fmla="*/ 405948 w 1135965"/>
                  <a:gd name="connsiteY116" fmla="*/ 1792987 h 1987582"/>
                  <a:gd name="connsiteX117" fmla="*/ 405853 w 1135965"/>
                  <a:gd name="connsiteY117" fmla="*/ 1788958 h 1987582"/>
                  <a:gd name="connsiteX118" fmla="*/ 405795 w 1135965"/>
                  <a:gd name="connsiteY118" fmla="*/ 1785064 h 1987582"/>
                  <a:gd name="connsiteX119" fmla="*/ 405795 w 1135965"/>
                  <a:gd name="connsiteY119" fmla="*/ 977972 h 1987582"/>
                  <a:gd name="connsiteX120" fmla="*/ 405757 w 1135965"/>
                  <a:gd name="connsiteY120" fmla="*/ 973022 h 1987582"/>
                  <a:gd name="connsiteX121" fmla="*/ 404722 w 1135965"/>
                  <a:gd name="connsiteY121" fmla="*/ 970816 h 1987582"/>
                  <a:gd name="connsiteX122" fmla="*/ 402633 w 1135965"/>
                  <a:gd name="connsiteY122" fmla="*/ 969531 h 1987582"/>
                  <a:gd name="connsiteX123" fmla="*/ 393739 w 1135965"/>
                  <a:gd name="connsiteY123" fmla="*/ 965214 h 1987582"/>
                  <a:gd name="connsiteX124" fmla="*/ 299018 w 1135965"/>
                  <a:gd name="connsiteY124" fmla="*/ 919228 h 1987582"/>
                  <a:gd name="connsiteX125" fmla="*/ 196458 w 1135965"/>
                  <a:gd name="connsiteY125" fmla="*/ 869424 h 1987582"/>
                  <a:gd name="connsiteX126" fmla="*/ 145168 w 1135965"/>
                  <a:gd name="connsiteY126" fmla="*/ 844522 h 1987582"/>
                  <a:gd name="connsiteX127" fmla="*/ 119408 w 1135965"/>
                  <a:gd name="connsiteY127" fmla="*/ 831975 h 1987582"/>
                  <a:gd name="connsiteX128" fmla="*/ 91942 w 1135965"/>
                  <a:gd name="connsiteY128" fmla="*/ 814209 h 1987582"/>
                  <a:gd name="connsiteX129" fmla="*/ 85732 w 1135965"/>
                  <a:gd name="connsiteY129" fmla="*/ 808857 h 1987582"/>
                  <a:gd name="connsiteX130" fmla="*/ 79848 w 1135965"/>
                  <a:gd name="connsiteY130" fmla="*/ 803140 h 1987582"/>
                  <a:gd name="connsiteX131" fmla="*/ 69172 w 1135965"/>
                  <a:gd name="connsiteY131" fmla="*/ 790708 h 1987582"/>
                  <a:gd name="connsiteX132" fmla="*/ 52229 w 1135965"/>
                  <a:gd name="connsiteY132" fmla="*/ 762717 h 1987582"/>
                  <a:gd name="connsiteX133" fmla="*/ 42052 w 1135965"/>
                  <a:gd name="connsiteY133" fmla="*/ 731599 h 1987582"/>
                  <a:gd name="connsiteX134" fmla="*/ 40614 w 1135965"/>
                  <a:gd name="connsiteY134" fmla="*/ 723522 h 1987582"/>
                  <a:gd name="connsiteX135" fmla="*/ 39694 w 1135965"/>
                  <a:gd name="connsiteY135" fmla="*/ 715369 h 1987582"/>
                  <a:gd name="connsiteX136" fmla="*/ 39215 w 1135965"/>
                  <a:gd name="connsiteY136" fmla="*/ 707177 h 1987582"/>
                  <a:gd name="connsiteX137" fmla="*/ 39081 w 1135965"/>
                  <a:gd name="connsiteY137" fmla="*/ 703071 h 1987582"/>
                  <a:gd name="connsiteX138" fmla="*/ 39081 w 1135965"/>
                  <a:gd name="connsiteY138" fmla="*/ 699426 h 1987582"/>
                  <a:gd name="connsiteX139" fmla="*/ 39081 w 1135965"/>
                  <a:gd name="connsiteY139" fmla="*/ 185941 h 1987582"/>
                  <a:gd name="connsiteX140" fmla="*/ 39215 w 1135965"/>
                  <a:gd name="connsiteY140" fmla="*/ 178132 h 1987582"/>
                  <a:gd name="connsiteX141" fmla="*/ 39732 w 1135965"/>
                  <a:gd name="connsiteY141" fmla="*/ 169959 h 1987582"/>
                  <a:gd name="connsiteX142" fmla="*/ 40710 w 1135965"/>
                  <a:gd name="connsiteY142" fmla="*/ 161825 h 1987582"/>
                  <a:gd name="connsiteX143" fmla="*/ 42167 w 1135965"/>
                  <a:gd name="connsiteY143" fmla="*/ 153748 h 1987582"/>
                  <a:gd name="connsiteX144" fmla="*/ 52497 w 1135965"/>
                  <a:gd name="connsiteY144" fmla="*/ 122649 h 1987582"/>
                  <a:gd name="connsiteX145" fmla="*/ 92440 w 1135965"/>
                  <a:gd name="connsiteY145" fmla="*/ 71349 h 1987582"/>
                  <a:gd name="connsiteX146" fmla="*/ 150860 w 1135965"/>
                  <a:gd name="connsiteY146" fmla="*/ 42763 h 1987582"/>
                  <a:gd name="connsiteX147" fmla="*/ 183348 w 1135965"/>
                  <a:gd name="connsiteY147" fmla="*/ 39041 h 1987582"/>
                  <a:gd name="connsiteX148" fmla="*/ 211848 w 1135965"/>
                  <a:gd name="connsiteY148" fmla="*/ 39041 h 1987582"/>
                  <a:gd name="connsiteX149" fmla="*/ 268850 w 1135965"/>
                  <a:gd name="connsiteY149" fmla="*/ 39041 h 1987582"/>
                  <a:gd name="connsiteX150" fmla="*/ 952867 w 1135965"/>
                  <a:gd name="connsiteY150" fmla="*/ 39041 h 1987582"/>
                  <a:gd name="connsiteX151" fmla="*/ 1016213 w 1135965"/>
                  <a:gd name="connsiteY151" fmla="*/ 53699 h 1987582"/>
                  <a:gd name="connsiteX152" fmla="*/ 1066640 w 1135965"/>
                  <a:gd name="connsiteY152" fmla="*/ 94716 h 1987582"/>
                  <a:gd name="connsiteX153" fmla="*/ 1094068 w 1135965"/>
                  <a:gd name="connsiteY153" fmla="*/ 153729 h 1987582"/>
                  <a:gd name="connsiteX154" fmla="*/ 1095524 w 1135965"/>
                  <a:gd name="connsiteY154" fmla="*/ 161806 h 1987582"/>
                  <a:gd name="connsiteX155" fmla="*/ 1096502 w 1135965"/>
                  <a:gd name="connsiteY155" fmla="*/ 169940 h 1987582"/>
                  <a:gd name="connsiteX156" fmla="*/ 1097019 w 1135965"/>
                  <a:gd name="connsiteY156" fmla="*/ 178113 h 1987582"/>
                  <a:gd name="connsiteX157" fmla="*/ 1097153 w 1135965"/>
                  <a:gd name="connsiteY157" fmla="*/ 185941 h 1987582"/>
                  <a:gd name="connsiteX158" fmla="*/ 1097153 w 1135965"/>
                  <a:gd name="connsiteY158" fmla="*/ 442654 h 1987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</a:cxnLst>
                <a:rect l="l" t="t" r="r" b="b"/>
                <a:pathLst>
                  <a:path w="1135965" h="1987582">
                    <a:moveTo>
                      <a:pt x="1135870" y="176674"/>
                    </a:moveTo>
                    <a:cubicBezTo>
                      <a:pt x="1135831" y="173221"/>
                      <a:pt x="1135448" y="169768"/>
                      <a:pt x="1135218" y="166314"/>
                    </a:cubicBezTo>
                    <a:cubicBezTo>
                      <a:pt x="1134931" y="162861"/>
                      <a:pt x="1134413" y="159427"/>
                      <a:pt x="1133972" y="155974"/>
                    </a:cubicBezTo>
                    <a:cubicBezTo>
                      <a:pt x="1133397" y="152540"/>
                      <a:pt x="1132822" y="149125"/>
                      <a:pt x="1132113" y="145710"/>
                    </a:cubicBezTo>
                    <a:cubicBezTo>
                      <a:pt x="1126363" y="118467"/>
                      <a:pt x="1114403" y="92510"/>
                      <a:pt x="1097268" y="70697"/>
                    </a:cubicBezTo>
                    <a:cubicBezTo>
                      <a:pt x="1080268" y="48787"/>
                      <a:pt x="1058207" y="30907"/>
                      <a:pt x="1033252" y="18648"/>
                    </a:cubicBezTo>
                    <a:cubicBezTo>
                      <a:pt x="1008297" y="6369"/>
                      <a:pt x="980352" y="0"/>
                      <a:pt x="952771" y="0"/>
                    </a:cubicBezTo>
                    <a:lnTo>
                      <a:pt x="183233" y="0"/>
                    </a:lnTo>
                    <a:cubicBezTo>
                      <a:pt x="169452" y="19"/>
                      <a:pt x="155556" y="1592"/>
                      <a:pt x="142005" y="4719"/>
                    </a:cubicBezTo>
                    <a:cubicBezTo>
                      <a:pt x="128455" y="7866"/>
                      <a:pt x="115230" y="12489"/>
                      <a:pt x="102752" y="18629"/>
                    </a:cubicBezTo>
                    <a:cubicBezTo>
                      <a:pt x="90275" y="24768"/>
                      <a:pt x="78526" y="32307"/>
                      <a:pt x="67754" y="41037"/>
                    </a:cubicBezTo>
                    <a:cubicBezTo>
                      <a:pt x="46268" y="58552"/>
                      <a:pt x="28731" y="80903"/>
                      <a:pt x="17058" y="106170"/>
                    </a:cubicBezTo>
                    <a:cubicBezTo>
                      <a:pt x="11212" y="118793"/>
                      <a:pt x="6785" y="132108"/>
                      <a:pt x="3910" y="145729"/>
                    </a:cubicBezTo>
                    <a:cubicBezTo>
                      <a:pt x="3220" y="149144"/>
                      <a:pt x="2626" y="152559"/>
                      <a:pt x="2070" y="155993"/>
                    </a:cubicBezTo>
                    <a:cubicBezTo>
                      <a:pt x="1629" y="159427"/>
                      <a:pt x="1112" y="162880"/>
                      <a:pt x="824" y="166334"/>
                    </a:cubicBezTo>
                    <a:cubicBezTo>
                      <a:pt x="575" y="169787"/>
                      <a:pt x="211" y="173240"/>
                      <a:pt x="172" y="176693"/>
                    </a:cubicBezTo>
                    <a:lnTo>
                      <a:pt x="38" y="181873"/>
                    </a:lnTo>
                    <a:lnTo>
                      <a:pt x="0" y="184137"/>
                    </a:lnTo>
                    <a:lnTo>
                      <a:pt x="0" y="703224"/>
                    </a:lnTo>
                    <a:cubicBezTo>
                      <a:pt x="0" y="703224"/>
                      <a:pt x="172" y="708424"/>
                      <a:pt x="172" y="708424"/>
                    </a:cubicBezTo>
                    <a:cubicBezTo>
                      <a:pt x="326" y="711896"/>
                      <a:pt x="345" y="715369"/>
                      <a:pt x="786" y="718822"/>
                    </a:cubicBezTo>
                    <a:cubicBezTo>
                      <a:pt x="1150" y="722275"/>
                      <a:pt x="1495" y="725728"/>
                      <a:pt x="1955" y="729182"/>
                    </a:cubicBezTo>
                    <a:cubicBezTo>
                      <a:pt x="2530" y="732616"/>
                      <a:pt x="3143" y="736031"/>
                      <a:pt x="3776" y="739446"/>
                    </a:cubicBezTo>
                    <a:cubicBezTo>
                      <a:pt x="6632" y="753048"/>
                      <a:pt x="10963" y="766343"/>
                      <a:pt x="16694" y="778986"/>
                    </a:cubicBezTo>
                    <a:cubicBezTo>
                      <a:pt x="22425" y="791648"/>
                      <a:pt x="29766" y="803523"/>
                      <a:pt x="38199" y="814555"/>
                    </a:cubicBezTo>
                    <a:cubicBezTo>
                      <a:pt x="42358" y="820118"/>
                      <a:pt x="47035" y="825260"/>
                      <a:pt x="51769" y="830344"/>
                    </a:cubicBezTo>
                    <a:cubicBezTo>
                      <a:pt x="54241" y="832780"/>
                      <a:pt x="56733" y="835198"/>
                      <a:pt x="59244" y="837596"/>
                    </a:cubicBezTo>
                    <a:cubicBezTo>
                      <a:pt x="61755" y="839994"/>
                      <a:pt x="64496" y="842143"/>
                      <a:pt x="67121" y="844407"/>
                    </a:cubicBezTo>
                    <a:cubicBezTo>
                      <a:pt x="77893" y="853174"/>
                      <a:pt x="89585" y="860848"/>
                      <a:pt x="102024" y="866968"/>
                    </a:cubicBezTo>
                    <a:lnTo>
                      <a:pt x="128033" y="879630"/>
                    </a:lnTo>
                    <a:lnTo>
                      <a:pt x="179323" y="904532"/>
                    </a:lnTo>
                    <a:lnTo>
                      <a:pt x="281883" y="954336"/>
                    </a:lnTo>
                    <a:lnTo>
                      <a:pt x="366714" y="995526"/>
                    </a:lnTo>
                    <a:lnTo>
                      <a:pt x="366714" y="1787193"/>
                    </a:lnTo>
                    <a:cubicBezTo>
                      <a:pt x="366714" y="1787193"/>
                      <a:pt x="366791" y="1789687"/>
                      <a:pt x="366791" y="1789687"/>
                    </a:cubicBezTo>
                    <a:lnTo>
                      <a:pt x="366925" y="1794676"/>
                    </a:lnTo>
                    <a:cubicBezTo>
                      <a:pt x="367021" y="1797995"/>
                      <a:pt x="367347" y="1801314"/>
                      <a:pt x="367596" y="1804633"/>
                    </a:cubicBezTo>
                    <a:cubicBezTo>
                      <a:pt x="369992" y="1831185"/>
                      <a:pt x="377793" y="1857391"/>
                      <a:pt x="390385" y="1880931"/>
                    </a:cubicBezTo>
                    <a:cubicBezTo>
                      <a:pt x="402939" y="1904509"/>
                      <a:pt x="420170" y="1925459"/>
                      <a:pt x="440813" y="1942285"/>
                    </a:cubicBezTo>
                    <a:cubicBezTo>
                      <a:pt x="461436" y="1959129"/>
                      <a:pt x="485490" y="1971887"/>
                      <a:pt x="511135" y="1979407"/>
                    </a:cubicBezTo>
                    <a:cubicBezTo>
                      <a:pt x="523957" y="1983187"/>
                      <a:pt x="537144" y="1985662"/>
                      <a:pt x="550407" y="1986813"/>
                    </a:cubicBezTo>
                    <a:cubicBezTo>
                      <a:pt x="563670" y="1987964"/>
                      <a:pt x="576934" y="1987830"/>
                      <a:pt x="590197" y="1986372"/>
                    </a:cubicBezTo>
                    <a:cubicBezTo>
                      <a:pt x="616685" y="1983494"/>
                      <a:pt x="642713" y="1975148"/>
                      <a:pt x="665982" y="1962122"/>
                    </a:cubicBezTo>
                    <a:cubicBezTo>
                      <a:pt x="689269" y="1949114"/>
                      <a:pt x="709873" y="1931464"/>
                      <a:pt x="726299" y="1910495"/>
                    </a:cubicBezTo>
                    <a:cubicBezTo>
                      <a:pt x="742744" y="1889545"/>
                      <a:pt x="755049" y="1865238"/>
                      <a:pt x="762083" y="1839415"/>
                    </a:cubicBezTo>
                    <a:cubicBezTo>
                      <a:pt x="765610" y="1826523"/>
                      <a:pt x="767833" y="1813266"/>
                      <a:pt x="768734" y="1799990"/>
                    </a:cubicBezTo>
                    <a:cubicBezTo>
                      <a:pt x="769021" y="1796671"/>
                      <a:pt x="769079" y="1793352"/>
                      <a:pt x="769155" y="1790033"/>
                    </a:cubicBezTo>
                    <a:lnTo>
                      <a:pt x="769213" y="1787539"/>
                    </a:lnTo>
                    <a:lnTo>
                      <a:pt x="769213" y="1785371"/>
                    </a:lnTo>
                    <a:cubicBezTo>
                      <a:pt x="769213" y="1785371"/>
                      <a:pt x="769232" y="1781802"/>
                      <a:pt x="769232" y="1781802"/>
                    </a:cubicBezTo>
                    <a:lnTo>
                      <a:pt x="769232" y="996198"/>
                    </a:lnTo>
                    <a:lnTo>
                      <a:pt x="779640" y="991344"/>
                    </a:lnTo>
                    <a:lnTo>
                      <a:pt x="986351" y="895055"/>
                    </a:lnTo>
                    <a:lnTo>
                      <a:pt x="1012188" y="883026"/>
                    </a:lnTo>
                    <a:lnTo>
                      <a:pt x="1025106" y="877002"/>
                    </a:lnTo>
                    <a:lnTo>
                      <a:pt x="1028345" y="875505"/>
                    </a:lnTo>
                    <a:lnTo>
                      <a:pt x="1029955" y="874757"/>
                    </a:lnTo>
                    <a:lnTo>
                      <a:pt x="1032255" y="873606"/>
                    </a:lnTo>
                    <a:cubicBezTo>
                      <a:pt x="1035360" y="872052"/>
                      <a:pt x="1038446" y="870460"/>
                      <a:pt x="1041513" y="868867"/>
                    </a:cubicBezTo>
                    <a:cubicBezTo>
                      <a:pt x="1053607" y="862057"/>
                      <a:pt x="1064992" y="853941"/>
                      <a:pt x="1075342" y="844675"/>
                    </a:cubicBezTo>
                    <a:cubicBezTo>
                      <a:pt x="1085730" y="835428"/>
                      <a:pt x="1094834" y="824838"/>
                      <a:pt x="1102827" y="813500"/>
                    </a:cubicBezTo>
                    <a:lnTo>
                      <a:pt x="1105759" y="809202"/>
                    </a:lnTo>
                    <a:lnTo>
                      <a:pt x="1107216" y="807053"/>
                    </a:lnTo>
                    <a:lnTo>
                      <a:pt x="1108557" y="804828"/>
                    </a:lnTo>
                    <a:cubicBezTo>
                      <a:pt x="1110340" y="801854"/>
                      <a:pt x="1112103" y="798861"/>
                      <a:pt x="1113809" y="795830"/>
                    </a:cubicBezTo>
                    <a:cubicBezTo>
                      <a:pt x="1115381" y="792741"/>
                      <a:pt x="1116952" y="789633"/>
                      <a:pt x="1118467" y="786525"/>
                    </a:cubicBezTo>
                    <a:cubicBezTo>
                      <a:pt x="1120038" y="783437"/>
                      <a:pt x="1121246" y="780156"/>
                      <a:pt x="1122607" y="776971"/>
                    </a:cubicBezTo>
                    <a:cubicBezTo>
                      <a:pt x="1127724" y="764079"/>
                      <a:pt x="1131634" y="750630"/>
                      <a:pt x="1133704" y="736875"/>
                    </a:cubicBezTo>
                    <a:cubicBezTo>
                      <a:pt x="1134337" y="733460"/>
                      <a:pt x="1134586" y="729987"/>
                      <a:pt x="1134988" y="726534"/>
                    </a:cubicBezTo>
                    <a:cubicBezTo>
                      <a:pt x="1135161" y="724807"/>
                      <a:pt x="1135372" y="723081"/>
                      <a:pt x="1135487" y="721354"/>
                    </a:cubicBezTo>
                    <a:lnTo>
                      <a:pt x="1135716" y="716155"/>
                    </a:lnTo>
                    <a:lnTo>
                      <a:pt x="1135889" y="710956"/>
                    </a:lnTo>
                    <a:lnTo>
                      <a:pt x="1135966" y="708385"/>
                    </a:lnTo>
                    <a:lnTo>
                      <a:pt x="1135966" y="184118"/>
                    </a:lnTo>
                    <a:lnTo>
                      <a:pt x="1135927" y="181835"/>
                    </a:lnTo>
                    <a:lnTo>
                      <a:pt x="1135793" y="176655"/>
                    </a:lnTo>
                    <a:close/>
                    <a:moveTo>
                      <a:pt x="1097038" y="442674"/>
                    </a:moveTo>
                    <a:lnTo>
                      <a:pt x="1097038" y="708347"/>
                    </a:lnTo>
                    <a:lnTo>
                      <a:pt x="1096981" y="710380"/>
                    </a:lnTo>
                    <a:lnTo>
                      <a:pt x="1096847" y="714486"/>
                    </a:lnTo>
                    <a:lnTo>
                      <a:pt x="1096693" y="718592"/>
                    </a:lnTo>
                    <a:cubicBezTo>
                      <a:pt x="1096598" y="719954"/>
                      <a:pt x="1096425" y="721316"/>
                      <a:pt x="1096272" y="722678"/>
                    </a:cubicBezTo>
                    <a:cubicBezTo>
                      <a:pt x="1095927" y="725383"/>
                      <a:pt x="1095773" y="728127"/>
                      <a:pt x="1095256" y="730812"/>
                    </a:cubicBezTo>
                    <a:cubicBezTo>
                      <a:pt x="1093646" y="741652"/>
                      <a:pt x="1090541" y="752204"/>
                      <a:pt x="1086516" y="762372"/>
                    </a:cubicBezTo>
                    <a:cubicBezTo>
                      <a:pt x="1085423" y="764885"/>
                      <a:pt x="1084523" y="767475"/>
                      <a:pt x="1083258" y="769892"/>
                    </a:cubicBezTo>
                    <a:lnTo>
                      <a:pt x="1079597" y="777221"/>
                    </a:lnTo>
                    <a:lnTo>
                      <a:pt x="1075457" y="784300"/>
                    </a:lnTo>
                    <a:lnTo>
                      <a:pt x="1074403" y="786065"/>
                    </a:lnTo>
                    <a:lnTo>
                      <a:pt x="1073253" y="787753"/>
                    </a:lnTo>
                    <a:lnTo>
                      <a:pt x="1070933" y="791130"/>
                    </a:lnTo>
                    <a:cubicBezTo>
                      <a:pt x="1064628" y="800051"/>
                      <a:pt x="1057479" y="808416"/>
                      <a:pt x="1049294" y="815687"/>
                    </a:cubicBezTo>
                    <a:cubicBezTo>
                      <a:pt x="1041129" y="822977"/>
                      <a:pt x="1032198" y="829346"/>
                      <a:pt x="1022672" y="834718"/>
                    </a:cubicBezTo>
                    <a:lnTo>
                      <a:pt x="1015369" y="838440"/>
                    </a:lnTo>
                    <a:lnTo>
                      <a:pt x="1013549" y="839361"/>
                    </a:lnTo>
                    <a:lnTo>
                      <a:pt x="1011939" y="840109"/>
                    </a:lnTo>
                    <a:lnTo>
                      <a:pt x="1008700" y="841605"/>
                    </a:lnTo>
                    <a:lnTo>
                      <a:pt x="995781" y="847630"/>
                    </a:lnTo>
                    <a:lnTo>
                      <a:pt x="969945" y="859659"/>
                    </a:lnTo>
                    <a:lnTo>
                      <a:pt x="763233" y="955948"/>
                    </a:lnTo>
                    <a:lnTo>
                      <a:pt x="739121" y="967190"/>
                    </a:lnTo>
                    <a:lnTo>
                      <a:pt x="733946" y="969607"/>
                    </a:lnTo>
                    <a:cubicBezTo>
                      <a:pt x="733103" y="970049"/>
                      <a:pt x="732145" y="970317"/>
                      <a:pt x="731474" y="971008"/>
                    </a:cubicBezTo>
                    <a:cubicBezTo>
                      <a:pt x="730784" y="971679"/>
                      <a:pt x="730362" y="972600"/>
                      <a:pt x="730305" y="973540"/>
                    </a:cubicBezTo>
                    <a:lnTo>
                      <a:pt x="730305" y="984975"/>
                    </a:lnTo>
                    <a:cubicBezTo>
                      <a:pt x="730305" y="984975"/>
                      <a:pt x="730305" y="1139912"/>
                      <a:pt x="730305" y="1139912"/>
                    </a:cubicBezTo>
                    <a:lnTo>
                      <a:pt x="730305" y="1785352"/>
                    </a:lnTo>
                    <a:cubicBezTo>
                      <a:pt x="730305" y="1786484"/>
                      <a:pt x="730247" y="1787980"/>
                      <a:pt x="730228" y="1789265"/>
                    </a:cubicBezTo>
                    <a:cubicBezTo>
                      <a:pt x="730151" y="1791951"/>
                      <a:pt x="730132" y="1794637"/>
                      <a:pt x="729883" y="1797304"/>
                    </a:cubicBezTo>
                    <a:cubicBezTo>
                      <a:pt x="729155" y="1808028"/>
                      <a:pt x="727372" y="1818695"/>
                      <a:pt x="724536" y="1829074"/>
                    </a:cubicBezTo>
                    <a:cubicBezTo>
                      <a:pt x="718862" y="1849851"/>
                      <a:pt x="708972" y="1869439"/>
                      <a:pt x="695690" y="1886341"/>
                    </a:cubicBezTo>
                    <a:cubicBezTo>
                      <a:pt x="682427" y="1903262"/>
                      <a:pt x="665809" y="1917517"/>
                      <a:pt x="647026" y="1927992"/>
                    </a:cubicBezTo>
                    <a:cubicBezTo>
                      <a:pt x="628262" y="1938505"/>
                      <a:pt x="607351" y="1945201"/>
                      <a:pt x="585980" y="1947522"/>
                    </a:cubicBezTo>
                    <a:cubicBezTo>
                      <a:pt x="564648" y="1949863"/>
                      <a:pt x="542856" y="1948002"/>
                      <a:pt x="522194" y="1941920"/>
                    </a:cubicBezTo>
                    <a:cubicBezTo>
                      <a:pt x="501551" y="1935858"/>
                      <a:pt x="482155" y="1925594"/>
                      <a:pt x="465518" y="1911992"/>
                    </a:cubicBezTo>
                    <a:cubicBezTo>
                      <a:pt x="448843" y="1898428"/>
                      <a:pt x="434928" y="1881488"/>
                      <a:pt x="424828" y="1862494"/>
                    </a:cubicBezTo>
                    <a:cubicBezTo>
                      <a:pt x="414688" y="1843520"/>
                      <a:pt x="408421" y="1822455"/>
                      <a:pt x="406485" y="1801026"/>
                    </a:cubicBezTo>
                    <a:cubicBezTo>
                      <a:pt x="406313" y="1798340"/>
                      <a:pt x="406006" y="1795673"/>
                      <a:pt x="405948" y="1792987"/>
                    </a:cubicBezTo>
                    <a:lnTo>
                      <a:pt x="405853" y="1788958"/>
                    </a:lnTo>
                    <a:cubicBezTo>
                      <a:pt x="405833" y="1787654"/>
                      <a:pt x="405776" y="1786177"/>
                      <a:pt x="405795" y="1785064"/>
                    </a:cubicBezTo>
                    <a:lnTo>
                      <a:pt x="405795" y="977972"/>
                    </a:lnTo>
                    <a:cubicBezTo>
                      <a:pt x="405795" y="976322"/>
                      <a:pt x="405833" y="974672"/>
                      <a:pt x="405757" y="973022"/>
                    </a:cubicBezTo>
                    <a:cubicBezTo>
                      <a:pt x="405661" y="972197"/>
                      <a:pt x="405278" y="971430"/>
                      <a:pt x="404722" y="970816"/>
                    </a:cubicBezTo>
                    <a:cubicBezTo>
                      <a:pt x="404166" y="970202"/>
                      <a:pt x="403361" y="969895"/>
                      <a:pt x="402633" y="969531"/>
                    </a:cubicBezTo>
                    <a:lnTo>
                      <a:pt x="393739" y="965214"/>
                    </a:lnTo>
                    <a:lnTo>
                      <a:pt x="299018" y="919228"/>
                    </a:lnTo>
                    <a:lnTo>
                      <a:pt x="196458" y="869424"/>
                    </a:lnTo>
                    <a:lnTo>
                      <a:pt x="145168" y="844522"/>
                    </a:lnTo>
                    <a:lnTo>
                      <a:pt x="119408" y="831975"/>
                    </a:lnTo>
                    <a:cubicBezTo>
                      <a:pt x="109595" y="827159"/>
                      <a:pt x="100414" y="821097"/>
                      <a:pt x="91942" y="814209"/>
                    </a:cubicBezTo>
                    <a:cubicBezTo>
                      <a:pt x="89872" y="812425"/>
                      <a:pt x="87706" y="810756"/>
                      <a:pt x="85732" y="808857"/>
                    </a:cubicBezTo>
                    <a:lnTo>
                      <a:pt x="79848" y="803140"/>
                    </a:lnTo>
                    <a:cubicBezTo>
                      <a:pt x="76149" y="799130"/>
                      <a:pt x="72431" y="795101"/>
                      <a:pt x="69172" y="790708"/>
                    </a:cubicBezTo>
                    <a:cubicBezTo>
                      <a:pt x="62541" y="782036"/>
                      <a:pt x="56733" y="772693"/>
                      <a:pt x="52229" y="762717"/>
                    </a:cubicBezTo>
                    <a:cubicBezTo>
                      <a:pt x="47725" y="752760"/>
                      <a:pt x="44313" y="742304"/>
                      <a:pt x="42052" y="731599"/>
                    </a:cubicBezTo>
                    <a:lnTo>
                      <a:pt x="40614" y="723522"/>
                    </a:lnTo>
                    <a:cubicBezTo>
                      <a:pt x="40250" y="720817"/>
                      <a:pt x="40001" y="718093"/>
                      <a:pt x="39694" y="715369"/>
                    </a:cubicBezTo>
                    <a:cubicBezTo>
                      <a:pt x="39330" y="712644"/>
                      <a:pt x="39349" y="709920"/>
                      <a:pt x="39215" y="707177"/>
                    </a:cubicBezTo>
                    <a:lnTo>
                      <a:pt x="39081" y="703071"/>
                    </a:lnTo>
                    <a:cubicBezTo>
                      <a:pt x="39042" y="701747"/>
                      <a:pt x="39081" y="700654"/>
                      <a:pt x="39081" y="699426"/>
                    </a:cubicBezTo>
                    <a:lnTo>
                      <a:pt x="39081" y="185941"/>
                    </a:lnTo>
                    <a:cubicBezTo>
                      <a:pt x="39061" y="183715"/>
                      <a:pt x="39138" y="180837"/>
                      <a:pt x="39215" y="178132"/>
                    </a:cubicBezTo>
                    <a:cubicBezTo>
                      <a:pt x="39215" y="175408"/>
                      <a:pt x="39560" y="172684"/>
                      <a:pt x="39732" y="169959"/>
                    </a:cubicBezTo>
                    <a:cubicBezTo>
                      <a:pt x="39962" y="167235"/>
                      <a:pt x="40384" y="164530"/>
                      <a:pt x="40710" y="161825"/>
                    </a:cubicBezTo>
                    <a:cubicBezTo>
                      <a:pt x="41170" y="159120"/>
                      <a:pt x="41630" y="156434"/>
                      <a:pt x="42167" y="153748"/>
                    </a:cubicBezTo>
                    <a:cubicBezTo>
                      <a:pt x="44428" y="143043"/>
                      <a:pt x="47916" y="132587"/>
                      <a:pt x="52497" y="122649"/>
                    </a:cubicBezTo>
                    <a:cubicBezTo>
                      <a:pt x="61678" y="102774"/>
                      <a:pt x="75516" y="85143"/>
                      <a:pt x="92440" y="71349"/>
                    </a:cubicBezTo>
                    <a:cubicBezTo>
                      <a:pt x="109403" y="57574"/>
                      <a:pt x="129509" y="47617"/>
                      <a:pt x="150860" y="42763"/>
                    </a:cubicBezTo>
                    <a:cubicBezTo>
                      <a:pt x="161517" y="40308"/>
                      <a:pt x="172442" y="39061"/>
                      <a:pt x="183348" y="39041"/>
                    </a:cubicBezTo>
                    <a:lnTo>
                      <a:pt x="211848" y="39041"/>
                    </a:lnTo>
                    <a:cubicBezTo>
                      <a:pt x="211848" y="39041"/>
                      <a:pt x="268850" y="39041"/>
                      <a:pt x="268850" y="39041"/>
                    </a:cubicBezTo>
                    <a:lnTo>
                      <a:pt x="952867" y="39041"/>
                    </a:lnTo>
                    <a:cubicBezTo>
                      <a:pt x="974660" y="39061"/>
                      <a:pt x="996567" y="44049"/>
                      <a:pt x="1016213" y="53699"/>
                    </a:cubicBezTo>
                    <a:cubicBezTo>
                      <a:pt x="1035839" y="63349"/>
                      <a:pt x="1053243" y="77430"/>
                      <a:pt x="1066640" y="94716"/>
                    </a:cubicBezTo>
                    <a:cubicBezTo>
                      <a:pt x="1080153" y="111906"/>
                      <a:pt x="1089525" y="132319"/>
                      <a:pt x="1094068" y="153729"/>
                    </a:cubicBezTo>
                    <a:cubicBezTo>
                      <a:pt x="1094604" y="156415"/>
                      <a:pt x="1095064" y="159101"/>
                      <a:pt x="1095524" y="161806"/>
                    </a:cubicBezTo>
                    <a:cubicBezTo>
                      <a:pt x="1095850" y="164511"/>
                      <a:pt x="1096272" y="167235"/>
                      <a:pt x="1096502" y="169940"/>
                    </a:cubicBezTo>
                    <a:cubicBezTo>
                      <a:pt x="1096674" y="172665"/>
                      <a:pt x="1097000" y="175389"/>
                      <a:pt x="1097019" y="178113"/>
                    </a:cubicBezTo>
                    <a:cubicBezTo>
                      <a:pt x="1097096" y="180818"/>
                      <a:pt x="1097173" y="183715"/>
                      <a:pt x="1097153" y="185941"/>
                    </a:cubicBezTo>
                    <a:lnTo>
                      <a:pt x="1097153" y="442654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27670FE3-F3C4-4A8B-E2FA-88EFB14D1188}"/>
                </a:ext>
              </a:extLst>
            </p:cNvPr>
            <p:cNvGrpSpPr/>
            <p:nvPr/>
          </p:nvGrpSpPr>
          <p:grpSpPr>
            <a:xfrm>
              <a:off x="3275324" y="1753298"/>
              <a:ext cx="498887" cy="391978"/>
              <a:chOff x="3275324" y="1753298"/>
              <a:chExt cx="498887" cy="391978"/>
            </a:xfrm>
          </p:grpSpPr>
          <p:sp>
            <p:nvSpPr>
              <p:cNvPr id="27" name="Freeform 4">
                <a:extLst>
                  <a:ext uri="{FF2B5EF4-FFF2-40B4-BE49-F238E27FC236}">
                    <a16:creationId xmlns:a16="http://schemas.microsoft.com/office/drawing/2014/main" id="{129B41B6-B7A6-5CC9-FDF8-E0C59EFB6D0B}"/>
                  </a:ext>
                </a:extLst>
              </p:cNvPr>
              <p:cNvSpPr/>
              <p:nvPr/>
            </p:nvSpPr>
            <p:spPr>
              <a:xfrm>
                <a:off x="3392939" y="1801910"/>
                <a:ext cx="15417" cy="1887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28" name="Freeform 5">
                <a:extLst>
                  <a:ext uri="{FF2B5EF4-FFF2-40B4-BE49-F238E27FC236}">
                    <a16:creationId xmlns:a16="http://schemas.microsoft.com/office/drawing/2014/main" id="{65F00466-F0CD-2508-4907-9B478C40CB60}"/>
                  </a:ext>
                </a:extLst>
              </p:cNvPr>
              <p:cNvSpPr/>
              <p:nvPr/>
            </p:nvSpPr>
            <p:spPr>
              <a:xfrm>
                <a:off x="3392939" y="1829312"/>
                <a:ext cx="15417" cy="1887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29" name="Freeform 6">
                <a:extLst>
                  <a:ext uri="{FF2B5EF4-FFF2-40B4-BE49-F238E27FC236}">
                    <a16:creationId xmlns:a16="http://schemas.microsoft.com/office/drawing/2014/main" id="{A131EA24-C677-4B95-79C7-C5C97576201A}"/>
                  </a:ext>
                </a:extLst>
              </p:cNvPr>
              <p:cNvSpPr/>
              <p:nvPr/>
            </p:nvSpPr>
            <p:spPr>
              <a:xfrm>
                <a:off x="3392939" y="1856714"/>
                <a:ext cx="15417" cy="1887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30" name="Freeform 7">
                <a:extLst>
                  <a:ext uri="{FF2B5EF4-FFF2-40B4-BE49-F238E27FC236}">
                    <a16:creationId xmlns:a16="http://schemas.microsoft.com/office/drawing/2014/main" id="{F600DAC6-7180-5004-A51F-9C8BC674BA5D}"/>
                  </a:ext>
                </a:extLst>
              </p:cNvPr>
              <p:cNvSpPr/>
              <p:nvPr/>
            </p:nvSpPr>
            <p:spPr>
              <a:xfrm>
                <a:off x="3392939" y="1884119"/>
                <a:ext cx="15417" cy="1887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11143F58-E6EF-7606-170C-68C74AB308FF}"/>
                  </a:ext>
                </a:extLst>
              </p:cNvPr>
              <p:cNvSpPr/>
              <p:nvPr/>
            </p:nvSpPr>
            <p:spPr>
              <a:xfrm>
                <a:off x="3418426" y="1812164"/>
                <a:ext cx="15417" cy="1887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32" name="Freeform 9">
                <a:extLst>
                  <a:ext uri="{FF2B5EF4-FFF2-40B4-BE49-F238E27FC236}">
                    <a16:creationId xmlns:a16="http://schemas.microsoft.com/office/drawing/2014/main" id="{B02064DC-933E-A36F-1398-155E454E2295}"/>
                  </a:ext>
                </a:extLst>
              </p:cNvPr>
              <p:cNvSpPr/>
              <p:nvPr/>
            </p:nvSpPr>
            <p:spPr>
              <a:xfrm>
                <a:off x="3418426" y="1839570"/>
                <a:ext cx="15417" cy="1887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33" name="Freeform 10">
                <a:extLst>
                  <a:ext uri="{FF2B5EF4-FFF2-40B4-BE49-F238E27FC236}">
                    <a16:creationId xmlns:a16="http://schemas.microsoft.com/office/drawing/2014/main" id="{671221EF-86F3-14BE-2859-F3D9489BE4CF}"/>
                  </a:ext>
                </a:extLst>
              </p:cNvPr>
              <p:cNvSpPr/>
              <p:nvPr/>
            </p:nvSpPr>
            <p:spPr>
              <a:xfrm>
                <a:off x="3418426" y="1866972"/>
                <a:ext cx="15417" cy="1887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34" name="Freeform 12">
                <a:extLst>
                  <a:ext uri="{FF2B5EF4-FFF2-40B4-BE49-F238E27FC236}">
                    <a16:creationId xmlns:a16="http://schemas.microsoft.com/office/drawing/2014/main" id="{55BF8837-6B75-0BC6-75ED-87DC153CBF4C}"/>
                  </a:ext>
                </a:extLst>
              </p:cNvPr>
              <p:cNvSpPr/>
              <p:nvPr/>
            </p:nvSpPr>
            <p:spPr>
              <a:xfrm>
                <a:off x="3418426" y="1894374"/>
                <a:ext cx="15417" cy="1887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35" name="Freeform 14">
                <a:extLst>
                  <a:ext uri="{FF2B5EF4-FFF2-40B4-BE49-F238E27FC236}">
                    <a16:creationId xmlns:a16="http://schemas.microsoft.com/office/drawing/2014/main" id="{D6ABFD24-B45E-84C6-B15A-4D1D249D81FA}"/>
                  </a:ext>
                </a:extLst>
              </p:cNvPr>
              <p:cNvSpPr/>
              <p:nvPr/>
            </p:nvSpPr>
            <p:spPr>
              <a:xfrm>
                <a:off x="3443917" y="1822263"/>
                <a:ext cx="15417" cy="1887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36" name="Freeform 15">
                <a:extLst>
                  <a:ext uri="{FF2B5EF4-FFF2-40B4-BE49-F238E27FC236}">
                    <a16:creationId xmlns:a16="http://schemas.microsoft.com/office/drawing/2014/main" id="{4480D41B-08CB-BA83-0D00-295B06CE1040}"/>
                  </a:ext>
                </a:extLst>
              </p:cNvPr>
              <p:cNvSpPr/>
              <p:nvPr/>
            </p:nvSpPr>
            <p:spPr>
              <a:xfrm>
                <a:off x="3443917" y="1849665"/>
                <a:ext cx="15417" cy="1887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37" name="Freeform 16">
                <a:extLst>
                  <a:ext uri="{FF2B5EF4-FFF2-40B4-BE49-F238E27FC236}">
                    <a16:creationId xmlns:a16="http://schemas.microsoft.com/office/drawing/2014/main" id="{D9FDD9E6-5091-4413-764A-94D1D7BD052C}"/>
                  </a:ext>
                </a:extLst>
              </p:cNvPr>
              <p:cNvSpPr/>
              <p:nvPr/>
            </p:nvSpPr>
            <p:spPr>
              <a:xfrm>
                <a:off x="3443917" y="1877067"/>
                <a:ext cx="15417" cy="1887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38" name="Freeform 17">
                <a:extLst>
                  <a:ext uri="{FF2B5EF4-FFF2-40B4-BE49-F238E27FC236}">
                    <a16:creationId xmlns:a16="http://schemas.microsoft.com/office/drawing/2014/main" id="{14644402-B9B2-D3B5-DADC-19DBD6DCF696}"/>
                  </a:ext>
                </a:extLst>
              </p:cNvPr>
              <p:cNvSpPr/>
              <p:nvPr/>
            </p:nvSpPr>
            <p:spPr>
              <a:xfrm>
                <a:off x="3443917" y="1904472"/>
                <a:ext cx="15417" cy="1887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39" name="Freeform 18">
                <a:extLst>
                  <a:ext uri="{FF2B5EF4-FFF2-40B4-BE49-F238E27FC236}">
                    <a16:creationId xmlns:a16="http://schemas.microsoft.com/office/drawing/2014/main" id="{DEAE340C-F64A-A797-4416-369E956D8B41}"/>
                  </a:ext>
                </a:extLst>
              </p:cNvPr>
              <p:cNvSpPr/>
              <p:nvPr/>
            </p:nvSpPr>
            <p:spPr>
              <a:xfrm>
                <a:off x="3534712" y="1801910"/>
                <a:ext cx="15417" cy="1887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40" name="Freeform 19">
                <a:extLst>
                  <a:ext uri="{FF2B5EF4-FFF2-40B4-BE49-F238E27FC236}">
                    <a16:creationId xmlns:a16="http://schemas.microsoft.com/office/drawing/2014/main" id="{FEA2FC48-7C41-B2E4-5399-EBE1ED2C4261}"/>
                  </a:ext>
                </a:extLst>
              </p:cNvPr>
              <p:cNvSpPr/>
              <p:nvPr/>
            </p:nvSpPr>
            <p:spPr>
              <a:xfrm>
                <a:off x="3534712" y="1829312"/>
                <a:ext cx="15417" cy="1887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41" name="Freeform 20">
                <a:extLst>
                  <a:ext uri="{FF2B5EF4-FFF2-40B4-BE49-F238E27FC236}">
                    <a16:creationId xmlns:a16="http://schemas.microsoft.com/office/drawing/2014/main" id="{D30C62F7-DD79-B3C3-0235-7A47FB87439A}"/>
                  </a:ext>
                </a:extLst>
              </p:cNvPr>
              <p:cNvSpPr/>
              <p:nvPr/>
            </p:nvSpPr>
            <p:spPr>
              <a:xfrm>
                <a:off x="3534712" y="1856714"/>
                <a:ext cx="15417" cy="1887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42" name="Freeform 21">
                <a:extLst>
                  <a:ext uri="{FF2B5EF4-FFF2-40B4-BE49-F238E27FC236}">
                    <a16:creationId xmlns:a16="http://schemas.microsoft.com/office/drawing/2014/main" id="{A031414E-61A6-63F3-759D-63A8953A8F32}"/>
                  </a:ext>
                </a:extLst>
              </p:cNvPr>
              <p:cNvSpPr/>
              <p:nvPr/>
            </p:nvSpPr>
            <p:spPr>
              <a:xfrm>
                <a:off x="3534712" y="1884119"/>
                <a:ext cx="15417" cy="1887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43" name="Freeform 22">
                <a:extLst>
                  <a:ext uri="{FF2B5EF4-FFF2-40B4-BE49-F238E27FC236}">
                    <a16:creationId xmlns:a16="http://schemas.microsoft.com/office/drawing/2014/main" id="{AA0391A0-EDD3-184F-C42F-D7079B4CEE11}"/>
                  </a:ext>
                </a:extLst>
              </p:cNvPr>
              <p:cNvSpPr/>
              <p:nvPr/>
            </p:nvSpPr>
            <p:spPr>
              <a:xfrm>
                <a:off x="3509221" y="1812164"/>
                <a:ext cx="15417" cy="1887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44" name="Freeform 23">
                <a:extLst>
                  <a:ext uri="{FF2B5EF4-FFF2-40B4-BE49-F238E27FC236}">
                    <a16:creationId xmlns:a16="http://schemas.microsoft.com/office/drawing/2014/main" id="{126CF612-E75F-412A-E00A-1AB2C02BED15}"/>
                  </a:ext>
                </a:extLst>
              </p:cNvPr>
              <p:cNvSpPr/>
              <p:nvPr/>
            </p:nvSpPr>
            <p:spPr>
              <a:xfrm>
                <a:off x="3509221" y="1839570"/>
                <a:ext cx="15417" cy="1887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45" name="Freeform 24">
                <a:extLst>
                  <a:ext uri="{FF2B5EF4-FFF2-40B4-BE49-F238E27FC236}">
                    <a16:creationId xmlns:a16="http://schemas.microsoft.com/office/drawing/2014/main" id="{B831C954-93ED-BD5F-A4A8-0510F5CC94BD}"/>
                  </a:ext>
                </a:extLst>
              </p:cNvPr>
              <p:cNvSpPr/>
              <p:nvPr/>
            </p:nvSpPr>
            <p:spPr>
              <a:xfrm>
                <a:off x="3509221" y="1866972"/>
                <a:ext cx="15417" cy="1887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46" name="Freeform 25">
                <a:extLst>
                  <a:ext uri="{FF2B5EF4-FFF2-40B4-BE49-F238E27FC236}">
                    <a16:creationId xmlns:a16="http://schemas.microsoft.com/office/drawing/2014/main" id="{B89A0E08-5A41-F92E-3A24-1291858830ED}"/>
                  </a:ext>
                </a:extLst>
              </p:cNvPr>
              <p:cNvSpPr/>
              <p:nvPr/>
            </p:nvSpPr>
            <p:spPr>
              <a:xfrm>
                <a:off x="3509221" y="1894374"/>
                <a:ext cx="15417" cy="1887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47" name="Freeform 26">
                <a:extLst>
                  <a:ext uri="{FF2B5EF4-FFF2-40B4-BE49-F238E27FC236}">
                    <a16:creationId xmlns:a16="http://schemas.microsoft.com/office/drawing/2014/main" id="{2B795901-7ADA-7839-F4F6-D3B8B0B32E70}"/>
                  </a:ext>
                </a:extLst>
              </p:cNvPr>
              <p:cNvSpPr/>
              <p:nvPr/>
            </p:nvSpPr>
            <p:spPr>
              <a:xfrm>
                <a:off x="3483730" y="1822263"/>
                <a:ext cx="15417" cy="1887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48" name="Freeform 27">
                <a:extLst>
                  <a:ext uri="{FF2B5EF4-FFF2-40B4-BE49-F238E27FC236}">
                    <a16:creationId xmlns:a16="http://schemas.microsoft.com/office/drawing/2014/main" id="{AA55BB2C-50BA-310D-B53B-7C1A73C392FC}"/>
                  </a:ext>
                </a:extLst>
              </p:cNvPr>
              <p:cNvSpPr/>
              <p:nvPr/>
            </p:nvSpPr>
            <p:spPr>
              <a:xfrm>
                <a:off x="3483730" y="1849665"/>
                <a:ext cx="15417" cy="1887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49" name="Freeform 28">
                <a:extLst>
                  <a:ext uri="{FF2B5EF4-FFF2-40B4-BE49-F238E27FC236}">
                    <a16:creationId xmlns:a16="http://schemas.microsoft.com/office/drawing/2014/main" id="{ACA5F2DA-1AB3-CD33-2935-25C8C718C3DB}"/>
                  </a:ext>
                </a:extLst>
              </p:cNvPr>
              <p:cNvSpPr/>
              <p:nvPr/>
            </p:nvSpPr>
            <p:spPr>
              <a:xfrm>
                <a:off x="3483730" y="1877067"/>
                <a:ext cx="15417" cy="1887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50" name="Freeform 29">
                <a:extLst>
                  <a:ext uri="{FF2B5EF4-FFF2-40B4-BE49-F238E27FC236}">
                    <a16:creationId xmlns:a16="http://schemas.microsoft.com/office/drawing/2014/main" id="{5AE7E6BB-E3BB-C086-307E-7CE864529DB5}"/>
                  </a:ext>
                </a:extLst>
              </p:cNvPr>
              <p:cNvSpPr/>
              <p:nvPr/>
            </p:nvSpPr>
            <p:spPr>
              <a:xfrm>
                <a:off x="3483730" y="1904472"/>
                <a:ext cx="15417" cy="18878"/>
              </a:xfrm>
              <a:custGeom>
                <a:avLst/>
                <a:gdLst>
                  <a:gd name="connsiteX0" fmla="*/ 79810 w 79809"/>
                  <a:gd name="connsiteY0" fmla="*/ 48864 h 97728"/>
                  <a:gd name="connsiteX1" fmla="*/ 39905 w 79809"/>
                  <a:gd name="connsiteY1" fmla="*/ 97728 h 97728"/>
                  <a:gd name="connsiteX2" fmla="*/ 0 w 79809"/>
                  <a:gd name="connsiteY2" fmla="*/ 48864 h 97728"/>
                  <a:gd name="connsiteX3" fmla="*/ 39905 w 79809"/>
                  <a:gd name="connsiteY3" fmla="*/ 0 h 97728"/>
                  <a:gd name="connsiteX4" fmla="*/ 79810 w 79809"/>
                  <a:gd name="connsiteY4" fmla="*/ 48864 h 97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9809" h="97728">
                    <a:moveTo>
                      <a:pt x="79810" y="48864"/>
                    </a:moveTo>
                    <a:cubicBezTo>
                      <a:pt x="79810" y="75851"/>
                      <a:pt x="61944" y="97728"/>
                      <a:pt x="39905" y="97728"/>
                    </a:cubicBezTo>
                    <a:cubicBezTo>
                      <a:pt x="17866" y="97728"/>
                      <a:pt x="0" y="75851"/>
                      <a:pt x="0" y="48864"/>
                    </a:cubicBezTo>
                    <a:cubicBezTo>
                      <a:pt x="0" y="21877"/>
                      <a:pt x="17866" y="0"/>
                      <a:pt x="39905" y="0"/>
                    </a:cubicBezTo>
                    <a:cubicBezTo>
                      <a:pt x="61944" y="0"/>
                      <a:pt x="79810" y="21877"/>
                      <a:pt x="79810" y="4886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51" name="Freeform 33">
                <a:extLst>
                  <a:ext uri="{FF2B5EF4-FFF2-40B4-BE49-F238E27FC236}">
                    <a16:creationId xmlns:a16="http://schemas.microsoft.com/office/drawing/2014/main" id="{8091A939-E577-D9CE-0E92-BB823A99503D}"/>
                  </a:ext>
                </a:extLst>
              </p:cNvPr>
              <p:cNvSpPr/>
              <p:nvPr/>
            </p:nvSpPr>
            <p:spPr>
              <a:xfrm>
                <a:off x="3275324" y="1781660"/>
                <a:ext cx="37298" cy="135750"/>
              </a:xfrm>
              <a:custGeom>
                <a:avLst/>
                <a:gdLst>
                  <a:gd name="connsiteX0" fmla="*/ 185245 w 193084"/>
                  <a:gd name="connsiteY0" fmla="*/ 666639 h 702744"/>
                  <a:gd name="connsiteX1" fmla="*/ 41074 w 193084"/>
                  <a:gd name="connsiteY1" fmla="*/ 351680 h 702744"/>
                  <a:gd name="connsiteX2" fmla="*/ 185935 w 193084"/>
                  <a:gd name="connsiteY2" fmla="*/ 36145 h 702744"/>
                  <a:gd name="connsiteX3" fmla="*/ 185935 w 193084"/>
                  <a:gd name="connsiteY3" fmla="*/ 36145 h 702744"/>
                  <a:gd name="connsiteX4" fmla="*/ 193084 w 193084"/>
                  <a:gd name="connsiteY4" fmla="*/ 20547 h 702744"/>
                  <a:gd name="connsiteX5" fmla="*/ 188120 w 193084"/>
                  <a:gd name="connsiteY5" fmla="*/ 7156 h 702744"/>
                  <a:gd name="connsiteX6" fmla="*/ 159159 w 193084"/>
                  <a:gd name="connsiteY6" fmla="*/ 4950 h 702744"/>
                  <a:gd name="connsiteX7" fmla="*/ 0 w 193084"/>
                  <a:gd name="connsiteY7" fmla="*/ 351680 h 702744"/>
                  <a:gd name="connsiteX8" fmla="*/ 158412 w 193084"/>
                  <a:gd name="connsiteY8" fmla="*/ 697757 h 702744"/>
                  <a:gd name="connsiteX9" fmla="*/ 171809 w 193084"/>
                  <a:gd name="connsiteY9" fmla="*/ 702745 h 702744"/>
                  <a:gd name="connsiteX10" fmla="*/ 187373 w 193084"/>
                  <a:gd name="connsiteY10" fmla="*/ 695627 h 702744"/>
                  <a:gd name="connsiteX11" fmla="*/ 192318 w 193084"/>
                  <a:gd name="connsiteY11" fmla="*/ 680682 h 702744"/>
                  <a:gd name="connsiteX12" fmla="*/ 185245 w 193084"/>
                  <a:gd name="connsiteY12" fmla="*/ 666620 h 702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93084" h="702744">
                    <a:moveTo>
                      <a:pt x="185245" y="666639"/>
                    </a:moveTo>
                    <a:cubicBezTo>
                      <a:pt x="93629" y="587482"/>
                      <a:pt x="41074" y="472698"/>
                      <a:pt x="41074" y="351680"/>
                    </a:cubicBezTo>
                    <a:cubicBezTo>
                      <a:pt x="41074" y="230661"/>
                      <a:pt x="93878" y="115302"/>
                      <a:pt x="185935" y="36145"/>
                    </a:cubicBezTo>
                    <a:lnTo>
                      <a:pt x="185935" y="36145"/>
                    </a:lnTo>
                    <a:cubicBezTo>
                      <a:pt x="190478" y="32231"/>
                      <a:pt x="193084" y="26552"/>
                      <a:pt x="193084" y="20547"/>
                    </a:cubicBezTo>
                    <a:cubicBezTo>
                      <a:pt x="193084" y="15636"/>
                      <a:pt x="191321" y="10878"/>
                      <a:pt x="188120" y="7156"/>
                    </a:cubicBezTo>
                    <a:cubicBezTo>
                      <a:pt x="180741" y="-1439"/>
                      <a:pt x="167746" y="-2436"/>
                      <a:pt x="159159" y="4950"/>
                    </a:cubicBezTo>
                    <a:cubicBezTo>
                      <a:pt x="58017" y="91934"/>
                      <a:pt x="0" y="218325"/>
                      <a:pt x="0" y="351680"/>
                    </a:cubicBezTo>
                    <a:cubicBezTo>
                      <a:pt x="0" y="485034"/>
                      <a:pt x="57730" y="610792"/>
                      <a:pt x="158412" y="697757"/>
                    </a:cubicBezTo>
                    <a:cubicBezTo>
                      <a:pt x="162284" y="701095"/>
                      <a:pt x="167056" y="702745"/>
                      <a:pt x="171809" y="702745"/>
                    </a:cubicBezTo>
                    <a:cubicBezTo>
                      <a:pt x="177578" y="702745"/>
                      <a:pt x="183309" y="700328"/>
                      <a:pt x="187373" y="695627"/>
                    </a:cubicBezTo>
                    <a:cubicBezTo>
                      <a:pt x="190957" y="691464"/>
                      <a:pt x="192720" y="686169"/>
                      <a:pt x="192318" y="680682"/>
                    </a:cubicBezTo>
                    <a:cubicBezTo>
                      <a:pt x="191915" y="675215"/>
                      <a:pt x="189404" y="670207"/>
                      <a:pt x="185245" y="66662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52" name="Freeform 34">
                <a:extLst>
                  <a:ext uri="{FF2B5EF4-FFF2-40B4-BE49-F238E27FC236}">
                    <a16:creationId xmlns:a16="http://schemas.microsoft.com/office/drawing/2014/main" id="{C448E13E-6BCD-FC9D-893F-2370D8777D94}"/>
                  </a:ext>
                </a:extLst>
              </p:cNvPr>
              <p:cNvSpPr/>
              <p:nvPr/>
            </p:nvSpPr>
            <p:spPr>
              <a:xfrm>
                <a:off x="3298290" y="1799089"/>
                <a:ext cx="29294" cy="100899"/>
              </a:xfrm>
              <a:custGeom>
                <a:avLst/>
                <a:gdLst>
                  <a:gd name="connsiteX0" fmla="*/ 143999 w 151646"/>
                  <a:gd name="connsiteY0" fmla="*/ 486185 h 522329"/>
                  <a:gd name="connsiteX1" fmla="*/ 41074 w 151646"/>
                  <a:gd name="connsiteY1" fmla="*/ 261376 h 522329"/>
                  <a:gd name="connsiteX2" fmla="*/ 144497 w 151646"/>
                  <a:gd name="connsiteY2" fmla="*/ 36144 h 522329"/>
                  <a:gd name="connsiteX3" fmla="*/ 151646 w 151646"/>
                  <a:gd name="connsiteY3" fmla="*/ 20547 h 522329"/>
                  <a:gd name="connsiteX4" fmla="*/ 146682 w 151646"/>
                  <a:gd name="connsiteY4" fmla="*/ 7156 h 522329"/>
                  <a:gd name="connsiteX5" fmla="*/ 132652 w 151646"/>
                  <a:gd name="connsiteY5" fmla="*/ 57 h 522329"/>
                  <a:gd name="connsiteX6" fmla="*/ 117721 w 151646"/>
                  <a:gd name="connsiteY6" fmla="*/ 4969 h 522329"/>
                  <a:gd name="connsiteX7" fmla="*/ 0 w 151646"/>
                  <a:gd name="connsiteY7" fmla="*/ 261395 h 522329"/>
                  <a:gd name="connsiteX8" fmla="*/ 117165 w 151646"/>
                  <a:gd name="connsiteY8" fmla="*/ 517341 h 522329"/>
                  <a:gd name="connsiteX9" fmla="*/ 130563 w 151646"/>
                  <a:gd name="connsiteY9" fmla="*/ 522329 h 522329"/>
                  <a:gd name="connsiteX10" fmla="*/ 146126 w 151646"/>
                  <a:gd name="connsiteY10" fmla="*/ 515212 h 522329"/>
                  <a:gd name="connsiteX11" fmla="*/ 143999 w 151646"/>
                  <a:gd name="connsiteY11" fmla="*/ 486223 h 522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1646" h="522329">
                    <a:moveTo>
                      <a:pt x="143999" y="486185"/>
                    </a:moveTo>
                    <a:cubicBezTo>
                      <a:pt x="78583" y="429704"/>
                      <a:pt x="41074" y="347765"/>
                      <a:pt x="41074" y="261376"/>
                    </a:cubicBezTo>
                    <a:cubicBezTo>
                      <a:pt x="41074" y="174986"/>
                      <a:pt x="78775" y="92625"/>
                      <a:pt x="144497" y="36144"/>
                    </a:cubicBezTo>
                    <a:cubicBezTo>
                      <a:pt x="149039" y="32231"/>
                      <a:pt x="151646" y="26552"/>
                      <a:pt x="151646" y="20547"/>
                    </a:cubicBezTo>
                    <a:cubicBezTo>
                      <a:pt x="151646" y="15636"/>
                      <a:pt x="149883" y="10878"/>
                      <a:pt x="146682" y="7156"/>
                    </a:cubicBezTo>
                    <a:cubicBezTo>
                      <a:pt x="143117" y="2993"/>
                      <a:pt x="138134" y="460"/>
                      <a:pt x="132652" y="57"/>
                    </a:cubicBezTo>
                    <a:cubicBezTo>
                      <a:pt x="127170" y="-345"/>
                      <a:pt x="121880" y="1381"/>
                      <a:pt x="117721" y="4969"/>
                    </a:cubicBezTo>
                    <a:cubicBezTo>
                      <a:pt x="42895" y="69277"/>
                      <a:pt x="0" y="162746"/>
                      <a:pt x="0" y="261395"/>
                    </a:cubicBezTo>
                    <a:cubicBezTo>
                      <a:pt x="0" y="360044"/>
                      <a:pt x="42703" y="453052"/>
                      <a:pt x="117165" y="517341"/>
                    </a:cubicBezTo>
                    <a:cubicBezTo>
                      <a:pt x="121037" y="520679"/>
                      <a:pt x="125810" y="522329"/>
                      <a:pt x="130563" y="522329"/>
                    </a:cubicBezTo>
                    <a:cubicBezTo>
                      <a:pt x="136332" y="522329"/>
                      <a:pt x="142063" y="519912"/>
                      <a:pt x="146126" y="515212"/>
                    </a:cubicBezTo>
                    <a:cubicBezTo>
                      <a:pt x="153524" y="506636"/>
                      <a:pt x="152566" y="493629"/>
                      <a:pt x="143999" y="486223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53" name="Freeform 35">
                <a:extLst>
                  <a:ext uri="{FF2B5EF4-FFF2-40B4-BE49-F238E27FC236}">
                    <a16:creationId xmlns:a16="http://schemas.microsoft.com/office/drawing/2014/main" id="{C9532C31-1731-08A8-426A-99DC461C40A5}"/>
                  </a:ext>
                </a:extLst>
              </p:cNvPr>
              <p:cNvSpPr/>
              <p:nvPr/>
            </p:nvSpPr>
            <p:spPr>
              <a:xfrm>
                <a:off x="3321771" y="1816167"/>
                <a:ext cx="20467" cy="66736"/>
              </a:xfrm>
              <a:custGeom>
                <a:avLst/>
                <a:gdLst>
                  <a:gd name="connsiteX0" fmla="*/ 99628 w 105952"/>
                  <a:gd name="connsiteY0" fmla="*/ 35374 h 345479"/>
                  <a:gd name="connsiteX1" fmla="*/ 105953 w 105952"/>
                  <a:gd name="connsiteY1" fmla="*/ 20544 h 345479"/>
                  <a:gd name="connsiteX2" fmla="*/ 100222 w 105952"/>
                  <a:gd name="connsiteY2" fmla="*/ 6309 h 345479"/>
                  <a:gd name="connsiteX3" fmla="*/ 71185 w 105952"/>
                  <a:gd name="connsiteY3" fmla="*/ 5714 h 345479"/>
                  <a:gd name="connsiteX4" fmla="*/ 0 w 105952"/>
                  <a:gd name="connsiteY4" fmla="*/ 172892 h 345479"/>
                  <a:gd name="connsiteX5" fmla="*/ 70859 w 105952"/>
                  <a:gd name="connsiteY5" fmla="*/ 339743 h 345479"/>
                  <a:gd name="connsiteX6" fmla="*/ 85100 w 105952"/>
                  <a:gd name="connsiteY6" fmla="*/ 345480 h 345479"/>
                  <a:gd name="connsiteX7" fmla="*/ 99896 w 105952"/>
                  <a:gd name="connsiteY7" fmla="*/ 339206 h 345479"/>
                  <a:gd name="connsiteX8" fmla="*/ 99360 w 105952"/>
                  <a:gd name="connsiteY8" fmla="*/ 310141 h 345479"/>
                  <a:gd name="connsiteX9" fmla="*/ 41074 w 105952"/>
                  <a:gd name="connsiteY9" fmla="*/ 172892 h 345479"/>
                  <a:gd name="connsiteX10" fmla="*/ 99628 w 105952"/>
                  <a:gd name="connsiteY10" fmla="*/ 35374 h 345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5952" h="345479">
                    <a:moveTo>
                      <a:pt x="99628" y="35374"/>
                    </a:moveTo>
                    <a:cubicBezTo>
                      <a:pt x="103634" y="31518"/>
                      <a:pt x="105953" y="26108"/>
                      <a:pt x="105953" y="20544"/>
                    </a:cubicBezTo>
                    <a:cubicBezTo>
                      <a:pt x="105953" y="15211"/>
                      <a:pt x="103921" y="10165"/>
                      <a:pt x="100222" y="6309"/>
                    </a:cubicBezTo>
                    <a:cubicBezTo>
                      <a:pt x="92383" y="-1864"/>
                      <a:pt x="79350" y="-2132"/>
                      <a:pt x="71185" y="5714"/>
                    </a:cubicBezTo>
                    <a:cubicBezTo>
                      <a:pt x="25281" y="49820"/>
                      <a:pt x="0" y="109198"/>
                      <a:pt x="0" y="172892"/>
                    </a:cubicBezTo>
                    <a:cubicBezTo>
                      <a:pt x="0" y="236586"/>
                      <a:pt x="25166" y="295656"/>
                      <a:pt x="70859" y="339743"/>
                    </a:cubicBezTo>
                    <a:cubicBezTo>
                      <a:pt x="74846" y="343580"/>
                      <a:pt x="79982" y="345480"/>
                      <a:pt x="85100" y="345480"/>
                    </a:cubicBezTo>
                    <a:cubicBezTo>
                      <a:pt x="90486" y="345480"/>
                      <a:pt x="95871" y="343369"/>
                      <a:pt x="99896" y="339206"/>
                    </a:cubicBezTo>
                    <a:cubicBezTo>
                      <a:pt x="107755" y="331053"/>
                      <a:pt x="107505" y="318007"/>
                      <a:pt x="99360" y="310141"/>
                    </a:cubicBezTo>
                    <a:cubicBezTo>
                      <a:pt x="61774" y="273882"/>
                      <a:pt x="41074" y="225133"/>
                      <a:pt x="41074" y="172892"/>
                    </a:cubicBezTo>
                    <a:cubicBezTo>
                      <a:pt x="41074" y="120651"/>
                      <a:pt x="61870" y="71653"/>
                      <a:pt x="99628" y="3537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54" name="Freeform 36">
                <a:extLst>
                  <a:ext uri="{FF2B5EF4-FFF2-40B4-BE49-F238E27FC236}">
                    <a16:creationId xmlns:a16="http://schemas.microsoft.com/office/drawing/2014/main" id="{88104F3C-AFCC-D582-5F90-0C6EED006122}"/>
                  </a:ext>
                </a:extLst>
              </p:cNvPr>
              <p:cNvSpPr/>
              <p:nvPr/>
            </p:nvSpPr>
            <p:spPr>
              <a:xfrm>
                <a:off x="3375869" y="1776157"/>
                <a:ext cx="189822" cy="354299"/>
              </a:xfrm>
              <a:custGeom>
                <a:avLst/>
                <a:gdLst>
                  <a:gd name="connsiteX0" fmla="*/ 982182 w 982664"/>
                  <a:gd name="connsiteY0" fmla="*/ 96673 h 1834124"/>
                  <a:gd name="connsiteX1" fmla="*/ 981473 w 982664"/>
                  <a:gd name="connsiteY1" fmla="*/ 90649 h 1834124"/>
                  <a:gd name="connsiteX2" fmla="*/ 980399 w 982664"/>
                  <a:gd name="connsiteY2" fmla="*/ 84682 h 1834124"/>
                  <a:gd name="connsiteX3" fmla="*/ 960159 w 982664"/>
                  <a:gd name="connsiteY3" fmla="*/ 41133 h 1834124"/>
                  <a:gd name="connsiteX4" fmla="*/ 922880 w 982664"/>
                  <a:gd name="connsiteY4" fmla="*/ 10801 h 1834124"/>
                  <a:gd name="connsiteX5" fmla="*/ 876095 w 982664"/>
                  <a:gd name="connsiteY5" fmla="*/ 0 h 1834124"/>
                  <a:gd name="connsiteX6" fmla="*/ 106556 w 982664"/>
                  <a:gd name="connsiteY6" fmla="*/ 0 h 1834124"/>
                  <a:gd name="connsiteX7" fmla="*/ 82540 w 982664"/>
                  <a:gd name="connsiteY7" fmla="*/ 2763 h 1834124"/>
                  <a:gd name="connsiteX8" fmla="*/ 39435 w 982664"/>
                  <a:gd name="connsiteY8" fmla="*/ 23866 h 1834124"/>
                  <a:gd name="connsiteX9" fmla="*/ 9899 w 982664"/>
                  <a:gd name="connsiteY9" fmla="*/ 61795 h 1834124"/>
                  <a:gd name="connsiteX10" fmla="*/ 2271 w 982664"/>
                  <a:gd name="connsiteY10" fmla="*/ 84721 h 1834124"/>
                  <a:gd name="connsiteX11" fmla="*/ 1197 w 982664"/>
                  <a:gd name="connsiteY11" fmla="*/ 90687 h 1834124"/>
                  <a:gd name="connsiteX12" fmla="*/ 488 w 982664"/>
                  <a:gd name="connsiteY12" fmla="*/ 96711 h 1834124"/>
                  <a:gd name="connsiteX13" fmla="*/ 105 w 982664"/>
                  <a:gd name="connsiteY13" fmla="*/ 102774 h 1834124"/>
                  <a:gd name="connsiteX14" fmla="*/ 9 w 982664"/>
                  <a:gd name="connsiteY14" fmla="*/ 109220 h 1834124"/>
                  <a:gd name="connsiteX15" fmla="*/ 9 w 982664"/>
                  <a:gd name="connsiteY15" fmla="*/ 622705 h 1834124"/>
                  <a:gd name="connsiteX16" fmla="*/ 9 w 982664"/>
                  <a:gd name="connsiteY16" fmla="*/ 626197 h 1834124"/>
                  <a:gd name="connsiteX17" fmla="*/ 124 w 982664"/>
                  <a:gd name="connsiteY17" fmla="*/ 629228 h 1834124"/>
                  <a:gd name="connsiteX18" fmla="*/ 469 w 982664"/>
                  <a:gd name="connsiteY18" fmla="*/ 635271 h 1834124"/>
                  <a:gd name="connsiteX19" fmla="*/ 1140 w 982664"/>
                  <a:gd name="connsiteY19" fmla="*/ 641295 h 1834124"/>
                  <a:gd name="connsiteX20" fmla="*/ 2213 w 982664"/>
                  <a:gd name="connsiteY20" fmla="*/ 647262 h 1834124"/>
                  <a:gd name="connsiteX21" fmla="*/ 9726 w 982664"/>
                  <a:gd name="connsiteY21" fmla="*/ 670245 h 1834124"/>
                  <a:gd name="connsiteX22" fmla="*/ 22261 w 982664"/>
                  <a:gd name="connsiteY22" fmla="*/ 690927 h 1834124"/>
                  <a:gd name="connsiteX23" fmla="*/ 30139 w 982664"/>
                  <a:gd name="connsiteY23" fmla="*/ 700116 h 1834124"/>
                  <a:gd name="connsiteX24" fmla="*/ 34490 w 982664"/>
                  <a:gd name="connsiteY24" fmla="*/ 704337 h 1834124"/>
                  <a:gd name="connsiteX25" fmla="*/ 39070 w 982664"/>
                  <a:gd name="connsiteY25" fmla="*/ 708289 h 1834124"/>
                  <a:gd name="connsiteX26" fmla="*/ 59368 w 982664"/>
                  <a:gd name="connsiteY26" fmla="*/ 721431 h 1834124"/>
                  <a:gd name="connsiteX27" fmla="*/ 84879 w 982664"/>
                  <a:gd name="connsiteY27" fmla="*/ 733844 h 1834124"/>
                  <a:gd name="connsiteX28" fmla="*/ 136168 w 982664"/>
                  <a:gd name="connsiteY28" fmla="*/ 758746 h 1834124"/>
                  <a:gd name="connsiteX29" fmla="*/ 238729 w 982664"/>
                  <a:gd name="connsiteY29" fmla="*/ 808550 h 1834124"/>
                  <a:gd name="connsiteX30" fmla="*/ 343014 w 982664"/>
                  <a:gd name="connsiteY30" fmla="*/ 859198 h 1834124"/>
                  <a:gd name="connsiteX31" fmla="*/ 358808 w 982664"/>
                  <a:gd name="connsiteY31" fmla="*/ 868944 h 1834124"/>
                  <a:gd name="connsiteX32" fmla="*/ 362123 w 982664"/>
                  <a:gd name="connsiteY32" fmla="*/ 871860 h 1834124"/>
                  <a:gd name="connsiteX33" fmla="*/ 364289 w 982664"/>
                  <a:gd name="connsiteY33" fmla="*/ 875927 h 1834124"/>
                  <a:gd name="connsiteX34" fmla="*/ 365880 w 982664"/>
                  <a:gd name="connsiteY34" fmla="*/ 884676 h 1834124"/>
                  <a:gd name="connsiteX35" fmla="*/ 366685 w 982664"/>
                  <a:gd name="connsiteY35" fmla="*/ 894038 h 1834124"/>
                  <a:gd name="connsiteX36" fmla="*/ 366742 w 982664"/>
                  <a:gd name="connsiteY36" fmla="*/ 903765 h 1834124"/>
                  <a:gd name="connsiteX37" fmla="*/ 366742 w 982664"/>
                  <a:gd name="connsiteY37" fmla="*/ 1708382 h 1834124"/>
                  <a:gd name="connsiteX38" fmla="*/ 366800 w 982664"/>
                  <a:gd name="connsiteY38" fmla="*/ 1711624 h 1834124"/>
                  <a:gd name="connsiteX39" fmla="*/ 366877 w 982664"/>
                  <a:gd name="connsiteY39" fmla="*/ 1714732 h 1834124"/>
                  <a:gd name="connsiteX40" fmla="*/ 367298 w 982664"/>
                  <a:gd name="connsiteY40" fmla="*/ 1720929 h 1834124"/>
                  <a:gd name="connsiteX41" fmla="*/ 381367 w 982664"/>
                  <a:gd name="connsiteY41" fmla="*/ 1768066 h 1834124"/>
                  <a:gd name="connsiteX42" fmla="*/ 412646 w 982664"/>
                  <a:gd name="connsiteY42" fmla="*/ 1806110 h 1834124"/>
                  <a:gd name="connsiteX43" fmla="*/ 456135 w 982664"/>
                  <a:gd name="connsiteY43" fmla="*/ 1829074 h 1834124"/>
                  <a:gd name="connsiteX44" fmla="*/ 505164 w 982664"/>
                  <a:gd name="connsiteY44" fmla="*/ 1833372 h 1834124"/>
                  <a:gd name="connsiteX45" fmla="*/ 551968 w 982664"/>
                  <a:gd name="connsiteY45" fmla="*/ 1818388 h 1834124"/>
                  <a:gd name="connsiteX46" fmla="*/ 589362 w 982664"/>
                  <a:gd name="connsiteY46" fmla="*/ 1786368 h 1834124"/>
                  <a:gd name="connsiteX47" fmla="*/ 611500 w 982664"/>
                  <a:gd name="connsiteY47" fmla="*/ 1742435 h 1834124"/>
                  <a:gd name="connsiteX48" fmla="*/ 615602 w 982664"/>
                  <a:gd name="connsiteY48" fmla="*/ 1718051 h 1834124"/>
                  <a:gd name="connsiteX49" fmla="*/ 615870 w 982664"/>
                  <a:gd name="connsiteY49" fmla="*/ 1711854 h 1834124"/>
                  <a:gd name="connsiteX50" fmla="*/ 615927 w 982664"/>
                  <a:gd name="connsiteY50" fmla="*/ 1708650 h 1834124"/>
                  <a:gd name="connsiteX51" fmla="*/ 615927 w 982664"/>
                  <a:gd name="connsiteY51" fmla="*/ 897395 h 1834124"/>
                  <a:gd name="connsiteX52" fmla="*/ 618323 w 982664"/>
                  <a:gd name="connsiteY52" fmla="*/ 876292 h 1834124"/>
                  <a:gd name="connsiteX53" fmla="*/ 620777 w 982664"/>
                  <a:gd name="connsiteY53" fmla="*/ 871611 h 1834124"/>
                  <a:gd name="connsiteX54" fmla="*/ 624706 w 982664"/>
                  <a:gd name="connsiteY54" fmla="*/ 868369 h 1834124"/>
                  <a:gd name="connsiteX55" fmla="*/ 633541 w 982664"/>
                  <a:gd name="connsiteY55" fmla="*/ 862671 h 1834124"/>
                  <a:gd name="connsiteX56" fmla="*/ 643470 w 982664"/>
                  <a:gd name="connsiteY56" fmla="*/ 857682 h 1834124"/>
                  <a:gd name="connsiteX57" fmla="*/ 653666 w 982664"/>
                  <a:gd name="connsiteY57" fmla="*/ 852944 h 1834124"/>
                  <a:gd name="connsiteX58" fmla="*/ 670648 w 982664"/>
                  <a:gd name="connsiteY58" fmla="*/ 845040 h 1834124"/>
                  <a:gd name="connsiteX59" fmla="*/ 877360 w 982664"/>
                  <a:gd name="connsiteY59" fmla="*/ 748750 h 1834124"/>
                  <a:gd name="connsiteX60" fmla="*/ 903196 w 982664"/>
                  <a:gd name="connsiteY60" fmla="*/ 736721 h 1834124"/>
                  <a:gd name="connsiteX61" fmla="*/ 916115 w 982664"/>
                  <a:gd name="connsiteY61" fmla="*/ 730697 h 1834124"/>
                  <a:gd name="connsiteX62" fmla="*/ 919354 w 982664"/>
                  <a:gd name="connsiteY62" fmla="*/ 729201 h 1834124"/>
                  <a:gd name="connsiteX63" fmla="*/ 920964 w 982664"/>
                  <a:gd name="connsiteY63" fmla="*/ 728453 h 1834124"/>
                  <a:gd name="connsiteX64" fmla="*/ 922325 w 982664"/>
                  <a:gd name="connsiteY64" fmla="*/ 727762 h 1834124"/>
                  <a:gd name="connsiteX65" fmla="*/ 927729 w 982664"/>
                  <a:gd name="connsiteY65" fmla="*/ 725019 h 1834124"/>
                  <a:gd name="connsiteX66" fmla="*/ 947375 w 982664"/>
                  <a:gd name="connsiteY66" fmla="*/ 710956 h 1834124"/>
                  <a:gd name="connsiteX67" fmla="*/ 963360 w 982664"/>
                  <a:gd name="connsiteY67" fmla="*/ 692807 h 1834124"/>
                  <a:gd name="connsiteX68" fmla="*/ 965085 w 982664"/>
                  <a:gd name="connsiteY68" fmla="*/ 690313 h 1834124"/>
                  <a:gd name="connsiteX69" fmla="*/ 965948 w 982664"/>
                  <a:gd name="connsiteY69" fmla="*/ 689066 h 1834124"/>
                  <a:gd name="connsiteX70" fmla="*/ 966714 w 982664"/>
                  <a:gd name="connsiteY70" fmla="*/ 687761 h 1834124"/>
                  <a:gd name="connsiteX71" fmla="*/ 969781 w 982664"/>
                  <a:gd name="connsiteY71" fmla="*/ 682543 h 1834124"/>
                  <a:gd name="connsiteX72" fmla="*/ 972484 w 982664"/>
                  <a:gd name="connsiteY72" fmla="*/ 677114 h 1834124"/>
                  <a:gd name="connsiteX73" fmla="*/ 974879 w 982664"/>
                  <a:gd name="connsiteY73" fmla="*/ 671550 h 1834124"/>
                  <a:gd name="connsiteX74" fmla="*/ 981339 w 982664"/>
                  <a:gd name="connsiteY74" fmla="*/ 648260 h 1834124"/>
                  <a:gd name="connsiteX75" fmla="*/ 982067 w 982664"/>
                  <a:gd name="connsiteY75" fmla="*/ 642255 h 1834124"/>
                  <a:gd name="connsiteX76" fmla="*/ 982393 w 982664"/>
                  <a:gd name="connsiteY76" fmla="*/ 639243 h 1834124"/>
                  <a:gd name="connsiteX77" fmla="*/ 982488 w 982664"/>
                  <a:gd name="connsiteY77" fmla="*/ 636211 h 1834124"/>
                  <a:gd name="connsiteX78" fmla="*/ 982603 w 982664"/>
                  <a:gd name="connsiteY78" fmla="*/ 633180 h 1834124"/>
                  <a:gd name="connsiteX79" fmla="*/ 982661 w 982664"/>
                  <a:gd name="connsiteY79" fmla="*/ 631665 h 1834124"/>
                  <a:gd name="connsiteX80" fmla="*/ 982661 w 982664"/>
                  <a:gd name="connsiteY80" fmla="*/ 109162 h 1834124"/>
                  <a:gd name="connsiteX81" fmla="*/ 982565 w 982664"/>
                  <a:gd name="connsiteY81" fmla="*/ 102716 h 1834124"/>
                  <a:gd name="connsiteX82" fmla="*/ 982182 w 982664"/>
                  <a:gd name="connsiteY82" fmla="*/ 96654 h 1834124"/>
                  <a:gd name="connsiteX83" fmla="*/ 106575 w 982664"/>
                  <a:gd name="connsiteY83" fmla="*/ 39022 h 1834124"/>
                  <a:gd name="connsiteX84" fmla="*/ 135057 w 982664"/>
                  <a:gd name="connsiteY84" fmla="*/ 39022 h 1834124"/>
                  <a:gd name="connsiteX85" fmla="*/ 192058 w 982664"/>
                  <a:gd name="connsiteY85" fmla="*/ 39022 h 1834124"/>
                  <a:gd name="connsiteX86" fmla="*/ 876076 w 982664"/>
                  <a:gd name="connsiteY86" fmla="*/ 39022 h 1834124"/>
                  <a:gd name="connsiteX87" fmla="*/ 898692 w 982664"/>
                  <a:gd name="connsiteY87" fmla="*/ 42917 h 1834124"/>
                  <a:gd name="connsiteX88" fmla="*/ 528317 w 982664"/>
                  <a:gd name="connsiteY88" fmla="*/ 191197 h 1834124"/>
                  <a:gd name="connsiteX89" fmla="*/ 451305 w 982664"/>
                  <a:gd name="connsiteY89" fmla="*/ 190334 h 1834124"/>
                  <a:gd name="connsiteX90" fmla="*/ 98084 w 982664"/>
                  <a:gd name="connsiteY90" fmla="*/ 39598 h 1834124"/>
                  <a:gd name="connsiteX91" fmla="*/ 106556 w 982664"/>
                  <a:gd name="connsiteY91" fmla="*/ 39022 h 1834124"/>
                  <a:gd name="connsiteX92" fmla="*/ 255749 w 982664"/>
                  <a:gd name="connsiteY92" fmla="*/ 773441 h 1834124"/>
                  <a:gd name="connsiteX93" fmla="*/ 153188 w 982664"/>
                  <a:gd name="connsiteY93" fmla="*/ 723637 h 1834124"/>
                  <a:gd name="connsiteX94" fmla="*/ 101899 w 982664"/>
                  <a:gd name="connsiteY94" fmla="*/ 698735 h 1834124"/>
                  <a:gd name="connsiteX95" fmla="*/ 76656 w 982664"/>
                  <a:gd name="connsiteY95" fmla="*/ 686438 h 1834124"/>
                  <a:gd name="connsiteX96" fmla="*/ 63795 w 982664"/>
                  <a:gd name="connsiteY96" fmla="*/ 678092 h 1834124"/>
                  <a:gd name="connsiteX97" fmla="*/ 60882 w 982664"/>
                  <a:gd name="connsiteY97" fmla="*/ 675598 h 1834124"/>
                  <a:gd name="connsiteX98" fmla="*/ 58122 w 982664"/>
                  <a:gd name="connsiteY98" fmla="*/ 672931 h 1834124"/>
                  <a:gd name="connsiteX99" fmla="*/ 53139 w 982664"/>
                  <a:gd name="connsiteY99" fmla="*/ 667080 h 1834124"/>
                  <a:gd name="connsiteX100" fmla="*/ 45165 w 982664"/>
                  <a:gd name="connsiteY100" fmla="*/ 653957 h 1834124"/>
                  <a:gd name="connsiteX101" fmla="*/ 40412 w 982664"/>
                  <a:gd name="connsiteY101" fmla="*/ 639396 h 1834124"/>
                  <a:gd name="connsiteX102" fmla="*/ 39722 w 982664"/>
                  <a:gd name="connsiteY102" fmla="*/ 635617 h 1834124"/>
                  <a:gd name="connsiteX103" fmla="*/ 39320 w 982664"/>
                  <a:gd name="connsiteY103" fmla="*/ 631799 h 1834124"/>
                  <a:gd name="connsiteX104" fmla="*/ 39109 w 982664"/>
                  <a:gd name="connsiteY104" fmla="*/ 627962 h 1834124"/>
                  <a:gd name="connsiteX105" fmla="*/ 39013 w 982664"/>
                  <a:gd name="connsiteY105" fmla="*/ 626043 h 1834124"/>
                  <a:gd name="connsiteX106" fmla="*/ 39013 w 982664"/>
                  <a:gd name="connsiteY106" fmla="*/ 625794 h 1834124"/>
                  <a:gd name="connsiteX107" fmla="*/ 39013 w 982664"/>
                  <a:gd name="connsiteY107" fmla="*/ 625353 h 1834124"/>
                  <a:gd name="connsiteX108" fmla="*/ 39013 w 982664"/>
                  <a:gd name="connsiteY108" fmla="*/ 106592 h 1834124"/>
                  <a:gd name="connsiteX109" fmla="*/ 39032 w 982664"/>
                  <a:gd name="connsiteY109" fmla="*/ 106112 h 1834124"/>
                  <a:gd name="connsiteX110" fmla="*/ 39090 w 982664"/>
                  <a:gd name="connsiteY110" fmla="*/ 104155 h 1834124"/>
                  <a:gd name="connsiteX111" fmla="*/ 39320 w 982664"/>
                  <a:gd name="connsiteY111" fmla="*/ 100280 h 1834124"/>
                  <a:gd name="connsiteX112" fmla="*/ 39760 w 982664"/>
                  <a:gd name="connsiteY112" fmla="*/ 96462 h 1834124"/>
                  <a:gd name="connsiteX113" fmla="*/ 40450 w 982664"/>
                  <a:gd name="connsiteY113" fmla="*/ 92702 h 1834124"/>
                  <a:gd name="connsiteX114" fmla="*/ 45261 w 982664"/>
                  <a:gd name="connsiteY114" fmla="*/ 78236 h 1834124"/>
                  <a:gd name="connsiteX115" fmla="*/ 57739 w 982664"/>
                  <a:gd name="connsiteY115" fmla="*/ 60011 h 1834124"/>
                  <a:gd name="connsiteX116" fmla="*/ 437774 w 982664"/>
                  <a:gd name="connsiteY116" fmla="*/ 222200 h 1834124"/>
                  <a:gd name="connsiteX117" fmla="*/ 473079 w 982664"/>
                  <a:gd name="connsiteY117" fmla="*/ 231908 h 1834124"/>
                  <a:gd name="connsiteX118" fmla="*/ 473079 w 982664"/>
                  <a:gd name="connsiteY118" fmla="*/ 856838 h 1834124"/>
                  <a:gd name="connsiteX119" fmla="*/ 382363 w 982664"/>
                  <a:gd name="connsiteY119" fmla="*/ 836867 h 1834124"/>
                  <a:gd name="connsiteX120" fmla="*/ 381865 w 982664"/>
                  <a:gd name="connsiteY120" fmla="*/ 836445 h 1834124"/>
                  <a:gd name="connsiteX121" fmla="*/ 369943 w 982664"/>
                  <a:gd name="connsiteY121" fmla="*/ 828886 h 1834124"/>
                  <a:gd name="connsiteX122" fmla="*/ 255768 w 982664"/>
                  <a:gd name="connsiteY122" fmla="*/ 773441 h 1834124"/>
                  <a:gd name="connsiteX123" fmla="*/ 576943 w 982664"/>
                  <a:gd name="connsiteY123" fmla="*/ 1291378 h 1834124"/>
                  <a:gd name="connsiteX124" fmla="*/ 576943 w 982664"/>
                  <a:gd name="connsiteY124" fmla="*/ 1709456 h 1834124"/>
                  <a:gd name="connsiteX125" fmla="*/ 576923 w 982664"/>
                  <a:gd name="connsiteY125" fmla="*/ 1709993 h 1834124"/>
                  <a:gd name="connsiteX126" fmla="*/ 576885 w 982664"/>
                  <a:gd name="connsiteY126" fmla="*/ 1711068 h 1834124"/>
                  <a:gd name="connsiteX127" fmla="*/ 576693 w 982664"/>
                  <a:gd name="connsiteY127" fmla="*/ 1715365 h 1834124"/>
                  <a:gd name="connsiteX128" fmla="*/ 573876 w 982664"/>
                  <a:gd name="connsiteY128" fmla="*/ 1732094 h 1834124"/>
                  <a:gd name="connsiteX129" fmla="*/ 558696 w 982664"/>
                  <a:gd name="connsiteY129" fmla="*/ 1762234 h 1834124"/>
                  <a:gd name="connsiteX130" fmla="*/ 532955 w 982664"/>
                  <a:gd name="connsiteY130" fmla="*/ 1784277 h 1834124"/>
                  <a:gd name="connsiteX131" fmla="*/ 500890 w 982664"/>
                  <a:gd name="connsiteY131" fmla="*/ 1794541 h 1834124"/>
                  <a:gd name="connsiteX132" fmla="*/ 483774 w 982664"/>
                  <a:gd name="connsiteY132" fmla="*/ 1794733 h 1834124"/>
                  <a:gd name="connsiteX133" fmla="*/ 467118 w 982664"/>
                  <a:gd name="connsiteY133" fmla="*/ 1791606 h 1834124"/>
                  <a:gd name="connsiteX134" fmla="*/ 437276 w 982664"/>
                  <a:gd name="connsiteY134" fmla="*/ 1775855 h 1834124"/>
                  <a:gd name="connsiteX135" fmla="*/ 415751 w 982664"/>
                  <a:gd name="connsiteY135" fmla="*/ 1749668 h 1834124"/>
                  <a:gd name="connsiteX136" fmla="*/ 406111 w 982664"/>
                  <a:gd name="connsiteY136" fmla="*/ 1717360 h 1834124"/>
                  <a:gd name="connsiteX137" fmla="*/ 405823 w 982664"/>
                  <a:gd name="connsiteY137" fmla="*/ 1713082 h 1834124"/>
                  <a:gd name="connsiteX138" fmla="*/ 405766 w 982664"/>
                  <a:gd name="connsiteY138" fmla="*/ 1710933 h 1834124"/>
                  <a:gd name="connsiteX139" fmla="*/ 405727 w 982664"/>
                  <a:gd name="connsiteY139" fmla="*/ 1709859 h 1834124"/>
                  <a:gd name="connsiteX140" fmla="*/ 405727 w 982664"/>
                  <a:gd name="connsiteY140" fmla="*/ 1709264 h 1834124"/>
                  <a:gd name="connsiteX141" fmla="*/ 405727 w 982664"/>
                  <a:gd name="connsiteY141" fmla="*/ 1708382 h 1834124"/>
                  <a:gd name="connsiteX142" fmla="*/ 405727 w 982664"/>
                  <a:gd name="connsiteY142" fmla="*/ 896110 h 1834124"/>
                  <a:gd name="connsiteX143" fmla="*/ 405689 w 982664"/>
                  <a:gd name="connsiteY143" fmla="*/ 884983 h 1834124"/>
                  <a:gd name="connsiteX144" fmla="*/ 493376 w 982664"/>
                  <a:gd name="connsiteY144" fmla="*/ 896148 h 1834124"/>
                  <a:gd name="connsiteX145" fmla="*/ 576962 w 982664"/>
                  <a:gd name="connsiteY145" fmla="*/ 885769 h 1834124"/>
                  <a:gd name="connsiteX146" fmla="*/ 576962 w 982664"/>
                  <a:gd name="connsiteY146" fmla="*/ 886191 h 1834124"/>
                  <a:gd name="connsiteX147" fmla="*/ 576962 w 982664"/>
                  <a:gd name="connsiteY147" fmla="*/ 1291378 h 1834124"/>
                  <a:gd name="connsiteX148" fmla="*/ 943695 w 982664"/>
                  <a:gd name="connsiteY148" fmla="*/ 365915 h 1834124"/>
                  <a:gd name="connsiteX149" fmla="*/ 943695 w 982664"/>
                  <a:gd name="connsiteY149" fmla="*/ 631588 h 1834124"/>
                  <a:gd name="connsiteX150" fmla="*/ 943638 w 982664"/>
                  <a:gd name="connsiteY150" fmla="*/ 632585 h 1834124"/>
                  <a:gd name="connsiteX151" fmla="*/ 943561 w 982664"/>
                  <a:gd name="connsiteY151" fmla="*/ 634504 h 1834124"/>
                  <a:gd name="connsiteX152" fmla="*/ 943523 w 982664"/>
                  <a:gd name="connsiteY152" fmla="*/ 636422 h 1834124"/>
                  <a:gd name="connsiteX153" fmla="*/ 943293 w 982664"/>
                  <a:gd name="connsiteY153" fmla="*/ 638322 h 1834124"/>
                  <a:gd name="connsiteX154" fmla="*/ 942833 w 982664"/>
                  <a:gd name="connsiteY154" fmla="*/ 642140 h 1834124"/>
                  <a:gd name="connsiteX155" fmla="*/ 938731 w 982664"/>
                  <a:gd name="connsiteY155" fmla="*/ 656893 h 1834124"/>
                  <a:gd name="connsiteX156" fmla="*/ 937217 w 982664"/>
                  <a:gd name="connsiteY156" fmla="*/ 660423 h 1834124"/>
                  <a:gd name="connsiteX157" fmla="*/ 935511 w 982664"/>
                  <a:gd name="connsiteY157" fmla="*/ 663876 h 1834124"/>
                  <a:gd name="connsiteX158" fmla="*/ 933537 w 982664"/>
                  <a:gd name="connsiteY158" fmla="*/ 667176 h 1834124"/>
                  <a:gd name="connsiteX159" fmla="*/ 933077 w 982664"/>
                  <a:gd name="connsiteY159" fmla="*/ 668020 h 1834124"/>
                  <a:gd name="connsiteX160" fmla="*/ 932521 w 982664"/>
                  <a:gd name="connsiteY160" fmla="*/ 668807 h 1834124"/>
                  <a:gd name="connsiteX161" fmla="*/ 931429 w 982664"/>
                  <a:gd name="connsiteY161" fmla="*/ 670380 h 1834124"/>
                  <a:gd name="connsiteX162" fmla="*/ 921309 w 982664"/>
                  <a:gd name="connsiteY162" fmla="*/ 681891 h 1834124"/>
                  <a:gd name="connsiteX163" fmla="*/ 908870 w 982664"/>
                  <a:gd name="connsiteY163" fmla="*/ 690812 h 1834124"/>
                  <a:gd name="connsiteX164" fmla="*/ 905439 w 982664"/>
                  <a:gd name="connsiteY164" fmla="*/ 692538 h 1834124"/>
                  <a:gd name="connsiteX165" fmla="*/ 904557 w 982664"/>
                  <a:gd name="connsiteY165" fmla="*/ 693018 h 1834124"/>
                  <a:gd name="connsiteX166" fmla="*/ 902947 w 982664"/>
                  <a:gd name="connsiteY166" fmla="*/ 693766 h 1834124"/>
                  <a:gd name="connsiteX167" fmla="*/ 899708 w 982664"/>
                  <a:gd name="connsiteY167" fmla="*/ 695263 h 1834124"/>
                  <a:gd name="connsiteX168" fmla="*/ 886790 w 982664"/>
                  <a:gd name="connsiteY168" fmla="*/ 701287 h 1834124"/>
                  <a:gd name="connsiteX169" fmla="*/ 860953 w 982664"/>
                  <a:gd name="connsiteY169" fmla="*/ 713316 h 1834124"/>
                  <a:gd name="connsiteX170" fmla="*/ 654241 w 982664"/>
                  <a:gd name="connsiteY170" fmla="*/ 809605 h 1834124"/>
                  <a:gd name="connsiteX171" fmla="*/ 633906 w 982664"/>
                  <a:gd name="connsiteY171" fmla="*/ 819082 h 1834124"/>
                  <a:gd name="connsiteX172" fmla="*/ 618534 w 982664"/>
                  <a:gd name="connsiteY172" fmla="*/ 826238 h 1834124"/>
                  <a:gd name="connsiteX173" fmla="*/ 603967 w 982664"/>
                  <a:gd name="connsiteY173" fmla="*/ 834162 h 1834124"/>
                  <a:gd name="connsiteX174" fmla="*/ 597604 w 982664"/>
                  <a:gd name="connsiteY174" fmla="*/ 839284 h 1834124"/>
                  <a:gd name="connsiteX175" fmla="*/ 507674 w 982664"/>
                  <a:gd name="connsiteY175" fmla="*/ 857222 h 1834124"/>
                  <a:gd name="connsiteX176" fmla="*/ 507674 w 982664"/>
                  <a:gd name="connsiteY176" fmla="*/ 232023 h 1834124"/>
                  <a:gd name="connsiteX177" fmla="*/ 541197 w 982664"/>
                  <a:gd name="connsiteY177" fmla="*/ 223351 h 1834124"/>
                  <a:gd name="connsiteX178" fmla="*/ 931007 w 982664"/>
                  <a:gd name="connsiteY178" fmla="*/ 67282 h 1834124"/>
                  <a:gd name="connsiteX179" fmla="*/ 942258 w 982664"/>
                  <a:gd name="connsiteY179" fmla="*/ 92702 h 1834124"/>
                  <a:gd name="connsiteX180" fmla="*/ 942948 w 982664"/>
                  <a:gd name="connsiteY180" fmla="*/ 96462 h 1834124"/>
                  <a:gd name="connsiteX181" fmla="*/ 943389 w 982664"/>
                  <a:gd name="connsiteY181" fmla="*/ 100280 h 1834124"/>
                  <a:gd name="connsiteX182" fmla="*/ 943619 w 982664"/>
                  <a:gd name="connsiteY182" fmla="*/ 104155 h 1834124"/>
                  <a:gd name="connsiteX183" fmla="*/ 943676 w 982664"/>
                  <a:gd name="connsiteY183" fmla="*/ 106112 h 1834124"/>
                  <a:gd name="connsiteX184" fmla="*/ 943676 w 982664"/>
                  <a:gd name="connsiteY184" fmla="*/ 106592 h 1834124"/>
                  <a:gd name="connsiteX185" fmla="*/ 943695 w 982664"/>
                  <a:gd name="connsiteY185" fmla="*/ 107397 h 1834124"/>
                  <a:gd name="connsiteX186" fmla="*/ 943695 w 982664"/>
                  <a:gd name="connsiteY186" fmla="*/ 365915 h 1834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</a:cxnLst>
                <a:rect l="l" t="t" r="r" b="b"/>
                <a:pathLst>
                  <a:path w="982664" h="1834124">
                    <a:moveTo>
                      <a:pt x="982182" y="96673"/>
                    </a:moveTo>
                    <a:cubicBezTo>
                      <a:pt x="982028" y="94659"/>
                      <a:pt x="981683" y="92663"/>
                      <a:pt x="981473" y="90649"/>
                    </a:cubicBezTo>
                    <a:cubicBezTo>
                      <a:pt x="981128" y="88654"/>
                      <a:pt x="980783" y="86678"/>
                      <a:pt x="980399" y="84682"/>
                    </a:cubicBezTo>
                    <a:cubicBezTo>
                      <a:pt x="977045" y="68912"/>
                      <a:pt x="970164" y="53852"/>
                      <a:pt x="960159" y="41133"/>
                    </a:cubicBezTo>
                    <a:cubicBezTo>
                      <a:pt x="950250" y="28336"/>
                      <a:pt x="937351" y="17919"/>
                      <a:pt x="922880" y="10801"/>
                    </a:cubicBezTo>
                    <a:cubicBezTo>
                      <a:pt x="908390" y="3703"/>
                      <a:pt x="892310" y="38"/>
                      <a:pt x="876095" y="0"/>
                    </a:cubicBezTo>
                    <a:lnTo>
                      <a:pt x="106556" y="0"/>
                    </a:lnTo>
                    <a:cubicBezTo>
                      <a:pt x="98448" y="19"/>
                      <a:pt x="90379" y="940"/>
                      <a:pt x="82540" y="2763"/>
                    </a:cubicBezTo>
                    <a:cubicBezTo>
                      <a:pt x="66804" y="6331"/>
                      <a:pt x="51989" y="13679"/>
                      <a:pt x="39435" y="23866"/>
                    </a:cubicBezTo>
                    <a:cubicBezTo>
                      <a:pt x="26919" y="34092"/>
                      <a:pt x="16645" y="47137"/>
                      <a:pt x="9899" y="61795"/>
                    </a:cubicBezTo>
                    <a:cubicBezTo>
                      <a:pt x="6506" y="69123"/>
                      <a:pt x="3957" y="76817"/>
                      <a:pt x="2271" y="84721"/>
                    </a:cubicBezTo>
                    <a:cubicBezTo>
                      <a:pt x="1887" y="86697"/>
                      <a:pt x="1542" y="88692"/>
                      <a:pt x="1197" y="90687"/>
                    </a:cubicBezTo>
                    <a:cubicBezTo>
                      <a:pt x="967" y="92702"/>
                      <a:pt x="641" y="94697"/>
                      <a:pt x="488" y="96711"/>
                    </a:cubicBezTo>
                    <a:cubicBezTo>
                      <a:pt x="373" y="98726"/>
                      <a:pt x="105" y="100740"/>
                      <a:pt x="105" y="102774"/>
                    </a:cubicBezTo>
                    <a:cubicBezTo>
                      <a:pt x="66" y="104827"/>
                      <a:pt x="-29" y="106688"/>
                      <a:pt x="9" y="109220"/>
                    </a:cubicBezTo>
                    <a:lnTo>
                      <a:pt x="9" y="622705"/>
                    </a:lnTo>
                    <a:cubicBezTo>
                      <a:pt x="9" y="623856"/>
                      <a:pt x="9" y="625161"/>
                      <a:pt x="9" y="626197"/>
                    </a:cubicBezTo>
                    <a:lnTo>
                      <a:pt x="124" y="629228"/>
                    </a:lnTo>
                    <a:cubicBezTo>
                      <a:pt x="220" y="631242"/>
                      <a:pt x="162" y="633276"/>
                      <a:pt x="469" y="635271"/>
                    </a:cubicBezTo>
                    <a:cubicBezTo>
                      <a:pt x="699" y="637286"/>
                      <a:pt x="871" y="639300"/>
                      <a:pt x="1140" y="641295"/>
                    </a:cubicBezTo>
                    <a:lnTo>
                      <a:pt x="2213" y="647262"/>
                    </a:lnTo>
                    <a:cubicBezTo>
                      <a:pt x="3881" y="655166"/>
                      <a:pt x="6411" y="662878"/>
                      <a:pt x="9726" y="670245"/>
                    </a:cubicBezTo>
                    <a:cubicBezTo>
                      <a:pt x="13042" y="677632"/>
                      <a:pt x="17374" y="684519"/>
                      <a:pt x="22261" y="690927"/>
                    </a:cubicBezTo>
                    <a:cubicBezTo>
                      <a:pt x="24657" y="694188"/>
                      <a:pt x="27436" y="697124"/>
                      <a:pt x="30139" y="700116"/>
                    </a:cubicBezTo>
                    <a:lnTo>
                      <a:pt x="34490" y="704337"/>
                    </a:lnTo>
                    <a:cubicBezTo>
                      <a:pt x="35946" y="705738"/>
                      <a:pt x="37556" y="706946"/>
                      <a:pt x="39070" y="708289"/>
                    </a:cubicBezTo>
                    <a:cubicBezTo>
                      <a:pt x="45338" y="713354"/>
                      <a:pt x="52104" y="717863"/>
                      <a:pt x="59368" y="721431"/>
                    </a:cubicBezTo>
                    <a:lnTo>
                      <a:pt x="84879" y="733844"/>
                    </a:lnTo>
                    <a:lnTo>
                      <a:pt x="136168" y="758746"/>
                    </a:lnTo>
                    <a:lnTo>
                      <a:pt x="238729" y="808550"/>
                    </a:lnTo>
                    <a:lnTo>
                      <a:pt x="343014" y="859198"/>
                    </a:lnTo>
                    <a:cubicBezTo>
                      <a:pt x="348841" y="862057"/>
                      <a:pt x="354131" y="865433"/>
                      <a:pt x="358808" y="868944"/>
                    </a:cubicBezTo>
                    <a:cubicBezTo>
                      <a:pt x="359958" y="869827"/>
                      <a:pt x="361165" y="870632"/>
                      <a:pt x="362123" y="871860"/>
                    </a:cubicBezTo>
                    <a:cubicBezTo>
                      <a:pt x="363101" y="873069"/>
                      <a:pt x="363868" y="874508"/>
                      <a:pt x="364289" y="875927"/>
                    </a:cubicBezTo>
                    <a:cubicBezTo>
                      <a:pt x="364960" y="878748"/>
                      <a:pt x="365439" y="881644"/>
                      <a:pt x="365880" y="884676"/>
                    </a:cubicBezTo>
                    <a:cubicBezTo>
                      <a:pt x="366283" y="887707"/>
                      <a:pt x="366570" y="890834"/>
                      <a:pt x="366685" y="894038"/>
                    </a:cubicBezTo>
                    <a:cubicBezTo>
                      <a:pt x="366781" y="897261"/>
                      <a:pt x="366723" y="900523"/>
                      <a:pt x="366742" y="903765"/>
                    </a:cubicBezTo>
                    <a:lnTo>
                      <a:pt x="366742" y="1708382"/>
                    </a:lnTo>
                    <a:cubicBezTo>
                      <a:pt x="366742" y="1709648"/>
                      <a:pt x="366781" y="1710550"/>
                      <a:pt x="366800" y="1711624"/>
                    </a:cubicBezTo>
                    <a:lnTo>
                      <a:pt x="366877" y="1714732"/>
                    </a:lnTo>
                    <a:cubicBezTo>
                      <a:pt x="366915" y="1716804"/>
                      <a:pt x="367164" y="1718857"/>
                      <a:pt x="367298" y="1720929"/>
                    </a:cubicBezTo>
                    <a:cubicBezTo>
                      <a:pt x="368793" y="1737389"/>
                      <a:pt x="373585" y="1753485"/>
                      <a:pt x="381367" y="1768066"/>
                    </a:cubicBezTo>
                    <a:cubicBezTo>
                      <a:pt x="389110" y="1782647"/>
                      <a:pt x="399824" y="1795673"/>
                      <a:pt x="412646" y="1806110"/>
                    </a:cubicBezTo>
                    <a:cubicBezTo>
                      <a:pt x="425450" y="1816566"/>
                      <a:pt x="440323" y="1824431"/>
                      <a:pt x="456135" y="1829074"/>
                    </a:cubicBezTo>
                    <a:cubicBezTo>
                      <a:pt x="471929" y="1833736"/>
                      <a:pt x="488738" y="1835175"/>
                      <a:pt x="505164" y="1833372"/>
                    </a:cubicBezTo>
                    <a:cubicBezTo>
                      <a:pt x="521570" y="1831587"/>
                      <a:pt x="537574" y="1826465"/>
                      <a:pt x="551968" y="1818388"/>
                    </a:cubicBezTo>
                    <a:cubicBezTo>
                      <a:pt x="566382" y="1810330"/>
                      <a:pt x="579166" y="1799376"/>
                      <a:pt x="589362" y="1786368"/>
                    </a:cubicBezTo>
                    <a:cubicBezTo>
                      <a:pt x="599578" y="1773380"/>
                      <a:pt x="607149" y="1758359"/>
                      <a:pt x="611500" y="1742435"/>
                    </a:cubicBezTo>
                    <a:cubicBezTo>
                      <a:pt x="613685" y="1734473"/>
                      <a:pt x="615046" y="1726300"/>
                      <a:pt x="615602" y="1718051"/>
                    </a:cubicBezTo>
                    <a:cubicBezTo>
                      <a:pt x="615812" y="1715998"/>
                      <a:pt x="615812" y="1713926"/>
                      <a:pt x="615870" y="1711854"/>
                    </a:cubicBezTo>
                    <a:cubicBezTo>
                      <a:pt x="615870" y="1710780"/>
                      <a:pt x="615947" y="1709897"/>
                      <a:pt x="615927" y="1708650"/>
                    </a:cubicBezTo>
                    <a:lnTo>
                      <a:pt x="615927" y="897395"/>
                    </a:lnTo>
                    <a:cubicBezTo>
                      <a:pt x="615927" y="889875"/>
                      <a:pt x="616924" y="882757"/>
                      <a:pt x="618323" y="876292"/>
                    </a:cubicBezTo>
                    <a:cubicBezTo>
                      <a:pt x="618745" y="874661"/>
                      <a:pt x="619626" y="872973"/>
                      <a:pt x="620777" y="871611"/>
                    </a:cubicBezTo>
                    <a:cubicBezTo>
                      <a:pt x="621946" y="870229"/>
                      <a:pt x="623345" y="869405"/>
                      <a:pt x="624706" y="868369"/>
                    </a:cubicBezTo>
                    <a:cubicBezTo>
                      <a:pt x="627427" y="866392"/>
                      <a:pt x="630417" y="864474"/>
                      <a:pt x="633541" y="862671"/>
                    </a:cubicBezTo>
                    <a:cubicBezTo>
                      <a:pt x="636685" y="860867"/>
                      <a:pt x="640058" y="859236"/>
                      <a:pt x="643470" y="857682"/>
                    </a:cubicBezTo>
                    <a:lnTo>
                      <a:pt x="653666" y="852944"/>
                    </a:lnTo>
                    <a:lnTo>
                      <a:pt x="670648" y="845040"/>
                    </a:lnTo>
                    <a:lnTo>
                      <a:pt x="877360" y="748750"/>
                    </a:lnTo>
                    <a:lnTo>
                      <a:pt x="903196" y="736721"/>
                    </a:lnTo>
                    <a:lnTo>
                      <a:pt x="916115" y="730697"/>
                    </a:lnTo>
                    <a:lnTo>
                      <a:pt x="919354" y="729201"/>
                    </a:lnTo>
                    <a:lnTo>
                      <a:pt x="920964" y="728453"/>
                    </a:lnTo>
                    <a:lnTo>
                      <a:pt x="922325" y="727762"/>
                    </a:lnTo>
                    <a:lnTo>
                      <a:pt x="927729" y="725019"/>
                    </a:lnTo>
                    <a:cubicBezTo>
                      <a:pt x="934745" y="721028"/>
                      <a:pt x="941357" y="716328"/>
                      <a:pt x="947375" y="710956"/>
                    </a:cubicBezTo>
                    <a:cubicBezTo>
                      <a:pt x="953432" y="705603"/>
                      <a:pt x="958684" y="699387"/>
                      <a:pt x="963360" y="692807"/>
                    </a:cubicBezTo>
                    <a:lnTo>
                      <a:pt x="965085" y="690313"/>
                    </a:lnTo>
                    <a:lnTo>
                      <a:pt x="965948" y="689066"/>
                    </a:lnTo>
                    <a:lnTo>
                      <a:pt x="966714" y="687761"/>
                    </a:lnTo>
                    <a:lnTo>
                      <a:pt x="969781" y="682543"/>
                    </a:lnTo>
                    <a:lnTo>
                      <a:pt x="972484" y="677114"/>
                    </a:lnTo>
                    <a:cubicBezTo>
                      <a:pt x="973442" y="675330"/>
                      <a:pt x="974055" y="673392"/>
                      <a:pt x="974879" y="671550"/>
                    </a:cubicBezTo>
                    <a:cubicBezTo>
                      <a:pt x="977831" y="664049"/>
                      <a:pt x="980169" y="656260"/>
                      <a:pt x="981339" y="648260"/>
                    </a:cubicBezTo>
                    <a:cubicBezTo>
                      <a:pt x="981741" y="646283"/>
                      <a:pt x="981798" y="644250"/>
                      <a:pt x="982067" y="642255"/>
                    </a:cubicBezTo>
                    <a:cubicBezTo>
                      <a:pt x="982163" y="641257"/>
                      <a:pt x="982316" y="640240"/>
                      <a:pt x="982393" y="639243"/>
                    </a:cubicBezTo>
                    <a:lnTo>
                      <a:pt x="982488" y="636211"/>
                    </a:lnTo>
                    <a:lnTo>
                      <a:pt x="982603" y="633180"/>
                    </a:lnTo>
                    <a:lnTo>
                      <a:pt x="982661" y="631665"/>
                    </a:lnTo>
                    <a:lnTo>
                      <a:pt x="982661" y="109162"/>
                    </a:lnTo>
                    <a:cubicBezTo>
                      <a:pt x="982680" y="106630"/>
                      <a:pt x="982603" y="104769"/>
                      <a:pt x="982565" y="102716"/>
                    </a:cubicBezTo>
                    <a:cubicBezTo>
                      <a:pt x="982565" y="100683"/>
                      <a:pt x="982297" y="98687"/>
                      <a:pt x="982182" y="96654"/>
                    </a:cubicBezTo>
                    <a:close/>
                    <a:moveTo>
                      <a:pt x="106575" y="39022"/>
                    </a:moveTo>
                    <a:lnTo>
                      <a:pt x="135057" y="39022"/>
                    </a:lnTo>
                    <a:cubicBezTo>
                      <a:pt x="135057" y="39022"/>
                      <a:pt x="192058" y="39022"/>
                      <a:pt x="192058" y="39022"/>
                    </a:cubicBezTo>
                    <a:lnTo>
                      <a:pt x="876076" y="39022"/>
                    </a:lnTo>
                    <a:cubicBezTo>
                      <a:pt x="883895" y="39061"/>
                      <a:pt x="891505" y="40365"/>
                      <a:pt x="898692" y="42917"/>
                    </a:cubicBezTo>
                    <a:lnTo>
                      <a:pt x="528317" y="191197"/>
                    </a:lnTo>
                    <a:cubicBezTo>
                      <a:pt x="503381" y="201193"/>
                      <a:pt x="476030" y="200886"/>
                      <a:pt x="451305" y="190334"/>
                    </a:cubicBezTo>
                    <a:lnTo>
                      <a:pt x="98084" y="39598"/>
                    </a:lnTo>
                    <a:cubicBezTo>
                      <a:pt x="100883" y="39252"/>
                      <a:pt x="103700" y="39041"/>
                      <a:pt x="106556" y="39022"/>
                    </a:cubicBezTo>
                    <a:close/>
                    <a:moveTo>
                      <a:pt x="255749" y="773441"/>
                    </a:moveTo>
                    <a:lnTo>
                      <a:pt x="153188" y="723637"/>
                    </a:lnTo>
                    <a:lnTo>
                      <a:pt x="101899" y="698735"/>
                    </a:lnTo>
                    <a:lnTo>
                      <a:pt x="76656" y="686438"/>
                    </a:lnTo>
                    <a:cubicBezTo>
                      <a:pt x="72037" y="684174"/>
                      <a:pt x="67782" y="681296"/>
                      <a:pt x="63795" y="678092"/>
                    </a:cubicBezTo>
                    <a:cubicBezTo>
                      <a:pt x="62856" y="677229"/>
                      <a:pt x="61783" y="676500"/>
                      <a:pt x="60882" y="675598"/>
                    </a:cubicBezTo>
                    <a:cubicBezTo>
                      <a:pt x="59981" y="674696"/>
                      <a:pt x="59061" y="673795"/>
                      <a:pt x="58122" y="672931"/>
                    </a:cubicBezTo>
                    <a:cubicBezTo>
                      <a:pt x="56435" y="670994"/>
                      <a:pt x="54634" y="669171"/>
                      <a:pt x="53139" y="667080"/>
                    </a:cubicBezTo>
                    <a:cubicBezTo>
                      <a:pt x="50053" y="662994"/>
                      <a:pt x="47255" y="658658"/>
                      <a:pt x="45165" y="653957"/>
                    </a:cubicBezTo>
                    <a:cubicBezTo>
                      <a:pt x="43076" y="649276"/>
                      <a:pt x="41485" y="644384"/>
                      <a:pt x="40412" y="639396"/>
                    </a:cubicBezTo>
                    <a:cubicBezTo>
                      <a:pt x="40220" y="638130"/>
                      <a:pt x="39990" y="636883"/>
                      <a:pt x="39722" y="635617"/>
                    </a:cubicBezTo>
                    <a:lnTo>
                      <a:pt x="39320" y="631799"/>
                    </a:lnTo>
                    <a:cubicBezTo>
                      <a:pt x="39090" y="630533"/>
                      <a:pt x="39185" y="629228"/>
                      <a:pt x="39109" y="627962"/>
                    </a:cubicBezTo>
                    <a:lnTo>
                      <a:pt x="39013" y="626043"/>
                    </a:lnTo>
                    <a:lnTo>
                      <a:pt x="39013" y="625794"/>
                    </a:lnTo>
                    <a:cubicBezTo>
                      <a:pt x="39013" y="625794"/>
                      <a:pt x="39013" y="625353"/>
                      <a:pt x="39013" y="625353"/>
                    </a:cubicBezTo>
                    <a:lnTo>
                      <a:pt x="39013" y="106592"/>
                    </a:lnTo>
                    <a:cubicBezTo>
                      <a:pt x="39013" y="106592"/>
                      <a:pt x="39032" y="106112"/>
                      <a:pt x="39032" y="106112"/>
                    </a:cubicBezTo>
                    <a:lnTo>
                      <a:pt x="39090" y="104155"/>
                    </a:lnTo>
                    <a:cubicBezTo>
                      <a:pt x="39051" y="102851"/>
                      <a:pt x="39281" y="101584"/>
                      <a:pt x="39320" y="100280"/>
                    </a:cubicBezTo>
                    <a:cubicBezTo>
                      <a:pt x="39415" y="98994"/>
                      <a:pt x="39645" y="97728"/>
                      <a:pt x="39760" y="96462"/>
                    </a:cubicBezTo>
                    <a:lnTo>
                      <a:pt x="40450" y="92702"/>
                    </a:lnTo>
                    <a:cubicBezTo>
                      <a:pt x="41524" y="87714"/>
                      <a:pt x="43134" y="82879"/>
                      <a:pt x="45261" y="78236"/>
                    </a:cubicBezTo>
                    <a:cubicBezTo>
                      <a:pt x="48328" y="71560"/>
                      <a:pt x="52602" y="65382"/>
                      <a:pt x="57739" y="60011"/>
                    </a:cubicBezTo>
                    <a:lnTo>
                      <a:pt x="437774" y="222200"/>
                    </a:lnTo>
                    <a:cubicBezTo>
                      <a:pt x="449216" y="227073"/>
                      <a:pt x="461080" y="230296"/>
                      <a:pt x="473079" y="231908"/>
                    </a:cubicBezTo>
                    <a:lnTo>
                      <a:pt x="473079" y="856838"/>
                    </a:lnTo>
                    <a:cubicBezTo>
                      <a:pt x="423629" y="853558"/>
                      <a:pt x="388880" y="839649"/>
                      <a:pt x="382363" y="836867"/>
                    </a:cubicBezTo>
                    <a:cubicBezTo>
                      <a:pt x="382191" y="836733"/>
                      <a:pt x="382037" y="836579"/>
                      <a:pt x="381865" y="836445"/>
                    </a:cubicBezTo>
                    <a:cubicBezTo>
                      <a:pt x="378319" y="833625"/>
                      <a:pt x="374313" y="831073"/>
                      <a:pt x="369943" y="828886"/>
                    </a:cubicBezTo>
                    <a:lnTo>
                      <a:pt x="255768" y="773441"/>
                    </a:lnTo>
                    <a:close/>
                    <a:moveTo>
                      <a:pt x="576943" y="1291378"/>
                    </a:moveTo>
                    <a:lnTo>
                      <a:pt x="576943" y="1709456"/>
                    </a:lnTo>
                    <a:cubicBezTo>
                      <a:pt x="576943" y="1709456"/>
                      <a:pt x="576923" y="1709993"/>
                      <a:pt x="576923" y="1709993"/>
                    </a:cubicBezTo>
                    <a:lnTo>
                      <a:pt x="576885" y="1711068"/>
                    </a:lnTo>
                    <a:cubicBezTo>
                      <a:pt x="576828" y="1712506"/>
                      <a:pt x="576885" y="1713945"/>
                      <a:pt x="576693" y="1715365"/>
                    </a:cubicBezTo>
                    <a:cubicBezTo>
                      <a:pt x="576310" y="1721063"/>
                      <a:pt x="575371" y="1726665"/>
                      <a:pt x="573876" y="1732094"/>
                    </a:cubicBezTo>
                    <a:cubicBezTo>
                      <a:pt x="570905" y="1742972"/>
                      <a:pt x="565711" y="1753274"/>
                      <a:pt x="558696" y="1762234"/>
                    </a:cubicBezTo>
                    <a:cubicBezTo>
                      <a:pt x="551681" y="1771193"/>
                      <a:pt x="542845" y="1778752"/>
                      <a:pt x="532955" y="1784277"/>
                    </a:cubicBezTo>
                    <a:cubicBezTo>
                      <a:pt x="523065" y="1789822"/>
                      <a:pt x="512159" y="1793313"/>
                      <a:pt x="500890" y="1794541"/>
                    </a:cubicBezTo>
                    <a:cubicBezTo>
                      <a:pt x="495255" y="1795155"/>
                      <a:pt x="489447" y="1795213"/>
                      <a:pt x="483774" y="1794733"/>
                    </a:cubicBezTo>
                    <a:cubicBezTo>
                      <a:pt x="478100" y="1794234"/>
                      <a:pt x="472542" y="1793198"/>
                      <a:pt x="467118" y="1791606"/>
                    </a:cubicBezTo>
                    <a:cubicBezTo>
                      <a:pt x="456308" y="1788440"/>
                      <a:pt x="446111" y="1783050"/>
                      <a:pt x="437276" y="1775855"/>
                    </a:cubicBezTo>
                    <a:cubicBezTo>
                      <a:pt x="428440" y="1768680"/>
                      <a:pt x="421061" y="1759682"/>
                      <a:pt x="415751" y="1749668"/>
                    </a:cubicBezTo>
                    <a:cubicBezTo>
                      <a:pt x="410423" y="1739653"/>
                      <a:pt x="407146" y="1728699"/>
                      <a:pt x="406111" y="1717360"/>
                    </a:cubicBezTo>
                    <a:cubicBezTo>
                      <a:pt x="406053" y="1715940"/>
                      <a:pt x="405842" y="1714521"/>
                      <a:pt x="405823" y="1713082"/>
                    </a:cubicBezTo>
                    <a:lnTo>
                      <a:pt x="405766" y="1710933"/>
                    </a:lnTo>
                    <a:lnTo>
                      <a:pt x="405727" y="1709859"/>
                    </a:lnTo>
                    <a:lnTo>
                      <a:pt x="405727" y="1709264"/>
                    </a:lnTo>
                    <a:cubicBezTo>
                      <a:pt x="405727" y="1709264"/>
                      <a:pt x="405727" y="1708382"/>
                      <a:pt x="405727" y="1708382"/>
                    </a:cubicBezTo>
                    <a:lnTo>
                      <a:pt x="405727" y="896110"/>
                    </a:lnTo>
                    <a:cubicBezTo>
                      <a:pt x="405708" y="892407"/>
                      <a:pt x="405766" y="888666"/>
                      <a:pt x="405689" y="884983"/>
                    </a:cubicBezTo>
                    <a:cubicBezTo>
                      <a:pt x="427922" y="890757"/>
                      <a:pt x="458090" y="896148"/>
                      <a:pt x="493376" y="896148"/>
                    </a:cubicBezTo>
                    <a:cubicBezTo>
                      <a:pt x="518925" y="896148"/>
                      <a:pt x="547139" y="893309"/>
                      <a:pt x="576962" y="885769"/>
                    </a:cubicBezTo>
                    <a:cubicBezTo>
                      <a:pt x="576962" y="885904"/>
                      <a:pt x="576962" y="886057"/>
                      <a:pt x="576962" y="886191"/>
                    </a:cubicBezTo>
                    <a:lnTo>
                      <a:pt x="576962" y="1291378"/>
                    </a:lnTo>
                    <a:close/>
                    <a:moveTo>
                      <a:pt x="943695" y="365915"/>
                    </a:moveTo>
                    <a:lnTo>
                      <a:pt x="943695" y="631588"/>
                    </a:lnTo>
                    <a:lnTo>
                      <a:pt x="943638" y="632585"/>
                    </a:lnTo>
                    <a:lnTo>
                      <a:pt x="943561" y="634504"/>
                    </a:lnTo>
                    <a:lnTo>
                      <a:pt x="943523" y="636422"/>
                    </a:lnTo>
                    <a:cubicBezTo>
                      <a:pt x="943465" y="637056"/>
                      <a:pt x="943369" y="637689"/>
                      <a:pt x="943293" y="638322"/>
                    </a:cubicBezTo>
                    <a:cubicBezTo>
                      <a:pt x="943101" y="639588"/>
                      <a:pt x="943120" y="640893"/>
                      <a:pt x="942833" y="642140"/>
                    </a:cubicBezTo>
                    <a:cubicBezTo>
                      <a:pt x="942124" y="647224"/>
                      <a:pt x="940571" y="652135"/>
                      <a:pt x="938731" y="656893"/>
                    </a:cubicBezTo>
                    <a:cubicBezTo>
                      <a:pt x="938194" y="658044"/>
                      <a:pt x="937869" y="659310"/>
                      <a:pt x="937217" y="660423"/>
                    </a:cubicBezTo>
                    <a:cubicBezTo>
                      <a:pt x="936623" y="661555"/>
                      <a:pt x="936067" y="662706"/>
                      <a:pt x="935511" y="663876"/>
                    </a:cubicBezTo>
                    <a:cubicBezTo>
                      <a:pt x="934840" y="664970"/>
                      <a:pt x="934170" y="666063"/>
                      <a:pt x="933537" y="667176"/>
                    </a:cubicBezTo>
                    <a:lnTo>
                      <a:pt x="933077" y="668020"/>
                    </a:lnTo>
                    <a:lnTo>
                      <a:pt x="932521" y="668807"/>
                    </a:lnTo>
                    <a:lnTo>
                      <a:pt x="931429" y="670380"/>
                    </a:lnTo>
                    <a:cubicBezTo>
                      <a:pt x="928458" y="674543"/>
                      <a:pt x="925161" y="678533"/>
                      <a:pt x="921309" y="681891"/>
                    </a:cubicBezTo>
                    <a:cubicBezTo>
                      <a:pt x="917475" y="685267"/>
                      <a:pt x="913297" y="688260"/>
                      <a:pt x="908870" y="690812"/>
                    </a:cubicBezTo>
                    <a:cubicBezTo>
                      <a:pt x="907700" y="691368"/>
                      <a:pt x="906570" y="691944"/>
                      <a:pt x="905439" y="692538"/>
                    </a:cubicBezTo>
                    <a:lnTo>
                      <a:pt x="904557" y="693018"/>
                    </a:lnTo>
                    <a:lnTo>
                      <a:pt x="902947" y="693766"/>
                    </a:lnTo>
                    <a:lnTo>
                      <a:pt x="899708" y="695263"/>
                    </a:lnTo>
                    <a:lnTo>
                      <a:pt x="886790" y="701287"/>
                    </a:lnTo>
                    <a:lnTo>
                      <a:pt x="860953" y="713316"/>
                    </a:lnTo>
                    <a:lnTo>
                      <a:pt x="654241" y="809605"/>
                    </a:lnTo>
                    <a:lnTo>
                      <a:pt x="633906" y="819082"/>
                    </a:lnTo>
                    <a:lnTo>
                      <a:pt x="618534" y="826238"/>
                    </a:lnTo>
                    <a:cubicBezTo>
                      <a:pt x="613378" y="828560"/>
                      <a:pt x="608299" y="831073"/>
                      <a:pt x="603967" y="834162"/>
                    </a:cubicBezTo>
                    <a:cubicBezTo>
                      <a:pt x="601706" y="835773"/>
                      <a:pt x="599578" y="837500"/>
                      <a:pt x="597604" y="839284"/>
                    </a:cubicBezTo>
                    <a:cubicBezTo>
                      <a:pt x="565826" y="850929"/>
                      <a:pt x="535293" y="855994"/>
                      <a:pt x="507674" y="857222"/>
                    </a:cubicBezTo>
                    <a:lnTo>
                      <a:pt x="507674" y="232023"/>
                    </a:lnTo>
                    <a:cubicBezTo>
                      <a:pt x="519040" y="230584"/>
                      <a:pt x="530291" y="227725"/>
                      <a:pt x="541197" y="223351"/>
                    </a:cubicBezTo>
                    <a:lnTo>
                      <a:pt x="931007" y="67282"/>
                    </a:lnTo>
                    <a:cubicBezTo>
                      <a:pt x="936527" y="74879"/>
                      <a:pt x="940284" y="83608"/>
                      <a:pt x="942258" y="92702"/>
                    </a:cubicBezTo>
                    <a:lnTo>
                      <a:pt x="942948" y="96462"/>
                    </a:lnTo>
                    <a:cubicBezTo>
                      <a:pt x="943063" y="97747"/>
                      <a:pt x="943312" y="98994"/>
                      <a:pt x="943389" y="100280"/>
                    </a:cubicBezTo>
                    <a:cubicBezTo>
                      <a:pt x="943427" y="101565"/>
                      <a:pt x="943657" y="102831"/>
                      <a:pt x="943619" y="104155"/>
                    </a:cubicBezTo>
                    <a:lnTo>
                      <a:pt x="943676" y="106112"/>
                    </a:lnTo>
                    <a:lnTo>
                      <a:pt x="943676" y="106592"/>
                    </a:lnTo>
                    <a:cubicBezTo>
                      <a:pt x="943676" y="106592"/>
                      <a:pt x="943695" y="107397"/>
                      <a:pt x="943695" y="107397"/>
                    </a:cubicBezTo>
                    <a:lnTo>
                      <a:pt x="943695" y="365915"/>
                    </a:ln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55" name="Freeform 37">
                <a:extLst>
                  <a:ext uri="{FF2B5EF4-FFF2-40B4-BE49-F238E27FC236}">
                    <a16:creationId xmlns:a16="http://schemas.microsoft.com/office/drawing/2014/main" id="{1DB79C96-E96C-CE4D-7279-B22E439CBB63}"/>
                  </a:ext>
                </a:extLst>
              </p:cNvPr>
              <p:cNvSpPr/>
              <p:nvPr/>
            </p:nvSpPr>
            <p:spPr>
              <a:xfrm>
                <a:off x="3361054" y="1761333"/>
                <a:ext cx="219435" cy="383943"/>
              </a:xfrm>
              <a:custGeom>
                <a:avLst/>
                <a:gdLst>
                  <a:gd name="connsiteX0" fmla="*/ 1135870 w 1135965"/>
                  <a:gd name="connsiteY0" fmla="*/ 176674 h 1987582"/>
                  <a:gd name="connsiteX1" fmla="*/ 1135218 w 1135965"/>
                  <a:gd name="connsiteY1" fmla="*/ 166314 h 1987582"/>
                  <a:gd name="connsiteX2" fmla="*/ 1133972 w 1135965"/>
                  <a:gd name="connsiteY2" fmla="*/ 155974 h 1987582"/>
                  <a:gd name="connsiteX3" fmla="*/ 1132113 w 1135965"/>
                  <a:gd name="connsiteY3" fmla="*/ 145710 h 1987582"/>
                  <a:gd name="connsiteX4" fmla="*/ 1097268 w 1135965"/>
                  <a:gd name="connsiteY4" fmla="*/ 70697 h 1987582"/>
                  <a:gd name="connsiteX5" fmla="*/ 1033252 w 1135965"/>
                  <a:gd name="connsiteY5" fmla="*/ 18648 h 1987582"/>
                  <a:gd name="connsiteX6" fmla="*/ 952771 w 1135965"/>
                  <a:gd name="connsiteY6" fmla="*/ 0 h 1987582"/>
                  <a:gd name="connsiteX7" fmla="*/ 183233 w 1135965"/>
                  <a:gd name="connsiteY7" fmla="*/ 0 h 1987582"/>
                  <a:gd name="connsiteX8" fmla="*/ 142005 w 1135965"/>
                  <a:gd name="connsiteY8" fmla="*/ 4719 h 1987582"/>
                  <a:gd name="connsiteX9" fmla="*/ 102752 w 1135965"/>
                  <a:gd name="connsiteY9" fmla="*/ 18629 h 1987582"/>
                  <a:gd name="connsiteX10" fmla="*/ 67754 w 1135965"/>
                  <a:gd name="connsiteY10" fmla="*/ 41037 h 1987582"/>
                  <a:gd name="connsiteX11" fmla="*/ 17058 w 1135965"/>
                  <a:gd name="connsiteY11" fmla="*/ 106170 h 1987582"/>
                  <a:gd name="connsiteX12" fmla="*/ 3910 w 1135965"/>
                  <a:gd name="connsiteY12" fmla="*/ 145729 h 1987582"/>
                  <a:gd name="connsiteX13" fmla="*/ 2070 w 1135965"/>
                  <a:gd name="connsiteY13" fmla="*/ 155993 h 1987582"/>
                  <a:gd name="connsiteX14" fmla="*/ 824 w 1135965"/>
                  <a:gd name="connsiteY14" fmla="*/ 166334 h 1987582"/>
                  <a:gd name="connsiteX15" fmla="*/ 172 w 1135965"/>
                  <a:gd name="connsiteY15" fmla="*/ 176693 h 1987582"/>
                  <a:gd name="connsiteX16" fmla="*/ 38 w 1135965"/>
                  <a:gd name="connsiteY16" fmla="*/ 181873 h 1987582"/>
                  <a:gd name="connsiteX17" fmla="*/ 0 w 1135965"/>
                  <a:gd name="connsiteY17" fmla="*/ 184137 h 1987582"/>
                  <a:gd name="connsiteX18" fmla="*/ 0 w 1135965"/>
                  <a:gd name="connsiteY18" fmla="*/ 703224 h 1987582"/>
                  <a:gd name="connsiteX19" fmla="*/ 172 w 1135965"/>
                  <a:gd name="connsiteY19" fmla="*/ 708424 h 1987582"/>
                  <a:gd name="connsiteX20" fmla="*/ 786 w 1135965"/>
                  <a:gd name="connsiteY20" fmla="*/ 718822 h 1987582"/>
                  <a:gd name="connsiteX21" fmla="*/ 1955 w 1135965"/>
                  <a:gd name="connsiteY21" fmla="*/ 729182 h 1987582"/>
                  <a:gd name="connsiteX22" fmla="*/ 3776 w 1135965"/>
                  <a:gd name="connsiteY22" fmla="*/ 739446 h 1987582"/>
                  <a:gd name="connsiteX23" fmla="*/ 16694 w 1135965"/>
                  <a:gd name="connsiteY23" fmla="*/ 778986 h 1987582"/>
                  <a:gd name="connsiteX24" fmla="*/ 38199 w 1135965"/>
                  <a:gd name="connsiteY24" fmla="*/ 814555 h 1987582"/>
                  <a:gd name="connsiteX25" fmla="*/ 51769 w 1135965"/>
                  <a:gd name="connsiteY25" fmla="*/ 830344 h 1987582"/>
                  <a:gd name="connsiteX26" fmla="*/ 59244 w 1135965"/>
                  <a:gd name="connsiteY26" fmla="*/ 837596 h 1987582"/>
                  <a:gd name="connsiteX27" fmla="*/ 67121 w 1135965"/>
                  <a:gd name="connsiteY27" fmla="*/ 844407 h 1987582"/>
                  <a:gd name="connsiteX28" fmla="*/ 102024 w 1135965"/>
                  <a:gd name="connsiteY28" fmla="*/ 866968 h 1987582"/>
                  <a:gd name="connsiteX29" fmla="*/ 128033 w 1135965"/>
                  <a:gd name="connsiteY29" fmla="*/ 879630 h 1987582"/>
                  <a:gd name="connsiteX30" fmla="*/ 179323 w 1135965"/>
                  <a:gd name="connsiteY30" fmla="*/ 904532 h 1987582"/>
                  <a:gd name="connsiteX31" fmla="*/ 281883 w 1135965"/>
                  <a:gd name="connsiteY31" fmla="*/ 954336 h 1987582"/>
                  <a:gd name="connsiteX32" fmla="*/ 366714 w 1135965"/>
                  <a:gd name="connsiteY32" fmla="*/ 995526 h 1987582"/>
                  <a:gd name="connsiteX33" fmla="*/ 366714 w 1135965"/>
                  <a:gd name="connsiteY33" fmla="*/ 1787193 h 1987582"/>
                  <a:gd name="connsiteX34" fmla="*/ 366791 w 1135965"/>
                  <a:gd name="connsiteY34" fmla="*/ 1789687 h 1987582"/>
                  <a:gd name="connsiteX35" fmla="*/ 366925 w 1135965"/>
                  <a:gd name="connsiteY35" fmla="*/ 1794676 h 1987582"/>
                  <a:gd name="connsiteX36" fmla="*/ 367596 w 1135965"/>
                  <a:gd name="connsiteY36" fmla="*/ 1804633 h 1987582"/>
                  <a:gd name="connsiteX37" fmla="*/ 390385 w 1135965"/>
                  <a:gd name="connsiteY37" fmla="*/ 1880931 h 1987582"/>
                  <a:gd name="connsiteX38" fmla="*/ 440813 w 1135965"/>
                  <a:gd name="connsiteY38" fmla="*/ 1942285 h 1987582"/>
                  <a:gd name="connsiteX39" fmla="*/ 511135 w 1135965"/>
                  <a:gd name="connsiteY39" fmla="*/ 1979407 h 1987582"/>
                  <a:gd name="connsiteX40" fmla="*/ 550407 w 1135965"/>
                  <a:gd name="connsiteY40" fmla="*/ 1986813 h 1987582"/>
                  <a:gd name="connsiteX41" fmla="*/ 590197 w 1135965"/>
                  <a:gd name="connsiteY41" fmla="*/ 1986372 h 1987582"/>
                  <a:gd name="connsiteX42" fmla="*/ 665982 w 1135965"/>
                  <a:gd name="connsiteY42" fmla="*/ 1962122 h 1987582"/>
                  <a:gd name="connsiteX43" fmla="*/ 726299 w 1135965"/>
                  <a:gd name="connsiteY43" fmla="*/ 1910495 h 1987582"/>
                  <a:gd name="connsiteX44" fmla="*/ 762083 w 1135965"/>
                  <a:gd name="connsiteY44" fmla="*/ 1839415 h 1987582"/>
                  <a:gd name="connsiteX45" fmla="*/ 768734 w 1135965"/>
                  <a:gd name="connsiteY45" fmla="*/ 1799990 h 1987582"/>
                  <a:gd name="connsiteX46" fmla="*/ 769155 w 1135965"/>
                  <a:gd name="connsiteY46" fmla="*/ 1790033 h 1987582"/>
                  <a:gd name="connsiteX47" fmla="*/ 769213 w 1135965"/>
                  <a:gd name="connsiteY47" fmla="*/ 1787539 h 1987582"/>
                  <a:gd name="connsiteX48" fmla="*/ 769213 w 1135965"/>
                  <a:gd name="connsiteY48" fmla="*/ 1785371 h 1987582"/>
                  <a:gd name="connsiteX49" fmla="*/ 769232 w 1135965"/>
                  <a:gd name="connsiteY49" fmla="*/ 1781802 h 1987582"/>
                  <a:gd name="connsiteX50" fmla="*/ 769232 w 1135965"/>
                  <a:gd name="connsiteY50" fmla="*/ 996198 h 1987582"/>
                  <a:gd name="connsiteX51" fmla="*/ 779640 w 1135965"/>
                  <a:gd name="connsiteY51" fmla="*/ 991344 h 1987582"/>
                  <a:gd name="connsiteX52" fmla="*/ 986351 w 1135965"/>
                  <a:gd name="connsiteY52" fmla="*/ 895055 h 1987582"/>
                  <a:gd name="connsiteX53" fmla="*/ 1012188 w 1135965"/>
                  <a:gd name="connsiteY53" fmla="*/ 883026 h 1987582"/>
                  <a:gd name="connsiteX54" fmla="*/ 1025106 w 1135965"/>
                  <a:gd name="connsiteY54" fmla="*/ 877002 h 1987582"/>
                  <a:gd name="connsiteX55" fmla="*/ 1028345 w 1135965"/>
                  <a:gd name="connsiteY55" fmla="*/ 875505 h 1987582"/>
                  <a:gd name="connsiteX56" fmla="*/ 1029955 w 1135965"/>
                  <a:gd name="connsiteY56" fmla="*/ 874757 h 1987582"/>
                  <a:gd name="connsiteX57" fmla="*/ 1032255 w 1135965"/>
                  <a:gd name="connsiteY57" fmla="*/ 873606 h 1987582"/>
                  <a:gd name="connsiteX58" fmla="*/ 1041513 w 1135965"/>
                  <a:gd name="connsiteY58" fmla="*/ 868867 h 1987582"/>
                  <a:gd name="connsiteX59" fmla="*/ 1075342 w 1135965"/>
                  <a:gd name="connsiteY59" fmla="*/ 844675 h 1987582"/>
                  <a:gd name="connsiteX60" fmla="*/ 1102827 w 1135965"/>
                  <a:gd name="connsiteY60" fmla="*/ 813500 h 1987582"/>
                  <a:gd name="connsiteX61" fmla="*/ 1105759 w 1135965"/>
                  <a:gd name="connsiteY61" fmla="*/ 809202 h 1987582"/>
                  <a:gd name="connsiteX62" fmla="*/ 1107216 w 1135965"/>
                  <a:gd name="connsiteY62" fmla="*/ 807053 h 1987582"/>
                  <a:gd name="connsiteX63" fmla="*/ 1108557 w 1135965"/>
                  <a:gd name="connsiteY63" fmla="*/ 804828 h 1987582"/>
                  <a:gd name="connsiteX64" fmla="*/ 1113809 w 1135965"/>
                  <a:gd name="connsiteY64" fmla="*/ 795830 h 1987582"/>
                  <a:gd name="connsiteX65" fmla="*/ 1118467 w 1135965"/>
                  <a:gd name="connsiteY65" fmla="*/ 786525 h 1987582"/>
                  <a:gd name="connsiteX66" fmla="*/ 1122607 w 1135965"/>
                  <a:gd name="connsiteY66" fmla="*/ 776971 h 1987582"/>
                  <a:gd name="connsiteX67" fmla="*/ 1133704 w 1135965"/>
                  <a:gd name="connsiteY67" fmla="*/ 736875 h 1987582"/>
                  <a:gd name="connsiteX68" fmla="*/ 1134988 w 1135965"/>
                  <a:gd name="connsiteY68" fmla="*/ 726534 h 1987582"/>
                  <a:gd name="connsiteX69" fmla="*/ 1135487 w 1135965"/>
                  <a:gd name="connsiteY69" fmla="*/ 721354 h 1987582"/>
                  <a:gd name="connsiteX70" fmla="*/ 1135716 w 1135965"/>
                  <a:gd name="connsiteY70" fmla="*/ 716155 h 1987582"/>
                  <a:gd name="connsiteX71" fmla="*/ 1135889 w 1135965"/>
                  <a:gd name="connsiteY71" fmla="*/ 710956 h 1987582"/>
                  <a:gd name="connsiteX72" fmla="*/ 1135966 w 1135965"/>
                  <a:gd name="connsiteY72" fmla="*/ 708385 h 1987582"/>
                  <a:gd name="connsiteX73" fmla="*/ 1135966 w 1135965"/>
                  <a:gd name="connsiteY73" fmla="*/ 184118 h 1987582"/>
                  <a:gd name="connsiteX74" fmla="*/ 1135927 w 1135965"/>
                  <a:gd name="connsiteY74" fmla="*/ 181835 h 1987582"/>
                  <a:gd name="connsiteX75" fmla="*/ 1135793 w 1135965"/>
                  <a:gd name="connsiteY75" fmla="*/ 176655 h 1987582"/>
                  <a:gd name="connsiteX76" fmla="*/ 1097038 w 1135965"/>
                  <a:gd name="connsiteY76" fmla="*/ 442674 h 1987582"/>
                  <a:gd name="connsiteX77" fmla="*/ 1097038 w 1135965"/>
                  <a:gd name="connsiteY77" fmla="*/ 708347 h 1987582"/>
                  <a:gd name="connsiteX78" fmla="*/ 1096981 w 1135965"/>
                  <a:gd name="connsiteY78" fmla="*/ 710380 h 1987582"/>
                  <a:gd name="connsiteX79" fmla="*/ 1096847 w 1135965"/>
                  <a:gd name="connsiteY79" fmla="*/ 714486 h 1987582"/>
                  <a:gd name="connsiteX80" fmla="*/ 1096693 w 1135965"/>
                  <a:gd name="connsiteY80" fmla="*/ 718592 h 1987582"/>
                  <a:gd name="connsiteX81" fmla="*/ 1096272 w 1135965"/>
                  <a:gd name="connsiteY81" fmla="*/ 722678 h 1987582"/>
                  <a:gd name="connsiteX82" fmla="*/ 1095256 w 1135965"/>
                  <a:gd name="connsiteY82" fmla="*/ 730812 h 1987582"/>
                  <a:gd name="connsiteX83" fmla="*/ 1086516 w 1135965"/>
                  <a:gd name="connsiteY83" fmla="*/ 762372 h 1987582"/>
                  <a:gd name="connsiteX84" fmla="*/ 1083258 w 1135965"/>
                  <a:gd name="connsiteY84" fmla="*/ 769892 h 1987582"/>
                  <a:gd name="connsiteX85" fmla="*/ 1079597 w 1135965"/>
                  <a:gd name="connsiteY85" fmla="*/ 777221 h 1987582"/>
                  <a:gd name="connsiteX86" fmla="*/ 1075457 w 1135965"/>
                  <a:gd name="connsiteY86" fmla="*/ 784300 h 1987582"/>
                  <a:gd name="connsiteX87" fmla="*/ 1074403 w 1135965"/>
                  <a:gd name="connsiteY87" fmla="*/ 786065 h 1987582"/>
                  <a:gd name="connsiteX88" fmla="*/ 1073253 w 1135965"/>
                  <a:gd name="connsiteY88" fmla="*/ 787753 h 1987582"/>
                  <a:gd name="connsiteX89" fmla="*/ 1070933 w 1135965"/>
                  <a:gd name="connsiteY89" fmla="*/ 791130 h 1987582"/>
                  <a:gd name="connsiteX90" fmla="*/ 1049294 w 1135965"/>
                  <a:gd name="connsiteY90" fmla="*/ 815687 h 1987582"/>
                  <a:gd name="connsiteX91" fmla="*/ 1022672 w 1135965"/>
                  <a:gd name="connsiteY91" fmla="*/ 834718 h 1987582"/>
                  <a:gd name="connsiteX92" fmla="*/ 1015369 w 1135965"/>
                  <a:gd name="connsiteY92" fmla="*/ 838440 h 1987582"/>
                  <a:gd name="connsiteX93" fmla="*/ 1013549 w 1135965"/>
                  <a:gd name="connsiteY93" fmla="*/ 839361 h 1987582"/>
                  <a:gd name="connsiteX94" fmla="*/ 1011939 w 1135965"/>
                  <a:gd name="connsiteY94" fmla="*/ 840109 h 1987582"/>
                  <a:gd name="connsiteX95" fmla="*/ 1008700 w 1135965"/>
                  <a:gd name="connsiteY95" fmla="*/ 841605 h 1987582"/>
                  <a:gd name="connsiteX96" fmla="*/ 995781 w 1135965"/>
                  <a:gd name="connsiteY96" fmla="*/ 847630 h 1987582"/>
                  <a:gd name="connsiteX97" fmla="*/ 969945 w 1135965"/>
                  <a:gd name="connsiteY97" fmla="*/ 859659 h 1987582"/>
                  <a:gd name="connsiteX98" fmla="*/ 763233 w 1135965"/>
                  <a:gd name="connsiteY98" fmla="*/ 955948 h 1987582"/>
                  <a:gd name="connsiteX99" fmla="*/ 739121 w 1135965"/>
                  <a:gd name="connsiteY99" fmla="*/ 967190 h 1987582"/>
                  <a:gd name="connsiteX100" fmla="*/ 733946 w 1135965"/>
                  <a:gd name="connsiteY100" fmla="*/ 969607 h 1987582"/>
                  <a:gd name="connsiteX101" fmla="*/ 731474 w 1135965"/>
                  <a:gd name="connsiteY101" fmla="*/ 971008 h 1987582"/>
                  <a:gd name="connsiteX102" fmla="*/ 730305 w 1135965"/>
                  <a:gd name="connsiteY102" fmla="*/ 973540 h 1987582"/>
                  <a:gd name="connsiteX103" fmla="*/ 730305 w 1135965"/>
                  <a:gd name="connsiteY103" fmla="*/ 984975 h 1987582"/>
                  <a:gd name="connsiteX104" fmla="*/ 730305 w 1135965"/>
                  <a:gd name="connsiteY104" fmla="*/ 1139912 h 1987582"/>
                  <a:gd name="connsiteX105" fmla="*/ 730305 w 1135965"/>
                  <a:gd name="connsiteY105" fmla="*/ 1785352 h 1987582"/>
                  <a:gd name="connsiteX106" fmla="*/ 730228 w 1135965"/>
                  <a:gd name="connsiteY106" fmla="*/ 1789265 h 1987582"/>
                  <a:gd name="connsiteX107" fmla="*/ 729883 w 1135965"/>
                  <a:gd name="connsiteY107" fmla="*/ 1797304 h 1987582"/>
                  <a:gd name="connsiteX108" fmla="*/ 724536 w 1135965"/>
                  <a:gd name="connsiteY108" fmla="*/ 1829074 h 1987582"/>
                  <a:gd name="connsiteX109" fmla="*/ 695690 w 1135965"/>
                  <a:gd name="connsiteY109" fmla="*/ 1886341 h 1987582"/>
                  <a:gd name="connsiteX110" fmla="*/ 647026 w 1135965"/>
                  <a:gd name="connsiteY110" fmla="*/ 1927992 h 1987582"/>
                  <a:gd name="connsiteX111" fmla="*/ 585980 w 1135965"/>
                  <a:gd name="connsiteY111" fmla="*/ 1947522 h 1987582"/>
                  <a:gd name="connsiteX112" fmla="*/ 522194 w 1135965"/>
                  <a:gd name="connsiteY112" fmla="*/ 1941920 h 1987582"/>
                  <a:gd name="connsiteX113" fmla="*/ 465518 w 1135965"/>
                  <a:gd name="connsiteY113" fmla="*/ 1911992 h 1987582"/>
                  <a:gd name="connsiteX114" fmla="*/ 424828 w 1135965"/>
                  <a:gd name="connsiteY114" fmla="*/ 1862494 h 1987582"/>
                  <a:gd name="connsiteX115" fmla="*/ 406485 w 1135965"/>
                  <a:gd name="connsiteY115" fmla="*/ 1801026 h 1987582"/>
                  <a:gd name="connsiteX116" fmla="*/ 405948 w 1135965"/>
                  <a:gd name="connsiteY116" fmla="*/ 1792987 h 1987582"/>
                  <a:gd name="connsiteX117" fmla="*/ 405853 w 1135965"/>
                  <a:gd name="connsiteY117" fmla="*/ 1788958 h 1987582"/>
                  <a:gd name="connsiteX118" fmla="*/ 405795 w 1135965"/>
                  <a:gd name="connsiteY118" fmla="*/ 1785064 h 1987582"/>
                  <a:gd name="connsiteX119" fmla="*/ 405795 w 1135965"/>
                  <a:gd name="connsiteY119" fmla="*/ 977972 h 1987582"/>
                  <a:gd name="connsiteX120" fmla="*/ 405757 w 1135965"/>
                  <a:gd name="connsiteY120" fmla="*/ 973022 h 1987582"/>
                  <a:gd name="connsiteX121" fmla="*/ 404722 w 1135965"/>
                  <a:gd name="connsiteY121" fmla="*/ 970816 h 1987582"/>
                  <a:gd name="connsiteX122" fmla="*/ 402633 w 1135965"/>
                  <a:gd name="connsiteY122" fmla="*/ 969531 h 1987582"/>
                  <a:gd name="connsiteX123" fmla="*/ 393739 w 1135965"/>
                  <a:gd name="connsiteY123" fmla="*/ 965214 h 1987582"/>
                  <a:gd name="connsiteX124" fmla="*/ 299018 w 1135965"/>
                  <a:gd name="connsiteY124" fmla="*/ 919228 h 1987582"/>
                  <a:gd name="connsiteX125" fmla="*/ 196458 w 1135965"/>
                  <a:gd name="connsiteY125" fmla="*/ 869424 h 1987582"/>
                  <a:gd name="connsiteX126" fmla="*/ 145168 w 1135965"/>
                  <a:gd name="connsiteY126" fmla="*/ 844522 h 1987582"/>
                  <a:gd name="connsiteX127" fmla="*/ 119408 w 1135965"/>
                  <a:gd name="connsiteY127" fmla="*/ 831975 h 1987582"/>
                  <a:gd name="connsiteX128" fmla="*/ 91942 w 1135965"/>
                  <a:gd name="connsiteY128" fmla="*/ 814209 h 1987582"/>
                  <a:gd name="connsiteX129" fmla="*/ 85732 w 1135965"/>
                  <a:gd name="connsiteY129" fmla="*/ 808857 h 1987582"/>
                  <a:gd name="connsiteX130" fmla="*/ 79848 w 1135965"/>
                  <a:gd name="connsiteY130" fmla="*/ 803140 h 1987582"/>
                  <a:gd name="connsiteX131" fmla="*/ 69172 w 1135965"/>
                  <a:gd name="connsiteY131" fmla="*/ 790708 h 1987582"/>
                  <a:gd name="connsiteX132" fmla="*/ 52229 w 1135965"/>
                  <a:gd name="connsiteY132" fmla="*/ 762717 h 1987582"/>
                  <a:gd name="connsiteX133" fmla="*/ 42052 w 1135965"/>
                  <a:gd name="connsiteY133" fmla="*/ 731599 h 1987582"/>
                  <a:gd name="connsiteX134" fmla="*/ 40614 w 1135965"/>
                  <a:gd name="connsiteY134" fmla="*/ 723522 h 1987582"/>
                  <a:gd name="connsiteX135" fmla="*/ 39694 w 1135965"/>
                  <a:gd name="connsiteY135" fmla="*/ 715369 h 1987582"/>
                  <a:gd name="connsiteX136" fmla="*/ 39215 w 1135965"/>
                  <a:gd name="connsiteY136" fmla="*/ 707177 h 1987582"/>
                  <a:gd name="connsiteX137" fmla="*/ 39081 w 1135965"/>
                  <a:gd name="connsiteY137" fmla="*/ 703071 h 1987582"/>
                  <a:gd name="connsiteX138" fmla="*/ 39081 w 1135965"/>
                  <a:gd name="connsiteY138" fmla="*/ 699426 h 1987582"/>
                  <a:gd name="connsiteX139" fmla="*/ 39081 w 1135965"/>
                  <a:gd name="connsiteY139" fmla="*/ 185941 h 1987582"/>
                  <a:gd name="connsiteX140" fmla="*/ 39215 w 1135965"/>
                  <a:gd name="connsiteY140" fmla="*/ 178132 h 1987582"/>
                  <a:gd name="connsiteX141" fmla="*/ 39732 w 1135965"/>
                  <a:gd name="connsiteY141" fmla="*/ 169959 h 1987582"/>
                  <a:gd name="connsiteX142" fmla="*/ 40710 w 1135965"/>
                  <a:gd name="connsiteY142" fmla="*/ 161825 h 1987582"/>
                  <a:gd name="connsiteX143" fmla="*/ 42167 w 1135965"/>
                  <a:gd name="connsiteY143" fmla="*/ 153748 h 1987582"/>
                  <a:gd name="connsiteX144" fmla="*/ 52497 w 1135965"/>
                  <a:gd name="connsiteY144" fmla="*/ 122649 h 1987582"/>
                  <a:gd name="connsiteX145" fmla="*/ 92440 w 1135965"/>
                  <a:gd name="connsiteY145" fmla="*/ 71349 h 1987582"/>
                  <a:gd name="connsiteX146" fmla="*/ 150860 w 1135965"/>
                  <a:gd name="connsiteY146" fmla="*/ 42763 h 1987582"/>
                  <a:gd name="connsiteX147" fmla="*/ 183348 w 1135965"/>
                  <a:gd name="connsiteY147" fmla="*/ 39041 h 1987582"/>
                  <a:gd name="connsiteX148" fmla="*/ 211848 w 1135965"/>
                  <a:gd name="connsiteY148" fmla="*/ 39041 h 1987582"/>
                  <a:gd name="connsiteX149" fmla="*/ 268850 w 1135965"/>
                  <a:gd name="connsiteY149" fmla="*/ 39041 h 1987582"/>
                  <a:gd name="connsiteX150" fmla="*/ 952867 w 1135965"/>
                  <a:gd name="connsiteY150" fmla="*/ 39041 h 1987582"/>
                  <a:gd name="connsiteX151" fmla="*/ 1016213 w 1135965"/>
                  <a:gd name="connsiteY151" fmla="*/ 53699 h 1987582"/>
                  <a:gd name="connsiteX152" fmla="*/ 1066640 w 1135965"/>
                  <a:gd name="connsiteY152" fmla="*/ 94716 h 1987582"/>
                  <a:gd name="connsiteX153" fmla="*/ 1094068 w 1135965"/>
                  <a:gd name="connsiteY153" fmla="*/ 153729 h 1987582"/>
                  <a:gd name="connsiteX154" fmla="*/ 1095524 w 1135965"/>
                  <a:gd name="connsiteY154" fmla="*/ 161806 h 1987582"/>
                  <a:gd name="connsiteX155" fmla="*/ 1096502 w 1135965"/>
                  <a:gd name="connsiteY155" fmla="*/ 169940 h 1987582"/>
                  <a:gd name="connsiteX156" fmla="*/ 1097019 w 1135965"/>
                  <a:gd name="connsiteY156" fmla="*/ 178113 h 1987582"/>
                  <a:gd name="connsiteX157" fmla="*/ 1097153 w 1135965"/>
                  <a:gd name="connsiteY157" fmla="*/ 185941 h 1987582"/>
                  <a:gd name="connsiteX158" fmla="*/ 1097153 w 1135965"/>
                  <a:gd name="connsiteY158" fmla="*/ 442654 h 1987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</a:cxnLst>
                <a:rect l="l" t="t" r="r" b="b"/>
                <a:pathLst>
                  <a:path w="1135965" h="1987582">
                    <a:moveTo>
                      <a:pt x="1135870" y="176674"/>
                    </a:moveTo>
                    <a:cubicBezTo>
                      <a:pt x="1135831" y="173221"/>
                      <a:pt x="1135448" y="169768"/>
                      <a:pt x="1135218" y="166314"/>
                    </a:cubicBezTo>
                    <a:cubicBezTo>
                      <a:pt x="1134931" y="162861"/>
                      <a:pt x="1134413" y="159427"/>
                      <a:pt x="1133972" y="155974"/>
                    </a:cubicBezTo>
                    <a:cubicBezTo>
                      <a:pt x="1133397" y="152540"/>
                      <a:pt x="1132822" y="149125"/>
                      <a:pt x="1132113" y="145710"/>
                    </a:cubicBezTo>
                    <a:cubicBezTo>
                      <a:pt x="1126363" y="118467"/>
                      <a:pt x="1114403" y="92510"/>
                      <a:pt x="1097268" y="70697"/>
                    </a:cubicBezTo>
                    <a:cubicBezTo>
                      <a:pt x="1080268" y="48787"/>
                      <a:pt x="1058207" y="30907"/>
                      <a:pt x="1033252" y="18648"/>
                    </a:cubicBezTo>
                    <a:cubicBezTo>
                      <a:pt x="1008297" y="6369"/>
                      <a:pt x="980352" y="0"/>
                      <a:pt x="952771" y="0"/>
                    </a:cubicBezTo>
                    <a:lnTo>
                      <a:pt x="183233" y="0"/>
                    </a:lnTo>
                    <a:cubicBezTo>
                      <a:pt x="169452" y="19"/>
                      <a:pt x="155556" y="1592"/>
                      <a:pt x="142005" y="4719"/>
                    </a:cubicBezTo>
                    <a:cubicBezTo>
                      <a:pt x="128455" y="7866"/>
                      <a:pt x="115230" y="12489"/>
                      <a:pt x="102752" y="18629"/>
                    </a:cubicBezTo>
                    <a:cubicBezTo>
                      <a:pt x="90275" y="24768"/>
                      <a:pt x="78526" y="32307"/>
                      <a:pt x="67754" y="41037"/>
                    </a:cubicBezTo>
                    <a:cubicBezTo>
                      <a:pt x="46268" y="58552"/>
                      <a:pt x="28731" y="80903"/>
                      <a:pt x="17058" y="106170"/>
                    </a:cubicBezTo>
                    <a:cubicBezTo>
                      <a:pt x="11212" y="118793"/>
                      <a:pt x="6785" y="132108"/>
                      <a:pt x="3910" y="145729"/>
                    </a:cubicBezTo>
                    <a:cubicBezTo>
                      <a:pt x="3220" y="149144"/>
                      <a:pt x="2626" y="152559"/>
                      <a:pt x="2070" y="155993"/>
                    </a:cubicBezTo>
                    <a:cubicBezTo>
                      <a:pt x="1629" y="159427"/>
                      <a:pt x="1112" y="162880"/>
                      <a:pt x="824" y="166334"/>
                    </a:cubicBezTo>
                    <a:cubicBezTo>
                      <a:pt x="575" y="169787"/>
                      <a:pt x="211" y="173240"/>
                      <a:pt x="172" y="176693"/>
                    </a:cubicBezTo>
                    <a:lnTo>
                      <a:pt x="38" y="181873"/>
                    </a:lnTo>
                    <a:lnTo>
                      <a:pt x="0" y="184137"/>
                    </a:lnTo>
                    <a:lnTo>
                      <a:pt x="0" y="703224"/>
                    </a:lnTo>
                    <a:cubicBezTo>
                      <a:pt x="0" y="703224"/>
                      <a:pt x="172" y="708424"/>
                      <a:pt x="172" y="708424"/>
                    </a:cubicBezTo>
                    <a:cubicBezTo>
                      <a:pt x="326" y="711896"/>
                      <a:pt x="345" y="715369"/>
                      <a:pt x="786" y="718822"/>
                    </a:cubicBezTo>
                    <a:cubicBezTo>
                      <a:pt x="1150" y="722275"/>
                      <a:pt x="1495" y="725728"/>
                      <a:pt x="1955" y="729182"/>
                    </a:cubicBezTo>
                    <a:cubicBezTo>
                      <a:pt x="2530" y="732616"/>
                      <a:pt x="3143" y="736031"/>
                      <a:pt x="3776" y="739446"/>
                    </a:cubicBezTo>
                    <a:cubicBezTo>
                      <a:pt x="6632" y="753048"/>
                      <a:pt x="10963" y="766343"/>
                      <a:pt x="16694" y="778986"/>
                    </a:cubicBezTo>
                    <a:cubicBezTo>
                      <a:pt x="22425" y="791648"/>
                      <a:pt x="29766" y="803523"/>
                      <a:pt x="38199" y="814555"/>
                    </a:cubicBezTo>
                    <a:cubicBezTo>
                      <a:pt x="42358" y="820118"/>
                      <a:pt x="47035" y="825260"/>
                      <a:pt x="51769" y="830344"/>
                    </a:cubicBezTo>
                    <a:cubicBezTo>
                      <a:pt x="54241" y="832780"/>
                      <a:pt x="56733" y="835198"/>
                      <a:pt x="59244" y="837596"/>
                    </a:cubicBezTo>
                    <a:cubicBezTo>
                      <a:pt x="61755" y="839994"/>
                      <a:pt x="64496" y="842143"/>
                      <a:pt x="67121" y="844407"/>
                    </a:cubicBezTo>
                    <a:cubicBezTo>
                      <a:pt x="77893" y="853174"/>
                      <a:pt x="89585" y="860848"/>
                      <a:pt x="102024" y="866968"/>
                    </a:cubicBezTo>
                    <a:lnTo>
                      <a:pt x="128033" y="879630"/>
                    </a:lnTo>
                    <a:lnTo>
                      <a:pt x="179323" y="904532"/>
                    </a:lnTo>
                    <a:lnTo>
                      <a:pt x="281883" y="954336"/>
                    </a:lnTo>
                    <a:lnTo>
                      <a:pt x="366714" y="995526"/>
                    </a:lnTo>
                    <a:lnTo>
                      <a:pt x="366714" y="1787193"/>
                    </a:lnTo>
                    <a:cubicBezTo>
                      <a:pt x="366714" y="1787193"/>
                      <a:pt x="366791" y="1789687"/>
                      <a:pt x="366791" y="1789687"/>
                    </a:cubicBezTo>
                    <a:lnTo>
                      <a:pt x="366925" y="1794676"/>
                    </a:lnTo>
                    <a:cubicBezTo>
                      <a:pt x="367021" y="1797995"/>
                      <a:pt x="367347" y="1801314"/>
                      <a:pt x="367596" y="1804633"/>
                    </a:cubicBezTo>
                    <a:cubicBezTo>
                      <a:pt x="369992" y="1831185"/>
                      <a:pt x="377793" y="1857391"/>
                      <a:pt x="390385" y="1880931"/>
                    </a:cubicBezTo>
                    <a:cubicBezTo>
                      <a:pt x="402939" y="1904509"/>
                      <a:pt x="420170" y="1925459"/>
                      <a:pt x="440813" y="1942285"/>
                    </a:cubicBezTo>
                    <a:cubicBezTo>
                      <a:pt x="461436" y="1959129"/>
                      <a:pt x="485490" y="1971887"/>
                      <a:pt x="511135" y="1979407"/>
                    </a:cubicBezTo>
                    <a:cubicBezTo>
                      <a:pt x="523957" y="1983187"/>
                      <a:pt x="537144" y="1985662"/>
                      <a:pt x="550407" y="1986813"/>
                    </a:cubicBezTo>
                    <a:cubicBezTo>
                      <a:pt x="563670" y="1987964"/>
                      <a:pt x="576934" y="1987830"/>
                      <a:pt x="590197" y="1986372"/>
                    </a:cubicBezTo>
                    <a:cubicBezTo>
                      <a:pt x="616685" y="1983494"/>
                      <a:pt x="642713" y="1975148"/>
                      <a:pt x="665982" y="1962122"/>
                    </a:cubicBezTo>
                    <a:cubicBezTo>
                      <a:pt x="689269" y="1949114"/>
                      <a:pt x="709873" y="1931464"/>
                      <a:pt x="726299" y="1910495"/>
                    </a:cubicBezTo>
                    <a:cubicBezTo>
                      <a:pt x="742744" y="1889545"/>
                      <a:pt x="755049" y="1865238"/>
                      <a:pt x="762083" y="1839415"/>
                    </a:cubicBezTo>
                    <a:cubicBezTo>
                      <a:pt x="765610" y="1826523"/>
                      <a:pt x="767833" y="1813266"/>
                      <a:pt x="768734" y="1799990"/>
                    </a:cubicBezTo>
                    <a:cubicBezTo>
                      <a:pt x="769021" y="1796671"/>
                      <a:pt x="769079" y="1793352"/>
                      <a:pt x="769155" y="1790033"/>
                    </a:cubicBezTo>
                    <a:lnTo>
                      <a:pt x="769213" y="1787539"/>
                    </a:lnTo>
                    <a:lnTo>
                      <a:pt x="769213" y="1785371"/>
                    </a:lnTo>
                    <a:cubicBezTo>
                      <a:pt x="769213" y="1785371"/>
                      <a:pt x="769232" y="1781802"/>
                      <a:pt x="769232" y="1781802"/>
                    </a:cubicBezTo>
                    <a:lnTo>
                      <a:pt x="769232" y="996198"/>
                    </a:lnTo>
                    <a:lnTo>
                      <a:pt x="779640" y="991344"/>
                    </a:lnTo>
                    <a:lnTo>
                      <a:pt x="986351" y="895055"/>
                    </a:lnTo>
                    <a:lnTo>
                      <a:pt x="1012188" y="883026"/>
                    </a:lnTo>
                    <a:lnTo>
                      <a:pt x="1025106" y="877002"/>
                    </a:lnTo>
                    <a:lnTo>
                      <a:pt x="1028345" y="875505"/>
                    </a:lnTo>
                    <a:lnTo>
                      <a:pt x="1029955" y="874757"/>
                    </a:lnTo>
                    <a:lnTo>
                      <a:pt x="1032255" y="873606"/>
                    </a:lnTo>
                    <a:cubicBezTo>
                      <a:pt x="1035360" y="872052"/>
                      <a:pt x="1038446" y="870460"/>
                      <a:pt x="1041513" y="868867"/>
                    </a:cubicBezTo>
                    <a:cubicBezTo>
                      <a:pt x="1053607" y="862057"/>
                      <a:pt x="1064992" y="853941"/>
                      <a:pt x="1075342" y="844675"/>
                    </a:cubicBezTo>
                    <a:cubicBezTo>
                      <a:pt x="1085730" y="835428"/>
                      <a:pt x="1094834" y="824838"/>
                      <a:pt x="1102827" y="813500"/>
                    </a:cubicBezTo>
                    <a:lnTo>
                      <a:pt x="1105759" y="809202"/>
                    </a:lnTo>
                    <a:lnTo>
                      <a:pt x="1107216" y="807053"/>
                    </a:lnTo>
                    <a:lnTo>
                      <a:pt x="1108557" y="804828"/>
                    </a:lnTo>
                    <a:cubicBezTo>
                      <a:pt x="1110340" y="801854"/>
                      <a:pt x="1112103" y="798861"/>
                      <a:pt x="1113809" y="795830"/>
                    </a:cubicBezTo>
                    <a:cubicBezTo>
                      <a:pt x="1115381" y="792741"/>
                      <a:pt x="1116952" y="789633"/>
                      <a:pt x="1118467" y="786525"/>
                    </a:cubicBezTo>
                    <a:cubicBezTo>
                      <a:pt x="1120038" y="783437"/>
                      <a:pt x="1121246" y="780156"/>
                      <a:pt x="1122607" y="776971"/>
                    </a:cubicBezTo>
                    <a:cubicBezTo>
                      <a:pt x="1127724" y="764079"/>
                      <a:pt x="1131634" y="750630"/>
                      <a:pt x="1133704" y="736875"/>
                    </a:cubicBezTo>
                    <a:cubicBezTo>
                      <a:pt x="1134337" y="733460"/>
                      <a:pt x="1134586" y="729987"/>
                      <a:pt x="1134988" y="726534"/>
                    </a:cubicBezTo>
                    <a:cubicBezTo>
                      <a:pt x="1135161" y="724807"/>
                      <a:pt x="1135372" y="723081"/>
                      <a:pt x="1135487" y="721354"/>
                    </a:cubicBezTo>
                    <a:lnTo>
                      <a:pt x="1135716" y="716155"/>
                    </a:lnTo>
                    <a:lnTo>
                      <a:pt x="1135889" y="710956"/>
                    </a:lnTo>
                    <a:lnTo>
                      <a:pt x="1135966" y="708385"/>
                    </a:lnTo>
                    <a:lnTo>
                      <a:pt x="1135966" y="184118"/>
                    </a:lnTo>
                    <a:lnTo>
                      <a:pt x="1135927" y="181835"/>
                    </a:lnTo>
                    <a:lnTo>
                      <a:pt x="1135793" y="176655"/>
                    </a:lnTo>
                    <a:close/>
                    <a:moveTo>
                      <a:pt x="1097038" y="442674"/>
                    </a:moveTo>
                    <a:lnTo>
                      <a:pt x="1097038" y="708347"/>
                    </a:lnTo>
                    <a:lnTo>
                      <a:pt x="1096981" y="710380"/>
                    </a:lnTo>
                    <a:lnTo>
                      <a:pt x="1096847" y="714486"/>
                    </a:lnTo>
                    <a:lnTo>
                      <a:pt x="1096693" y="718592"/>
                    </a:lnTo>
                    <a:cubicBezTo>
                      <a:pt x="1096598" y="719954"/>
                      <a:pt x="1096425" y="721316"/>
                      <a:pt x="1096272" y="722678"/>
                    </a:cubicBezTo>
                    <a:cubicBezTo>
                      <a:pt x="1095927" y="725383"/>
                      <a:pt x="1095773" y="728127"/>
                      <a:pt x="1095256" y="730812"/>
                    </a:cubicBezTo>
                    <a:cubicBezTo>
                      <a:pt x="1093646" y="741652"/>
                      <a:pt x="1090541" y="752204"/>
                      <a:pt x="1086516" y="762372"/>
                    </a:cubicBezTo>
                    <a:cubicBezTo>
                      <a:pt x="1085423" y="764885"/>
                      <a:pt x="1084523" y="767475"/>
                      <a:pt x="1083258" y="769892"/>
                    </a:cubicBezTo>
                    <a:lnTo>
                      <a:pt x="1079597" y="777221"/>
                    </a:lnTo>
                    <a:lnTo>
                      <a:pt x="1075457" y="784300"/>
                    </a:lnTo>
                    <a:lnTo>
                      <a:pt x="1074403" y="786065"/>
                    </a:lnTo>
                    <a:lnTo>
                      <a:pt x="1073253" y="787753"/>
                    </a:lnTo>
                    <a:lnTo>
                      <a:pt x="1070933" y="791130"/>
                    </a:lnTo>
                    <a:cubicBezTo>
                      <a:pt x="1064628" y="800051"/>
                      <a:pt x="1057479" y="808416"/>
                      <a:pt x="1049294" y="815687"/>
                    </a:cubicBezTo>
                    <a:cubicBezTo>
                      <a:pt x="1041129" y="822977"/>
                      <a:pt x="1032198" y="829346"/>
                      <a:pt x="1022672" y="834718"/>
                    </a:cubicBezTo>
                    <a:lnTo>
                      <a:pt x="1015369" y="838440"/>
                    </a:lnTo>
                    <a:lnTo>
                      <a:pt x="1013549" y="839361"/>
                    </a:lnTo>
                    <a:lnTo>
                      <a:pt x="1011939" y="840109"/>
                    </a:lnTo>
                    <a:lnTo>
                      <a:pt x="1008700" y="841605"/>
                    </a:lnTo>
                    <a:lnTo>
                      <a:pt x="995781" y="847630"/>
                    </a:lnTo>
                    <a:lnTo>
                      <a:pt x="969945" y="859659"/>
                    </a:lnTo>
                    <a:lnTo>
                      <a:pt x="763233" y="955948"/>
                    </a:lnTo>
                    <a:lnTo>
                      <a:pt x="739121" y="967190"/>
                    </a:lnTo>
                    <a:lnTo>
                      <a:pt x="733946" y="969607"/>
                    </a:lnTo>
                    <a:cubicBezTo>
                      <a:pt x="733103" y="970049"/>
                      <a:pt x="732145" y="970317"/>
                      <a:pt x="731474" y="971008"/>
                    </a:cubicBezTo>
                    <a:cubicBezTo>
                      <a:pt x="730784" y="971679"/>
                      <a:pt x="730362" y="972600"/>
                      <a:pt x="730305" y="973540"/>
                    </a:cubicBezTo>
                    <a:lnTo>
                      <a:pt x="730305" y="984975"/>
                    </a:lnTo>
                    <a:cubicBezTo>
                      <a:pt x="730305" y="984975"/>
                      <a:pt x="730305" y="1139912"/>
                      <a:pt x="730305" y="1139912"/>
                    </a:cubicBezTo>
                    <a:lnTo>
                      <a:pt x="730305" y="1785352"/>
                    </a:lnTo>
                    <a:cubicBezTo>
                      <a:pt x="730305" y="1786484"/>
                      <a:pt x="730247" y="1787980"/>
                      <a:pt x="730228" y="1789265"/>
                    </a:cubicBezTo>
                    <a:cubicBezTo>
                      <a:pt x="730151" y="1791951"/>
                      <a:pt x="730132" y="1794637"/>
                      <a:pt x="729883" y="1797304"/>
                    </a:cubicBezTo>
                    <a:cubicBezTo>
                      <a:pt x="729155" y="1808028"/>
                      <a:pt x="727372" y="1818695"/>
                      <a:pt x="724536" y="1829074"/>
                    </a:cubicBezTo>
                    <a:cubicBezTo>
                      <a:pt x="718862" y="1849851"/>
                      <a:pt x="708972" y="1869439"/>
                      <a:pt x="695690" y="1886341"/>
                    </a:cubicBezTo>
                    <a:cubicBezTo>
                      <a:pt x="682427" y="1903262"/>
                      <a:pt x="665809" y="1917517"/>
                      <a:pt x="647026" y="1927992"/>
                    </a:cubicBezTo>
                    <a:cubicBezTo>
                      <a:pt x="628262" y="1938505"/>
                      <a:pt x="607351" y="1945201"/>
                      <a:pt x="585980" y="1947522"/>
                    </a:cubicBezTo>
                    <a:cubicBezTo>
                      <a:pt x="564648" y="1949863"/>
                      <a:pt x="542856" y="1948002"/>
                      <a:pt x="522194" y="1941920"/>
                    </a:cubicBezTo>
                    <a:cubicBezTo>
                      <a:pt x="501551" y="1935858"/>
                      <a:pt x="482155" y="1925594"/>
                      <a:pt x="465518" y="1911992"/>
                    </a:cubicBezTo>
                    <a:cubicBezTo>
                      <a:pt x="448843" y="1898428"/>
                      <a:pt x="434928" y="1881488"/>
                      <a:pt x="424828" y="1862494"/>
                    </a:cubicBezTo>
                    <a:cubicBezTo>
                      <a:pt x="414688" y="1843520"/>
                      <a:pt x="408421" y="1822455"/>
                      <a:pt x="406485" y="1801026"/>
                    </a:cubicBezTo>
                    <a:cubicBezTo>
                      <a:pt x="406313" y="1798340"/>
                      <a:pt x="406006" y="1795673"/>
                      <a:pt x="405948" y="1792987"/>
                    </a:cubicBezTo>
                    <a:lnTo>
                      <a:pt x="405853" y="1788958"/>
                    </a:lnTo>
                    <a:cubicBezTo>
                      <a:pt x="405833" y="1787654"/>
                      <a:pt x="405776" y="1786177"/>
                      <a:pt x="405795" y="1785064"/>
                    </a:cubicBezTo>
                    <a:lnTo>
                      <a:pt x="405795" y="977972"/>
                    </a:lnTo>
                    <a:cubicBezTo>
                      <a:pt x="405795" y="976322"/>
                      <a:pt x="405833" y="974672"/>
                      <a:pt x="405757" y="973022"/>
                    </a:cubicBezTo>
                    <a:cubicBezTo>
                      <a:pt x="405661" y="972197"/>
                      <a:pt x="405278" y="971430"/>
                      <a:pt x="404722" y="970816"/>
                    </a:cubicBezTo>
                    <a:cubicBezTo>
                      <a:pt x="404166" y="970202"/>
                      <a:pt x="403361" y="969895"/>
                      <a:pt x="402633" y="969531"/>
                    </a:cubicBezTo>
                    <a:lnTo>
                      <a:pt x="393739" y="965214"/>
                    </a:lnTo>
                    <a:lnTo>
                      <a:pt x="299018" y="919228"/>
                    </a:lnTo>
                    <a:lnTo>
                      <a:pt x="196458" y="869424"/>
                    </a:lnTo>
                    <a:lnTo>
                      <a:pt x="145168" y="844522"/>
                    </a:lnTo>
                    <a:lnTo>
                      <a:pt x="119408" y="831975"/>
                    </a:lnTo>
                    <a:cubicBezTo>
                      <a:pt x="109595" y="827159"/>
                      <a:pt x="100414" y="821097"/>
                      <a:pt x="91942" y="814209"/>
                    </a:cubicBezTo>
                    <a:cubicBezTo>
                      <a:pt x="89872" y="812425"/>
                      <a:pt x="87706" y="810756"/>
                      <a:pt x="85732" y="808857"/>
                    </a:cubicBezTo>
                    <a:lnTo>
                      <a:pt x="79848" y="803140"/>
                    </a:lnTo>
                    <a:cubicBezTo>
                      <a:pt x="76149" y="799130"/>
                      <a:pt x="72431" y="795101"/>
                      <a:pt x="69172" y="790708"/>
                    </a:cubicBezTo>
                    <a:cubicBezTo>
                      <a:pt x="62541" y="782036"/>
                      <a:pt x="56733" y="772693"/>
                      <a:pt x="52229" y="762717"/>
                    </a:cubicBezTo>
                    <a:cubicBezTo>
                      <a:pt x="47725" y="752760"/>
                      <a:pt x="44313" y="742304"/>
                      <a:pt x="42052" y="731599"/>
                    </a:cubicBezTo>
                    <a:lnTo>
                      <a:pt x="40614" y="723522"/>
                    </a:lnTo>
                    <a:cubicBezTo>
                      <a:pt x="40250" y="720817"/>
                      <a:pt x="40001" y="718093"/>
                      <a:pt x="39694" y="715369"/>
                    </a:cubicBezTo>
                    <a:cubicBezTo>
                      <a:pt x="39330" y="712644"/>
                      <a:pt x="39349" y="709920"/>
                      <a:pt x="39215" y="707177"/>
                    </a:cubicBezTo>
                    <a:lnTo>
                      <a:pt x="39081" y="703071"/>
                    </a:lnTo>
                    <a:cubicBezTo>
                      <a:pt x="39042" y="701747"/>
                      <a:pt x="39081" y="700654"/>
                      <a:pt x="39081" y="699426"/>
                    </a:cubicBezTo>
                    <a:lnTo>
                      <a:pt x="39081" y="185941"/>
                    </a:lnTo>
                    <a:cubicBezTo>
                      <a:pt x="39061" y="183715"/>
                      <a:pt x="39138" y="180837"/>
                      <a:pt x="39215" y="178132"/>
                    </a:cubicBezTo>
                    <a:cubicBezTo>
                      <a:pt x="39215" y="175408"/>
                      <a:pt x="39560" y="172684"/>
                      <a:pt x="39732" y="169959"/>
                    </a:cubicBezTo>
                    <a:cubicBezTo>
                      <a:pt x="39962" y="167235"/>
                      <a:pt x="40384" y="164530"/>
                      <a:pt x="40710" y="161825"/>
                    </a:cubicBezTo>
                    <a:cubicBezTo>
                      <a:pt x="41170" y="159120"/>
                      <a:pt x="41630" y="156434"/>
                      <a:pt x="42167" y="153748"/>
                    </a:cubicBezTo>
                    <a:cubicBezTo>
                      <a:pt x="44428" y="143043"/>
                      <a:pt x="47916" y="132587"/>
                      <a:pt x="52497" y="122649"/>
                    </a:cubicBezTo>
                    <a:cubicBezTo>
                      <a:pt x="61678" y="102774"/>
                      <a:pt x="75516" y="85143"/>
                      <a:pt x="92440" y="71349"/>
                    </a:cubicBezTo>
                    <a:cubicBezTo>
                      <a:pt x="109403" y="57574"/>
                      <a:pt x="129509" y="47617"/>
                      <a:pt x="150860" y="42763"/>
                    </a:cubicBezTo>
                    <a:cubicBezTo>
                      <a:pt x="161517" y="40308"/>
                      <a:pt x="172442" y="39061"/>
                      <a:pt x="183348" y="39041"/>
                    </a:cubicBezTo>
                    <a:lnTo>
                      <a:pt x="211848" y="39041"/>
                    </a:lnTo>
                    <a:cubicBezTo>
                      <a:pt x="211848" y="39041"/>
                      <a:pt x="268850" y="39041"/>
                      <a:pt x="268850" y="39041"/>
                    </a:cubicBezTo>
                    <a:lnTo>
                      <a:pt x="952867" y="39041"/>
                    </a:lnTo>
                    <a:cubicBezTo>
                      <a:pt x="974660" y="39061"/>
                      <a:pt x="996567" y="44049"/>
                      <a:pt x="1016213" y="53699"/>
                    </a:cubicBezTo>
                    <a:cubicBezTo>
                      <a:pt x="1035839" y="63349"/>
                      <a:pt x="1053243" y="77430"/>
                      <a:pt x="1066640" y="94716"/>
                    </a:cubicBezTo>
                    <a:cubicBezTo>
                      <a:pt x="1080153" y="111906"/>
                      <a:pt x="1089525" y="132319"/>
                      <a:pt x="1094068" y="153729"/>
                    </a:cubicBezTo>
                    <a:cubicBezTo>
                      <a:pt x="1094604" y="156415"/>
                      <a:pt x="1095064" y="159101"/>
                      <a:pt x="1095524" y="161806"/>
                    </a:cubicBezTo>
                    <a:cubicBezTo>
                      <a:pt x="1095850" y="164511"/>
                      <a:pt x="1096272" y="167235"/>
                      <a:pt x="1096502" y="169940"/>
                    </a:cubicBezTo>
                    <a:cubicBezTo>
                      <a:pt x="1096674" y="172665"/>
                      <a:pt x="1097000" y="175389"/>
                      <a:pt x="1097019" y="178113"/>
                    </a:cubicBezTo>
                    <a:cubicBezTo>
                      <a:pt x="1097096" y="180818"/>
                      <a:pt x="1097173" y="183715"/>
                      <a:pt x="1097153" y="185941"/>
                    </a:cubicBezTo>
                    <a:lnTo>
                      <a:pt x="1097153" y="442654"/>
                    </a:lnTo>
                    <a:close/>
                  </a:path>
                </a:pathLst>
              </a:custGeom>
              <a:solidFill>
                <a:schemeClr val="accent1"/>
              </a:solidFill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5FAC6D53-476A-CD3F-D064-1E44E4D25BC7}"/>
                  </a:ext>
                </a:extLst>
              </p:cNvPr>
              <p:cNvSpPr/>
              <p:nvPr/>
            </p:nvSpPr>
            <p:spPr>
              <a:xfrm flipV="1">
                <a:off x="3591770" y="1818393"/>
                <a:ext cx="182441" cy="45719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3407">
                  <a:lnSpc>
                    <a:spcPct val="96000"/>
                  </a:lnSpc>
                  <a:defRPr/>
                </a:pPr>
                <a:endParaRPr lang="en-US" sz="1463" err="1">
                  <a:solidFill>
                    <a:srgbClr val="0B2742"/>
                  </a:solidFill>
                  <a:latin typeface="Calibri"/>
                  <a:cs typeface="Microsoft Sans Serif" panose="020B0604020202020204" pitchFamily="34" charset="0"/>
                </a:endParaRPr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EEB5D908-B85C-5EC6-B0DA-E3D4E97B6042}"/>
                  </a:ext>
                </a:extLst>
              </p:cNvPr>
              <p:cNvSpPr/>
              <p:nvPr/>
            </p:nvSpPr>
            <p:spPr>
              <a:xfrm rot="20501000" flipV="1">
                <a:off x="3586066" y="1753298"/>
                <a:ext cx="182441" cy="45719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3407">
                  <a:lnSpc>
                    <a:spcPct val="96000"/>
                  </a:lnSpc>
                  <a:defRPr/>
                </a:pPr>
                <a:endParaRPr lang="en-US" sz="1463" err="1">
                  <a:solidFill>
                    <a:srgbClr val="0B2742"/>
                  </a:solidFill>
                  <a:latin typeface="Calibri"/>
                  <a:cs typeface="Microsoft Sans Serif" panose="020B0604020202020204" pitchFamily="34" charset="0"/>
                </a:endParaRPr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51805BDF-4F3A-1AC3-F8C8-9AC39D658B72}"/>
                  </a:ext>
                </a:extLst>
              </p:cNvPr>
              <p:cNvSpPr/>
              <p:nvPr/>
            </p:nvSpPr>
            <p:spPr>
              <a:xfrm rot="1099000">
                <a:off x="3586066" y="1884225"/>
                <a:ext cx="182441" cy="45719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3407">
                  <a:lnSpc>
                    <a:spcPct val="96000"/>
                  </a:lnSpc>
                  <a:defRPr/>
                </a:pPr>
                <a:endParaRPr lang="en-US" sz="1463" err="1">
                  <a:solidFill>
                    <a:srgbClr val="0B2742"/>
                  </a:solidFill>
                  <a:latin typeface="Calibri"/>
                  <a:cs typeface="Microsoft Sans Serif" panose="020B0604020202020204" pitchFamily="34" charset="0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37EC71FB-BEEF-7FAC-3C7C-9BF49400C3CD}"/>
                </a:ext>
              </a:extLst>
            </p:cNvPr>
            <p:cNvGrpSpPr/>
            <p:nvPr/>
          </p:nvGrpSpPr>
          <p:grpSpPr>
            <a:xfrm>
              <a:off x="3571338" y="1940233"/>
              <a:ext cx="109021" cy="108205"/>
              <a:chOff x="2296249" y="2698787"/>
              <a:chExt cx="2082217" cy="2066613"/>
            </a:xfrm>
            <a:solidFill>
              <a:schemeClr val="accent1"/>
            </a:solidFill>
          </p:grpSpPr>
          <p:sp>
            <p:nvSpPr>
              <p:cNvPr id="12" name="Freeform 4">
                <a:extLst>
                  <a:ext uri="{FF2B5EF4-FFF2-40B4-BE49-F238E27FC236}">
                    <a16:creationId xmlns:a16="http://schemas.microsoft.com/office/drawing/2014/main" id="{3524E9C8-CA52-FAB6-C6B0-6385CC32B777}"/>
                  </a:ext>
                </a:extLst>
              </p:cNvPr>
              <p:cNvSpPr/>
              <p:nvPr/>
            </p:nvSpPr>
            <p:spPr>
              <a:xfrm>
                <a:off x="3046266" y="3083552"/>
                <a:ext cx="582312" cy="1179604"/>
              </a:xfrm>
              <a:custGeom>
                <a:avLst/>
                <a:gdLst>
                  <a:gd name="connsiteX0" fmla="*/ 582293 w 582312"/>
                  <a:gd name="connsiteY0" fmla="*/ 752141 h 1179604"/>
                  <a:gd name="connsiteX1" fmla="*/ 582293 w 582312"/>
                  <a:gd name="connsiteY1" fmla="*/ 316738 h 1179604"/>
                  <a:gd name="connsiteX2" fmla="*/ 508640 w 582312"/>
                  <a:gd name="connsiteY2" fmla="*/ 243014 h 1179604"/>
                  <a:gd name="connsiteX3" fmla="*/ 311074 w 582312"/>
                  <a:gd name="connsiteY3" fmla="*/ 243014 h 1179604"/>
                  <a:gd name="connsiteX4" fmla="*/ 311074 w 582312"/>
                  <a:gd name="connsiteY4" fmla="*/ 127142 h 1179604"/>
                  <a:gd name="connsiteX5" fmla="*/ 357686 w 582312"/>
                  <a:gd name="connsiteY5" fmla="*/ 64888 h 1179604"/>
                  <a:gd name="connsiteX6" fmla="*/ 292860 w 582312"/>
                  <a:gd name="connsiteY6" fmla="*/ 0 h 1179604"/>
                  <a:gd name="connsiteX7" fmla="*/ 228035 w 582312"/>
                  <a:gd name="connsiteY7" fmla="*/ 64888 h 1179604"/>
                  <a:gd name="connsiteX8" fmla="*/ 271219 w 582312"/>
                  <a:gd name="connsiteY8" fmla="*/ 126045 h 1179604"/>
                  <a:gd name="connsiteX9" fmla="*/ 271219 w 582312"/>
                  <a:gd name="connsiteY9" fmla="*/ 243014 h 1179604"/>
                  <a:gd name="connsiteX10" fmla="*/ 73654 w 582312"/>
                  <a:gd name="connsiteY10" fmla="*/ 243014 h 1179604"/>
                  <a:gd name="connsiteX11" fmla="*/ 0 w 582312"/>
                  <a:gd name="connsiteY11" fmla="*/ 316738 h 1179604"/>
                  <a:gd name="connsiteX12" fmla="*/ 0 w 582312"/>
                  <a:gd name="connsiteY12" fmla="*/ 752141 h 1179604"/>
                  <a:gd name="connsiteX13" fmla="*/ 73654 w 582312"/>
                  <a:gd name="connsiteY13" fmla="*/ 825865 h 1179604"/>
                  <a:gd name="connsiteX14" fmla="*/ 271219 w 582312"/>
                  <a:gd name="connsiteY14" fmla="*/ 825865 h 1179604"/>
                  <a:gd name="connsiteX15" fmla="*/ 271219 w 582312"/>
                  <a:gd name="connsiteY15" fmla="*/ 1053021 h 1179604"/>
                  <a:gd name="connsiteX16" fmla="*/ 226421 w 582312"/>
                  <a:gd name="connsiteY16" fmla="*/ 1114717 h 1179604"/>
                  <a:gd name="connsiteX17" fmla="*/ 291246 w 582312"/>
                  <a:gd name="connsiteY17" fmla="*/ 1179605 h 1179604"/>
                  <a:gd name="connsiteX18" fmla="*/ 356072 w 582312"/>
                  <a:gd name="connsiteY18" fmla="*/ 1114717 h 1179604"/>
                  <a:gd name="connsiteX19" fmla="*/ 311094 w 582312"/>
                  <a:gd name="connsiteY19" fmla="*/ 1052961 h 1179604"/>
                  <a:gd name="connsiteX20" fmla="*/ 311094 w 582312"/>
                  <a:gd name="connsiteY20" fmla="*/ 825865 h 1179604"/>
                  <a:gd name="connsiteX21" fmla="*/ 508660 w 582312"/>
                  <a:gd name="connsiteY21" fmla="*/ 825865 h 1179604"/>
                  <a:gd name="connsiteX22" fmla="*/ 582313 w 582312"/>
                  <a:gd name="connsiteY22" fmla="*/ 752141 h 1179604"/>
                  <a:gd name="connsiteX23" fmla="*/ 542437 w 582312"/>
                  <a:gd name="connsiteY23" fmla="*/ 752141 h 1179604"/>
                  <a:gd name="connsiteX24" fmla="*/ 508640 w 582312"/>
                  <a:gd name="connsiteY24" fmla="*/ 785971 h 1179604"/>
                  <a:gd name="connsiteX25" fmla="*/ 73654 w 582312"/>
                  <a:gd name="connsiteY25" fmla="*/ 785971 h 1179604"/>
                  <a:gd name="connsiteX26" fmla="*/ 39856 w 582312"/>
                  <a:gd name="connsiteY26" fmla="*/ 752141 h 1179604"/>
                  <a:gd name="connsiteX27" fmla="*/ 39856 w 582312"/>
                  <a:gd name="connsiteY27" fmla="*/ 316738 h 1179604"/>
                  <a:gd name="connsiteX28" fmla="*/ 73654 w 582312"/>
                  <a:gd name="connsiteY28" fmla="*/ 282908 h 1179604"/>
                  <a:gd name="connsiteX29" fmla="*/ 508640 w 582312"/>
                  <a:gd name="connsiteY29" fmla="*/ 282908 h 1179604"/>
                  <a:gd name="connsiteX30" fmla="*/ 542437 w 582312"/>
                  <a:gd name="connsiteY30" fmla="*/ 316738 h 1179604"/>
                  <a:gd name="connsiteX31" fmla="*/ 542437 w 582312"/>
                  <a:gd name="connsiteY31" fmla="*/ 752141 h 1179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2312" h="1179604">
                    <a:moveTo>
                      <a:pt x="582293" y="752141"/>
                    </a:moveTo>
                    <a:lnTo>
                      <a:pt x="582293" y="316738"/>
                    </a:lnTo>
                    <a:cubicBezTo>
                      <a:pt x="582293" y="276086"/>
                      <a:pt x="549253" y="243014"/>
                      <a:pt x="508640" y="243014"/>
                    </a:cubicBezTo>
                    <a:lnTo>
                      <a:pt x="311074" y="243014"/>
                    </a:lnTo>
                    <a:lnTo>
                      <a:pt x="311074" y="127142"/>
                    </a:lnTo>
                    <a:cubicBezTo>
                      <a:pt x="337977" y="119243"/>
                      <a:pt x="357686" y="94329"/>
                      <a:pt x="357686" y="64888"/>
                    </a:cubicBezTo>
                    <a:cubicBezTo>
                      <a:pt x="357686" y="29103"/>
                      <a:pt x="328611" y="0"/>
                      <a:pt x="292860" y="0"/>
                    </a:cubicBezTo>
                    <a:cubicBezTo>
                      <a:pt x="257110" y="0"/>
                      <a:pt x="228035" y="29103"/>
                      <a:pt x="228035" y="64888"/>
                    </a:cubicBezTo>
                    <a:cubicBezTo>
                      <a:pt x="228035" y="93073"/>
                      <a:pt x="246090" y="117109"/>
                      <a:pt x="271219" y="126045"/>
                    </a:cubicBezTo>
                    <a:lnTo>
                      <a:pt x="271219" y="243014"/>
                    </a:lnTo>
                    <a:lnTo>
                      <a:pt x="73654" y="243014"/>
                    </a:lnTo>
                    <a:cubicBezTo>
                      <a:pt x="33040" y="243014"/>
                      <a:pt x="0" y="276086"/>
                      <a:pt x="0" y="316738"/>
                    </a:cubicBezTo>
                    <a:lnTo>
                      <a:pt x="0" y="752141"/>
                    </a:lnTo>
                    <a:cubicBezTo>
                      <a:pt x="0" y="792793"/>
                      <a:pt x="33040" y="825865"/>
                      <a:pt x="73654" y="825865"/>
                    </a:cubicBezTo>
                    <a:lnTo>
                      <a:pt x="271219" y="825865"/>
                    </a:lnTo>
                    <a:lnTo>
                      <a:pt x="271219" y="1053021"/>
                    </a:lnTo>
                    <a:cubicBezTo>
                      <a:pt x="245253" y="1061479"/>
                      <a:pt x="226421" y="1085934"/>
                      <a:pt x="226421" y="1114717"/>
                    </a:cubicBezTo>
                    <a:cubicBezTo>
                      <a:pt x="226421" y="1150502"/>
                      <a:pt x="255496" y="1179605"/>
                      <a:pt x="291246" y="1179605"/>
                    </a:cubicBezTo>
                    <a:cubicBezTo>
                      <a:pt x="326997" y="1179605"/>
                      <a:pt x="356072" y="1150502"/>
                      <a:pt x="356072" y="1114717"/>
                    </a:cubicBezTo>
                    <a:cubicBezTo>
                      <a:pt x="356072" y="1085874"/>
                      <a:pt x="337160" y="1061359"/>
                      <a:pt x="311094" y="1052961"/>
                    </a:cubicBezTo>
                    <a:lnTo>
                      <a:pt x="311094" y="825865"/>
                    </a:lnTo>
                    <a:lnTo>
                      <a:pt x="508660" y="825865"/>
                    </a:lnTo>
                    <a:cubicBezTo>
                      <a:pt x="549273" y="825865"/>
                      <a:pt x="582313" y="792793"/>
                      <a:pt x="582313" y="752141"/>
                    </a:cubicBezTo>
                    <a:close/>
                    <a:moveTo>
                      <a:pt x="542437" y="752141"/>
                    </a:moveTo>
                    <a:cubicBezTo>
                      <a:pt x="542437" y="770791"/>
                      <a:pt x="527272" y="785971"/>
                      <a:pt x="508640" y="785971"/>
                    </a:cubicBezTo>
                    <a:lnTo>
                      <a:pt x="73654" y="785971"/>
                    </a:lnTo>
                    <a:cubicBezTo>
                      <a:pt x="55021" y="785971"/>
                      <a:pt x="39856" y="770791"/>
                      <a:pt x="39856" y="752141"/>
                    </a:cubicBezTo>
                    <a:lnTo>
                      <a:pt x="39856" y="316738"/>
                    </a:lnTo>
                    <a:cubicBezTo>
                      <a:pt x="39856" y="298088"/>
                      <a:pt x="55021" y="282908"/>
                      <a:pt x="73654" y="282908"/>
                    </a:cubicBezTo>
                    <a:lnTo>
                      <a:pt x="508640" y="282908"/>
                    </a:lnTo>
                    <a:cubicBezTo>
                      <a:pt x="527272" y="282908"/>
                      <a:pt x="542437" y="298088"/>
                      <a:pt x="542437" y="316738"/>
                    </a:cubicBezTo>
                    <a:lnTo>
                      <a:pt x="542437" y="752141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3" name="Freeform 5">
                <a:extLst>
                  <a:ext uri="{FF2B5EF4-FFF2-40B4-BE49-F238E27FC236}">
                    <a16:creationId xmlns:a16="http://schemas.microsoft.com/office/drawing/2014/main" id="{05C9ECE6-C0EE-DEA1-460D-15B8AF815993}"/>
                  </a:ext>
                </a:extLst>
              </p:cNvPr>
              <p:cNvSpPr/>
              <p:nvPr/>
            </p:nvSpPr>
            <p:spPr>
              <a:xfrm>
                <a:off x="3309852" y="3745053"/>
                <a:ext cx="76244" cy="76317"/>
              </a:xfrm>
              <a:custGeom>
                <a:avLst/>
                <a:gdLst>
                  <a:gd name="connsiteX0" fmla="*/ 38122 w 76244"/>
                  <a:gd name="connsiteY0" fmla="*/ 0 h 76317"/>
                  <a:gd name="connsiteX1" fmla="*/ 0 w 76244"/>
                  <a:gd name="connsiteY1" fmla="*/ 38159 h 76317"/>
                  <a:gd name="connsiteX2" fmla="*/ 38122 w 76244"/>
                  <a:gd name="connsiteY2" fmla="*/ 76317 h 76317"/>
                  <a:gd name="connsiteX3" fmla="*/ 76244 w 76244"/>
                  <a:gd name="connsiteY3" fmla="*/ 38159 h 76317"/>
                  <a:gd name="connsiteX4" fmla="*/ 38122 w 76244"/>
                  <a:gd name="connsiteY4" fmla="*/ 0 h 76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244" h="76317">
                    <a:moveTo>
                      <a:pt x="38122" y="0"/>
                    </a:moveTo>
                    <a:cubicBezTo>
                      <a:pt x="17098" y="0"/>
                      <a:pt x="0" y="17115"/>
                      <a:pt x="0" y="38159"/>
                    </a:cubicBezTo>
                    <a:cubicBezTo>
                      <a:pt x="0" y="59203"/>
                      <a:pt x="17098" y="76317"/>
                      <a:pt x="38122" y="76317"/>
                    </a:cubicBezTo>
                    <a:cubicBezTo>
                      <a:pt x="59146" y="76317"/>
                      <a:pt x="76244" y="59203"/>
                      <a:pt x="76244" y="38159"/>
                    </a:cubicBezTo>
                    <a:cubicBezTo>
                      <a:pt x="76244" y="17115"/>
                      <a:pt x="59146" y="0"/>
                      <a:pt x="38122" y="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id="{8044A838-B92F-9E6B-B9A9-C511AFFC8D8A}"/>
                  </a:ext>
                </a:extLst>
              </p:cNvPr>
              <p:cNvSpPr/>
              <p:nvPr/>
            </p:nvSpPr>
            <p:spPr>
              <a:xfrm>
                <a:off x="3365371" y="3417843"/>
                <a:ext cx="184651" cy="403527"/>
              </a:xfrm>
              <a:custGeom>
                <a:avLst/>
                <a:gdLst>
                  <a:gd name="connsiteX0" fmla="*/ 166458 w 184651"/>
                  <a:gd name="connsiteY0" fmla="*/ 332895 h 403527"/>
                  <a:gd name="connsiteX1" fmla="*/ 166458 w 184651"/>
                  <a:gd name="connsiteY1" fmla="*/ 98119 h 403527"/>
                  <a:gd name="connsiteX2" fmla="*/ 86627 w 184651"/>
                  <a:gd name="connsiteY2" fmla="*/ 18212 h 403527"/>
                  <a:gd name="connsiteX3" fmla="*/ 70565 w 184651"/>
                  <a:gd name="connsiteY3" fmla="*/ 18212 h 403527"/>
                  <a:gd name="connsiteX4" fmla="*/ 38122 w 184651"/>
                  <a:gd name="connsiteY4" fmla="*/ 0 h 403527"/>
                  <a:gd name="connsiteX5" fmla="*/ 0 w 184651"/>
                  <a:gd name="connsiteY5" fmla="*/ 38159 h 403527"/>
                  <a:gd name="connsiteX6" fmla="*/ 38122 w 184651"/>
                  <a:gd name="connsiteY6" fmla="*/ 76317 h 403527"/>
                  <a:gd name="connsiteX7" fmla="*/ 70565 w 184651"/>
                  <a:gd name="connsiteY7" fmla="*/ 58106 h 403527"/>
                  <a:gd name="connsiteX8" fmla="*/ 86627 w 184651"/>
                  <a:gd name="connsiteY8" fmla="*/ 58106 h 403527"/>
                  <a:gd name="connsiteX9" fmla="*/ 126602 w 184651"/>
                  <a:gd name="connsiteY9" fmla="*/ 98119 h 403527"/>
                  <a:gd name="connsiteX10" fmla="*/ 126602 w 184651"/>
                  <a:gd name="connsiteY10" fmla="*/ 332895 h 403527"/>
                  <a:gd name="connsiteX11" fmla="*/ 108408 w 184651"/>
                  <a:gd name="connsiteY11" fmla="*/ 365369 h 403527"/>
                  <a:gd name="connsiteX12" fmla="*/ 146530 w 184651"/>
                  <a:gd name="connsiteY12" fmla="*/ 403527 h 403527"/>
                  <a:gd name="connsiteX13" fmla="*/ 184652 w 184651"/>
                  <a:gd name="connsiteY13" fmla="*/ 365369 h 403527"/>
                  <a:gd name="connsiteX14" fmla="*/ 166458 w 184651"/>
                  <a:gd name="connsiteY14" fmla="*/ 332895 h 403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84651" h="403527">
                    <a:moveTo>
                      <a:pt x="166458" y="332895"/>
                    </a:moveTo>
                    <a:lnTo>
                      <a:pt x="166458" y="98119"/>
                    </a:lnTo>
                    <a:cubicBezTo>
                      <a:pt x="166458" y="54056"/>
                      <a:pt x="130647" y="18212"/>
                      <a:pt x="86627" y="18212"/>
                    </a:cubicBezTo>
                    <a:lnTo>
                      <a:pt x="70565" y="18212"/>
                    </a:lnTo>
                    <a:cubicBezTo>
                      <a:pt x="63849" y="7301"/>
                      <a:pt x="51832" y="0"/>
                      <a:pt x="38122" y="0"/>
                    </a:cubicBezTo>
                    <a:cubicBezTo>
                      <a:pt x="17098" y="0"/>
                      <a:pt x="0" y="17115"/>
                      <a:pt x="0" y="38159"/>
                    </a:cubicBezTo>
                    <a:cubicBezTo>
                      <a:pt x="0" y="59203"/>
                      <a:pt x="17098" y="76317"/>
                      <a:pt x="38122" y="76317"/>
                    </a:cubicBezTo>
                    <a:cubicBezTo>
                      <a:pt x="51832" y="76317"/>
                      <a:pt x="63849" y="69017"/>
                      <a:pt x="70565" y="58106"/>
                    </a:cubicBezTo>
                    <a:lnTo>
                      <a:pt x="86627" y="58106"/>
                    </a:lnTo>
                    <a:cubicBezTo>
                      <a:pt x="108667" y="58106"/>
                      <a:pt x="126602" y="76058"/>
                      <a:pt x="126602" y="98119"/>
                    </a:cubicBezTo>
                    <a:lnTo>
                      <a:pt x="126602" y="332895"/>
                    </a:lnTo>
                    <a:cubicBezTo>
                      <a:pt x="115701" y="339617"/>
                      <a:pt x="108408" y="351645"/>
                      <a:pt x="108408" y="365369"/>
                    </a:cubicBezTo>
                    <a:cubicBezTo>
                      <a:pt x="108408" y="386413"/>
                      <a:pt x="125506" y="403527"/>
                      <a:pt x="146530" y="403527"/>
                    </a:cubicBezTo>
                    <a:cubicBezTo>
                      <a:pt x="167554" y="403527"/>
                      <a:pt x="184652" y="386413"/>
                      <a:pt x="184652" y="365369"/>
                    </a:cubicBezTo>
                    <a:cubicBezTo>
                      <a:pt x="184652" y="351645"/>
                      <a:pt x="177358" y="339617"/>
                      <a:pt x="166458" y="332895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5" name="Freeform 7">
                <a:extLst>
                  <a:ext uri="{FF2B5EF4-FFF2-40B4-BE49-F238E27FC236}">
                    <a16:creationId xmlns:a16="http://schemas.microsoft.com/office/drawing/2014/main" id="{802BF89F-33B9-3724-F7A1-63EAA0F8AAD7}"/>
                  </a:ext>
                </a:extLst>
              </p:cNvPr>
              <p:cNvSpPr/>
              <p:nvPr/>
            </p:nvSpPr>
            <p:spPr>
              <a:xfrm>
                <a:off x="3145547" y="3745053"/>
                <a:ext cx="76244" cy="76317"/>
              </a:xfrm>
              <a:custGeom>
                <a:avLst/>
                <a:gdLst>
                  <a:gd name="connsiteX0" fmla="*/ 38122 w 76244"/>
                  <a:gd name="connsiteY0" fmla="*/ 0 h 76317"/>
                  <a:gd name="connsiteX1" fmla="*/ 0 w 76244"/>
                  <a:gd name="connsiteY1" fmla="*/ 38159 h 76317"/>
                  <a:gd name="connsiteX2" fmla="*/ 38122 w 76244"/>
                  <a:gd name="connsiteY2" fmla="*/ 76317 h 76317"/>
                  <a:gd name="connsiteX3" fmla="*/ 76244 w 76244"/>
                  <a:gd name="connsiteY3" fmla="*/ 38159 h 76317"/>
                  <a:gd name="connsiteX4" fmla="*/ 38122 w 76244"/>
                  <a:gd name="connsiteY4" fmla="*/ 0 h 76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244" h="76317">
                    <a:moveTo>
                      <a:pt x="38122" y="0"/>
                    </a:moveTo>
                    <a:cubicBezTo>
                      <a:pt x="17098" y="0"/>
                      <a:pt x="0" y="17115"/>
                      <a:pt x="0" y="38159"/>
                    </a:cubicBezTo>
                    <a:cubicBezTo>
                      <a:pt x="0" y="59203"/>
                      <a:pt x="17098" y="76317"/>
                      <a:pt x="38122" y="76317"/>
                    </a:cubicBezTo>
                    <a:cubicBezTo>
                      <a:pt x="59146" y="76317"/>
                      <a:pt x="76244" y="59203"/>
                      <a:pt x="76244" y="38159"/>
                    </a:cubicBezTo>
                    <a:cubicBezTo>
                      <a:pt x="76244" y="17115"/>
                      <a:pt x="59146" y="0"/>
                      <a:pt x="38122" y="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6" name="Freeform 8">
                <a:extLst>
                  <a:ext uri="{FF2B5EF4-FFF2-40B4-BE49-F238E27FC236}">
                    <a16:creationId xmlns:a16="http://schemas.microsoft.com/office/drawing/2014/main" id="{514F67F6-206B-3905-C0A4-B3AE3D2B43BC}"/>
                  </a:ext>
                </a:extLst>
              </p:cNvPr>
              <p:cNvSpPr/>
              <p:nvPr/>
            </p:nvSpPr>
            <p:spPr>
              <a:xfrm>
                <a:off x="2743482" y="2951523"/>
                <a:ext cx="342660" cy="341292"/>
              </a:xfrm>
              <a:custGeom>
                <a:avLst/>
                <a:gdLst>
                  <a:gd name="connsiteX0" fmla="*/ 64806 w 342660"/>
                  <a:gd name="connsiteY0" fmla="*/ 341293 h 341292"/>
                  <a:gd name="connsiteX1" fmla="*/ 116777 w 342660"/>
                  <a:gd name="connsiteY1" fmla="*/ 315142 h 341292"/>
                  <a:gd name="connsiteX2" fmla="*/ 240291 w 342660"/>
                  <a:gd name="connsiteY2" fmla="*/ 315142 h 341292"/>
                  <a:gd name="connsiteX3" fmla="*/ 299098 w 342660"/>
                  <a:gd name="connsiteY3" fmla="*/ 256279 h 341292"/>
                  <a:gd name="connsiteX4" fmla="*/ 299098 w 342660"/>
                  <a:gd name="connsiteY4" fmla="*/ 126165 h 341292"/>
                  <a:gd name="connsiteX5" fmla="*/ 342660 w 342660"/>
                  <a:gd name="connsiteY5" fmla="*/ 64888 h 341292"/>
                  <a:gd name="connsiteX6" fmla="*/ 277835 w 342660"/>
                  <a:gd name="connsiteY6" fmla="*/ 0 h 341292"/>
                  <a:gd name="connsiteX7" fmla="*/ 213009 w 342660"/>
                  <a:gd name="connsiteY7" fmla="*/ 64888 h 341292"/>
                  <a:gd name="connsiteX8" fmla="*/ 259242 w 342660"/>
                  <a:gd name="connsiteY8" fmla="*/ 127042 h 341292"/>
                  <a:gd name="connsiteX9" fmla="*/ 259242 w 342660"/>
                  <a:gd name="connsiteY9" fmla="*/ 256279 h 341292"/>
                  <a:gd name="connsiteX10" fmla="*/ 240291 w 342660"/>
                  <a:gd name="connsiteY10" fmla="*/ 275248 h 341292"/>
                  <a:gd name="connsiteX11" fmla="*/ 129611 w 342660"/>
                  <a:gd name="connsiteY11" fmla="*/ 275248 h 341292"/>
                  <a:gd name="connsiteX12" fmla="*/ 64825 w 342660"/>
                  <a:gd name="connsiteY12" fmla="*/ 211518 h 341292"/>
                  <a:gd name="connsiteX13" fmla="*/ 0 w 342660"/>
                  <a:gd name="connsiteY13" fmla="*/ 276405 h 341292"/>
                  <a:gd name="connsiteX14" fmla="*/ 64825 w 342660"/>
                  <a:gd name="connsiteY14" fmla="*/ 341293 h 341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2660" h="341292">
                    <a:moveTo>
                      <a:pt x="64806" y="341293"/>
                    </a:moveTo>
                    <a:cubicBezTo>
                      <a:pt x="86049" y="341293"/>
                      <a:pt x="104940" y="331000"/>
                      <a:pt x="116777" y="315142"/>
                    </a:cubicBezTo>
                    <a:lnTo>
                      <a:pt x="240291" y="315142"/>
                    </a:lnTo>
                    <a:cubicBezTo>
                      <a:pt x="272713" y="315142"/>
                      <a:pt x="299098" y="288733"/>
                      <a:pt x="299098" y="256279"/>
                    </a:cubicBezTo>
                    <a:lnTo>
                      <a:pt x="299098" y="126165"/>
                    </a:lnTo>
                    <a:cubicBezTo>
                      <a:pt x="324426" y="117328"/>
                      <a:pt x="342660" y="93212"/>
                      <a:pt x="342660" y="64888"/>
                    </a:cubicBezTo>
                    <a:cubicBezTo>
                      <a:pt x="342660" y="29103"/>
                      <a:pt x="313585" y="0"/>
                      <a:pt x="277835" y="0"/>
                    </a:cubicBezTo>
                    <a:cubicBezTo>
                      <a:pt x="242084" y="0"/>
                      <a:pt x="213009" y="29103"/>
                      <a:pt x="213009" y="64888"/>
                    </a:cubicBezTo>
                    <a:cubicBezTo>
                      <a:pt x="213009" y="94190"/>
                      <a:pt x="232539" y="119024"/>
                      <a:pt x="259242" y="127042"/>
                    </a:cubicBezTo>
                    <a:lnTo>
                      <a:pt x="259242" y="256279"/>
                    </a:lnTo>
                    <a:cubicBezTo>
                      <a:pt x="259242" y="266751"/>
                      <a:pt x="250733" y="275248"/>
                      <a:pt x="240291" y="275248"/>
                    </a:cubicBezTo>
                    <a:lnTo>
                      <a:pt x="129611" y="275248"/>
                    </a:lnTo>
                    <a:cubicBezTo>
                      <a:pt x="128993" y="240002"/>
                      <a:pt x="100178" y="211518"/>
                      <a:pt x="64825" y="211518"/>
                    </a:cubicBezTo>
                    <a:cubicBezTo>
                      <a:pt x="29473" y="211518"/>
                      <a:pt x="0" y="240620"/>
                      <a:pt x="0" y="276405"/>
                    </a:cubicBezTo>
                    <a:cubicBezTo>
                      <a:pt x="0" y="312190"/>
                      <a:pt x="29075" y="341293"/>
                      <a:pt x="64825" y="341293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7" name="Freeform 9">
                <a:extLst>
                  <a:ext uri="{FF2B5EF4-FFF2-40B4-BE49-F238E27FC236}">
                    <a16:creationId xmlns:a16="http://schemas.microsoft.com/office/drawing/2014/main" id="{D3ADE67B-8AF8-85AB-5A39-BF814A24FCF5}"/>
                  </a:ext>
                </a:extLst>
              </p:cNvPr>
              <p:cNvSpPr/>
              <p:nvPr/>
            </p:nvSpPr>
            <p:spPr>
              <a:xfrm>
                <a:off x="3145567" y="3417863"/>
                <a:ext cx="298838" cy="305567"/>
              </a:xfrm>
              <a:custGeom>
                <a:avLst/>
                <a:gdLst>
                  <a:gd name="connsiteX0" fmla="*/ 256472 w 298838"/>
                  <a:gd name="connsiteY0" fmla="*/ 115214 h 305567"/>
                  <a:gd name="connsiteX1" fmla="*/ 146789 w 298838"/>
                  <a:gd name="connsiteY1" fmla="*/ 115214 h 305567"/>
                  <a:gd name="connsiteX2" fmla="*/ 104422 w 298838"/>
                  <a:gd name="connsiteY2" fmla="*/ 157621 h 305567"/>
                  <a:gd name="connsiteX3" fmla="*/ 104422 w 298838"/>
                  <a:gd name="connsiteY3" fmla="*/ 198093 h 305567"/>
                  <a:gd name="connsiteX4" fmla="*/ 89735 w 298838"/>
                  <a:gd name="connsiteY4" fmla="*/ 198093 h 305567"/>
                  <a:gd name="connsiteX5" fmla="*/ 58050 w 298838"/>
                  <a:gd name="connsiteY5" fmla="*/ 166378 h 305567"/>
                  <a:gd name="connsiteX6" fmla="*/ 58050 w 298838"/>
                  <a:gd name="connsiteY6" fmla="*/ 70632 h 305567"/>
                  <a:gd name="connsiteX7" fmla="*/ 76244 w 298838"/>
                  <a:gd name="connsiteY7" fmla="*/ 38159 h 305567"/>
                  <a:gd name="connsiteX8" fmla="*/ 38122 w 298838"/>
                  <a:gd name="connsiteY8" fmla="*/ 0 h 305567"/>
                  <a:gd name="connsiteX9" fmla="*/ 0 w 298838"/>
                  <a:gd name="connsiteY9" fmla="*/ 38159 h 305567"/>
                  <a:gd name="connsiteX10" fmla="*/ 18194 w 298838"/>
                  <a:gd name="connsiteY10" fmla="*/ 70632 h 305567"/>
                  <a:gd name="connsiteX11" fmla="*/ 18194 w 298838"/>
                  <a:gd name="connsiteY11" fmla="*/ 166378 h 305567"/>
                  <a:gd name="connsiteX12" fmla="*/ 89735 w 298838"/>
                  <a:gd name="connsiteY12" fmla="*/ 237987 h 305567"/>
                  <a:gd name="connsiteX13" fmla="*/ 104422 w 298838"/>
                  <a:gd name="connsiteY13" fmla="*/ 237987 h 305567"/>
                  <a:gd name="connsiteX14" fmla="*/ 104422 w 298838"/>
                  <a:gd name="connsiteY14" fmla="*/ 263160 h 305567"/>
                  <a:gd name="connsiteX15" fmla="*/ 146789 w 298838"/>
                  <a:gd name="connsiteY15" fmla="*/ 305568 h 305567"/>
                  <a:gd name="connsiteX16" fmla="*/ 256472 w 298838"/>
                  <a:gd name="connsiteY16" fmla="*/ 305568 h 305567"/>
                  <a:gd name="connsiteX17" fmla="*/ 298839 w 298838"/>
                  <a:gd name="connsiteY17" fmla="*/ 263160 h 305567"/>
                  <a:gd name="connsiteX18" fmla="*/ 298839 w 298838"/>
                  <a:gd name="connsiteY18" fmla="*/ 157621 h 305567"/>
                  <a:gd name="connsiteX19" fmla="*/ 256472 w 298838"/>
                  <a:gd name="connsiteY19" fmla="*/ 115214 h 305567"/>
                  <a:gd name="connsiteX20" fmla="*/ 258983 w 298838"/>
                  <a:gd name="connsiteY20" fmla="*/ 263160 h 305567"/>
                  <a:gd name="connsiteX21" fmla="*/ 256472 w 298838"/>
                  <a:gd name="connsiteY21" fmla="*/ 265674 h 305567"/>
                  <a:gd name="connsiteX22" fmla="*/ 146789 w 298838"/>
                  <a:gd name="connsiteY22" fmla="*/ 265674 h 305567"/>
                  <a:gd name="connsiteX23" fmla="*/ 144278 w 298838"/>
                  <a:gd name="connsiteY23" fmla="*/ 263160 h 305567"/>
                  <a:gd name="connsiteX24" fmla="*/ 144278 w 298838"/>
                  <a:gd name="connsiteY24" fmla="*/ 157621 h 305567"/>
                  <a:gd name="connsiteX25" fmla="*/ 146789 w 298838"/>
                  <a:gd name="connsiteY25" fmla="*/ 155108 h 305567"/>
                  <a:gd name="connsiteX26" fmla="*/ 256472 w 298838"/>
                  <a:gd name="connsiteY26" fmla="*/ 155108 h 305567"/>
                  <a:gd name="connsiteX27" fmla="*/ 258983 w 298838"/>
                  <a:gd name="connsiteY27" fmla="*/ 157621 h 305567"/>
                  <a:gd name="connsiteX28" fmla="*/ 258983 w 298838"/>
                  <a:gd name="connsiteY28" fmla="*/ 263160 h 305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98838" h="305567">
                    <a:moveTo>
                      <a:pt x="256472" y="115214"/>
                    </a:moveTo>
                    <a:lnTo>
                      <a:pt x="146789" y="115214"/>
                    </a:lnTo>
                    <a:cubicBezTo>
                      <a:pt x="123433" y="115214"/>
                      <a:pt x="104422" y="134243"/>
                      <a:pt x="104422" y="157621"/>
                    </a:cubicBezTo>
                    <a:lnTo>
                      <a:pt x="104422" y="198093"/>
                    </a:lnTo>
                    <a:lnTo>
                      <a:pt x="89735" y="198093"/>
                    </a:lnTo>
                    <a:cubicBezTo>
                      <a:pt x="72259" y="198093"/>
                      <a:pt x="58050" y="183871"/>
                      <a:pt x="58050" y="166378"/>
                    </a:cubicBezTo>
                    <a:lnTo>
                      <a:pt x="58050" y="70632"/>
                    </a:lnTo>
                    <a:cubicBezTo>
                      <a:pt x="68951" y="63910"/>
                      <a:pt x="76244" y="51882"/>
                      <a:pt x="76244" y="38159"/>
                    </a:cubicBezTo>
                    <a:cubicBezTo>
                      <a:pt x="76244" y="17114"/>
                      <a:pt x="59146" y="0"/>
                      <a:pt x="38122" y="0"/>
                    </a:cubicBezTo>
                    <a:cubicBezTo>
                      <a:pt x="17098" y="0"/>
                      <a:pt x="0" y="17114"/>
                      <a:pt x="0" y="38159"/>
                    </a:cubicBezTo>
                    <a:cubicBezTo>
                      <a:pt x="0" y="51882"/>
                      <a:pt x="7294" y="63910"/>
                      <a:pt x="18194" y="70632"/>
                    </a:cubicBezTo>
                    <a:lnTo>
                      <a:pt x="18194" y="166378"/>
                    </a:lnTo>
                    <a:cubicBezTo>
                      <a:pt x="18194" y="205873"/>
                      <a:pt x="50298" y="237987"/>
                      <a:pt x="89735" y="237987"/>
                    </a:cubicBezTo>
                    <a:lnTo>
                      <a:pt x="104422" y="237987"/>
                    </a:lnTo>
                    <a:lnTo>
                      <a:pt x="104422" y="263160"/>
                    </a:lnTo>
                    <a:cubicBezTo>
                      <a:pt x="104422" y="286538"/>
                      <a:pt x="123433" y="305568"/>
                      <a:pt x="146789" y="305568"/>
                    </a:cubicBezTo>
                    <a:lnTo>
                      <a:pt x="256472" y="305568"/>
                    </a:lnTo>
                    <a:cubicBezTo>
                      <a:pt x="279828" y="305568"/>
                      <a:pt x="298839" y="286538"/>
                      <a:pt x="298839" y="263160"/>
                    </a:cubicBezTo>
                    <a:lnTo>
                      <a:pt x="298839" y="157621"/>
                    </a:lnTo>
                    <a:cubicBezTo>
                      <a:pt x="298839" y="134243"/>
                      <a:pt x="279828" y="115214"/>
                      <a:pt x="256472" y="115214"/>
                    </a:cubicBezTo>
                    <a:close/>
                    <a:moveTo>
                      <a:pt x="258983" y="263160"/>
                    </a:moveTo>
                    <a:cubicBezTo>
                      <a:pt x="258983" y="264557"/>
                      <a:pt x="257847" y="265674"/>
                      <a:pt x="256472" y="265674"/>
                    </a:cubicBezTo>
                    <a:lnTo>
                      <a:pt x="146789" y="265674"/>
                    </a:lnTo>
                    <a:cubicBezTo>
                      <a:pt x="145394" y="265674"/>
                      <a:pt x="144278" y="264537"/>
                      <a:pt x="144278" y="263160"/>
                    </a:cubicBezTo>
                    <a:lnTo>
                      <a:pt x="144278" y="157621"/>
                    </a:lnTo>
                    <a:cubicBezTo>
                      <a:pt x="144278" y="156225"/>
                      <a:pt x="145414" y="155108"/>
                      <a:pt x="146789" y="155108"/>
                    </a:cubicBezTo>
                    <a:lnTo>
                      <a:pt x="256472" y="155108"/>
                    </a:lnTo>
                    <a:cubicBezTo>
                      <a:pt x="257867" y="155108"/>
                      <a:pt x="258983" y="156245"/>
                      <a:pt x="258983" y="157621"/>
                    </a:cubicBezTo>
                    <a:lnTo>
                      <a:pt x="258983" y="263160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8" name="Freeform 10">
                <a:extLst>
                  <a:ext uri="{FF2B5EF4-FFF2-40B4-BE49-F238E27FC236}">
                    <a16:creationId xmlns:a16="http://schemas.microsoft.com/office/drawing/2014/main" id="{EF9514D6-200B-AFC3-2E36-EA30BCF10A4B}"/>
                  </a:ext>
                </a:extLst>
              </p:cNvPr>
              <p:cNvSpPr/>
              <p:nvPr/>
            </p:nvSpPr>
            <p:spPr>
              <a:xfrm>
                <a:off x="2296249" y="2698787"/>
                <a:ext cx="2082217" cy="2066613"/>
              </a:xfrm>
              <a:custGeom>
                <a:avLst/>
                <a:gdLst>
                  <a:gd name="connsiteX0" fmla="*/ 2082217 w 2082217"/>
                  <a:gd name="connsiteY0" fmla="*/ 1284054 h 2066613"/>
                  <a:gd name="connsiteX1" fmla="*/ 2074884 w 2082217"/>
                  <a:gd name="connsiteY1" fmla="*/ 1214579 h 2066613"/>
                  <a:gd name="connsiteX2" fmla="*/ 2033175 w 2082217"/>
                  <a:gd name="connsiteY2" fmla="*/ 1099245 h 2066613"/>
                  <a:gd name="connsiteX3" fmla="*/ 2000074 w 2082217"/>
                  <a:gd name="connsiteY3" fmla="*/ 1047762 h 2066613"/>
                  <a:gd name="connsiteX4" fmla="*/ 1998321 w 2082217"/>
                  <a:gd name="connsiteY4" fmla="*/ 1045388 h 2066613"/>
                  <a:gd name="connsiteX5" fmla="*/ 1997922 w 2082217"/>
                  <a:gd name="connsiteY5" fmla="*/ 1044910 h 2066613"/>
                  <a:gd name="connsiteX6" fmla="*/ 1997623 w 2082217"/>
                  <a:gd name="connsiteY6" fmla="*/ 1044551 h 2066613"/>
                  <a:gd name="connsiteX7" fmla="*/ 1997703 w 2082217"/>
                  <a:gd name="connsiteY7" fmla="*/ 1044271 h 2066613"/>
                  <a:gd name="connsiteX8" fmla="*/ 1998241 w 2082217"/>
                  <a:gd name="connsiteY8" fmla="*/ 1042237 h 2066613"/>
                  <a:gd name="connsiteX9" fmla="*/ 2000313 w 2082217"/>
                  <a:gd name="connsiteY9" fmla="*/ 1034058 h 2066613"/>
                  <a:gd name="connsiteX10" fmla="*/ 2002207 w 2082217"/>
                  <a:gd name="connsiteY10" fmla="*/ 1025840 h 2066613"/>
                  <a:gd name="connsiteX11" fmla="*/ 2010835 w 2082217"/>
                  <a:gd name="connsiteY11" fmla="*/ 955886 h 2066613"/>
                  <a:gd name="connsiteX12" fmla="*/ 2010257 w 2082217"/>
                  <a:gd name="connsiteY12" fmla="*/ 920680 h 2066613"/>
                  <a:gd name="connsiteX13" fmla="*/ 2009580 w 2082217"/>
                  <a:gd name="connsiteY13" fmla="*/ 911883 h 2066613"/>
                  <a:gd name="connsiteX14" fmla="*/ 2008683 w 2082217"/>
                  <a:gd name="connsiteY14" fmla="*/ 903107 h 2066613"/>
                  <a:gd name="connsiteX15" fmla="*/ 2006471 w 2082217"/>
                  <a:gd name="connsiteY15" fmla="*/ 885613 h 2066613"/>
                  <a:gd name="connsiteX16" fmla="*/ 2003442 w 2082217"/>
                  <a:gd name="connsiteY16" fmla="*/ 868219 h 2066613"/>
                  <a:gd name="connsiteX17" fmla="*/ 2001529 w 2082217"/>
                  <a:gd name="connsiteY17" fmla="*/ 859602 h 2066613"/>
                  <a:gd name="connsiteX18" fmla="*/ 1999437 w 2082217"/>
                  <a:gd name="connsiteY18" fmla="*/ 851025 h 2066613"/>
                  <a:gd name="connsiteX19" fmla="*/ 1997324 w 2082217"/>
                  <a:gd name="connsiteY19" fmla="*/ 842448 h 2066613"/>
                  <a:gd name="connsiteX20" fmla="*/ 1994793 w 2082217"/>
                  <a:gd name="connsiteY20" fmla="*/ 833990 h 2066613"/>
                  <a:gd name="connsiteX21" fmla="*/ 1989453 w 2082217"/>
                  <a:gd name="connsiteY21" fmla="*/ 817155 h 2066613"/>
                  <a:gd name="connsiteX22" fmla="*/ 1983116 w 2082217"/>
                  <a:gd name="connsiteY22" fmla="*/ 800699 h 2066613"/>
                  <a:gd name="connsiteX23" fmla="*/ 1979867 w 2082217"/>
                  <a:gd name="connsiteY23" fmla="*/ 792501 h 2066613"/>
                  <a:gd name="connsiteX24" fmla="*/ 1976141 w 2082217"/>
                  <a:gd name="connsiteY24" fmla="*/ 784502 h 2066613"/>
                  <a:gd name="connsiteX25" fmla="*/ 1968548 w 2082217"/>
                  <a:gd name="connsiteY25" fmla="*/ 768584 h 2066613"/>
                  <a:gd name="connsiteX26" fmla="*/ 1960059 w 2082217"/>
                  <a:gd name="connsiteY26" fmla="*/ 753165 h 2066613"/>
                  <a:gd name="connsiteX27" fmla="*/ 1956472 w 2082217"/>
                  <a:gd name="connsiteY27" fmla="*/ 746842 h 2066613"/>
                  <a:gd name="connsiteX28" fmla="*/ 1952566 w 2082217"/>
                  <a:gd name="connsiteY28" fmla="*/ 740718 h 2066613"/>
                  <a:gd name="connsiteX29" fmla="*/ 1944715 w 2082217"/>
                  <a:gd name="connsiteY29" fmla="*/ 728491 h 2066613"/>
                  <a:gd name="connsiteX30" fmla="*/ 1940550 w 2082217"/>
                  <a:gd name="connsiteY30" fmla="*/ 722546 h 2066613"/>
                  <a:gd name="connsiteX31" fmla="*/ 1936265 w 2082217"/>
                  <a:gd name="connsiteY31" fmla="*/ 716682 h 2066613"/>
                  <a:gd name="connsiteX32" fmla="*/ 1927577 w 2082217"/>
                  <a:gd name="connsiteY32" fmla="*/ 705053 h 2066613"/>
                  <a:gd name="connsiteX33" fmla="*/ 1918290 w 2082217"/>
                  <a:gd name="connsiteY33" fmla="*/ 693923 h 2066613"/>
                  <a:gd name="connsiteX34" fmla="*/ 1908705 w 2082217"/>
                  <a:gd name="connsiteY34" fmla="*/ 683051 h 2066613"/>
                  <a:gd name="connsiteX35" fmla="*/ 1888319 w 2082217"/>
                  <a:gd name="connsiteY35" fmla="*/ 662486 h 2066613"/>
                  <a:gd name="connsiteX36" fmla="*/ 1877677 w 2082217"/>
                  <a:gd name="connsiteY36" fmla="*/ 652672 h 2066613"/>
                  <a:gd name="connsiteX37" fmla="*/ 1866518 w 2082217"/>
                  <a:gd name="connsiteY37" fmla="*/ 643457 h 2066613"/>
                  <a:gd name="connsiteX38" fmla="*/ 1860898 w 2082217"/>
                  <a:gd name="connsiteY38" fmla="*/ 638889 h 2066613"/>
                  <a:gd name="connsiteX39" fmla="*/ 1855179 w 2082217"/>
                  <a:gd name="connsiteY39" fmla="*/ 634461 h 2066613"/>
                  <a:gd name="connsiteX40" fmla="*/ 1849878 w 2082217"/>
                  <a:gd name="connsiteY40" fmla="*/ 630651 h 2066613"/>
                  <a:gd name="connsiteX41" fmla="*/ 1849499 w 2082217"/>
                  <a:gd name="connsiteY41" fmla="*/ 630411 h 2066613"/>
                  <a:gd name="connsiteX42" fmla="*/ 1849539 w 2082217"/>
                  <a:gd name="connsiteY42" fmla="*/ 630012 h 2066613"/>
                  <a:gd name="connsiteX43" fmla="*/ 1849539 w 2082217"/>
                  <a:gd name="connsiteY43" fmla="*/ 629913 h 2066613"/>
                  <a:gd name="connsiteX44" fmla="*/ 1849539 w 2082217"/>
                  <a:gd name="connsiteY44" fmla="*/ 629813 h 2066613"/>
                  <a:gd name="connsiteX45" fmla="*/ 1849539 w 2082217"/>
                  <a:gd name="connsiteY45" fmla="*/ 629434 h 2066613"/>
                  <a:gd name="connsiteX46" fmla="*/ 1849659 w 2082217"/>
                  <a:gd name="connsiteY46" fmla="*/ 627878 h 2066613"/>
                  <a:gd name="connsiteX47" fmla="*/ 1850017 w 2082217"/>
                  <a:gd name="connsiteY47" fmla="*/ 621675 h 2066613"/>
                  <a:gd name="connsiteX48" fmla="*/ 1850256 w 2082217"/>
                  <a:gd name="connsiteY48" fmla="*/ 596881 h 2066613"/>
                  <a:gd name="connsiteX49" fmla="*/ 1841668 w 2082217"/>
                  <a:gd name="connsiteY49" fmla="*/ 525989 h 2066613"/>
                  <a:gd name="connsiteX50" fmla="*/ 1819069 w 2082217"/>
                  <a:gd name="connsiteY50" fmla="*/ 458289 h 2066613"/>
                  <a:gd name="connsiteX51" fmla="*/ 1783857 w 2082217"/>
                  <a:gd name="connsiteY51" fmla="*/ 396593 h 2066613"/>
                  <a:gd name="connsiteX52" fmla="*/ 1737903 w 2082217"/>
                  <a:gd name="connsiteY52" fmla="*/ 342955 h 2066613"/>
                  <a:gd name="connsiteX53" fmla="*/ 1650579 w 2082217"/>
                  <a:gd name="connsiteY53" fmla="*/ 279424 h 2066613"/>
                  <a:gd name="connsiteX54" fmla="*/ 1638562 w 2082217"/>
                  <a:gd name="connsiteY54" fmla="*/ 273241 h 2066613"/>
                  <a:gd name="connsiteX55" fmla="*/ 1626367 w 2082217"/>
                  <a:gd name="connsiteY55" fmla="*/ 267476 h 2066613"/>
                  <a:gd name="connsiteX56" fmla="*/ 1613971 w 2082217"/>
                  <a:gd name="connsiteY56" fmla="*/ 262170 h 2066613"/>
                  <a:gd name="connsiteX57" fmla="*/ 1601975 w 2082217"/>
                  <a:gd name="connsiteY57" fmla="*/ 257523 h 2066613"/>
                  <a:gd name="connsiteX58" fmla="*/ 1598726 w 2082217"/>
                  <a:gd name="connsiteY58" fmla="*/ 256286 h 2066613"/>
                  <a:gd name="connsiteX59" fmla="*/ 1598069 w 2082217"/>
                  <a:gd name="connsiteY59" fmla="*/ 254630 h 2066613"/>
                  <a:gd name="connsiteX60" fmla="*/ 1592210 w 2082217"/>
                  <a:gd name="connsiteY60" fmla="*/ 240328 h 2066613"/>
                  <a:gd name="connsiteX61" fmla="*/ 1585893 w 2082217"/>
                  <a:gd name="connsiteY61" fmla="*/ 226166 h 2066613"/>
                  <a:gd name="connsiteX62" fmla="*/ 1579118 w 2082217"/>
                  <a:gd name="connsiteY62" fmla="*/ 212183 h 2066613"/>
                  <a:gd name="connsiteX63" fmla="*/ 1544124 w 2082217"/>
                  <a:gd name="connsiteY63" fmla="*/ 153619 h 2066613"/>
                  <a:gd name="connsiteX64" fmla="*/ 1499725 w 2082217"/>
                  <a:gd name="connsiteY64" fmla="*/ 100261 h 2066613"/>
                  <a:gd name="connsiteX65" fmla="*/ 1493507 w 2082217"/>
                  <a:gd name="connsiteY65" fmla="*/ 94057 h 2066613"/>
                  <a:gd name="connsiteX66" fmla="*/ 1487071 w 2082217"/>
                  <a:gd name="connsiteY66" fmla="*/ 88033 h 2066613"/>
                  <a:gd name="connsiteX67" fmla="*/ 1473799 w 2082217"/>
                  <a:gd name="connsiteY67" fmla="*/ 76304 h 2066613"/>
                  <a:gd name="connsiteX68" fmla="*/ 1459909 w 2082217"/>
                  <a:gd name="connsiteY68" fmla="*/ 65154 h 2066613"/>
                  <a:gd name="connsiteX69" fmla="*/ 1452655 w 2082217"/>
                  <a:gd name="connsiteY69" fmla="*/ 59868 h 2066613"/>
                  <a:gd name="connsiteX70" fmla="*/ 1445302 w 2082217"/>
                  <a:gd name="connsiteY70" fmla="*/ 54702 h 2066613"/>
                  <a:gd name="connsiteX71" fmla="*/ 1380974 w 2082217"/>
                  <a:gd name="connsiteY71" fmla="*/ 20592 h 2066613"/>
                  <a:gd name="connsiteX72" fmla="*/ 1372346 w 2082217"/>
                  <a:gd name="connsiteY72" fmla="*/ 17301 h 2066613"/>
                  <a:gd name="connsiteX73" fmla="*/ 1363558 w 2082217"/>
                  <a:gd name="connsiteY73" fmla="*/ 14369 h 2066613"/>
                  <a:gd name="connsiteX74" fmla="*/ 1359153 w 2082217"/>
                  <a:gd name="connsiteY74" fmla="*/ 12933 h 2066613"/>
                  <a:gd name="connsiteX75" fmla="*/ 1354690 w 2082217"/>
                  <a:gd name="connsiteY75" fmla="*/ 11656 h 2066613"/>
                  <a:gd name="connsiteX76" fmla="*/ 1345722 w 2082217"/>
                  <a:gd name="connsiteY76" fmla="*/ 9163 h 2066613"/>
                  <a:gd name="connsiteX77" fmla="*/ 1309035 w 2082217"/>
                  <a:gd name="connsiteY77" fmla="*/ 2281 h 2066613"/>
                  <a:gd name="connsiteX78" fmla="*/ 1290422 w 2082217"/>
                  <a:gd name="connsiteY78" fmla="*/ 546 h 2066613"/>
                  <a:gd name="connsiteX79" fmla="*/ 1281076 w 2082217"/>
                  <a:gd name="connsiteY79" fmla="*/ 167 h 2066613"/>
                  <a:gd name="connsiteX80" fmla="*/ 1271829 w 2082217"/>
                  <a:gd name="connsiteY80" fmla="*/ 7 h 2066613"/>
                  <a:gd name="connsiteX81" fmla="*/ 1254412 w 2082217"/>
                  <a:gd name="connsiteY81" fmla="*/ 426 h 2066613"/>
                  <a:gd name="connsiteX82" fmla="*/ 1236896 w 2082217"/>
                  <a:gd name="connsiteY82" fmla="*/ 1663 h 2066613"/>
                  <a:gd name="connsiteX83" fmla="*/ 1166610 w 2082217"/>
                  <a:gd name="connsiteY83" fmla="*/ 15227 h 2066613"/>
                  <a:gd name="connsiteX84" fmla="*/ 1099274 w 2082217"/>
                  <a:gd name="connsiteY84" fmla="*/ 44509 h 2066613"/>
                  <a:gd name="connsiteX85" fmla="*/ 1088293 w 2082217"/>
                  <a:gd name="connsiteY85" fmla="*/ 51390 h 2066613"/>
                  <a:gd name="connsiteX86" fmla="*/ 1077532 w 2082217"/>
                  <a:gd name="connsiteY86" fmla="*/ 58591 h 2066613"/>
                  <a:gd name="connsiteX87" fmla="*/ 1057126 w 2082217"/>
                  <a:gd name="connsiteY87" fmla="*/ 74429 h 2066613"/>
                  <a:gd name="connsiteX88" fmla="*/ 1047342 w 2082217"/>
                  <a:gd name="connsiteY88" fmla="*/ 82827 h 2066613"/>
                  <a:gd name="connsiteX89" fmla="*/ 1042738 w 2082217"/>
                  <a:gd name="connsiteY89" fmla="*/ 87295 h 2066613"/>
                  <a:gd name="connsiteX90" fmla="*/ 1041582 w 2082217"/>
                  <a:gd name="connsiteY90" fmla="*/ 88412 h 2066613"/>
                  <a:gd name="connsiteX91" fmla="*/ 1041383 w 2082217"/>
                  <a:gd name="connsiteY91" fmla="*/ 88592 h 2066613"/>
                  <a:gd name="connsiteX92" fmla="*/ 1041323 w 2082217"/>
                  <a:gd name="connsiteY92" fmla="*/ 88631 h 2066613"/>
                  <a:gd name="connsiteX93" fmla="*/ 1041144 w 2082217"/>
                  <a:gd name="connsiteY93" fmla="*/ 88851 h 2066613"/>
                  <a:gd name="connsiteX94" fmla="*/ 1041104 w 2082217"/>
                  <a:gd name="connsiteY94" fmla="*/ 88911 h 2066613"/>
                  <a:gd name="connsiteX95" fmla="*/ 1041024 w 2082217"/>
                  <a:gd name="connsiteY95" fmla="*/ 88771 h 2066613"/>
                  <a:gd name="connsiteX96" fmla="*/ 1040865 w 2082217"/>
                  <a:gd name="connsiteY96" fmla="*/ 88612 h 2066613"/>
                  <a:gd name="connsiteX97" fmla="*/ 1040825 w 2082217"/>
                  <a:gd name="connsiteY97" fmla="*/ 88572 h 2066613"/>
                  <a:gd name="connsiteX98" fmla="*/ 1040387 w 2082217"/>
                  <a:gd name="connsiteY98" fmla="*/ 88153 h 2066613"/>
                  <a:gd name="connsiteX99" fmla="*/ 1039410 w 2082217"/>
                  <a:gd name="connsiteY99" fmla="*/ 87195 h 2066613"/>
                  <a:gd name="connsiteX100" fmla="*/ 1035465 w 2082217"/>
                  <a:gd name="connsiteY100" fmla="*/ 83365 h 2066613"/>
                  <a:gd name="connsiteX101" fmla="*/ 1031320 w 2082217"/>
                  <a:gd name="connsiteY101" fmla="*/ 79715 h 2066613"/>
                  <a:gd name="connsiteX102" fmla="*/ 996067 w 2082217"/>
                  <a:gd name="connsiteY102" fmla="*/ 52727 h 2066613"/>
                  <a:gd name="connsiteX103" fmla="*/ 930126 w 2082217"/>
                  <a:gd name="connsiteY103" fmla="*/ 19914 h 2066613"/>
                  <a:gd name="connsiteX104" fmla="*/ 860039 w 2082217"/>
                  <a:gd name="connsiteY104" fmla="*/ 3318 h 2066613"/>
                  <a:gd name="connsiteX105" fmla="*/ 851231 w 2082217"/>
                  <a:gd name="connsiteY105" fmla="*/ 2201 h 2066613"/>
                  <a:gd name="connsiteX106" fmla="*/ 842463 w 2082217"/>
                  <a:gd name="connsiteY106" fmla="*/ 1443 h 2066613"/>
                  <a:gd name="connsiteX107" fmla="*/ 833695 w 2082217"/>
                  <a:gd name="connsiteY107" fmla="*/ 785 h 2066613"/>
                  <a:gd name="connsiteX108" fmla="*/ 829311 w 2082217"/>
                  <a:gd name="connsiteY108" fmla="*/ 486 h 2066613"/>
                  <a:gd name="connsiteX109" fmla="*/ 824966 w 2082217"/>
                  <a:gd name="connsiteY109" fmla="*/ 366 h 2066613"/>
                  <a:gd name="connsiteX110" fmla="*/ 816258 w 2082217"/>
                  <a:gd name="connsiteY110" fmla="*/ 147 h 2066613"/>
                  <a:gd name="connsiteX111" fmla="*/ 811913 w 2082217"/>
                  <a:gd name="connsiteY111" fmla="*/ 47 h 2066613"/>
                  <a:gd name="connsiteX112" fmla="*/ 807430 w 2082217"/>
                  <a:gd name="connsiteY112" fmla="*/ 47 h 2066613"/>
                  <a:gd name="connsiteX113" fmla="*/ 788757 w 2082217"/>
                  <a:gd name="connsiteY113" fmla="*/ 805 h 2066613"/>
                  <a:gd name="connsiteX114" fmla="*/ 779431 w 2082217"/>
                  <a:gd name="connsiteY114" fmla="*/ 1543 h 2066613"/>
                  <a:gd name="connsiteX115" fmla="*/ 770145 w 2082217"/>
                  <a:gd name="connsiteY115" fmla="*/ 2700 h 2066613"/>
                  <a:gd name="connsiteX116" fmla="*/ 765501 w 2082217"/>
                  <a:gd name="connsiteY116" fmla="*/ 3298 h 2066613"/>
                  <a:gd name="connsiteX117" fmla="*/ 760898 w 2082217"/>
                  <a:gd name="connsiteY117" fmla="*/ 4096 h 2066613"/>
                  <a:gd name="connsiteX118" fmla="*/ 751691 w 2082217"/>
                  <a:gd name="connsiteY118" fmla="*/ 5732 h 2066613"/>
                  <a:gd name="connsiteX119" fmla="*/ 715761 w 2082217"/>
                  <a:gd name="connsiteY119" fmla="*/ 15366 h 2066613"/>
                  <a:gd name="connsiteX120" fmla="*/ 649561 w 2082217"/>
                  <a:gd name="connsiteY120" fmla="*/ 46523 h 2066613"/>
                  <a:gd name="connsiteX121" fmla="*/ 593006 w 2082217"/>
                  <a:gd name="connsiteY121" fmla="*/ 90048 h 2066613"/>
                  <a:gd name="connsiteX122" fmla="*/ 546554 w 2082217"/>
                  <a:gd name="connsiteY122" fmla="*/ 142030 h 2066613"/>
                  <a:gd name="connsiteX123" fmla="*/ 509627 w 2082217"/>
                  <a:gd name="connsiteY123" fmla="*/ 199656 h 2066613"/>
                  <a:gd name="connsiteX124" fmla="*/ 485734 w 2082217"/>
                  <a:gd name="connsiteY124" fmla="*/ 250721 h 2066613"/>
                  <a:gd name="connsiteX125" fmla="*/ 483482 w 2082217"/>
                  <a:gd name="connsiteY125" fmla="*/ 256306 h 2066613"/>
                  <a:gd name="connsiteX126" fmla="*/ 476348 w 2082217"/>
                  <a:gd name="connsiteY126" fmla="*/ 259019 h 2066613"/>
                  <a:gd name="connsiteX127" fmla="*/ 471824 w 2082217"/>
                  <a:gd name="connsiteY127" fmla="*/ 260754 h 2066613"/>
                  <a:gd name="connsiteX128" fmla="*/ 469552 w 2082217"/>
                  <a:gd name="connsiteY128" fmla="*/ 261632 h 2066613"/>
                  <a:gd name="connsiteX129" fmla="*/ 467201 w 2082217"/>
                  <a:gd name="connsiteY129" fmla="*/ 262629 h 2066613"/>
                  <a:gd name="connsiteX130" fmla="*/ 457815 w 2082217"/>
                  <a:gd name="connsiteY130" fmla="*/ 266638 h 2066613"/>
                  <a:gd name="connsiteX131" fmla="*/ 421386 w 2082217"/>
                  <a:gd name="connsiteY131" fmla="*/ 285109 h 2066613"/>
                  <a:gd name="connsiteX132" fmla="*/ 355027 w 2082217"/>
                  <a:gd name="connsiteY132" fmla="*/ 332942 h 2066613"/>
                  <a:gd name="connsiteX133" fmla="*/ 307080 w 2082217"/>
                  <a:gd name="connsiteY133" fmla="*/ 384704 h 2066613"/>
                  <a:gd name="connsiteX134" fmla="*/ 269476 w 2082217"/>
                  <a:gd name="connsiteY134" fmla="*/ 444865 h 2066613"/>
                  <a:gd name="connsiteX135" fmla="*/ 244108 w 2082217"/>
                  <a:gd name="connsiteY135" fmla="*/ 511527 h 2066613"/>
                  <a:gd name="connsiteX136" fmla="*/ 232570 w 2082217"/>
                  <a:gd name="connsiteY136" fmla="*/ 582040 h 2066613"/>
                  <a:gd name="connsiteX137" fmla="*/ 232131 w 2082217"/>
                  <a:gd name="connsiteY137" fmla="*/ 589181 h 2066613"/>
                  <a:gd name="connsiteX138" fmla="*/ 231952 w 2082217"/>
                  <a:gd name="connsiteY138" fmla="*/ 596322 h 2066613"/>
                  <a:gd name="connsiteX139" fmla="*/ 231832 w 2082217"/>
                  <a:gd name="connsiteY139" fmla="*/ 610604 h 2066613"/>
                  <a:gd name="connsiteX140" fmla="*/ 232350 w 2082217"/>
                  <a:gd name="connsiteY140" fmla="*/ 624886 h 2066613"/>
                  <a:gd name="connsiteX141" fmla="*/ 232570 w 2082217"/>
                  <a:gd name="connsiteY141" fmla="*/ 628457 h 2066613"/>
                  <a:gd name="connsiteX142" fmla="*/ 232669 w 2082217"/>
                  <a:gd name="connsiteY142" fmla="*/ 629973 h 2066613"/>
                  <a:gd name="connsiteX143" fmla="*/ 232669 w 2082217"/>
                  <a:gd name="connsiteY143" fmla="*/ 630212 h 2066613"/>
                  <a:gd name="connsiteX144" fmla="*/ 232709 w 2082217"/>
                  <a:gd name="connsiteY144" fmla="*/ 630491 h 2066613"/>
                  <a:gd name="connsiteX145" fmla="*/ 232709 w 2082217"/>
                  <a:gd name="connsiteY145" fmla="*/ 630491 h 2066613"/>
                  <a:gd name="connsiteX146" fmla="*/ 232390 w 2082217"/>
                  <a:gd name="connsiteY146" fmla="*/ 630711 h 2066613"/>
                  <a:gd name="connsiteX147" fmla="*/ 232311 w 2082217"/>
                  <a:gd name="connsiteY147" fmla="*/ 630770 h 2066613"/>
                  <a:gd name="connsiteX148" fmla="*/ 231254 w 2082217"/>
                  <a:gd name="connsiteY148" fmla="*/ 631528 h 2066613"/>
                  <a:gd name="connsiteX149" fmla="*/ 229122 w 2082217"/>
                  <a:gd name="connsiteY149" fmla="*/ 633064 h 2066613"/>
                  <a:gd name="connsiteX150" fmla="*/ 224858 w 2082217"/>
                  <a:gd name="connsiteY150" fmla="*/ 636136 h 2066613"/>
                  <a:gd name="connsiteX151" fmla="*/ 220772 w 2082217"/>
                  <a:gd name="connsiteY151" fmla="*/ 639427 h 2066613"/>
                  <a:gd name="connsiteX152" fmla="*/ 212622 w 2082217"/>
                  <a:gd name="connsiteY152" fmla="*/ 646070 h 2066613"/>
                  <a:gd name="connsiteX153" fmla="*/ 204551 w 2082217"/>
                  <a:gd name="connsiteY153" fmla="*/ 652772 h 2066613"/>
                  <a:gd name="connsiteX154" fmla="*/ 196819 w 2082217"/>
                  <a:gd name="connsiteY154" fmla="*/ 659893 h 2066613"/>
                  <a:gd name="connsiteX155" fmla="*/ 181734 w 2082217"/>
                  <a:gd name="connsiteY155" fmla="*/ 674534 h 2066613"/>
                  <a:gd name="connsiteX156" fmla="*/ 174480 w 2082217"/>
                  <a:gd name="connsiteY156" fmla="*/ 682154 h 2066613"/>
                  <a:gd name="connsiteX157" fmla="*/ 167405 w 2082217"/>
                  <a:gd name="connsiteY157" fmla="*/ 689933 h 2066613"/>
                  <a:gd name="connsiteX158" fmla="*/ 153894 w 2082217"/>
                  <a:gd name="connsiteY158" fmla="*/ 706090 h 2066613"/>
                  <a:gd name="connsiteX159" fmla="*/ 141380 w 2082217"/>
                  <a:gd name="connsiteY159" fmla="*/ 723065 h 2066613"/>
                  <a:gd name="connsiteX160" fmla="*/ 138331 w 2082217"/>
                  <a:gd name="connsiteY160" fmla="*/ 727354 h 2066613"/>
                  <a:gd name="connsiteX161" fmla="*/ 135461 w 2082217"/>
                  <a:gd name="connsiteY161" fmla="*/ 731782 h 2066613"/>
                  <a:gd name="connsiteX162" fmla="*/ 129762 w 2082217"/>
                  <a:gd name="connsiteY162" fmla="*/ 740678 h 2066613"/>
                  <a:gd name="connsiteX163" fmla="*/ 125079 w 2082217"/>
                  <a:gd name="connsiteY163" fmla="*/ 748119 h 2066613"/>
                  <a:gd name="connsiteX164" fmla="*/ 120794 w 2082217"/>
                  <a:gd name="connsiteY164" fmla="*/ 755818 h 2066613"/>
                  <a:gd name="connsiteX165" fmla="*/ 112404 w 2082217"/>
                  <a:gd name="connsiteY165" fmla="*/ 771297 h 2066613"/>
                  <a:gd name="connsiteX166" fmla="*/ 98096 w 2082217"/>
                  <a:gd name="connsiteY166" fmla="*/ 803511 h 2066613"/>
                  <a:gd name="connsiteX167" fmla="*/ 94888 w 2082217"/>
                  <a:gd name="connsiteY167" fmla="*/ 811729 h 2066613"/>
                  <a:gd name="connsiteX168" fmla="*/ 93294 w 2082217"/>
                  <a:gd name="connsiteY168" fmla="*/ 815839 h 2066613"/>
                  <a:gd name="connsiteX169" fmla="*/ 91919 w 2082217"/>
                  <a:gd name="connsiteY169" fmla="*/ 820027 h 2066613"/>
                  <a:gd name="connsiteX170" fmla="*/ 86598 w 2082217"/>
                  <a:gd name="connsiteY170" fmla="*/ 836863 h 2066613"/>
                  <a:gd name="connsiteX171" fmla="*/ 85303 w 2082217"/>
                  <a:gd name="connsiteY171" fmla="*/ 841091 h 2066613"/>
                  <a:gd name="connsiteX172" fmla="*/ 84246 w 2082217"/>
                  <a:gd name="connsiteY172" fmla="*/ 845380 h 2066613"/>
                  <a:gd name="connsiteX173" fmla="*/ 82134 w 2082217"/>
                  <a:gd name="connsiteY173" fmla="*/ 853957 h 2066613"/>
                  <a:gd name="connsiteX174" fmla="*/ 78328 w 2082217"/>
                  <a:gd name="connsiteY174" fmla="*/ 871191 h 2066613"/>
                  <a:gd name="connsiteX175" fmla="*/ 75319 w 2082217"/>
                  <a:gd name="connsiteY175" fmla="*/ 888605 h 2066613"/>
                  <a:gd name="connsiteX176" fmla="*/ 74223 w 2082217"/>
                  <a:gd name="connsiteY176" fmla="*/ 897362 h 2066613"/>
                  <a:gd name="connsiteX177" fmla="*/ 73306 w 2082217"/>
                  <a:gd name="connsiteY177" fmla="*/ 906138 h 2066613"/>
                  <a:gd name="connsiteX178" fmla="*/ 71333 w 2082217"/>
                  <a:gd name="connsiteY178" fmla="*/ 941325 h 2066613"/>
                  <a:gd name="connsiteX179" fmla="*/ 77212 w 2082217"/>
                  <a:gd name="connsiteY179" fmla="*/ 1011518 h 2066613"/>
                  <a:gd name="connsiteX180" fmla="*/ 81915 w 2082217"/>
                  <a:gd name="connsiteY180" fmla="*/ 1033919 h 2066613"/>
                  <a:gd name="connsiteX181" fmla="*/ 84665 w 2082217"/>
                  <a:gd name="connsiteY181" fmla="*/ 1044670 h 2066613"/>
                  <a:gd name="connsiteX182" fmla="*/ 83987 w 2082217"/>
                  <a:gd name="connsiteY182" fmla="*/ 1045528 h 2066613"/>
                  <a:gd name="connsiteX183" fmla="*/ 83808 w 2082217"/>
                  <a:gd name="connsiteY183" fmla="*/ 1045747 h 2066613"/>
                  <a:gd name="connsiteX184" fmla="*/ 83728 w 2082217"/>
                  <a:gd name="connsiteY184" fmla="*/ 1045847 h 2066613"/>
                  <a:gd name="connsiteX185" fmla="*/ 82931 w 2082217"/>
                  <a:gd name="connsiteY185" fmla="*/ 1046924 h 2066613"/>
                  <a:gd name="connsiteX186" fmla="*/ 79464 w 2082217"/>
                  <a:gd name="connsiteY186" fmla="*/ 1051672 h 2066613"/>
                  <a:gd name="connsiteX187" fmla="*/ 72569 w 2082217"/>
                  <a:gd name="connsiteY187" fmla="*/ 1061186 h 2066613"/>
                  <a:gd name="connsiteX188" fmla="*/ 66072 w 2082217"/>
                  <a:gd name="connsiteY188" fmla="*/ 1070980 h 2066613"/>
                  <a:gd name="connsiteX189" fmla="*/ 62844 w 2082217"/>
                  <a:gd name="connsiteY189" fmla="*/ 1075887 h 2066613"/>
                  <a:gd name="connsiteX190" fmla="*/ 59795 w 2082217"/>
                  <a:gd name="connsiteY190" fmla="*/ 1080914 h 2066613"/>
                  <a:gd name="connsiteX191" fmla="*/ 53757 w 2082217"/>
                  <a:gd name="connsiteY191" fmla="*/ 1091007 h 2066613"/>
                  <a:gd name="connsiteX192" fmla="*/ 48097 w 2082217"/>
                  <a:gd name="connsiteY192" fmla="*/ 1101340 h 2066613"/>
                  <a:gd name="connsiteX193" fmla="*/ 42637 w 2082217"/>
                  <a:gd name="connsiteY193" fmla="*/ 1111792 h 2066613"/>
                  <a:gd name="connsiteX194" fmla="*/ 32733 w 2082217"/>
                  <a:gd name="connsiteY194" fmla="*/ 1133195 h 2066613"/>
                  <a:gd name="connsiteX195" fmla="*/ 28169 w 2082217"/>
                  <a:gd name="connsiteY195" fmla="*/ 1144086 h 2066613"/>
                  <a:gd name="connsiteX196" fmla="*/ 24024 w 2082217"/>
                  <a:gd name="connsiteY196" fmla="*/ 1155157 h 2066613"/>
                  <a:gd name="connsiteX197" fmla="*/ 21992 w 2082217"/>
                  <a:gd name="connsiteY197" fmla="*/ 1160702 h 2066613"/>
                  <a:gd name="connsiteX198" fmla="*/ 20178 w 2082217"/>
                  <a:gd name="connsiteY198" fmla="*/ 1166327 h 2066613"/>
                  <a:gd name="connsiteX199" fmla="*/ 16571 w 2082217"/>
                  <a:gd name="connsiteY199" fmla="*/ 1177597 h 2066613"/>
                  <a:gd name="connsiteX200" fmla="*/ 13443 w 2082217"/>
                  <a:gd name="connsiteY200" fmla="*/ 1189007 h 2066613"/>
                  <a:gd name="connsiteX201" fmla="*/ 10553 w 2082217"/>
                  <a:gd name="connsiteY201" fmla="*/ 1200476 h 2066613"/>
                  <a:gd name="connsiteX202" fmla="*/ 609 w 2082217"/>
                  <a:gd name="connsiteY202" fmla="*/ 1269672 h 2066613"/>
                  <a:gd name="connsiteX203" fmla="*/ 2701 w 2082217"/>
                  <a:gd name="connsiteY203" fmla="*/ 1339447 h 2066613"/>
                  <a:gd name="connsiteX204" fmla="*/ 42677 w 2082217"/>
                  <a:gd name="connsiteY204" fmla="*/ 1472772 h 2066613"/>
                  <a:gd name="connsiteX205" fmla="*/ 78906 w 2082217"/>
                  <a:gd name="connsiteY205" fmla="*/ 1532115 h 2066613"/>
                  <a:gd name="connsiteX206" fmla="*/ 124301 w 2082217"/>
                  <a:gd name="connsiteY206" fmla="*/ 1584396 h 2066613"/>
                  <a:gd name="connsiteX207" fmla="*/ 177330 w 2082217"/>
                  <a:gd name="connsiteY207" fmla="*/ 1628538 h 2066613"/>
                  <a:gd name="connsiteX208" fmla="*/ 184384 w 2082217"/>
                  <a:gd name="connsiteY208" fmla="*/ 1633485 h 2066613"/>
                  <a:gd name="connsiteX209" fmla="*/ 191598 w 2082217"/>
                  <a:gd name="connsiteY209" fmla="*/ 1638193 h 2066613"/>
                  <a:gd name="connsiteX210" fmla="*/ 206225 w 2082217"/>
                  <a:gd name="connsiteY210" fmla="*/ 1647288 h 2066613"/>
                  <a:gd name="connsiteX211" fmla="*/ 213678 w 2082217"/>
                  <a:gd name="connsiteY211" fmla="*/ 1651597 h 2066613"/>
                  <a:gd name="connsiteX212" fmla="*/ 214356 w 2082217"/>
                  <a:gd name="connsiteY212" fmla="*/ 1651996 h 2066613"/>
                  <a:gd name="connsiteX213" fmla="*/ 214475 w 2082217"/>
                  <a:gd name="connsiteY213" fmla="*/ 1652056 h 2066613"/>
                  <a:gd name="connsiteX214" fmla="*/ 214515 w 2082217"/>
                  <a:gd name="connsiteY214" fmla="*/ 1652056 h 2066613"/>
                  <a:gd name="connsiteX215" fmla="*/ 214555 w 2082217"/>
                  <a:gd name="connsiteY215" fmla="*/ 1653691 h 2066613"/>
                  <a:gd name="connsiteX216" fmla="*/ 214555 w 2082217"/>
                  <a:gd name="connsiteY216" fmla="*/ 1653891 h 2066613"/>
                  <a:gd name="connsiteX217" fmla="*/ 214615 w 2082217"/>
                  <a:gd name="connsiteY217" fmla="*/ 1654609 h 2066613"/>
                  <a:gd name="connsiteX218" fmla="*/ 214914 w 2082217"/>
                  <a:gd name="connsiteY218" fmla="*/ 1658359 h 2066613"/>
                  <a:gd name="connsiteX219" fmla="*/ 215511 w 2082217"/>
                  <a:gd name="connsiteY219" fmla="*/ 1665839 h 2066613"/>
                  <a:gd name="connsiteX220" fmla="*/ 219019 w 2082217"/>
                  <a:gd name="connsiteY220" fmla="*/ 1695680 h 2066613"/>
                  <a:gd name="connsiteX221" fmla="*/ 232689 w 2082217"/>
                  <a:gd name="connsiteY221" fmla="*/ 1754144 h 2066613"/>
                  <a:gd name="connsiteX222" fmla="*/ 234881 w 2082217"/>
                  <a:gd name="connsiteY222" fmla="*/ 1761325 h 2066613"/>
                  <a:gd name="connsiteX223" fmla="*/ 237392 w 2082217"/>
                  <a:gd name="connsiteY223" fmla="*/ 1768387 h 2066613"/>
                  <a:gd name="connsiteX224" fmla="*/ 242514 w 2082217"/>
                  <a:gd name="connsiteY224" fmla="*/ 1782489 h 2066613"/>
                  <a:gd name="connsiteX225" fmla="*/ 248333 w 2082217"/>
                  <a:gd name="connsiteY225" fmla="*/ 1796292 h 2066613"/>
                  <a:gd name="connsiteX226" fmla="*/ 251302 w 2082217"/>
                  <a:gd name="connsiteY226" fmla="*/ 1803174 h 2066613"/>
                  <a:gd name="connsiteX227" fmla="*/ 254550 w 2082217"/>
                  <a:gd name="connsiteY227" fmla="*/ 1809916 h 2066613"/>
                  <a:gd name="connsiteX228" fmla="*/ 283944 w 2082217"/>
                  <a:gd name="connsiteY228" fmla="*/ 1861858 h 2066613"/>
                  <a:gd name="connsiteX229" fmla="*/ 293728 w 2082217"/>
                  <a:gd name="connsiteY229" fmla="*/ 1876100 h 2066613"/>
                  <a:gd name="connsiteX230" fmla="*/ 304151 w 2082217"/>
                  <a:gd name="connsiteY230" fmla="*/ 1889844 h 2066613"/>
                  <a:gd name="connsiteX231" fmla="*/ 306761 w 2082217"/>
                  <a:gd name="connsiteY231" fmla="*/ 1893275 h 2066613"/>
                  <a:gd name="connsiteX232" fmla="*/ 309511 w 2082217"/>
                  <a:gd name="connsiteY232" fmla="*/ 1896586 h 2066613"/>
                  <a:gd name="connsiteX233" fmla="*/ 315051 w 2082217"/>
                  <a:gd name="connsiteY233" fmla="*/ 1903168 h 2066613"/>
                  <a:gd name="connsiteX234" fmla="*/ 320611 w 2082217"/>
                  <a:gd name="connsiteY234" fmla="*/ 1909751 h 2066613"/>
                  <a:gd name="connsiteX235" fmla="*/ 326430 w 2082217"/>
                  <a:gd name="connsiteY235" fmla="*/ 1916074 h 2066613"/>
                  <a:gd name="connsiteX236" fmla="*/ 332269 w 2082217"/>
                  <a:gd name="connsiteY236" fmla="*/ 1922377 h 2066613"/>
                  <a:gd name="connsiteX237" fmla="*/ 335198 w 2082217"/>
                  <a:gd name="connsiteY237" fmla="*/ 1925529 h 2066613"/>
                  <a:gd name="connsiteX238" fmla="*/ 338247 w 2082217"/>
                  <a:gd name="connsiteY238" fmla="*/ 1928541 h 2066613"/>
                  <a:gd name="connsiteX239" fmla="*/ 350503 w 2082217"/>
                  <a:gd name="connsiteY239" fmla="*/ 1940549 h 2066613"/>
                  <a:gd name="connsiteX240" fmla="*/ 363297 w 2082217"/>
                  <a:gd name="connsiteY240" fmla="*/ 1951959 h 2066613"/>
                  <a:gd name="connsiteX241" fmla="*/ 366505 w 2082217"/>
                  <a:gd name="connsiteY241" fmla="*/ 1954791 h 2066613"/>
                  <a:gd name="connsiteX242" fmla="*/ 369813 w 2082217"/>
                  <a:gd name="connsiteY242" fmla="*/ 1957504 h 2066613"/>
                  <a:gd name="connsiteX243" fmla="*/ 376469 w 2082217"/>
                  <a:gd name="connsiteY243" fmla="*/ 1962890 h 2066613"/>
                  <a:gd name="connsiteX244" fmla="*/ 493844 w 2082217"/>
                  <a:gd name="connsiteY244" fmla="*/ 2031587 h 2066613"/>
                  <a:gd name="connsiteX245" fmla="*/ 558490 w 2082217"/>
                  <a:gd name="connsiteY245" fmla="*/ 2052491 h 2066613"/>
                  <a:gd name="connsiteX246" fmla="*/ 575050 w 2082217"/>
                  <a:gd name="connsiteY246" fmla="*/ 2056202 h 2066613"/>
                  <a:gd name="connsiteX247" fmla="*/ 583341 w 2082217"/>
                  <a:gd name="connsiteY247" fmla="*/ 2057977 h 2066613"/>
                  <a:gd name="connsiteX248" fmla="*/ 591710 w 2082217"/>
                  <a:gd name="connsiteY248" fmla="*/ 2059393 h 2066613"/>
                  <a:gd name="connsiteX249" fmla="*/ 608450 w 2082217"/>
                  <a:gd name="connsiteY249" fmla="*/ 2062046 h 2066613"/>
                  <a:gd name="connsiteX250" fmla="*/ 625269 w 2082217"/>
                  <a:gd name="connsiteY250" fmla="*/ 2064041 h 2066613"/>
                  <a:gd name="connsiteX251" fmla="*/ 633698 w 2082217"/>
                  <a:gd name="connsiteY251" fmla="*/ 2064799 h 2066613"/>
                  <a:gd name="connsiteX252" fmla="*/ 642148 w 2082217"/>
                  <a:gd name="connsiteY252" fmla="*/ 2065397 h 2066613"/>
                  <a:gd name="connsiteX253" fmla="*/ 650597 w 2082217"/>
                  <a:gd name="connsiteY253" fmla="*/ 2065976 h 2066613"/>
                  <a:gd name="connsiteX254" fmla="*/ 659047 w 2082217"/>
                  <a:gd name="connsiteY254" fmla="*/ 2066255 h 2066613"/>
                  <a:gd name="connsiteX255" fmla="*/ 675925 w 2082217"/>
                  <a:gd name="connsiteY255" fmla="*/ 2066614 h 2066613"/>
                  <a:gd name="connsiteX256" fmla="*/ 692286 w 2082217"/>
                  <a:gd name="connsiteY256" fmla="*/ 2066394 h 2066613"/>
                  <a:gd name="connsiteX257" fmla="*/ 757949 w 2082217"/>
                  <a:gd name="connsiteY257" fmla="*/ 2061208 h 2066613"/>
                  <a:gd name="connsiteX258" fmla="*/ 887540 w 2082217"/>
                  <a:gd name="connsiteY258" fmla="*/ 2027019 h 2066613"/>
                  <a:gd name="connsiteX259" fmla="*/ 948918 w 2082217"/>
                  <a:gd name="connsiteY259" fmla="*/ 1996041 h 2066613"/>
                  <a:gd name="connsiteX260" fmla="*/ 1005194 w 2082217"/>
                  <a:gd name="connsiteY260" fmla="*/ 1954652 h 2066613"/>
                  <a:gd name="connsiteX261" fmla="*/ 1014839 w 2082217"/>
                  <a:gd name="connsiteY261" fmla="*/ 1945875 h 2066613"/>
                  <a:gd name="connsiteX262" fmla="*/ 1024205 w 2082217"/>
                  <a:gd name="connsiteY262" fmla="*/ 1936759 h 2066613"/>
                  <a:gd name="connsiteX263" fmla="*/ 1033272 w 2082217"/>
                  <a:gd name="connsiteY263" fmla="*/ 1927324 h 2066613"/>
                  <a:gd name="connsiteX264" fmla="*/ 1041084 w 2082217"/>
                  <a:gd name="connsiteY264" fmla="*/ 1918527 h 2066613"/>
                  <a:gd name="connsiteX265" fmla="*/ 1053121 w 2082217"/>
                  <a:gd name="connsiteY265" fmla="*/ 1931732 h 2066613"/>
                  <a:gd name="connsiteX266" fmla="*/ 1059518 w 2082217"/>
                  <a:gd name="connsiteY266" fmla="*/ 1938335 h 2066613"/>
                  <a:gd name="connsiteX267" fmla="*/ 1066134 w 2082217"/>
                  <a:gd name="connsiteY267" fmla="*/ 1944698 h 2066613"/>
                  <a:gd name="connsiteX268" fmla="*/ 1121015 w 2082217"/>
                  <a:gd name="connsiteY268" fmla="*/ 1988242 h 2066613"/>
                  <a:gd name="connsiteX269" fmla="*/ 1181536 w 2082217"/>
                  <a:gd name="connsiteY269" fmla="*/ 2021354 h 2066613"/>
                  <a:gd name="connsiteX270" fmla="*/ 1310529 w 2082217"/>
                  <a:gd name="connsiteY270" fmla="*/ 2059174 h 2066613"/>
                  <a:gd name="connsiteX271" fmla="*/ 1376212 w 2082217"/>
                  <a:gd name="connsiteY271" fmla="*/ 2065856 h 2066613"/>
                  <a:gd name="connsiteX272" fmla="*/ 1392612 w 2082217"/>
                  <a:gd name="connsiteY272" fmla="*/ 2066414 h 2066613"/>
                  <a:gd name="connsiteX273" fmla="*/ 1409053 w 2082217"/>
                  <a:gd name="connsiteY273" fmla="*/ 2066554 h 2066613"/>
                  <a:gd name="connsiteX274" fmla="*/ 1425952 w 2082217"/>
                  <a:gd name="connsiteY274" fmla="*/ 2066155 h 2066613"/>
                  <a:gd name="connsiteX275" fmla="*/ 1430176 w 2082217"/>
                  <a:gd name="connsiteY275" fmla="*/ 2066035 h 2066613"/>
                  <a:gd name="connsiteX276" fmla="*/ 1434401 w 2082217"/>
                  <a:gd name="connsiteY276" fmla="*/ 2065756 h 2066613"/>
                  <a:gd name="connsiteX277" fmla="*/ 1442851 w 2082217"/>
                  <a:gd name="connsiteY277" fmla="*/ 2065158 h 2066613"/>
                  <a:gd name="connsiteX278" fmla="*/ 1476529 w 2082217"/>
                  <a:gd name="connsiteY278" fmla="*/ 2061647 h 2066613"/>
                  <a:gd name="connsiteX279" fmla="*/ 1509908 w 2082217"/>
                  <a:gd name="connsiteY279" fmla="*/ 2055563 h 2066613"/>
                  <a:gd name="connsiteX280" fmla="*/ 1542849 w 2082217"/>
                  <a:gd name="connsiteY280" fmla="*/ 2047365 h 2066613"/>
                  <a:gd name="connsiteX281" fmla="*/ 1575112 w 2082217"/>
                  <a:gd name="connsiteY281" fmla="*/ 2036614 h 2066613"/>
                  <a:gd name="connsiteX282" fmla="*/ 1590975 w 2082217"/>
                  <a:gd name="connsiteY282" fmla="*/ 2030450 h 2066613"/>
                  <a:gd name="connsiteX283" fmla="*/ 1606618 w 2082217"/>
                  <a:gd name="connsiteY283" fmla="*/ 2023768 h 2066613"/>
                  <a:gd name="connsiteX284" fmla="*/ 1621982 w 2082217"/>
                  <a:gd name="connsiteY284" fmla="*/ 2016427 h 2066613"/>
                  <a:gd name="connsiteX285" fmla="*/ 1629575 w 2082217"/>
                  <a:gd name="connsiteY285" fmla="*/ 2012558 h 2066613"/>
                  <a:gd name="connsiteX286" fmla="*/ 1637088 w 2082217"/>
                  <a:gd name="connsiteY286" fmla="*/ 2008528 h 2066613"/>
                  <a:gd name="connsiteX287" fmla="*/ 1694480 w 2082217"/>
                  <a:gd name="connsiteY287" fmla="*/ 1971646 h 2066613"/>
                  <a:gd name="connsiteX288" fmla="*/ 1745974 w 2082217"/>
                  <a:gd name="connsiteY288" fmla="*/ 1926526 h 2066613"/>
                  <a:gd name="connsiteX289" fmla="*/ 1790114 w 2082217"/>
                  <a:gd name="connsiteY289" fmla="*/ 1873766 h 2066613"/>
                  <a:gd name="connsiteX290" fmla="*/ 1799042 w 2082217"/>
                  <a:gd name="connsiteY290" fmla="*/ 1860741 h 2066613"/>
                  <a:gd name="connsiteX291" fmla="*/ 1807431 w 2082217"/>
                  <a:gd name="connsiteY291" fmla="*/ 1847337 h 2066613"/>
                  <a:gd name="connsiteX292" fmla="*/ 1811557 w 2082217"/>
                  <a:gd name="connsiteY292" fmla="*/ 1840595 h 2066613"/>
                  <a:gd name="connsiteX293" fmla="*/ 1815383 w 2082217"/>
                  <a:gd name="connsiteY293" fmla="*/ 1833653 h 2066613"/>
                  <a:gd name="connsiteX294" fmla="*/ 1822895 w 2082217"/>
                  <a:gd name="connsiteY294" fmla="*/ 1819690 h 2066613"/>
                  <a:gd name="connsiteX295" fmla="*/ 1847367 w 2082217"/>
                  <a:gd name="connsiteY295" fmla="*/ 1761086 h 2066613"/>
                  <a:gd name="connsiteX296" fmla="*/ 1862612 w 2082217"/>
                  <a:gd name="connsiteY296" fmla="*/ 1699270 h 2066613"/>
                  <a:gd name="connsiteX297" fmla="*/ 1864824 w 2082217"/>
                  <a:gd name="connsiteY297" fmla="*/ 1683492 h 2066613"/>
                  <a:gd name="connsiteX298" fmla="*/ 1865840 w 2082217"/>
                  <a:gd name="connsiteY298" fmla="*/ 1675593 h 2066613"/>
                  <a:gd name="connsiteX299" fmla="*/ 1866498 w 2082217"/>
                  <a:gd name="connsiteY299" fmla="*/ 1667654 h 2066613"/>
                  <a:gd name="connsiteX300" fmla="*/ 1867594 w 2082217"/>
                  <a:gd name="connsiteY300" fmla="*/ 1653811 h 2066613"/>
                  <a:gd name="connsiteX301" fmla="*/ 1867634 w 2082217"/>
                  <a:gd name="connsiteY301" fmla="*/ 1652096 h 2066613"/>
                  <a:gd name="connsiteX302" fmla="*/ 1867833 w 2082217"/>
                  <a:gd name="connsiteY302" fmla="*/ 1652016 h 2066613"/>
                  <a:gd name="connsiteX303" fmla="*/ 1867853 w 2082217"/>
                  <a:gd name="connsiteY303" fmla="*/ 1652016 h 2066613"/>
                  <a:gd name="connsiteX304" fmla="*/ 1867913 w 2082217"/>
                  <a:gd name="connsiteY304" fmla="*/ 1651956 h 2066613"/>
                  <a:gd name="connsiteX305" fmla="*/ 1868152 w 2082217"/>
                  <a:gd name="connsiteY305" fmla="*/ 1651816 h 2066613"/>
                  <a:gd name="connsiteX306" fmla="*/ 1869088 w 2082217"/>
                  <a:gd name="connsiteY306" fmla="*/ 1651298 h 2066613"/>
                  <a:gd name="connsiteX307" fmla="*/ 1870962 w 2082217"/>
                  <a:gd name="connsiteY307" fmla="*/ 1650241 h 2066613"/>
                  <a:gd name="connsiteX308" fmla="*/ 1878375 w 2082217"/>
                  <a:gd name="connsiteY308" fmla="*/ 1645852 h 2066613"/>
                  <a:gd name="connsiteX309" fmla="*/ 1885728 w 2082217"/>
                  <a:gd name="connsiteY309" fmla="*/ 1641384 h 2066613"/>
                  <a:gd name="connsiteX310" fmla="*/ 1892942 w 2082217"/>
                  <a:gd name="connsiteY310" fmla="*/ 1636677 h 2066613"/>
                  <a:gd name="connsiteX311" fmla="*/ 1947385 w 2082217"/>
                  <a:gd name="connsiteY311" fmla="*/ 1594349 h 2066613"/>
                  <a:gd name="connsiteX312" fmla="*/ 1994515 w 2082217"/>
                  <a:gd name="connsiteY312" fmla="*/ 1543684 h 2066613"/>
                  <a:gd name="connsiteX313" fmla="*/ 2032776 w 2082217"/>
                  <a:gd name="connsiteY313" fmla="*/ 1485678 h 2066613"/>
                  <a:gd name="connsiteX314" fmla="*/ 2077534 w 2082217"/>
                  <a:gd name="connsiteY314" fmla="*/ 1353928 h 2066613"/>
                  <a:gd name="connsiteX315" fmla="*/ 2082078 w 2082217"/>
                  <a:gd name="connsiteY315" fmla="*/ 1284253 h 2066613"/>
                  <a:gd name="connsiteX316" fmla="*/ 1997623 w 2082217"/>
                  <a:gd name="connsiteY316" fmla="*/ 1044531 h 2066613"/>
                  <a:gd name="connsiteX317" fmla="*/ 1997623 w 2082217"/>
                  <a:gd name="connsiteY317" fmla="*/ 1044531 h 2066613"/>
                  <a:gd name="connsiteX318" fmla="*/ 1997623 w 2082217"/>
                  <a:gd name="connsiteY318" fmla="*/ 1044531 h 2066613"/>
                  <a:gd name="connsiteX319" fmla="*/ 2037619 w 2082217"/>
                  <a:gd name="connsiteY319" fmla="*/ 1347525 h 2066613"/>
                  <a:gd name="connsiteX320" fmla="*/ 1997344 w 2082217"/>
                  <a:gd name="connsiteY320" fmla="*/ 1466010 h 2066613"/>
                  <a:gd name="connsiteX321" fmla="*/ 1962829 w 2082217"/>
                  <a:gd name="connsiteY321" fmla="*/ 1518351 h 2066613"/>
                  <a:gd name="connsiteX322" fmla="*/ 1920203 w 2082217"/>
                  <a:gd name="connsiteY322" fmla="*/ 1564189 h 2066613"/>
                  <a:gd name="connsiteX323" fmla="*/ 1870862 w 2082217"/>
                  <a:gd name="connsiteY323" fmla="*/ 1602567 h 2066613"/>
                  <a:gd name="connsiteX324" fmla="*/ 1864306 w 2082217"/>
                  <a:gd name="connsiteY324" fmla="*/ 1606836 h 2066613"/>
                  <a:gd name="connsiteX325" fmla="*/ 1857630 w 2082217"/>
                  <a:gd name="connsiteY325" fmla="*/ 1610885 h 2066613"/>
                  <a:gd name="connsiteX326" fmla="*/ 1850914 w 2082217"/>
                  <a:gd name="connsiteY326" fmla="*/ 1614875 h 2066613"/>
                  <a:gd name="connsiteX327" fmla="*/ 1845454 w 2082217"/>
                  <a:gd name="connsiteY327" fmla="*/ 1617927 h 2066613"/>
                  <a:gd name="connsiteX328" fmla="*/ 1836586 w 2082217"/>
                  <a:gd name="connsiteY328" fmla="*/ 1622594 h 2066613"/>
                  <a:gd name="connsiteX329" fmla="*/ 1827539 w 2082217"/>
                  <a:gd name="connsiteY329" fmla="*/ 1626923 h 2066613"/>
                  <a:gd name="connsiteX330" fmla="*/ 1827559 w 2082217"/>
                  <a:gd name="connsiteY330" fmla="*/ 1640546 h 2066613"/>
                  <a:gd name="connsiteX331" fmla="*/ 1827299 w 2082217"/>
                  <a:gd name="connsiteY331" fmla="*/ 1650281 h 2066613"/>
                  <a:gd name="connsiteX332" fmla="*/ 1827260 w 2082217"/>
                  <a:gd name="connsiteY332" fmla="*/ 1651497 h 2066613"/>
                  <a:gd name="connsiteX333" fmla="*/ 1827140 w 2082217"/>
                  <a:gd name="connsiteY333" fmla="*/ 1653213 h 2066613"/>
                  <a:gd name="connsiteX334" fmla="*/ 1826861 w 2082217"/>
                  <a:gd name="connsiteY334" fmla="*/ 1656783 h 2066613"/>
                  <a:gd name="connsiteX335" fmla="*/ 1826283 w 2082217"/>
                  <a:gd name="connsiteY335" fmla="*/ 1663944 h 2066613"/>
                  <a:gd name="connsiteX336" fmla="*/ 1825685 w 2082217"/>
                  <a:gd name="connsiteY336" fmla="*/ 1671105 h 2066613"/>
                  <a:gd name="connsiteX337" fmla="*/ 1824769 w 2082217"/>
                  <a:gd name="connsiteY337" fmla="*/ 1678226 h 2066613"/>
                  <a:gd name="connsiteX338" fmla="*/ 1822776 w 2082217"/>
                  <a:gd name="connsiteY338" fmla="*/ 1692448 h 2066613"/>
                  <a:gd name="connsiteX339" fmla="*/ 1809026 w 2082217"/>
                  <a:gd name="connsiteY339" fmla="*/ 1748180 h 2066613"/>
                  <a:gd name="connsiteX340" fmla="*/ 1786926 w 2082217"/>
                  <a:gd name="connsiteY340" fmla="*/ 1801100 h 2066613"/>
                  <a:gd name="connsiteX341" fmla="*/ 1780130 w 2082217"/>
                  <a:gd name="connsiteY341" fmla="*/ 1813726 h 2066613"/>
                  <a:gd name="connsiteX342" fmla="*/ 1776683 w 2082217"/>
                  <a:gd name="connsiteY342" fmla="*/ 1820009 h 2066613"/>
                  <a:gd name="connsiteX343" fmla="*/ 1772936 w 2082217"/>
                  <a:gd name="connsiteY343" fmla="*/ 1826113 h 2066613"/>
                  <a:gd name="connsiteX344" fmla="*/ 1765344 w 2082217"/>
                  <a:gd name="connsiteY344" fmla="*/ 1838261 h 2066613"/>
                  <a:gd name="connsiteX345" fmla="*/ 1757253 w 2082217"/>
                  <a:gd name="connsiteY345" fmla="*/ 1850070 h 2066613"/>
                  <a:gd name="connsiteX346" fmla="*/ 1717178 w 2082217"/>
                  <a:gd name="connsiteY346" fmla="*/ 1897982 h 2066613"/>
                  <a:gd name="connsiteX347" fmla="*/ 1670268 w 2082217"/>
                  <a:gd name="connsiteY347" fmla="*/ 1939073 h 2066613"/>
                  <a:gd name="connsiteX348" fmla="*/ 1617877 w 2082217"/>
                  <a:gd name="connsiteY348" fmla="*/ 1972743 h 2066613"/>
                  <a:gd name="connsiteX349" fmla="*/ 1611022 w 2082217"/>
                  <a:gd name="connsiteY349" fmla="*/ 1976434 h 2066613"/>
                  <a:gd name="connsiteX350" fmla="*/ 1604087 w 2082217"/>
                  <a:gd name="connsiteY350" fmla="*/ 1979984 h 2066613"/>
                  <a:gd name="connsiteX351" fmla="*/ 1590038 w 2082217"/>
                  <a:gd name="connsiteY351" fmla="*/ 1986706 h 2066613"/>
                  <a:gd name="connsiteX352" fmla="*/ 1575730 w 2082217"/>
                  <a:gd name="connsiteY352" fmla="*/ 1992810 h 2066613"/>
                  <a:gd name="connsiteX353" fmla="*/ 1561222 w 2082217"/>
                  <a:gd name="connsiteY353" fmla="*/ 1998435 h 2066613"/>
                  <a:gd name="connsiteX354" fmla="*/ 1531709 w 2082217"/>
                  <a:gd name="connsiteY354" fmla="*/ 2008269 h 2066613"/>
                  <a:gd name="connsiteX355" fmla="*/ 1501538 w 2082217"/>
                  <a:gd name="connsiteY355" fmla="*/ 2015769 h 2066613"/>
                  <a:gd name="connsiteX356" fmla="*/ 1470969 w 2082217"/>
                  <a:gd name="connsiteY356" fmla="*/ 2021354 h 2066613"/>
                  <a:gd name="connsiteX357" fmla="*/ 1440061 w 2082217"/>
                  <a:gd name="connsiteY357" fmla="*/ 2024566 h 2066613"/>
                  <a:gd name="connsiteX358" fmla="*/ 1432309 w 2082217"/>
                  <a:gd name="connsiteY358" fmla="*/ 2025104 h 2066613"/>
                  <a:gd name="connsiteX359" fmla="*/ 1428443 w 2082217"/>
                  <a:gd name="connsiteY359" fmla="*/ 2025363 h 2066613"/>
                  <a:gd name="connsiteX360" fmla="*/ 1424557 w 2082217"/>
                  <a:gd name="connsiteY360" fmla="*/ 2025463 h 2066613"/>
                  <a:gd name="connsiteX361" fmla="*/ 1409033 w 2082217"/>
                  <a:gd name="connsiteY361" fmla="*/ 2025822 h 2066613"/>
                  <a:gd name="connsiteX362" fmla="*/ 1393649 w 2082217"/>
                  <a:gd name="connsiteY362" fmla="*/ 2025703 h 2066613"/>
                  <a:gd name="connsiteX363" fmla="*/ 1378304 w 2082217"/>
                  <a:gd name="connsiteY363" fmla="*/ 2025164 h 2066613"/>
                  <a:gd name="connsiteX364" fmla="*/ 1317046 w 2082217"/>
                  <a:gd name="connsiteY364" fmla="*/ 2018941 h 2066613"/>
                  <a:gd name="connsiteX365" fmla="*/ 1198315 w 2082217"/>
                  <a:gd name="connsiteY365" fmla="*/ 1984193 h 2066613"/>
                  <a:gd name="connsiteX366" fmla="*/ 1143454 w 2082217"/>
                  <a:gd name="connsiteY366" fmla="*/ 1954193 h 2066613"/>
                  <a:gd name="connsiteX367" fmla="*/ 1094212 w 2082217"/>
                  <a:gd name="connsiteY367" fmla="*/ 1915137 h 2066613"/>
                  <a:gd name="connsiteX368" fmla="*/ 1088293 w 2082217"/>
                  <a:gd name="connsiteY368" fmla="*/ 1909452 h 2066613"/>
                  <a:gd name="connsiteX369" fmla="*/ 1082594 w 2082217"/>
                  <a:gd name="connsiteY369" fmla="*/ 1903547 h 2066613"/>
                  <a:gd name="connsiteX370" fmla="*/ 1071534 w 2082217"/>
                  <a:gd name="connsiteY370" fmla="*/ 1891400 h 2066613"/>
                  <a:gd name="connsiteX371" fmla="*/ 1070777 w 2082217"/>
                  <a:gd name="connsiteY371" fmla="*/ 1890562 h 2066613"/>
                  <a:gd name="connsiteX372" fmla="*/ 1069940 w 2082217"/>
                  <a:gd name="connsiteY372" fmla="*/ 1889565 h 2066613"/>
                  <a:gd name="connsiteX373" fmla="*/ 1068286 w 2082217"/>
                  <a:gd name="connsiteY373" fmla="*/ 1887550 h 2066613"/>
                  <a:gd name="connsiteX374" fmla="*/ 1064998 w 2082217"/>
                  <a:gd name="connsiteY374" fmla="*/ 1883501 h 2066613"/>
                  <a:gd name="connsiteX375" fmla="*/ 1058800 w 2082217"/>
                  <a:gd name="connsiteY375" fmla="*/ 1875123 h 2066613"/>
                  <a:gd name="connsiteX376" fmla="*/ 1043476 w 2082217"/>
                  <a:gd name="connsiteY376" fmla="*/ 1849750 h 2066613"/>
                  <a:gd name="connsiteX377" fmla="*/ 1041782 w 2082217"/>
                  <a:gd name="connsiteY377" fmla="*/ 1846459 h 2066613"/>
                  <a:gd name="connsiteX378" fmla="*/ 1041563 w 2082217"/>
                  <a:gd name="connsiteY378" fmla="*/ 1846040 h 2066613"/>
                  <a:gd name="connsiteX379" fmla="*/ 1041244 w 2082217"/>
                  <a:gd name="connsiteY379" fmla="*/ 1845741 h 2066613"/>
                  <a:gd name="connsiteX380" fmla="*/ 1040945 w 2082217"/>
                  <a:gd name="connsiteY380" fmla="*/ 1846040 h 2066613"/>
                  <a:gd name="connsiteX381" fmla="*/ 1040726 w 2082217"/>
                  <a:gd name="connsiteY381" fmla="*/ 1846459 h 2066613"/>
                  <a:gd name="connsiteX382" fmla="*/ 1039869 w 2082217"/>
                  <a:gd name="connsiteY382" fmla="*/ 1848115 h 2066613"/>
                  <a:gd name="connsiteX383" fmla="*/ 1036441 w 2082217"/>
                  <a:gd name="connsiteY383" fmla="*/ 1854697 h 2066613"/>
                  <a:gd name="connsiteX384" fmla="*/ 1032774 w 2082217"/>
                  <a:gd name="connsiteY384" fmla="*/ 1861140 h 2066613"/>
                  <a:gd name="connsiteX385" fmla="*/ 1028868 w 2082217"/>
                  <a:gd name="connsiteY385" fmla="*/ 1867443 h 2066613"/>
                  <a:gd name="connsiteX386" fmla="*/ 1011153 w 2082217"/>
                  <a:gd name="connsiteY386" fmla="*/ 1891220 h 2066613"/>
                  <a:gd name="connsiteX387" fmla="*/ 1003680 w 2082217"/>
                  <a:gd name="connsiteY387" fmla="*/ 1899618 h 2066613"/>
                  <a:gd name="connsiteX388" fmla="*/ 995589 w 2082217"/>
                  <a:gd name="connsiteY388" fmla="*/ 1908035 h 2066613"/>
                  <a:gd name="connsiteX389" fmla="*/ 987219 w 2082217"/>
                  <a:gd name="connsiteY389" fmla="*/ 1916174 h 2066613"/>
                  <a:gd name="connsiteX390" fmla="*/ 978590 w 2082217"/>
                  <a:gd name="connsiteY390" fmla="*/ 1924013 h 2066613"/>
                  <a:gd name="connsiteX391" fmla="*/ 927993 w 2082217"/>
                  <a:gd name="connsiteY391" fmla="*/ 1961214 h 2066613"/>
                  <a:gd name="connsiteX392" fmla="*/ 872255 w 2082217"/>
                  <a:gd name="connsiteY392" fmla="*/ 1989339 h 2066613"/>
                  <a:gd name="connsiteX393" fmla="*/ 752728 w 2082217"/>
                  <a:gd name="connsiteY393" fmla="*/ 2020836 h 2066613"/>
                  <a:gd name="connsiteX394" fmla="*/ 691390 w 2082217"/>
                  <a:gd name="connsiteY394" fmla="*/ 2025683 h 2066613"/>
                  <a:gd name="connsiteX395" fmla="*/ 676045 w 2082217"/>
                  <a:gd name="connsiteY395" fmla="*/ 2025882 h 2066613"/>
                  <a:gd name="connsiteX396" fmla="*/ 660521 w 2082217"/>
                  <a:gd name="connsiteY396" fmla="*/ 2025543 h 2066613"/>
                  <a:gd name="connsiteX397" fmla="*/ 652769 w 2082217"/>
                  <a:gd name="connsiteY397" fmla="*/ 2025304 h 2066613"/>
                  <a:gd name="connsiteX398" fmla="*/ 645017 w 2082217"/>
                  <a:gd name="connsiteY398" fmla="*/ 2024765 h 2066613"/>
                  <a:gd name="connsiteX399" fmla="*/ 637265 w 2082217"/>
                  <a:gd name="connsiteY399" fmla="*/ 2024207 h 2066613"/>
                  <a:gd name="connsiteX400" fmla="*/ 629533 w 2082217"/>
                  <a:gd name="connsiteY400" fmla="*/ 2023508 h 2066613"/>
                  <a:gd name="connsiteX401" fmla="*/ 614109 w 2082217"/>
                  <a:gd name="connsiteY401" fmla="*/ 2021673 h 2066613"/>
                  <a:gd name="connsiteX402" fmla="*/ 598765 w 2082217"/>
                  <a:gd name="connsiteY402" fmla="*/ 2019240 h 2066613"/>
                  <a:gd name="connsiteX403" fmla="*/ 591092 w 2082217"/>
                  <a:gd name="connsiteY403" fmla="*/ 2017963 h 2066613"/>
                  <a:gd name="connsiteX404" fmla="*/ 583500 w 2082217"/>
                  <a:gd name="connsiteY404" fmla="*/ 2016328 h 2066613"/>
                  <a:gd name="connsiteX405" fmla="*/ 568335 w 2082217"/>
                  <a:gd name="connsiteY405" fmla="*/ 2012937 h 2066613"/>
                  <a:gd name="connsiteX406" fmla="*/ 509169 w 2082217"/>
                  <a:gd name="connsiteY406" fmla="*/ 1993807 h 2066613"/>
                  <a:gd name="connsiteX407" fmla="*/ 401997 w 2082217"/>
                  <a:gd name="connsiteY407" fmla="*/ 1931074 h 2066613"/>
                  <a:gd name="connsiteX408" fmla="*/ 395939 w 2082217"/>
                  <a:gd name="connsiteY408" fmla="*/ 1926167 h 2066613"/>
                  <a:gd name="connsiteX409" fmla="*/ 392910 w 2082217"/>
                  <a:gd name="connsiteY409" fmla="*/ 1923714 h 2066613"/>
                  <a:gd name="connsiteX410" fmla="*/ 390000 w 2082217"/>
                  <a:gd name="connsiteY410" fmla="*/ 1921121 h 2066613"/>
                  <a:gd name="connsiteX411" fmla="*/ 378342 w 2082217"/>
                  <a:gd name="connsiteY411" fmla="*/ 1910728 h 2066613"/>
                  <a:gd name="connsiteX412" fmla="*/ 367183 w 2082217"/>
                  <a:gd name="connsiteY412" fmla="*/ 1899797 h 2066613"/>
                  <a:gd name="connsiteX413" fmla="*/ 364393 w 2082217"/>
                  <a:gd name="connsiteY413" fmla="*/ 1897065 h 2066613"/>
                  <a:gd name="connsiteX414" fmla="*/ 361742 w 2082217"/>
                  <a:gd name="connsiteY414" fmla="*/ 1894212 h 2066613"/>
                  <a:gd name="connsiteX415" fmla="*/ 356422 w 2082217"/>
                  <a:gd name="connsiteY415" fmla="*/ 1888487 h 2066613"/>
                  <a:gd name="connsiteX416" fmla="*/ 351121 w 2082217"/>
                  <a:gd name="connsiteY416" fmla="*/ 1882743 h 2066613"/>
                  <a:gd name="connsiteX417" fmla="*/ 346079 w 2082217"/>
                  <a:gd name="connsiteY417" fmla="*/ 1876758 h 2066613"/>
                  <a:gd name="connsiteX418" fmla="*/ 341057 w 2082217"/>
                  <a:gd name="connsiteY418" fmla="*/ 1870774 h 2066613"/>
                  <a:gd name="connsiteX419" fmla="*/ 338546 w 2082217"/>
                  <a:gd name="connsiteY419" fmla="*/ 1867782 h 2066613"/>
                  <a:gd name="connsiteX420" fmla="*/ 336175 w 2082217"/>
                  <a:gd name="connsiteY420" fmla="*/ 1864671 h 2066613"/>
                  <a:gd name="connsiteX421" fmla="*/ 326709 w 2082217"/>
                  <a:gd name="connsiteY421" fmla="*/ 1852204 h 2066613"/>
                  <a:gd name="connsiteX422" fmla="*/ 317841 w 2082217"/>
                  <a:gd name="connsiteY422" fmla="*/ 1839298 h 2066613"/>
                  <a:gd name="connsiteX423" fmla="*/ 291237 w 2082217"/>
                  <a:gd name="connsiteY423" fmla="*/ 1792283 h 2066613"/>
                  <a:gd name="connsiteX424" fmla="*/ 288288 w 2082217"/>
                  <a:gd name="connsiteY424" fmla="*/ 1786199 h 2066613"/>
                  <a:gd name="connsiteX425" fmla="*/ 285618 w 2082217"/>
                  <a:gd name="connsiteY425" fmla="*/ 1779996 h 2066613"/>
                  <a:gd name="connsiteX426" fmla="*/ 280357 w 2082217"/>
                  <a:gd name="connsiteY426" fmla="*/ 1767529 h 2066613"/>
                  <a:gd name="connsiteX427" fmla="*/ 275734 w 2082217"/>
                  <a:gd name="connsiteY427" fmla="*/ 1754803 h 2066613"/>
                  <a:gd name="connsiteX428" fmla="*/ 273462 w 2082217"/>
                  <a:gd name="connsiteY428" fmla="*/ 1748420 h 2066613"/>
                  <a:gd name="connsiteX429" fmla="*/ 271489 w 2082217"/>
                  <a:gd name="connsiteY429" fmla="*/ 1741937 h 2066613"/>
                  <a:gd name="connsiteX430" fmla="*/ 259153 w 2082217"/>
                  <a:gd name="connsiteY430" fmla="*/ 1689237 h 2066613"/>
                  <a:gd name="connsiteX431" fmla="*/ 256005 w 2082217"/>
                  <a:gd name="connsiteY431" fmla="*/ 1662328 h 2066613"/>
                  <a:gd name="connsiteX432" fmla="*/ 255467 w 2082217"/>
                  <a:gd name="connsiteY432" fmla="*/ 1655586 h 2066613"/>
                  <a:gd name="connsiteX433" fmla="*/ 255188 w 2082217"/>
                  <a:gd name="connsiteY433" fmla="*/ 1652215 h 2066613"/>
                  <a:gd name="connsiteX434" fmla="*/ 255128 w 2082217"/>
                  <a:gd name="connsiteY434" fmla="*/ 1650899 h 2066613"/>
                  <a:gd name="connsiteX435" fmla="*/ 255088 w 2082217"/>
                  <a:gd name="connsiteY435" fmla="*/ 1649762 h 2066613"/>
                  <a:gd name="connsiteX436" fmla="*/ 254849 w 2082217"/>
                  <a:gd name="connsiteY436" fmla="*/ 1640586 h 2066613"/>
                  <a:gd name="connsiteX437" fmla="*/ 254849 w 2082217"/>
                  <a:gd name="connsiteY437" fmla="*/ 1635081 h 2066613"/>
                  <a:gd name="connsiteX438" fmla="*/ 254969 w 2082217"/>
                  <a:gd name="connsiteY438" fmla="*/ 1629576 h 2066613"/>
                  <a:gd name="connsiteX439" fmla="*/ 255008 w 2082217"/>
                  <a:gd name="connsiteY439" fmla="*/ 1628199 h 2066613"/>
                  <a:gd name="connsiteX440" fmla="*/ 255008 w 2082217"/>
                  <a:gd name="connsiteY440" fmla="*/ 1627501 h 2066613"/>
                  <a:gd name="connsiteX441" fmla="*/ 254789 w 2082217"/>
                  <a:gd name="connsiteY441" fmla="*/ 1626923 h 2066613"/>
                  <a:gd name="connsiteX442" fmla="*/ 252298 w 2082217"/>
                  <a:gd name="connsiteY442" fmla="*/ 1625746 h 2066613"/>
                  <a:gd name="connsiteX443" fmla="*/ 247316 w 2082217"/>
                  <a:gd name="connsiteY443" fmla="*/ 1623392 h 2066613"/>
                  <a:gd name="connsiteX444" fmla="*/ 238409 w 2082217"/>
                  <a:gd name="connsiteY444" fmla="*/ 1618784 h 2066613"/>
                  <a:gd name="connsiteX445" fmla="*/ 233765 w 2082217"/>
                  <a:gd name="connsiteY445" fmla="*/ 1616191 h 2066613"/>
                  <a:gd name="connsiteX446" fmla="*/ 227010 w 2082217"/>
                  <a:gd name="connsiteY446" fmla="*/ 1612282 h 2066613"/>
                  <a:gd name="connsiteX447" fmla="*/ 213738 w 2082217"/>
                  <a:gd name="connsiteY447" fmla="*/ 1604023 h 2066613"/>
                  <a:gd name="connsiteX448" fmla="*/ 207201 w 2082217"/>
                  <a:gd name="connsiteY448" fmla="*/ 1599755 h 2066613"/>
                  <a:gd name="connsiteX449" fmla="*/ 200805 w 2082217"/>
                  <a:gd name="connsiteY449" fmla="*/ 1595267 h 2066613"/>
                  <a:gd name="connsiteX450" fmla="*/ 152739 w 2082217"/>
                  <a:gd name="connsiteY450" fmla="*/ 1555273 h 2066613"/>
                  <a:gd name="connsiteX451" fmla="*/ 111687 w 2082217"/>
                  <a:gd name="connsiteY451" fmla="*/ 1507999 h 2066613"/>
                  <a:gd name="connsiteX452" fmla="*/ 79005 w 2082217"/>
                  <a:gd name="connsiteY452" fmla="*/ 1454481 h 2066613"/>
                  <a:gd name="connsiteX453" fmla="*/ 72250 w 2082217"/>
                  <a:gd name="connsiteY453" fmla="*/ 1440299 h 2066613"/>
                  <a:gd name="connsiteX454" fmla="*/ 66112 w 2082217"/>
                  <a:gd name="connsiteY454" fmla="*/ 1425837 h 2066613"/>
                  <a:gd name="connsiteX455" fmla="*/ 60652 w 2082217"/>
                  <a:gd name="connsiteY455" fmla="*/ 1411096 h 2066613"/>
                  <a:gd name="connsiteX456" fmla="*/ 55829 w 2082217"/>
                  <a:gd name="connsiteY456" fmla="*/ 1396136 h 2066613"/>
                  <a:gd name="connsiteX457" fmla="*/ 43055 w 2082217"/>
                  <a:gd name="connsiteY457" fmla="*/ 1334620 h 2066613"/>
                  <a:gd name="connsiteX458" fmla="*/ 41182 w 2082217"/>
                  <a:gd name="connsiteY458" fmla="*/ 1271846 h 2066613"/>
                  <a:gd name="connsiteX459" fmla="*/ 50130 w 2082217"/>
                  <a:gd name="connsiteY459" fmla="*/ 1209652 h 2066613"/>
                  <a:gd name="connsiteX460" fmla="*/ 52740 w 2082217"/>
                  <a:gd name="connsiteY460" fmla="*/ 1199339 h 2066613"/>
                  <a:gd name="connsiteX461" fmla="*/ 55550 w 2082217"/>
                  <a:gd name="connsiteY461" fmla="*/ 1189086 h 2066613"/>
                  <a:gd name="connsiteX462" fmla="*/ 58798 w 2082217"/>
                  <a:gd name="connsiteY462" fmla="*/ 1178953 h 2066613"/>
                  <a:gd name="connsiteX463" fmla="*/ 60433 w 2082217"/>
                  <a:gd name="connsiteY463" fmla="*/ 1173887 h 2066613"/>
                  <a:gd name="connsiteX464" fmla="*/ 62266 w 2082217"/>
                  <a:gd name="connsiteY464" fmla="*/ 1168900 h 2066613"/>
                  <a:gd name="connsiteX465" fmla="*/ 65992 w 2082217"/>
                  <a:gd name="connsiteY465" fmla="*/ 1158947 h 2066613"/>
                  <a:gd name="connsiteX466" fmla="*/ 70098 w 2082217"/>
                  <a:gd name="connsiteY466" fmla="*/ 1149153 h 2066613"/>
                  <a:gd name="connsiteX467" fmla="*/ 79025 w 2082217"/>
                  <a:gd name="connsiteY467" fmla="*/ 1129884 h 2066613"/>
                  <a:gd name="connsiteX468" fmla="*/ 83947 w 2082217"/>
                  <a:gd name="connsiteY468" fmla="*/ 1120469 h 2066613"/>
                  <a:gd name="connsiteX469" fmla="*/ 89049 w 2082217"/>
                  <a:gd name="connsiteY469" fmla="*/ 1111154 h 2066613"/>
                  <a:gd name="connsiteX470" fmla="*/ 94509 w 2082217"/>
                  <a:gd name="connsiteY470" fmla="*/ 1102058 h 2066613"/>
                  <a:gd name="connsiteX471" fmla="*/ 97259 w 2082217"/>
                  <a:gd name="connsiteY471" fmla="*/ 1097530 h 2066613"/>
                  <a:gd name="connsiteX472" fmla="*/ 100189 w 2082217"/>
                  <a:gd name="connsiteY472" fmla="*/ 1093102 h 2066613"/>
                  <a:gd name="connsiteX473" fmla="*/ 106047 w 2082217"/>
                  <a:gd name="connsiteY473" fmla="*/ 1084265 h 2066613"/>
                  <a:gd name="connsiteX474" fmla="*/ 112265 w 2082217"/>
                  <a:gd name="connsiteY474" fmla="*/ 1075688 h 2066613"/>
                  <a:gd name="connsiteX475" fmla="*/ 115394 w 2082217"/>
                  <a:gd name="connsiteY475" fmla="*/ 1071399 h 2066613"/>
                  <a:gd name="connsiteX476" fmla="*/ 116151 w 2082217"/>
                  <a:gd name="connsiteY476" fmla="*/ 1070362 h 2066613"/>
                  <a:gd name="connsiteX477" fmla="*/ 116709 w 2082217"/>
                  <a:gd name="connsiteY477" fmla="*/ 1069664 h 2066613"/>
                  <a:gd name="connsiteX478" fmla="*/ 117825 w 2082217"/>
                  <a:gd name="connsiteY478" fmla="*/ 1068268 h 2066613"/>
                  <a:gd name="connsiteX479" fmla="*/ 122269 w 2082217"/>
                  <a:gd name="connsiteY479" fmla="*/ 1062702 h 2066613"/>
                  <a:gd name="connsiteX480" fmla="*/ 126493 w 2082217"/>
                  <a:gd name="connsiteY480" fmla="*/ 1057775 h 2066613"/>
                  <a:gd name="connsiteX481" fmla="*/ 128626 w 2082217"/>
                  <a:gd name="connsiteY481" fmla="*/ 1055322 h 2066613"/>
                  <a:gd name="connsiteX482" fmla="*/ 129702 w 2082217"/>
                  <a:gd name="connsiteY482" fmla="*/ 1054105 h 2066613"/>
                  <a:gd name="connsiteX483" fmla="*/ 130200 w 2082217"/>
                  <a:gd name="connsiteY483" fmla="*/ 1053467 h 2066613"/>
                  <a:gd name="connsiteX484" fmla="*/ 129961 w 2082217"/>
                  <a:gd name="connsiteY484" fmla="*/ 1052689 h 2066613"/>
                  <a:gd name="connsiteX485" fmla="*/ 125796 w 2082217"/>
                  <a:gd name="connsiteY485" fmla="*/ 1040382 h 2066613"/>
                  <a:gd name="connsiteX486" fmla="*/ 124022 w 2082217"/>
                  <a:gd name="connsiteY486" fmla="*/ 1034258 h 2066613"/>
                  <a:gd name="connsiteX487" fmla="*/ 121492 w 2082217"/>
                  <a:gd name="connsiteY487" fmla="*/ 1024344 h 2066613"/>
                  <a:gd name="connsiteX488" fmla="*/ 117287 w 2082217"/>
                  <a:gd name="connsiteY488" fmla="*/ 1004337 h 2066613"/>
                  <a:gd name="connsiteX489" fmla="*/ 112026 w 2082217"/>
                  <a:gd name="connsiteY489" fmla="*/ 941544 h 2066613"/>
                  <a:gd name="connsiteX490" fmla="*/ 113799 w 2082217"/>
                  <a:gd name="connsiteY490" fmla="*/ 910068 h 2066613"/>
                  <a:gd name="connsiteX491" fmla="*/ 114616 w 2082217"/>
                  <a:gd name="connsiteY491" fmla="*/ 902229 h 2066613"/>
                  <a:gd name="connsiteX492" fmla="*/ 115593 w 2082217"/>
                  <a:gd name="connsiteY492" fmla="*/ 894410 h 2066613"/>
                  <a:gd name="connsiteX493" fmla="*/ 118283 w 2082217"/>
                  <a:gd name="connsiteY493" fmla="*/ 878851 h 2066613"/>
                  <a:gd name="connsiteX494" fmla="*/ 121691 w 2082217"/>
                  <a:gd name="connsiteY494" fmla="*/ 863452 h 2066613"/>
                  <a:gd name="connsiteX495" fmla="*/ 123564 w 2082217"/>
                  <a:gd name="connsiteY495" fmla="*/ 855792 h 2066613"/>
                  <a:gd name="connsiteX496" fmla="*/ 124501 w 2082217"/>
                  <a:gd name="connsiteY496" fmla="*/ 851962 h 2066613"/>
                  <a:gd name="connsiteX497" fmla="*/ 125657 w 2082217"/>
                  <a:gd name="connsiteY497" fmla="*/ 848193 h 2066613"/>
                  <a:gd name="connsiteX498" fmla="*/ 130419 w 2082217"/>
                  <a:gd name="connsiteY498" fmla="*/ 833152 h 2066613"/>
                  <a:gd name="connsiteX499" fmla="*/ 131635 w 2082217"/>
                  <a:gd name="connsiteY499" fmla="*/ 829402 h 2066613"/>
                  <a:gd name="connsiteX500" fmla="*/ 133070 w 2082217"/>
                  <a:gd name="connsiteY500" fmla="*/ 825732 h 2066613"/>
                  <a:gd name="connsiteX501" fmla="*/ 135939 w 2082217"/>
                  <a:gd name="connsiteY501" fmla="*/ 818392 h 2066613"/>
                  <a:gd name="connsiteX502" fmla="*/ 148733 w 2082217"/>
                  <a:gd name="connsiteY502" fmla="*/ 789568 h 2066613"/>
                  <a:gd name="connsiteX503" fmla="*/ 156266 w 2082217"/>
                  <a:gd name="connsiteY503" fmla="*/ 775725 h 2066613"/>
                  <a:gd name="connsiteX504" fmla="*/ 160092 w 2082217"/>
                  <a:gd name="connsiteY504" fmla="*/ 768823 h 2066613"/>
                  <a:gd name="connsiteX505" fmla="*/ 164317 w 2082217"/>
                  <a:gd name="connsiteY505" fmla="*/ 762161 h 2066613"/>
                  <a:gd name="connsiteX506" fmla="*/ 169418 w 2082217"/>
                  <a:gd name="connsiteY506" fmla="*/ 754202 h 2066613"/>
                  <a:gd name="connsiteX507" fmla="*/ 171969 w 2082217"/>
                  <a:gd name="connsiteY507" fmla="*/ 750233 h 2066613"/>
                  <a:gd name="connsiteX508" fmla="*/ 174719 w 2082217"/>
                  <a:gd name="connsiteY508" fmla="*/ 746383 h 2066613"/>
                  <a:gd name="connsiteX509" fmla="*/ 185918 w 2082217"/>
                  <a:gd name="connsiteY509" fmla="*/ 731164 h 2066613"/>
                  <a:gd name="connsiteX510" fmla="*/ 198055 w 2082217"/>
                  <a:gd name="connsiteY510" fmla="*/ 716682 h 2066613"/>
                  <a:gd name="connsiteX511" fmla="*/ 204412 w 2082217"/>
                  <a:gd name="connsiteY511" fmla="*/ 709701 h 2066613"/>
                  <a:gd name="connsiteX512" fmla="*/ 210928 w 2082217"/>
                  <a:gd name="connsiteY512" fmla="*/ 702859 h 2066613"/>
                  <a:gd name="connsiteX513" fmla="*/ 224479 w 2082217"/>
                  <a:gd name="connsiteY513" fmla="*/ 689714 h 2066613"/>
                  <a:gd name="connsiteX514" fmla="*/ 231414 w 2082217"/>
                  <a:gd name="connsiteY514" fmla="*/ 683311 h 2066613"/>
                  <a:gd name="connsiteX515" fmla="*/ 238688 w 2082217"/>
                  <a:gd name="connsiteY515" fmla="*/ 677287 h 2066613"/>
                  <a:gd name="connsiteX516" fmla="*/ 246001 w 2082217"/>
                  <a:gd name="connsiteY516" fmla="*/ 671323 h 2066613"/>
                  <a:gd name="connsiteX517" fmla="*/ 249668 w 2082217"/>
                  <a:gd name="connsiteY517" fmla="*/ 668351 h 2066613"/>
                  <a:gd name="connsiteX518" fmla="*/ 253494 w 2082217"/>
                  <a:gd name="connsiteY518" fmla="*/ 665598 h 2066613"/>
                  <a:gd name="connsiteX519" fmla="*/ 259552 w 2082217"/>
                  <a:gd name="connsiteY519" fmla="*/ 661269 h 2066613"/>
                  <a:gd name="connsiteX520" fmla="*/ 264474 w 2082217"/>
                  <a:gd name="connsiteY520" fmla="*/ 657799 h 2066613"/>
                  <a:gd name="connsiteX521" fmla="*/ 271270 w 2082217"/>
                  <a:gd name="connsiteY521" fmla="*/ 653550 h 2066613"/>
                  <a:gd name="connsiteX522" fmla="*/ 274677 w 2082217"/>
                  <a:gd name="connsiteY522" fmla="*/ 651436 h 2066613"/>
                  <a:gd name="connsiteX523" fmla="*/ 276291 w 2082217"/>
                  <a:gd name="connsiteY523" fmla="*/ 650299 h 2066613"/>
                  <a:gd name="connsiteX524" fmla="*/ 275933 w 2082217"/>
                  <a:gd name="connsiteY524" fmla="*/ 648324 h 2066613"/>
                  <a:gd name="connsiteX525" fmla="*/ 273761 w 2082217"/>
                  <a:gd name="connsiteY525" fmla="*/ 632426 h 2066613"/>
                  <a:gd name="connsiteX526" fmla="*/ 273402 w 2082217"/>
                  <a:gd name="connsiteY526" fmla="*/ 628337 h 2066613"/>
                  <a:gd name="connsiteX527" fmla="*/ 273043 w 2082217"/>
                  <a:gd name="connsiteY527" fmla="*/ 622592 h 2066613"/>
                  <a:gd name="connsiteX528" fmla="*/ 272585 w 2082217"/>
                  <a:gd name="connsiteY528" fmla="*/ 609926 h 2066613"/>
                  <a:gd name="connsiteX529" fmla="*/ 272704 w 2082217"/>
                  <a:gd name="connsiteY529" fmla="*/ 597260 h 2066613"/>
                  <a:gd name="connsiteX530" fmla="*/ 272844 w 2082217"/>
                  <a:gd name="connsiteY530" fmla="*/ 590916 h 2066613"/>
                  <a:gd name="connsiteX531" fmla="*/ 273243 w 2082217"/>
                  <a:gd name="connsiteY531" fmla="*/ 584593 h 2066613"/>
                  <a:gd name="connsiteX532" fmla="*/ 283466 w 2082217"/>
                  <a:gd name="connsiteY532" fmla="*/ 522099 h 2066613"/>
                  <a:gd name="connsiteX533" fmla="*/ 305984 w 2082217"/>
                  <a:gd name="connsiteY533" fmla="*/ 462957 h 2066613"/>
                  <a:gd name="connsiteX534" fmla="*/ 339463 w 2082217"/>
                  <a:gd name="connsiteY534" fmla="*/ 409419 h 2066613"/>
                  <a:gd name="connsiteX535" fmla="*/ 382288 w 2082217"/>
                  <a:gd name="connsiteY535" fmla="*/ 363182 h 2066613"/>
                  <a:gd name="connsiteX536" fmla="*/ 441753 w 2082217"/>
                  <a:gd name="connsiteY536" fmla="*/ 320316 h 2066613"/>
                  <a:gd name="connsiteX537" fmla="*/ 474454 w 2082217"/>
                  <a:gd name="connsiteY537" fmla="*/ 303720 h 2066613"/>
                  <a:gd name="connsiteX538" fmla="*/ 491294 w 2082217"/>
                  <a:gd name="connsiteY538" fmla="*/ 296798 h 2066613"/>
                  <a:gd name="connsiteX539" fmla="*/ 495498 w 2082217"/>
                  <a:gd name="connsiteY539" fmla="*/ 295202 h 2066613"/>
                  <a:gd name="connsiteX540" fmla="*/ 497591 w 2082217"/>
                  <a:gd name="connsiteY540" fmla="*/ 294405 h 2066613"/>
                  <a:gd name="connsiteX541" fmla="*/ 498388 w 2082217"/>
                  <a:gd name="connsiteY541" fmla="*/ 294125 h 2066613"/>
                  <a:gd name="connsiteX542" fmla="*/ 499085 w 2082217"/>
                  <a:gd name="connsiteY542" fmla="*/ 293886 h 2066613"/>
                  <a:gd name="connsiteX543" fmla="*/ 504625 w 2082217"/>
                  <a:gd name="connsiteY543" fmla="*/ 292011 h 2066613"/>
                  <a:gd name="connsiteX544" fmla="*/ 512616 w 2082217"/>
                  <a:gd name="connsiteY544" fmla="*/ 289577 h 2066613"/>
                  <a:gd name="connsiteX545" fmla="*/ 514629 w 2082217"/>
                  <a:gd name="connsiteY545" fmla="*/ 288979 h 2066613"/>
                  <a:gd name="connsiteX546" fmla="*/ 515127 w 2082217"/>
                  <a:gd name="connsiteY546" fmla="*/ 288799 h 2066613"/>
                  <a:gd name="connsiteX547" fmla="*/ 515327 w 2082217"/>
                  <a:gd name="connsiteY547" fmla="*/ 288321 h 2066613"/>
                  <a:gd name="connsiteX548" fmla="*/ 515665 w 2082217"/>
                  <a:gd name="connsiteY548" fmla="*/ 287323 h 2066613"/>
                  <a:gd name="connsiteX549" fmla="*/ 517001 w 2082217"/>
                  <a:gd name="connsiteY549" fmla="*/ 283354 h 2066613"/>
                  <a:gd name="connsiteX550" fmla="*/ 519830 w 2082217"/>
                  <a:gd name="connsiteY550" fmla="*/ 275455 h 2066613"/>
                  <a:gd name="connsiteX551" fmla="*/ 521305 w 2082217"/>
                  <a:gd name="connsiteY551" fmla="*/ 271505 h 2066613"/>
                  <a:gd name="connsiteX552" fmla="*/ 522361 w 2082217"/>
                  <a:gd name="connsiteY552" fmla="*/ 268872 h 2066613"/>
                  <a:gd name="connsiteX553" fmla="*/ 523577 w 2082217"/>
                  <a:gd name="connsiteY553" fmla="*/ 265880 h 2066613"/>
                  <a:gd name="connsiteX554" fmla="*/ 545517 w 2082217"/>
                  <a:gd name="connsiteY554" fmla="*/ 218945 h 2066613"/>
                  <a:gd name="connsiteX555" fmla="*/ 579156 w 2082217"/>
                  <a:gd name="connsiteY555" fmla="*/ 166425 h 2066613"/>
                  <a:gd name="connsiteX556" fmla="*/ 620964 w 2082217"/>
                  <a:gd name="connsiteY556" fmla="*/ 119629 h 2066613"/>
                  <a:gd name="connsiteX557" fmla="*/ 671103 w 2082217"/>
                  <a:gd name="connsiteY557" fmla="*/ 81032 h 2066613"/>
                  <a:gd name="connsiteX558" fmla="*/ 728834 w 2082217"/>
                  <a:gd name="connsiteY558" fmla="*/ 53824 h 2066613"/>
                  <a:gd name="connsiteX559" fmla="*/ 759882 w 2082217"/>
                  <a:gd name="connsiteY559" fmla="*/ 45486 h 2066613"/>
                  <a:gd name="connsiteX560" fmla="*/ 767813 w 2082217"/>
                  <a:gd name="connsiteY560" fmla="*/ 44090 h 2066613"/>
                  <a:gd name="connsiteX561" fmla="*/ 771779 w 2082217"/>
                  <a:gd name="connsiteY561" fmla="*/ 43392 h 2066613"/>
                  <a:gd name="connsiteX562" fmla="*/ 775784 w 2082217"/>
                  <a:gd name="connsiteY562" fmla="*/ 42873 h 2066613"/>
                  <a:gd name="connsiteX563" fmla="*/ 783775 w 2082217"/>
                  <a:gd name="connsiteY563" fmla="*/ 41876 h 2066613"/>
                  <a:gd name="connsiteX564" fmla="*/ 791806 w 2082217"/>
                  <a:gd name="connsiteY564" fmla="*/ 41237 h 2066613"/>
                  <a:gd name="connsiteX565" fmla="*/ 807908 w 2082217"/>
                  <a:gd name="connsiteY565" fmla="*/ 40579 h 2066613"/>
                  <a:gd name="connsiteX566" fmla="*/ 823631 w 2082217"/>
                  <a:gd name="connsiteY566" fmla="*/ 40878 h 2066613"/>
                  <a:gd name="connsiteX567" fmla="*/ 827557 w 2082217"/>
                  <a:gd name="connsiteY567" fmla="*/ 40978 h 2066613"/>
                  <a:gd name="connsiteX568" fmla="*/ 831483 w 2082217"/>
                  <a:gd name="connsiteY568" fmla="*/ 41257 h 2066613"/>
                  <a:gd name="connsiteX569" fmla="*/ 839334 w 2082217"/>
                  <a:gd name="connsiteY569" fmla="*/ 41856 h 2066613"/>
                  <a:gd name="connsiteX570" fmla="*/ 847186 w 2082217"/>
                  <a:gd name="connsiteY570" fmla="*/ 42534 h 2066613"/>
                  <a:gd name="connsiteX571" fmla="*/ 855017 w 2082217"/>
                  <a:gd name="connsiteY571" fmla="*/ 43551 h 2066613"/>
                  <a:gd name="connsiteX572" fmla="*/ 916794 w 2082217"/>
                  <a:gd name="connsiteY572" fmla="*/ 58133 h 2066613"/>
                  <a:gd name="connsiteX573" fmla="*/ 974067 w 2082217"/>
                  <a:gd name="connsiteY573" fmla="*/ 86637 h 2066613"/>
                  <a:gd name="connsiteX574" fmla="*/ 1004656 w 2082217"/>
                  <a:gd name="connsiteY574" fmla="*/ 110055 h 2066613"/>
                  <a:gd name="connsiteX575" fmla="*/ 1008283 w 2082217"/>
                  <a:gd name="connsiteY575" fmla="*/ 113226 h 2066613"/>
                  <a:gd name="connsiteX576" fmla="*/ 1011730 w 2082217"/>
                  <a:gd name="connsiteY576" fmla="*/ 116577 h 2066613"/>
                  <a:gd name="connsiteX577" fmla="*/ 1016593 w 2082217"/>
                  <a:gd name="connsiteY577" fmla="*/ 121345 h 2066613"/>
                  <a:gd name="connsiteX578" fmla="*/ 1020718 w 2082217"/>
                  <a:gd name="connsiteY578" fmla="*/ 125733 h 2066613"/>
                  <a:gd name="connsiteX579" fmla="*/ 1024723 w 2082217"/>
                  <a:gd name="connsiteY579" fmla="*/ 130221 h 2066613"/>
                  <a:gd name="connsiteX580" fmla="*/ 1029147 w 2082217"/>
                  <a:gd name="connsiteY580" fmla="*/ 135647 h 2066613"/>
                  <a:gd name="connsiteX581" fmla="*/ 1033472 w 2082217"/>
                  <a:gd name="connsiteY581" fmla="*/ 141172 h 2066613"/>
                  <a:gd name="connsiteX582" fmla="*/ 1037457 w 2082217"/>
                  <a:gd name="connsiteY582" fmla="*/ 146937 h 2066613"/>
                  <a:gd name="connsiteX583" fmla="*/ 1039430 w 2082217"/>
                  <a:gd name="connsiteY583" fmla="*/ 149829 h 2066613"/>
                  <a:gd name="connsiteX584" fmla="*/ 1040427 w 2082217"/>
                  <a:gd name="connsiteY584" fmla="*/ 151285 h 2066613"/>
                  <a:gd name="connsiteX585" fmla="*/ 1040925 w 2082217"/>
                  <a:gd name="connsiteY585" fmla="*/ 152003 h 2066613"/>
                  <a:gd name="connsiteX586" fmla="*/ 1041184 w 2082217"/>
                  <a:gd name="connsiteY586" fmla="*/ 152362 h 2066613"/>
                  <a:gd name="connsiteX587" fmla="*/ 1041563 w 2082217"/>
                  <a:gd name="connsiteY587" fmla="*/ 152342 h 2066613"/>
                  <a:gd name="connsiteX588" fmla="*/ 1049534 w 2082217"/>
                  <a:gd name="connsiteY588" fmla="*/ 140813 h 2066613"/>
                  <a:gd name="connsiteX589" fmla="*/ 1053858 w 2082217"/>
                  <a:gd name="connsiteY589" fmla="*/ 135287 h 2066613"/>
                  <a:gd name="connsiteX590" fmla="*/ 1058322 w 2082217"/>
                  <a:gd name="connsiteY590" fmla="*/ 129882 h 2066613"/>
                  <a:gd name="connsiteX591" fmla="*/ 1067907 w 2082217"/>
                  <a:gd name="connsiteY591" fmla="*/ 119629 h 2066613"/>
                  <a:gd name="connsiteX592" fmla="*/ 1074922 w 2082217"/>
                  <a:gd name="connsiteY592" fmla="*/ 112767 h 2066613"/>
                  <a:gd name="connsiteX593" fmla="*/ 1083431 w 2082217"/>
                  <a:gd name="connsiteY593" fmla="*/ 105467 h 2066613"/>
                  <a:gd name="connsiteX594" fmla="*/ 1101147 w 2082217"/>
                  <a:gd name="connsiteY594" fmla="*/ 91703 h 2066613"/>
                  <a:gd name="connsiteX595" fmla="*/ 1110473 w 2082217"/>
                  <a:gd name="connsiteY595" fmla="*/ 85460 h 2066613"/>
                  <a:gd name="connsiteX596" fmla="*/ 1119979 w 2082217"/>
                  <a:gd name="connsiteY596" fmla="*/ 79476 h 2066613"/>
                  <a:gd name="connsiteX597" fmla="*/ 1178587 w 2082217"/>
                  <a:gd name="connsiteY597" fmla="*/ 54023 h 2066613"/>
                  <a:gd name="connsiteX598" fmla="*/ 1240762 w 2082217"/>
                  <a:gd name="connsiteY598" fmla="*/ 42055 h 2066613"/>
                  <a:gd name="connsiteX599" fmla="*/ 1256465 w 2082217"/>
                  <a:gd name="connsiteY599" fmla="*/ 40938 h 2066613"/>
                  <a:gd name="connsiteX600" fmla="*/ 1272148 w 2082217"/>
                  <a:gd name="connsiteY600" fmla="*/ 40559 h 2066613"/>
                  <a:gd name="connsiteX601" fmla="*/ 1304252 w 2082217"/>
                  <a:gd name="connsiteY601" fmla="*/ 42514 h 2066613"/>
                  <a:gd name="connsiteX602" fmla="*/ 1335878 w 2082217"/>
                  <a:gd name="connsiteY602" fmla="*/ 48438 h 2066613"/>
                  <a:gd name="connsiteX603" fmla="*/ 1343630 w 2082217"/>
                  <a:gd name="connsiteY603" fmla="*/ 50593 h 2066613"/>
                  <a:gd name="connsiteX604" fmla="*/ 1347496 w 2082217"/>
                  <a:gd name="connsiteY604" fmla="*/ 51690 h 2066613"/>
                  <a:gd name="connsiteX605" fmla="*/ 1351302 w 2082217"/>
                  <a:gd name="connsiteY605" fmla="*/ 52946 h 2066613"/>
                  <a:gd name="connsiteX606" fmla="*/ 1358914 w 2082217"/>
                  <a:gd name="connsiteY606" fmla="*/ 55480 h 2066613"/>
                  <a:gd name="connsiteX607" fmla="*/ 1366407 w 2082217"/>
                  <a:gd name="connsiteY607" fmla="*/ 58352 h 2066613"/>
                  <a:gd name="connsiteX608" fmla="*/ 1471108 w 2082217"/>
                  <a:gd name="connsiteY608" fmla="*/ 128765 h 2066613"/>
                  <a:gd name="connsiteX609" fmla="*/ 1511183 w 2082217"/>
                  <a:gd name="connsiteY609" fmla="*/ 176937 h 2066613"/>
                  <a:gd name="connsiteX610" fmla="*/ 1543148 w 2082217"/>
                  <a:gd name="connsiteY610" fmla="*/ 230415 h 2066613"/>
                  <a:gd name="connsiteX611" fmla="*/ 1549365 w 2082217"/>
                  <a:gd name="connsiteY611" fmla="*/ 243260 h 2066613"/>
                  <a:gd name="connsiteX612" fmla="*/ 1555184 w 2082217"/>
                  <a:gd name="connsiteY612" fmla="*/ 256286 h 2066613"/>
                  <a:gd name="connsiteX613" fmla="*/ 1560585 w 2082217"/>
                  <a:gd name="connsiteY613" fmla="*/ 269471 h 2066613"/>
                  <a:gd name="connsiteX614" fmla="*/ 1561202 w 2082217"/>
                  <a:gd name="connsiteY614" fmla="*/ 271007 h 2066613"/>
                  <a:gd name="connsiteX615" fmla="*/ 1561601 w 2082217"/>
                  <a:gd name="connsiteY615" fmla="*/ 272104 h 2066613"/>
                  <a:gd name="connsiteX616" fmla="*/ 1562418 w 2082217"/>
                  <a:gd name="connsiteY616" fmla="*/ 274278 h 2066613"/>
                  <a:gd name="connsiteX617" fmla="*/ 1564032 w 2082217"/>
                  <a:gd name="connsiteY617" fmla="*/ 278626 h 2066613"/>
                  <a:gd name="connsiteX618" fmla="*/ 1566543 w 2082217"/>
                  <a:gd name="connsiteY618" fmla="*/ 285927 h 2066613"/>
                  <a:gd name="connsiteX619" fmla="*/ 1567161 w 2082217"/>
                  <a:gd name="connsiteY619" fmla="*/ 287762 h 2066613"/>
                  <a:gd name="connsiteX620" fmla="*/ 1567480 w 2082217"/>
                  <a:gd name="connsiteY620" fmla="*/ 288680 h 2066613"/>
                  <a:gd name="connsiteX621" fmla="*/ 1568336 w 2082217"/>
                  <a:gd name="connsiteY621" fmla="*/ 289039 h 2066613"/>
                  <a:gd name="connsiteX622" fmla="*/ 1572043 w 2082217"/>
                  <a:gd name="connsiteY622" fmla="*/ 290136 h 2066613"/>
                  <a:gd name="connsiteX623" fmla="*/ 1579416 w 2082217"/>
                  <a:gd name="connsiteY623" fmla="*/ 292450 h 2066613"/>
                  <a:gd name="connsiteX624" fmla="*/ 1583063 w 2082217"/>
                  <a:gd name="connsiteY624" fmla="*/ 293686 h 2066613"/>
                  <a:gd name="connsiteX625" fmla="*/ 1584976 w 2082217"/>
                  <a:gd name="connsiteY625" fmla="*/ 294345 h 2066613"/>
                  <a:gd name="connsiteX626" fmla="*/ 1587746 w 2082217"/>
                  <a:gd name="connsiteY626" fmla="*/ 295402 h 2066613"/>
                  <a:gd name="connsiteX627" fmla="*/ 1598846 w 2082217"/>
                  <a:gd name="connsiteY627" fmla="*/ 299710 h 2066613"/>
                  <a:gd name="connsiteX628" fmla="*/ 1609986 w 2082217"/>
                  <a:gd name="connsiteY628" fmla="*/ 304478 h 2066613"/>
                  <a:gd name="connsiteX629" fmla="*/ 1620946 w 2082217"/>
                  <a:gd name="connsiteY629" fmla="*/ 309664 h 2066613"/>
                  <a:gd name="connsiteX630" fmla="*/ 1631727 w 2082217"/>
                  <a:gd name="connsiteY630" fmla="*/ 315209 h 2066613"/>
                  <a:gd name="connsiteX631" fmla="*/ 1709964 w 2082217"/>
                  <a:gd name="connsiteY631" fmla="*/ 372118 h 2066613"/>
                  <a:gd name="connsiteX632" fmla="*/ 1750976 w 2082217"/>
                  <a:gd name="connsiteY632" fmla="*/ 419991 h 2066613"/>
                  <a:gd name="connsiteX633" fmla="*/ 1782282 w 2082217"/>
                  <a:gd name="connsiteY633" fmla="*/ 474865 h 2066613"/>
                  <a:gd name="connsiteX634" fmla="*/ 1802330 w 2082217"/>
                  <a:gd name="connsiteY634" fmla="*/ 534905 h 2066613"/>
                  <a:gd name="connsiteX635" fmla="*/ 1809942 w 2082217"/>
                  <a:gd name="connsiteY635" fmla="*/ 597758 h 2066613"/>
                  <a:gd name="connsiteX636" fmla="*/ 1809743 w 2082217"/>
                  <a:gd name="connsiteY636" fmla="*/ 619760 h 2066613"/>
                  <a:gd name="connsiteX637" fmla="*/ 1809125 w 2082217"/>
                  <a:gd name="connsiteY637" fmla="*/ 629554 h 2066613"/>
                  <a:gd name="connsiteX638" fmla="*/ 1808428 w 2082217"/>
                  <a:gd name="connsiteY638" fmla="*/ 636475 h 2066613"/>
                  <a:gd name="connsiteX639" fmla="*/ 1807292 w 2082217"/>
                  <a:gd name="connsiteY639" fmla="*/ 644674 h 2066613"/>
                  <a:gd name="connsiteX640" fmla="*/ 1806594 w 2082217"/>
                  <a:gd name="connsiteY640" fmla="*/ 648763 h 2066613"/>
                  <a:gd name="connsiteX641" fmla="*/ 1806415 w 2082217"/>
                  <a:gd name="connsiteY641" fmla="*/ 649780 h 2066613"/>
                  <a:gd name="connsiteX642" fmla="*/ 1806355 w 2082217"/>
                  <a:gd name="connsiteY642" fmla="*/ 650299 h 2066613"/>
                  <a:gd name="connsiteX643" fmla="*/ 1806754 w 2082217"/>
                  <a:gd name="connsiteY643" fmla="*/ 650618 h 2066613"/>
                  <a:gd name="connsiteX644" fmla="*/ 1808507 w 2082217"/>
                  <a:gd name="connsiteY644" fmla="*/ 651715 h 2066613"/>
                  <a:gd name="connsiteX645" fmla="*/ 1815522 w 2082217"/>
                  <a:gd name="connsiteY645" fmla="*/ 656103 h 2066613"/>
                  <a:gd name="connsiteX646" fmla="*/ 1819029 w 2082217"/>
                  <a:gd name="connsiteY646" fmla="*/ 658317 h 2066613"/>
                  <a:gd name="connsiteX647" fmla="*/ 1822397 w 2082217"/>
                  <a:gd name="connsiteY647" fmla="*/ 660731 h 2066613"/>
                  <a:gd name="connsiteX648" fmla="*/ 1830986 w 2082217"/>
                  <a:gd name="connsiteY648" fmla="*/ 666874 h 2066613"/>
                  <a:gd name="connsiteX649" fmla="*/ 1836128 w 2082217"/>
                  <a:gd name="connsiteY649" fmla="*/ 670864 h 2066613"/>
                  <a:gd name="connsiteX650" fmla="*/ 1841169 w 2082217"/>
                  <a:gd name="connsiteY650" fmla="*/ 674973 h 2066613"/>
                  <a:gd name="connsiteX651" fmla="*/ 1851193 w 2082217"/>
                  <a:gd name="connsiteY651" fmla="*/ 683231 h 2066613"/>
                  <a:gd name="connsiteX652" fmla="*/ 1860739 w 2082217"/>
                  <a:gd name="connsiteY652" fmla="*/ 692067 h 2066613"/>
                  <a:gd name="connsiteX653" fmla="*/ 1879032 w 2082217"/>
                  <a:gd name="connsiteY653" fmla="*/ 710518 h 2066613"/>
                  <a:gd name="connsiteX654" fmla="*/ 1887621 w 2082217"/>
                  <a:gd name="connsiteY654" fmla="*/ 720273 h 2066613"/>
                  <a:gd name="connsiteX655" fmla="*/ 1895971 w 2082217"/>
                  <a:gd name="connsiteY655" fmla="*/ 730246 h 2066613"/>
                  <a:gd name="connsiteX656" fmla="*/ 1903743 w 2082217"/>
                  <a:gd name="connsiteY656" fmla="*/ 740678 h 2066613"/>
                  <a:gd name="connsiteX657" fmla="*/ 1907589 w 2082217"/>
                  <a:gd name="connsiteY657" fmla="*/ 745924 h 2066613"/>
                  <a:gd name="connsiteX658" fmla="*/ 1911335 w 2082217"/>
                  <a:gd name="connsiteY658" fmla="*/ 751250 h 2066613"/>
                  <a:gd name="connsiteX659" fmla="*/ 1918350 w 2082217"/>
                  <a:gd name="connsiteY659" fmla="*/ 762221 h 2066613"/>
                  <a:gd name="connsiteX660" fmla="*/ 1921857 w 2082217"/>
                  <a:gd name="connsiteY660" fmla="*/ 767706 h 2066613"/>
                  <a:gd name="connsiteX661" fmla="*/ 1925066 w 2082217"/>
                  <a:gd name="connsiteY661" fmla="*/ 773371 h 2066613"/>
                  <a:gd name="connsiteX662" fmla="*/ 1932678 w 2082217"/>
                  <a:gd name="connsiteY662" fmla="*/ 787175 h 2066613"/>
                  <a:gd name="connsiteX663" fmla="*/ 1939454 w 2082217"/>
                  <a:gd name="connsiteY663" fmla="*/ 801417 h 2066613"/>
                  <a:gd name="connsiteX664" fmla="*/ 1942802 w 2082217"/>
                  <a:gd name="connsiteY664" fmla="*/ 808558 h 2066613"/>
                  <a:gd name="connsiteX665" fmla="*/ 1945691 w 2082217"/>
                  <a:gd name="connsiteY665" fmla="*/ 815898 h 2066613"/>
                  <a:gd name="connsiteX666" fmla="*/ 1951371 w 2082217"/>
                  <a:gd name="connsiteY666" fmla="*/ 830619 h 2066613"/>
                  <a:gd name="connsiteX667" fmla="*/ 1956133 w 2082217"/>
                  <a:gd name="connsiteY667" fmla="*/ 845659 h 2066613"/>
                  <a:gd name="connsiteX668" fmla="*/ 1958405 w 2082217"/>
                  <a:gd name="connsiteY668" fmla="*/ 853219 h 2066613"/>
                  <a:gd name="connsiteX669" fmla="*/ 1960278 w 2082217"/>
                  <a:gd name="connsiteY669" fmla="*/ 860879 h 2066613"/>
                  <a:gd name="connsiteX670" fmla="*/ 1962152 w 2082217"/>
                  <a:gd name="connsiteY670" fmla="*/ 868538 h 2066613"/>
                  <a:gd name="connsiteX671" fmla="*/ 1963865 w 2082217"/>
                  <a:gd name="connsiteY671" fmla="*/ 876238 h 2066613"/>
                  <a:gd name="connsiteX672" fmla="*/ 1966556 w 2082217"/>
                  <a:gd name="connsiteY672" fmla="*/ 891797 h 2066613"/>
                  <a:gd name="connsiteX673" fmla="*/ 1968528 w 2082217"/>
                  <a:gd name="connsiteY673" fmla="*/ 907435 h 2066613"/>
                  <a:gd name="connsiteX674" fmla="*/ 1969326 w 2082217"/>
                  <a:gd name="connsiteY674" fmla="*/ 915274 h 2066613"/>
                  <a:gd name="connsiteX675" fmla="*/ 1969923 w 2082217"/>
                  <a:gd name="connsiteY675" fmla="*/ 923133 h 2066613"/>
                  <a:gd name="connsiteX676" fmla="*/ 1970442 w 2082217"/>
                  <a:gd name="connsiteY676" fmla="*/ 954650 h 2066613"/>
                  <a:gd name="connsiteX677" fmla="*/ 1962729 w 2082217"/>
                  <a:gd name="connsiteY677" fmla="*/ 1017203 h 2066613"/>
                  <a:gd name="connsiteX678" fmla="*/ 1961036 w 2082217"/>
                  <a:gd name="connsiteY678" fmla="*/ 1024544 h 2066613"/>
                  <a:gd name="connsiteX679" fmla="*/ 1959182 w 2082217"/>
                  <a:gd name="connsiteY679" fmla="*/ 1031844 h 2066613"/>
                  <a:gd name="connsiteX680" fmla="*/ 1958365 w 2082217"/>
                  <a:gd name="connsiteY680" fmla="*/ 1034916 h 2066613"/>
                  <a:gd name="connsiteX681" fmla="*/ 1957708 w 2082217"/>
                  <a:gd name="connsiteY681" fmla="*/ 1037210 h 2066613"/>
                  <a:gd name="connsiteX682" fmla="*/ 1956333 w 2082217"/>
                  <a:gd name="connsiteY682" fmla="*/ 1041798 h 2066613"/>
                  <a:gd name="connsiteX683" fmla="*/ 1953523 w 2082217"/>
                  <a:gd name="connsiteY683" fmla="*/ 1050176 h 2066613"/>
                  <a:gd name="connsiteX684" fmla="*/ 1952766 w 2082217"/>
                  <a:gd name="connsiteY684" fmla="*/ 1052250 h 2066613"/>
                  <a:gd name="connsiteX685" fmla="*/ 1952387 w 2082217"/>
                  <a:gd name="connsiteY685" fmla="*/ 1053287 h 2066613"/>
                  <a:gd name="connsiteX686" fmla="*/ 1952606 w 2082217"/>
                  <a:gd name="connsiteY686" fmla="*/ 1053746 h 2066613"/>
                  <a:gd name="connsiteX687" fmla="*/ 1952965 w 2082217"/>
                  <a:gd name="connsiteY687" fmla="*/ 1054165 h 2066613"/>
                  <a:gd name="connsiteX688" fmla="*/ 1955874 w 2082217"/>
                  <a:gd name="connsiteY688" fmla="*/ 1057496 h 2066613"/>
                  <a:gd name="connsiteX689" fmla="*/ 1961673 w 2082217"/>
                  <a:gd name="connsiteY689" fmla="*/ 1064358 h 2066613"/>
                  <a:gd name="connsiteX690" fmla="*/ 1964563 w 2082217"/>
                  <a:gd name="connsiteY690" fmla="*/ 1067968 h 2066613"/>
                  <a:gd name="connsiteX691" fmla="*/ 1967831 w 2082217"/>
                  <a:gd name="connsiteY691" fmla="*/ 1072237 h 2066613"/>
                  <a:gd name="connsiteX692" fmla="*/ 1997703 w 2082217"/>
                  <a:gd name="connsiteY692" fmla="*/ 1118694 h 2066613"/>
                  <a:gd name="connsiteX693" fmla="*/ 2035247 w 2082217"/>
                  <a:gd name="connsiteY693" fmla="*/ 1222438 h 2066613"/>
                  <a:gd name="connsiteX694" fmla="*/ 2041823 w 2082217"/>
                  <a:gd name="connsiteY694" fmla="*/ 1284912 h 2066613"/>
                  <a:gd name="connsiteX695" fmla="*/ 2037738 w 2082217"/>
                  <a:gd name="connsiteY695" fmla="*/ 1347585 h 2066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</a:cxnLst>
                <a:rect l="l" t="t" r="r" b="b"/>
                <a:pathLst>
                  <a:path w="2082217" h="2066613">
                    <a:moveTo>
                      <a:pt x="2082217" y="1284054"/>
                    </a:moveTo>
                    <a:cubicBezTo>
                      <a:pt x="2081779" y="1260776"/>
                      <a:pt x="2079348" y="1237478"/>
                      <a:pt x="2074884" y="1214579"/>
                    </a:cubicBezTo>
                    <a:cubicBezTo>
                      <a:pt x="2066773" y="1174286"/>
                      <a:pt x="2052903" y="1135110"/>
                      <a:pt x="2033175" y="1099245"/>
                    </a:cubicBezTo>
                    <a:cubicBezTo>
                      <a:pt x="2023350" y="1081313"/>
                      <a:pt x="2012410" y="1063979"/>
                      <a:pt x="2000074" y="1047762"/>
                    </a:cubicBezTo>
                    <a:cubicBezTo>
                      <a:pt x="1997962" y="1044870"/>
                      <a:pt x="1998620" y="1045787"/>
                      <a:pt x="1998321" y="1045388"/>
                    </a:cubicBezTo>
                    <a:lnTo>
                      <a:pt x="1997922" y="1044910"/>
                    </a:lnTo>
                    <a:lnTo>
                      <a:pt x="1997623" y="1044551"/>
                    </a:lnTo>
                    <a:lnTo>
                      <a:pt x="1997703" y="1044271"/>
                    </a:lnTo>
                    <a:lnTo>
                      <a:pt x="1998241" y="1042237"/>
                    </a:lnTo>
                    <a:cubicBezTo>
                      <a:pt x="1998978" y="1039524"/>
                      <a:pt x="1999676" y="1036791"/>
                      <a:pt x="2000313" y="1034058"/>
                    </a:cubicBezTo>
                    <a:cubicBezTo>
                      <a:pt x="2000991" y="1031326"/>
                      <a:pt x="2001629" y="1028593"/>
                      <a:pt x="2002207" y="1025840"/>
                    </a:cubicBezTo>
                    <a:cubicBezTo>
                      <a:pt x="2007229" y="1002841"/>
                      <a:pt x="2010118" y="979364"/>
                      <a:pt x="2010835" y="955886"/>
                    </a:cubicBezTo>
                    <a:cubicBezTo>
                      <a:pt x="2011334" y="944157"/>
                      <a:pt x="2010636" y="932409"/>
                      <a:pt x="2010257" y="920680"/>
                    </a:cubicBezTo>
                    <a:cubicBezTo>
                      <a:pt x="2010218" y="917748"/>
                      <a:pt x="2009879" y="914815"/>
                      <a:pt x="2009580" y="911883"/>
                    </a:cubicBezTo>
                    <a:lnTo>
                      <a:pt x="2008683" y="903107"/>
                    </a:lnTo>
                    <a:cubicBezTo>
                      <a:pt x="2008026" y="897262"/>
                      <a:pt x="2007607" y="891398"/>
                      <a:pt x="2006471" y="885613"/>
                    </a:cubicBezTo>
                    <a:lnTo>
                      <a:pt x="2003442" y="868219"/>
                    </a:lnTo>
                    <a:cubicBezTo>
                      <a:pt x="2003004" y="865307"/>
                      <a:pt x="2002187" y="862475"/>
                      <a:pt x="2001529" y="859602"/>
                    </a:cubicBezTo>
                    <a:lnTo>
                      <a:pt x="1999437" y="851025"/>
                    </a:lnTo>
                    <a:lnTo>
                      <a:pt x="1997324" y="842448"/>
                    </a:lnTo>
                    <a:cubicBezTo>
                      <a:pt x="1996667" y="839575"/>
                      <a:pt x="1995630" y="836803"/>
                      <a:pt x="1994793" y="833990"/>
                    </a:cubicBezTo>
                    <a:lnTo>
                      <a:pt x="1989453" y="817155"/>
                    </a:lnTo>
                    <a:cubicBezTo>
                      <a:pt x="1987440" y="811630"/>
                      <a:pt x="1985228" y="806164"/>
                      <a:pt x="1983116" y="800699"/>
                    </a:cubicBezTo>
                    <a:lnTo>
                      <a:pt x="1979867" y="792501"/>
                    </a:lnTo>
                    <a:lnTo>
                      <a:pt x="1976141" y="784502"/>
                    </a:lnTo>
                    <a:cubicBezTo>
                      <a:pt x="1973630" y="779196"/>
                      <a:pt x="1971199" y="773830"/>
                      <a:pt x="1968548" y="768584"/>
                    </a:cubicBezTo>
                    <a:lnTo>
                      <a:pt x="1960059" y="753165"/>
                    </a:lnTo>
                    <a:cubicBezTo>
                      <a:pt x="1958863" y="751051"/>
                      <a:pt x="1957748" y="748896"/>
                      <a:pt x="1956472" y="746842"/>
                    </a:cubicBezTo>
                    <a:lnTo>
                      <a:pt x="1952566" y="740718"/>
                    </a:lnTo>
                    <a:lnTo>
                      <a:pt x="1944715" y="728491"/>
                    </a:lnTo>
                    <a:cubicBezTo>
                      <a:pt x="1943439" y="726416"/>
                      <a:pt x="1941965" y="724501"/>
                      <a:pt x="1940550" y="722546"/>
                    </a:cubicBezTo>
                    <a:lnTo>
                      <a:pt x="1936265" y="716682"/>
                    </a:lnTo>
                    <a:cubicBezTo>
                      <a:pt x="1933376" y="712812"/>
                      <a:pt x="1930586" y="708843"/>
                      <a:pt x="1927577" y="705053"/>
                    </a:cubicBezTo>
                    <a:lnTo>
                      <a:pt x="1918290" y="693923"/>
                    </a:lnTo>
                    <a:cubicBezTo>
                      <a:pt x="1915182" y="690212"/>
                      <a:pt x="1912113" y="686482"/>
                      <a:pt x="1908705" y="683051"/>
                    </a:cubicBezTo>
                    <a:cubicBezTo>
                      <a:pt x="1902029" y="676090"/>
                      <a:pt x="1895553" y="668889"/>
                      <a:pt x="1888319" y="662486"/>
                    </a:cubicBezTo>
                    <a:lnTo>
                      <a:pt x="1877677" y="652672"/>
                    </a:lnTo>
                    <a:cubicBezTo>
                      <a:pt x="1874030" y="649521"/>
                      <a:pt x="1870244" y="646529"/>
                      <a:pt x="1866518" y="643457"/>
                    </a:cubicBezTo>
                    <a:lnTo>
                      <a:pt x="1860898" y="638889"/>
                    </a:lnTo>
                    <a:cubicBezTo>
                      <a:pt x="1859025" y="637373"/>
                      <a:pt x="1857171" y="635837"/>
                      <a:pt x="1855179" y="634461"/>
                    </a:cubicBezTo>
                    <a:lnTo>
                      <a:pt x="1849878" y="630651"/>
                    </a:lnTo>
                    <a:lnTo>
                      <a:pt x="1849499" y="630411"/>
                    </a:lnTo>
                    <a:cubicBezTo>
                      <a:pt x="1849519" y="630292"/>
                      <a:pt x="1849539" y="630132"/>
                      <a:pt x="1849539" y="630012"/>
                    </a:cubicBezTo>
                    <a:lnTo>
                      <a:pt x="1849539" y="629913"/>
                    </a:lnTo>
                    <a:cubicBezTo>
                      <a:pt x="1849539" y="629913"/>
                      <a:pt x="1849539" y="629913"/>
                      <a:pt x="1849539" y="629813"/>
                    </a:cubicBezTo>
                    <a:lnTo>
                      <a:pt x="1849539" y="629434"/>
                    </a:lnTo>
                    <a:lnTo>
                      <a:pt x="1849659" y="627878"/>
                    </a:lnTo>
                    <a:lnTo>
                      <a:pt x="1850017" y="621675"/>
                    </a:lnTo>
                    <a:cubicBezTo>
                      <a:pt x="1850396" y="613417"/>
                      <a:pt x="1850535" y="605139"/>
                      <a:pt x="1850256" y="596881"/>
                    </a:cubicBezTo>
                    <a:cubicBezTo>
                      <a:pt x="1849738" y="573084"/>
                      <a:pt x="1846909" y="549267"/>
                      <a:pt x="1841668" y="525989"/>
                    </a:cubicBezTo>
                    <a:cubicBezTo>
                      <a:pt x="1836367" y="502711"/>
                      <a:pt x="1828774" y="479991"/>
                      <a:pt x="1819069" y="458289"/>
                    </a:cubicBezTo>
                    <a:cubicBezTo>
                      <a:pt x="1809424" y="436547"/>
                      <a:pt x="1797507" y="415882"/>
                      <a:pt x="1783857" y="396593"/>
                    </a:cubicBezTo>
                    <a:cubicBezTo>
                      <a:pt x="1770186" y="377304"/>
                      <a:pt x="1754842" y="359272"/>
                      <a:pt x="1737903" y="342955"/>
                    </a:cubicBezTo>
                    <a:cubicBezTo>
                      <a:pt x="1711877" y="317723"/>
                      <a:pt x="1682304" y="296459"/>
                      <a:pt x="1650579" y="279424"/>
                    </a:cubicBezTo>
                    <a:cubicBezTo>
                      <a:pt x="1646573" y="277370"/>
                      <a:pt x="1642628" y="275196"/>
                      <a:pt x="1638562" y="273241"/>
                    </a:cubicBezTo>
                    <a:lnTo>
                      <a:pt x="1626367" y="267476"/>
                    </a:lnTo>
                    <a:lnTo>
                      <a:pt x="1613971" y="262170"/>
                    </a:lnTo>
                    <a:cubicBezTo>
                      <a:pt x="1609886" y="260475"/>
                      <a:pt x="1605980" y="259078"/>
                      <a:pt x="1601975" y="257523"/>
                    </a:cubicBezTo>
                    <a:lnTo>
                      <a:pt x="1598726" y="256286"/>
                    </a:lnTo>
                    <a:lnTo>
                      <a:pt x="1598069" y="254630"/>
                    </a:lnTo>
                    <a:cubicBezTo>
                      <a:pt x="1596116" y="249863"/>
                      <a:pt x="1594223" y="245076"/>
                      <a:pt x="1592210" y="240328"/>
                    </a:cubicBezTo>
                    <a:cubicBezTo>
                      <a:pt x="1590118" y="235601"/>
                      <a:pt x="1588065" y="230873"/>
                      <a:pt x="1585893" y="226166"/>
                    </a:cubicBezTo>
                    <a:cubicBezTo>
                      <a:pt x="1583641" y="221498"/>
                      <a:pt x="1581449" y="216811"/>
                      <a:pt x="1579118" y="212183"/>
                    </a:cubicBezTo>
                    <a:cubicBezTo>
                      <a:pt x="1568934" y="192017"/>
                      <a:pt x="1557296" y="172409"/>
                      <a:pt x="1544124" y="153619"/>
                    </a:cubicBezTo>
                    <a:cubicBezTo>
                      <a:pt x="1530952" y="134849"/>
                      <a:pt x="1516225" y="116896"/>
                      <a:pt x="1499725" y="100261"/>
                    </a:cubicBezTo>
                    <a:lnTo>
                      <a:pt x="1493507" y="94057"/>
                    </a:lnTo>
                    <a:cubicBezTo>
                      <a:pt x="1491415" y="92003"/>
                      <a:pt x="1489223" y="90028"/>
                      <a:pt x="1487071" y="88033"/>
                    </a:cubicBezTo>
                    <a:cubicBezTo>
                      <a:pt x="1482806" y="83984"/>
                      <a:pt x="1478282" y="80154"/>
                      <a:pt x="1473799" y="76304"/>
                    </a:cubicBezTo>
                    <a:cubicBezTo>
                      <a:pt x="1469315" y="72435"/>
                      <a:pt x="1464532" y="68844"/>
                      <a:pt x="1459909" y="65154"/>
                    </a:cubicBezTo>
                    <a:lnTo>
                      <a:pt x="1452655" y="59868"/>
                    </a:lnTo>
                    <a:cubicBezTo>
                      <a:pt x="1450244" y="58113"/>
                      <a:pt x="1447833" y="56337"/>
                      <a:pt x="1445302" y="54702"/>
                    </a:cubicBezTo>
                    <a:cubicBezTo>
                      <a:pt x="1425414" y="41257"/>
                      <a:pt x="1403971" y="29469"/>
                      <a:pt x="1380974" y="20592"/>
                    </a:cubicBezTo>
                    <a:lnTo>
                      <a:pt x="1372346" y="17301"/>
                    </a:lnTo>
                    <a:lnTo>
                      <a:pt x="1363558" y="14369"/>
                    </a:lnTo>
                    <a:lnTo>
                      <a:pt x="1359153" y="12933"/>
                    </a:lnTo>
                    <a:lnTo>
                      <a:pt x="1354690" y="11656"/>
                    </a:lnTo>
                    <a:lnTo>
                      <a:pt x="1345722" y="9163"/>
                    </a:lnTo>
                    <a:cubicBezTo>
                      <a:pt x="1333646" y="6231"/>
                      <a:pt x="1321450" y="3677"/>
                      <a:pt x="1309035" y="2281"/>
                    </a:cubicBezTo>
                    <a:cubicBezTo>
                      <a:pt x="1302857" y="1403"/>
                      <a:pt x="1296640" y="1004"/>
                      <a:pt x="1290422" y="546"/>
                    </a:cubicBezTo>
                    <a:cubicBezTo>
                      <a:pt x="1287313" y="266"/>
                      <a:pt x="1284205" y="286"/>
                      <a:pt x="1281076" y="167"/>
                    </a:cubicBezTo>
                    <a:cubicBezTo>
                      <a:pt x="1278007" y="107"/>
                      <a:pt x="1274759" y="-33"/>
                      <a:pt x="1271829" y="7"/>
                    </a:cubicBezTo>
                    <a:lnTo>
                      <a:pt x="1254412" y="426"/>
                    </a:lnTo>
                    <a:cubicBezTo>
                      <a:pt x="1248593" y="685"/>
                      <a:pt x="1242735" y="1244"/>
                      <a:pt x="1236896" y="1663"/>
                    </a:cubicBezTo>
                    <a:cubicBezTo>
                      <a:pt x="1213481" y="3837"/>
                      <a:pt x="1189846" y="8185"/>
                      <a:pt x="1166610" y="15227"/>
                    </a:cubicBezTo>
                    <a:cubicBezTo>
                      <a:pt x="1143394" y="22268"/>
                      <a:pt x="1120577" y="31942"/>
                      <a:pt x="1099274" y="44509"/>
                    </a:cubicBezTo>
                    <a:cubicBezTo>
                      <a:pt x="1095547" y="46683"/>
                      <a:pt x="1091960" y="49097"/>
                      <a:pt x="1088293" y="51390"/>
                    </a:cubicBezTo>
                    <a:cubicBezTo>
                      <a:pt x="1084687" y="53764"/>
                      <a:pt x="1080940" y="55958"/>
                      <a:pt x="1077532" y="58591"/>
                    </a:cubicBezTo>
                    <a:cubicBezTo>
                      <a:pt x="1070617" y="63738"/>
                      <a:pt x="1063523" y="68704"/>
                      <a:pt x="1057126" y="74429"/>
                    </a:cubicBezTo>
                    <a:lnTo>
                      <a:pt x="1047342" y="82827"/>
                    </a:lnTo>
                    <a:lnTo>
                      <a:pt x="1042738" y="87295"/>
                    </a:lnTo>
                    <a:lnTo>
                      <a:pt x="1041582" y="88412"/>
                    </a:lnTo>
                    <a:cubicBezTo>
                      <a:pt x="1041303" y="88691"/>
                      <a:pt x="1041443" y="88552"/>
                      <a:pt x="1041383" y="88592"/>
                    </a:cubicBezTo>
                    <a:lnTo>
                      <a:pt x="1041323" y="88631"/>
                    </a:lnTo>
                    <a:cubicBezTo>
                      <a:pt x="1041323" y="88631"/>
                      <a:pt x="1041204" y="88751"/>
                      <a:pt x="1041144" y="88851"/>
                    </a:cubicBezTo>
                    <a:lnTo>
                      <a:pt x="1041104" y="88911"/>
                    </a:lnTo>
                    <a:lnTo>
                      <a:pt x="1041024" y="88771"/>
                    </a:lnTo>
                    <a:cubicBezTo>
                      <a:pt x="1041024" y="88771"/>
                      <a:pt x="1040925" y="88651"/>
                      <a:pt x="1040865" y="88612"/>
                    </a:cubicBezTo>
                    <a:lnTo>
                      <a:pt x="1040825" y="88572"/>
                    </a:lnTo>
                    <a:lnTo>
                      <a:pt x="1040387" y="88153"/>
                    </a:lnTo>
                    <a:lnTo>
                      <a:pt x="1039410" y="87195"/>
                    </a:lnTo>
                    <a:lnTo>
                      <a:pt x="1035465" y="83365"/>
                    </a:lnTo>
                    <a:cubicBezTo>
                      <a:pt x="1034149" y="82089"/>
                      <a:pt x="1032695" y="80932"/>
                      <a:pt x="1031320" y="79715"/>
                    </a:cubicBezTo>
                    <a:cubicBezTo>
                      <a:pt x="1020260" y="69961"/>
                      <a:pt x="1008522" y="60825"/>
                      <a:pt x="996067" y="52727"/>
                    </a:cubicBezTo>
                    <a:cubicBezTo>
                      <a:pt x="975442" y="39163"/>
                      <a:pt x="953162" y="27993"/>
                      <a:pt x="930126" y="19914"/>
                    </a:cubicBezTo>
                    <a:cubicBezTo>
                      <a:pt x="907109" y="11776"/>
                      <a:pt x="883494" y="6390"/>
                      <a:pt x="860039" y="3318"/>
                    </a:cubicBezTo>
                    <a:lnTo>
                      <a:pt x="851231" y="2201"/>
                    </a:lnTo>
                    <a:cubicBezTo>
                      <a:pt x="848302" y="1822"/>
                      <a:pt x="845392" y="1703"/>
                      <a:pt x="842463" y="1443"/>
                    </a:cubicBezTo>
                    <a:lnTo>
                      <a:pt x="833695" y="785"/>
                    </a:lnTo>
                    <a:lnTo>
                      <a:pt x="829311" y="486"/>
                    </a:lnTo>
                    <a:lnTo>
                      <a:pt x="824966" y="366"/>
                    </a:lnTo>
                    <a:lnTo>
                      <a:pt x="816258" y="147"/>
                    </a:lnTo>
                    <a:lnTo>
                      <a:pt x="811913" y="47"/>
                    </a:lnTo>
                    <a:cubicBezTo>
                      <a:pt x="810459" y="7"/>
                      <a:pt x="809044" y="-33"/>
                      <a:pt x="807430" y="47"/>
                    </a:cubicBezTo>
                    <a:cubicBezTo>
                      <a:pt x="801212" y="226"/>
                      <a:pt x="794975" y="226"/>
                      <a:pt x="788757" y="805"/>
                    </a:cubicBezTo>
                    <a:cubicBezTo>
                      <a:pt x="785648" y="1044"/>
                      <a:pt x="782540" y="1264"/>
                      <a:pt x="779431" y="1543"/>
                    </a:cubicBezTo>
                    <a:lnTo>
                      <a:pt x="770145" y="2700"/>
                    </a:lnTo>
                    <a:lnTo>
                      <a:pt x="765501" y="3298"/>
                    </a:lnTo>
                    <a:lnTo>
                      <a:pt x="760898" y="4096"/>
                    </a:lnTo>
                    <a:lnTo>
                      <a:pt x="751691" y="5732"/>
                    </a:lnTo>
                    <a:cubicBezTo>
                      <a:pt x="739535" y="8345"/>
                      <a:pt x="727439" y="11317"/>
                      <a:pt x="715761" y="15366"/>
                    </a:cubicBezTo>
                    <a:cubicBezTo>
                      <a:pt x="692266" y="23106"/>
                      <a:pt x="670107" y="33857"/>
                      <a:pt x="649561" y="46523"/>
                    </a:cubicBezTo>
                    <a:cubicBezTo>
                      <a:pt x="628936" y="59150"/>
                      <a:pt x="610203" y="73990"/>
                      <a:pt x="593006" y="90048"/>
                    </a:cubicBezTo>
                    <a:cubicBezTo>
                      <a:pt x="575788" y="106105"/>
                      <a:pt x="560384" y="123618"/>
                      <a:pt x="546554" y="142030"/>
                    </a:cubicBezTo>
                    <a:cubicBezTo>
                      <a:pt x="532704" y="160421"/>
                      <a:pt x="520428" y="179729"/>
                      <a:pt x="509627" y="199656"/>
                    </a:cubicBezTo>
                    <a:cubicBezTo>
                      <a:pt x="500660" y="216292"/>
                      <a:pt x="492708" y="233367"/>
                      <a:pt x="485734" y="250721"/>
                    </a:cubicBezTo>
                    <a:lnTo>
                      <a:pt x="483482" y="256306"/>
                    </a:lnTo>
                    <a:lnTo>
                      <a:pt x="476348" y="259019"/>
                    </a:lnTo>
                    <a:lnTo>
                      <a:pt x="471824" y="260754"/>
                    </a:lnTo>
                    <a:lnTo>
                      <a:pt x="469552" y="261632"/>
                    </a:lnTo>
                    <a:lnTo>
                      <a:pt x="467201" y="262629"/>
                    </a:lnTo>
                    <a:lnTo>
                      <a:pt x="457815" y="266638"/>
                    </a:lnTo>
                    <a:cubicBezTo>
                      <a:pt x="445400" y="272223"/>
                      <a:pt x="433184" y="278247"/>
                      <a:pt x="421386" y="285109"/>
                    </a:cubicBezTo>
                    <a:cubicBezTo>
                      <a:pt x="397672" y="298593"/>
                      <a:pt x="375493" y="314750"/>
                      <a:pt x="355027" y="332942"/>
                    </a:cubicBezTo>
                    <a:cubicBezTo>
                      <a:pt x="337510" y="348600"/>
                      <a:pt x="321488" y="365974"/>
                      <a:pt x="307080" y="384704"/>
                    </a:cubicBezTo>
                    <a:cubicBezTo>
                      <a:pt x="292692" y="403415"/>
                      <a:pt x="279998" y="423561"/>
                      <a:pt x="269476" y="444865"/>
                    </a:cubicBezTo>
                    <a:cubicBezTo>
                      <a:pt x="258914" y="466148"/>
                      <a:pt x="250365" y="488509"/>
                      <a:pt x="244108" y="511527"/>
                    </a:cubicBezTo>
                    <a:cubicBezTo>
                      <a:pt x="237930" y="534566"/>
                      <a:pt x="234084" y="558263"/>
                      <a:pt x="232570" y="582040"/>
                    </a:cubicBezTo>
                    <a:lnTo>
                      <a:pt x="232131" y="589181"/>
                    </a:lnTo>
                    <a:lnTo>
                      <a:pt x="231952" y="596322"/>
                    </a:lnTo>
                    <a:cubicBezTo>
                      <a:pt x="231852" y="601089"/>
                      <a:pt x="231713" y="605837"/>
                      <a:pt x="231832" y="610604"/>
                    </a:cubicBezTo>
                    <a:cubicBezTo>
                      <a:pt x="231912" y="615371"/>
                      <a:pt x="232071" y="620119"/>
                      <a:pt x="232350" y="624886"/>
                    </a:cubicBezTo>
                    <a:lnTo>
                      <a:pt x="232570" y="628457"/>
                    </a:lnTo>
                    <a:lnTo>
                      <a:pt x="232669" y="629973"/>
                    </a:lnTo>
                    <a:lnTo>
                      <a:pt x="232669" y="630212"/>
                    </a:lnTo>
                    <a:lnTo>
                      <a:pt x="232709" y="630491"/>
                    </a:lnTo>
                    <a:lnTo>
                      <a:pt x="232709" y="630491"/>
                    </a:lnTo>
                    <a:lnTo>
                      <a:pt x="232390" y="630711"/>
                    </a:lnTo>
                    <a:lnTo>
                      <a:pt x="232311" y="630770"/>
                    </a:lnTo>
                    <a:lnTo>
                      <a:pt x="231254" y="631528"/>
                    </a:lnTo>
                    <a:lnTo>
                      <a:pt x="229122" y="633064"/>
                    </a:lnTo>
                    <a:lnTo>
                      <a:pt x="224858" y="636136"/>
                    </a:lnTo>
                    <a:lnTo>
                      <a:pt x="220772" y="639427"/>
                    </a:lnTo>
                    <a:lnTo>
                      <a:pt x="212622" y="646070"/>
                    </a:lnTo>
                    <a:cubicBezTo>
                      <a:pt x="209932" y="648304"/>
                      <a:pt x="207162" y="650458"/>
                      <a:pt x="204551" y="652772"/>
                    </a:cubicBezTo>
                    <a:lnTo>
                      <a:pt x="196819" y="659893"/>
                    </a:lnTo>
                    <a:cubicBezTo>
                      <a:pt x="191678" y="664660"/>
                      <a:pt x="186457" y="669348"/>
                      <a:pt x="181734" y="674534"/>
                    </a:cubicBezTo>
                    <a:lnTo>
                      <a:pt x="174480" y="682154"/>
                    </a:lnTo>
                    <a:cubicBezTo>
                      <a:pt x="172089" y="684707"/>
                      <a:pt x="169598" y="687200"/>
                      <a:pt x="167405" y="689933"/>
                    </a:cubicBezTo>
                    <a:lnTo>
                      <a:pt x="153894" y="706090"/>
                    </a:lnTo>
                    <a:cubicBezTo>
                      <a:pt x="149670" y="711715"/>
                      <a:pt x="145525" y="717380"/>
                      <a:pt x="141380" y="723065"/>
                    </a:cubicBezTo>
                    <a:cubicBezTo>
                      <a:pt x="140363" y="724501"/>
                      <a:pt x="139267" y="725878"/>
                      <a:pt x="138331" y="727354"/>
                    </a:cubicBezTo>
                    <a:lnTo>
                      <a:pt x="135461" y="731782"/>
                    </a:lnTo>
                    <a:lnTo>
                      <a:pt x="129762" y="740678"/>
                    </a:lnTo>
                    <a:cubicBezTo>
                      <a:pt x="128187" y="743152"/>
                      <a:pt x="126593" y="745605"/>
                      <a:pt x="125079" y="748119"/>
                    </a:cubicBezTo>
                    <a:lnTo>
                      <a:pt x="120794" y="755818"/>
                    </a:lnTo>
                    <a:cubicBezTo>
                      <a:pt x="117984" y="760964"/>
                      <a:pt x="115035" y="766051"/>
                      <a:pt x="112404" y="771297"/>
                    </a:cubicBezTo>
                    <a:cubicBezTo>
                      <a:pt x="107422" y="781949"/>
                      <a:pt x="102122" y="792441"/>
                      <a:pt x="98096" y="803511"/>
                    </a:cubicBezTo>
                    <a:lnTo>
                      <a:pt x="94888" y="811729"/>
                    </a:lnTo>
                    <a:lnTo>
                      <a:pt x="93294" y="815839"/>
                    </a:lnTo>
                    <a:cubicBezTo>
                      <a:pt x="92795" y="817215"/>
                      <a:pt x="92377" y="818631"/>
                      <a:pt x="91919" y="820027"/>
                    </a:cubicBezTo>
                    <a:lnTo>
                      <a:pt x="86598" y="836863"/>
                    </a:lnTo>
                    <a:cubicBezTo>
                      <a:pt x="86179" y="838279"/>
                      <a:pt x="85701" y="839655"/>
                      <a:pt x="85303" y="841091"/>
                    </a:cubicBezTo>
                    <a:lnTo>
                      <a:pt x="84246" y="845380"/>
                    </a:lnTo>
                    <a:lnTo>
                      <a:pt x="82134" y="853957"/>
                    </a:lnTo>
                    <a:cubicBezTo>
                      <a:pt x="80799" y="859682"/>
                      <a:pt x="79205" y="865367"/>
                      <a:pt x="78328" y="871191"/>
                    </a:cubicBezTo>
                    <a:lnTo>
                      <a:pt x="75319" y="888605"/>
                    </a:lnTo>
                    <a:cubicBezTo>
                      <a:pt x="74761" y="891497"/>
                      <a:pt x="74561" y="894430"/>
                      <a:pt x="74223" y="897362"/>
                    </a:cubicBezTo>
                    <a:lnTo>
                      <a:pt x="73306" y="906138"/>
                    </a:lnTo>
                    <a:cubicBezTo>
                      <a:pt x="71791" y="917827"/>
                      <a:pt x="71791" y="929576"/>
                      <a:pt x="71333" y="941325"/>
                    </a:cubicBezTo>
                    <a:cubicBezTo>
                      <a:pt x="71054" y="964783"/>
                      <a:pt x="73107" y="988340"/>
                      <a:pt x="77212" y="1011518"/>
                    </a:cubicBezTo>
                    <a:cubicBezTo>
                      <a:pt x="78567" y="1019018"/>
                      <a:pt x="80101" y="1026499"/>
                      <a:pt x="81915" y="1033919"/>
                    </a:cubicBezTo>
                    <a:cubicBezTo>
                      <a:pt x="82752" y="1037529"/>
                      <a:pt x="83708" y="1041100"/>
                      <a:pt x="84665" y="1044670"/>
                    </a:cubicBezTo>
                    <a:lnTo>
                      <a:pt x="83987" y="1045528"/>
                    </a:lnTo>
                    <a:lnTo>
                      <a:pt x="83808" y="1045747"/>
                    </a:lnTo>
                    <a:lnTo>
                      <a:pt x="83728" y="1045847"/>
                    </a:lnTo>
                    <a:lnTo>
                      <a:pt x="82931" y="1046924"/>
                    </a:lnTo>
                    <a:lnTo>
                      <a:pt x="79464" y="1051672"/>
                    </a:lnTo>
                    <a:lnTo>
                      <a:pt x="72569" y="1061186"/>
                    </a:lnTo>
                    <a:lnTo>
                      <a:pt x="66072" y="1070980"/>
                    </a:lnTo>
                    <a:lnTo>
                      <a:pt x="62844" y="1075887"/>
                    </a:lnTo>
                    <a:cubicBezTo>
                      <a:pt x="61788" y="1077543"/>
                      <a:pt x="60811" y="1079238"/>
                      <a:pt x="59795" y="1080914"/>
                    </a:cubicBezTo>
                    <a:lnTo>
                      <a:pt x="53757" y="1091007"/>
                    </a:lnTo>
                    <a:cubicBezTo>
                      <a:pt x="51784" y="1094398"/>
                      <a:pt x="49970" y="1097889"/>
                      <a:pt x="48097" y="1101340"/>
                    </a:cubicBezTo>
                    <a:cubicBezTo>
                      <a:pt x="46264" y="1104810"/>
                      <a:pt x="44291" y="1108221"/>
                      <a:pt x="42637" y="1111792"/>
                    </a:cubicBezTo>
                    <a:cubicBezTo>
                      <a:pt x="39209" y="1118873"/>
                      <a:pt x="35702" y="1125914"/>
                      <a:pt x="32733" y="1133195"/>
                    </a:cubicBezTo>
                    <a:cubicBezTo>
                      <a:pt x="31218" y="1136825"/>
                      <a:pt x="29584" y="1140416"/>
                      <a:pt x="28169" y="1144086"/>
                    </a:cubicBezTo>
                    <a:lnTo>
                      <a:pt x="24024" y="1155157"/>
                    </a:lnTo>
                    <a:cubicBezTo>
                      <a:pt x="23347" y="1157012"/>
                      <a:pt x="22629" y="1158847"/>
                      <a:pt x="21992" y="1160702"/>
                    </a:cubicBezTo>
                    <a:lnTo>
                      <a:pt x="20178" y="1166327"/>
                    </a:lnTo>
                    <a:lnTo>
                      <a:pt x="16571" y="1177597"/>
                    </a:lnTo>
                    <a:cubicBezTo>
                      <a:pt x="15475" y="1181387"/>
                      <a:pt x="14479" y="1185197"/>
                      <a:pt x="13443" y="1189007"/>
                    </a:cubicBezTo>
                    <a:cubicBezTo>
                      <a:pt x="12426" y="1192817"/>
                      <a:pt x="11330" y="1196606"/>
                      <a:pt x="10553" y="1200476"/>
                    </a:cubicBezTo>
                    <a:cubicBezTo>
                      <a:pt x="5212" y="1223196"/>
                      <a:pt x="1825" y="1246394"/>
                      <a:pt x="609" y="1269672"/>
                    </a:cubicBezTo>
                    <a:cubicBezTo>
                      <a:pt x="-607" y="1292930"/>
                      <a:pt x="-49" y="1316268"/>
                      <a:pt x="2701" y="1339447"/>
                    </a:cubicBezTo>
                    <a:cubicBezTo>
                      <a:pt x="8261" y="1385764"/>
                      <a:pt x="21713" y="1431243"/>
                      <a:pt x="42677" y="1472772"/>
                    </a:cubicBezTo>
                    <a:cubicBezTo>
                      <a:pt x="53119" y="1493557"/>
                      <a:pt x="65215" y="1513444"/>
                      <a:pt x="78906" y="1532115"/>
                    </a:cubicBezTo>
                    <a:cubicBezTo>
                      <a:pt x="92636" y="1550765"/>
                      <a:pt x="107841" y="1568259"/>
                      <a:pt x="124301" y="1584396"/>
                    </a:cubicBezTo>
                    <a:cubicBezTo>
                      <a:pt x="140742" y="1600573"/>
                      <a:pt x="158557" y="1615274"/>
                      <a:pt x="177330" y="1628538"/>
                    </a:cubicBezTo>
                    <a:lnTo>
                      <a:pt x="184384" y="1633485"/>
                    </a:lnTo>
                    <a:lnTo>
                      <a:pt x="191598" y="1638193"/>
                    </a:lnTo>
                    <a:cubicBezTo>
                      <a:pt x="196381" y="1641384"/>
                      <a:pt x="201323" y="1644316"/>
                      <a:pt x="206225" y="1647288"/>
                    </a:cubicBezTo>
                    <a:cubicBezTo>
                      <a:pt x="208676" y="1648804"/>
                      <a:pt x="211167" y="1650221"/>
                      <a:pt x="213678" y="1651597"/>
                    </a:cubicBezTo>
                    <a:cubicBezTo>
                      <a:pt x="214575" y="1652096"/>
                      <a:pt x="214216" y="1651916"/>
                      <a:pt x="214356" y="1651996"/>
                    </a:cubicBezTo>
                    <a:cubicBezTo>
                      <a:pt x="214395" y="1652016"/>
                      <a:pt x="214435" y="1652036"/>
                      <a:pt x="214475" y="1652056"/>
                    </a:cubicBezTo>
                    <a:lnTo>
                      <a:pt x="214515" y="1652056"/>
                    </a:lnTo>
                    <a:lnTo>
                      <a:pt x="214555" y="1653691"/>
                    </a:lnTo>
                    <a:lnTo>
                      <a:pt x="214555" y="1653891"/>
                    </a:lnTo>
                    <a:lnTo>
                      <a:pt x="214615" y="1654609"/>
                    </a:lnTo>
                    <a:lnTo>
                      <a:pt x="214914" y="1658359"/>
                    </a:lnTo>
                    <a:lnTo>
                      <a:pt x="215511" y="1665839"/>
                    </a:lnTo>
                    <a:cubicBezTo>
                      <a:pt x="216129" y="1675833"/>
                      <a:pt x="217664" y="1685746"/>
                      <a:pt x="219019" y="1695680"/>
                    </a:cubicBezTo>
                    <a:cubicBezTo>
                      <a:pt x="222347" y="1715427"/>
                      <a:pt x="226512" y="1735095"/>
                      <a:pt x="232689" y="1754144"/>
                    </a:cubicBezTo>
                    <a:lnTo>
                      <a:pt x="234881" y="1761325"/>
                    </a:lnTo>
                    <a:cubicBezTo>
                      <a:pt x="235659" y="1763699"/>
                      <a:pt x="236555" y="1766033"/>
                      <a:pt x="237392" y="1768387"/>
                    </a:cubicBezTo>
                    <a:lnTo>
                      <a:pt x="242514" y="1782489"/>
                    </a:lnTo>
                    <a:lnTo>
                      <a:pt x="248333" y="1796292"/>
                    </a:lnTo>
                    <a:cubicBezTo>
                      <a:pt x="249329" y="1798586"/>
                      <a:pt x="250246" y="1800920"/>
                      <a:pt x="251302" y="1803174"/>
                    </a:cubicBezTo>
                    <a:lnTo>
                      <a:pt x="254550" y="1809916"/>
                    </a:lnTo>
                    <a:cubicBezTo>
                      <a:pt x="262960" y="1828028"/>
                      <a:pt x="273123" y="1845222"/>
                      <a:pt x="283944" y="1861858"/>
                    </a:cubicBezTo>
                    <a:lnTo>
                      <a:pt x="293728" y="1876100"/>
                    </a:lnTo>
                    <a:lnTo>
                      <a:pt x="304151" y="1889844"/>
                    </a:lnTo>
                    <a:lnTo>
                      <a:pt x="306761" y="1893275"/>
                    </a:lnTo>
                    <a:lnTo>
                      <a:pt x="309511" y="1896586"/>
                    </a:lnTo>
                    <a:lnTo>
                      <a:pt x="315051" y="1903168"/>
                    </a:lnTo>
                    <a:lnTo>
                      <a:pt x="320611" y="1909751"/>
                    </a:lnTo>
                    <a:lnTo>
                      <a:pt x="326430" y="1916074"/>
                    </a:lnTo>
                    <a:lnTo>
                      <a:pt x="332269" y="1922377"/>
                    </a:lnTo>
                    <a:lnTo>
                      <a:pt x="335198" y="1925529"/>
                    </a:lnTo>
                    <a:lnTo>
                      <a:pt x="338247" y="1928541"/>
                    </a:lnTo>
                    <a:lnTo>
                      <a:pt x="350503" y="1940549"/>
                    </a:lnTo>
                    <a:lnTo>
                      <a:pt x="363297" y="1951959"/>
                    </a:lnTo>
                    <a:lnTo>
                      <a:pt x="366505" y="1954791"/>
                    </a:lnTo>
                    <a:lnTo>
                      <a:pt x="369813" y="1957504"/>
                    </a:lnTo>
                    <a:lnTo>
                      <a:pt x="376469" y="1962890"/>
                    </a:lnTo>
                    <a:cubicBezTo>
                      <a:pt x="412000" y="1991553"/>
                      <a:pt x="451816" y="2014512"/>
                      <a:pt x="493844" y="2031587"/>
                    </a:cubicBezTo>
                    <a:cubicBezTo>
                      <a:pt x="514928" y="2039945"/>
                      <a:pt x="536490" y="2047106"/>
                      <a:pt x="558490" y="2052491"/>
                    </a:cubicBezTo>
                    <a:cubicBezTo>
                      <a:pt x="563971" y="2053928"/>
                      <a:pt x="569530" y="2054965"/>
                      <a:pt x="575050" y="2056202"/>
                    </a:cubicBezTo>
                    <a:lnTo>
                      <a:pt x="583341" y="2057977"/>
                    </a:lnTo>
                    <a:lnTo>
                      <a:pt x="591710" y="2059393"/>
                    </a:lnTo>
                    <a:cubicBezTo>
                      <a:pt x="597290" y="2060271"/>
                      <a:pt x="602850" y="2061368"/>
                      <a:pt x="608450" y="2062046"/>
                    </a:cubicBezTo>
                    <a:lnTo>
                      <a:pt x="625269" y="2064041"/>
                    </a:lnTo>
                    <a:cubicBezTo>
                      <a:pt x="628079" y="2064420"/>
                      <a:pt x="630888" y="2064619"/>
                      <a:pt x="633698" y="2064799"/>
                    </a:cubicBezTo>
                    <a:lnTo>
                      <a:pt x="642148" y="2065397"/>
                    </a:lnTo>
                    <a:lnTo>
                      <a:pt x="650597" y="2065976"/>
                    </a:lnTo>
                    <a:cubicBezTo>
                      <a:pt x="653407" y="2066155"/>
                      <a:pt x="656237" y="2066155"/>
                      <a:pt x="659047" y="2066255"/>
                    </a:cubicBezTo>
                    <a:lnTo>
                      <a:pt x="675925" y="2066614"/>
                    </a:lnTo>
                    <a:lnTo>
                      <a:pt x="692286" y="2066394"/>
                    </a:lnTo>
                    <a:cubicBezTo>
                      <a:pt x="714127" y="2065836"/>
                      <a:pt x="736048" y="2064160"/>
                      <a:pt x="757949" y="2061208"/>
                    </a:cubicBezTo>
                    <a:cubicBezTo>
                      <a:pt x="801710" y="2055324"/>
                      <a:pt x="845472" y="2044373"/>
                      <a:pt x="887540" y="2027019"/>
                    </a:cubicBezTo>
                    <a:cubicBezTo>
                      <a:pt x="908564" y="2018342"/>
                      <a:pt x="929149" y="2008049"/>
                      <a:pt x="948918" y="1996041"/>
                    </a:cubicBezTo>
                    <a:cubicBezTo>
                      <a:pt x="968686" y="1984013"/>
                      <a:pt x="987558" y="1970150"/>
                      <a:pt x="1005194" y="1954652"/>
                    </a:cubicBezTo>
                    <a:cubicBezTo>
                      <a:pt x="1008462" y="1951799"/>
                      <a:pt x="1011730" y="1948927"/>
                      <a:pt x="1014839" y="1945875"/>
                    </a:cubicBezTo>
                    <a:cubicBezTo>
                      <a:pt x="1017968" y="1942843"/>
                      <a:pt x="1021196" y="1939931"/>
                      <a:pt x="1024205" y="1936759"/>
                    </a:cubicBezTo>
                    <a:lnTo>
                      <a:pt x="1033272" y="1927324"/>
                    </a:lnTo>
                    <a:lnTo>
                      <a:pt x="1041084" y="1918527"/>
                    </a:lnTo>
                    <a:cubicBezTo>
                      <a:pt x="1045050" y="1922976"/>
                      <a:pt x="1048936" y="1927524"/>
                      <a:pt x="1053121" y="1931732"/>
                    </a:cubicBezTo>
                    <a:lnTo>
                      <a:pt x="1059518" y="1938335"/>
                    </a:lnTo>
                    <a:cubicBezTo>
                      <a:pt x="1061690" y="1940489"/>
                      <a:pt x="1063922" y="1942583"/>
                      <a:pt x="1066134" y="1944698"/>
                    </a:cubicBezTo>
                    <a:cubicBezTo>
                      <a:pt x="1083192" y="1960895"/>
                      <a:pt x="1101585" y="1975536"/>
                      <a:pt x="1121015" y="1988242"/>
                    </a:cubicBezTo>
                    <a:cubicBezTo>
                      <a:pt x="1140425" y="2000988"/>
                      <a:pt x="1160731" y="2011999"/>
                      <a:pt x="1181536" y="2021354"/>
                    </a:cubicBezTo>
                    <a:cubicBezTo>
                      <a:pt x="1223205" y="2040084"/>
                      <a:pt x="1266807" y="2052272"/>
                      <a:pt x="1310529" y="2059174"/>
                    </a:cubicBezTo>
                    <a:cubicBezTo>
                      <a:pt x="1332410" y="2062644"/>
                      <a:pt x="1354331" y="2064819"/>
                      <a:pt x="1376212" y="2065856"/>
                    </a:cubicBezTo>
                    <a:cubicBezTo>
                      <a:pt x="1381672" y="2066035"/>
                      <a:pt x="1387152" y="2066334"/>
                      <a:pt x="1392612" y="2066414"/>
                    </a:cubicBezTo>
                    <a:cubicBezTo>
                      <a:pt x="1398092" y="2066454"/>
                      <a:pt x="1403453" y="2066634"/>
                      <a:pt x="1409053" y="2066554"/>
                    </a:cubicBezTo>
                    <a:lnTo>
                      <a:pt x="1425952" y="2066155"/>
                    </a:lnTo>
                    <a:lnTo>
                      <a:pt x="1430176" y="2066035"/>
                    </a:lnTo>
                    <a:lnTo>
                      <a:pt x="1434401" y="2065756"/>
                    </a:lnTo>
                    <a:lnTo>
                      <a:pt x="1442851" y="2065158"/>
                    </a:lnTo>
                    <a:cubicBezTo>
                      <a:pt x="1454130" y="2064559"/>
                      <a:pt x="1465309" y="2062944"/>
                      <a:pt x="1476529" y="2061647"/>
                    </a:cubicBezTo>
                    <a:cubicBezTo>
                      <a:pt x="1487668" y="2059772"/>
                      <a:pt x="1498868" y="2058156"/>
                      <a:pt x="1509908" y="2055563"/>
                    </a:cubicBezTo>
                    <a:cubicBezTo>
                      <a:pt x="1521008" y="2053389"/>
                      <a:pt x="1531908" y="2050257"/>
                      <a:pt x="1542849" y="2047365"/>
                    </a:cubicBezTo>
                    <a:cubicBezTo>
                      <a:pt x="1553650" y="2043934"/>
                      <a:pt x="1564530" y="2040743"/>
                      <a:pt x="1575112" y="2036614"/>
                    </a:cubicBezTo>
                    <a:cubicBezTo>
                      <a:pt x="1580433" y="2034659"/>
                      <a:pt x="1585773" y="2032744"/>
                      <a:pt x="1590975" y="2030450"/>
                    </a:cubicBezTo>
                    <a:cubicBezTo>
                      <a:pt x="1596196" y="2028236"/>
                      <a:pt x="1601457" y="2026082"/>
                      <a:pt x="1606618" y="2023768"/>
                    </a:cubicBezTo>
                    <a:lnTo>
                      <a:pt x="1621982" y="2016427"/>
                    </a:lnTo>
                    <a:cubicBezTo>
                      <a:pt x="1624553" y="2015230"/>
                      <a:pt x="1627064" y="2013894"/>
                      <a:pt x="1629575" y="2012558"/>
                    </a:cubicBezTo>
                    <a:lnTo>
                      <a:pt x="1637088" y="2008528"/>
                    </a:lnTo>
                    <a:cubicBezTo>
                      <a:pt x="1657016" y="1997597"/>
                      <a:pt x="1676366" y="1985509"/>
                      <a:pt x="1694480" y="1971646"/>
                    </a:cubicBezTo>
                    <a:cubicBezTo>
                      <a:pt x="1712634" y="1957863"/>
                      <a:pt x="1729952" y="1942863"/>
                      <a:pt x="1745974" y="1926526"/>
                    </a:cubicBezTo>
                    <a:cubicBezTo>
                      <a:pt x="1761916" y="1910090"/>
                      <a:pt x="1776703" y="1892457"/>
                      <a:pt x="1790114" y="1873766"/>
                    </a:cubicBezTo>
                    <a:lnTo>
                      <a:pt x="1799042" y="1860741"/>
                    </a:lnTo>
                    <a:cubicBezTo>
                      <a:pt x="1801991" y="1856373"/>
                      <a:pt x="1804641" y="1851805"/>
                      <a:pt x="1807431" y="1847337"/>
                    </a:cubicBezTo>
                    <a:lnTo>
                      <a:pt x="1811557" y="1840595"/>
                    </a:lnTo>
                    <a:lnTo>
                      <a:pt x="1815383" y="1833653"/>
                    </a:lnTo>
                    <a:cubicBezTo>
                      <a:pt x="1817894" y="1829005"/>
                      <a:pt x="1820544" y="1824438"/>
                      <a:pt x="1822895" y="1819690"/>
                    </a:cubicBezTo>
                    <a:cubicBezTo>
                      <a:pt x="1832501" y="1800840"/>
                      <a:pt x="1840532" y="1781173"/>
                      <a:pt x="1847367" y="1761086"/>
                    </a:cubicBezTo>
                    <a:cubicBezTo>
                      <a:pt x="1853923" y="1740880"/>
                      <a:pt x="1859005" y="1720215"/>
                      <a:pt x="1862612" y="1699270"/>
                    </a:cubicBezTo>
                    <a:cubicBezTo>
                      <a:pt x="1863429" y="1694024"/>
                      <a:pt x="1864106" y="1688758"/>
                      <a:pt x="1864824" y="1683492"/>
                    </a:cubicBezTo>
                    <a:cubicBezTo>
                      <a:pt x="1865162" y="1680859"/>
                      <a:pt x="1865561" y="1678226"/>
                      <a:pt x="1865840" y="1675593"/>
                    </a:cubicBezTo>
                    <a:lnTo>
                      <a:pt x="1866498" y="1667654"/>
                    </a:lnTo>
                    <a:lnTo>
                      <a:pt x="1867594" y="1653811"/>
                    </a:lnTo>
                    <a:lnTo>
                      <a:pt x="1867634" y="1652096"/>
                    </a:lnTo>
                    <a:cubicBezTo>
                      <a:pt x="1867634" y="1652096"/>
                      <a:pt x="1867793" y="1652056"/>
                      <a:pt x="1867833" y="1652016"/>
                    </a:cubicBezTo>
                    <a:lnTo>
                      <a:pt x="1867853" y="1652016"/>
                    </a:lnTo>
                    <a:cubicBezTo>
                      <a:pt x="1867853" y="1652016"/>
                      <a:pt x="1867833" y="1652016"/>
                      <a:pt x="1867913" y="1651956"/>
                    </a:cubicBezTo>
                    <a:lnTo>
                      <a:pt x="1868152" y="1651816"/>
                    </a:lnTo>
                    <a:lnTo>
                      <a:pt x="1869088" y="1651298"/>
                    </a:lnTo>
                    <a:lnTo>
                      <a:pt x="1870962" y="1650241"/>
                    </a:lnTo>
                    <a:cubicBezTo>
                      <a:pt x="1873472" y="1648864"/>
                      <a:pt x="1875904" y="1647308"/>
                      <a:pt x="1878375" y="1645852"/>
                    </a:cubicBezTo>
                    <a:lnTo>
                      <a:pt x="1885728" y="1641384"/>
                    </a:lnTo>
                    <a:lnTo>
                      <a:pt x="1892942" y="1636677"/>
                    </a:lnTo>
                    <a:cubicBezTo>
                      <a:pt x="1912152" y="1624050"/>
                      <a:pt x="1930426" y="1609948"/>
                      <a:pt x="1947385" y="1594349"/>
                    </a:cubicBezTo>
                    <a:cubicBezTo>
                      <a:pt x="1964364" y="1578771"/>
                      <a:pt x="1980166" y="1561836"/>
                      <a:pt x="1994515" y="1543684"/>
                    </a:cubicBezTo>
                    <a:cubicBezTo>
                      <a:pt x="2008823" y="1525492"/>
                      <a:pt x="2021616" y="1506064"/>
                      <a:pt x="2032776" y="1485678"/>
                    </a:cubicBezTo>
                    <a:cubicBezTo>
                      <a:pt x="2055175" y="1444966"/>
                      <a:pt x="2070280" y="1400026"/>
                      <a:pt x="2077534" y="1353928"/>
                    </a:cubicBezTo>
                    <a:cubicBezTo>
                      <a:pt x="2081041" y="1330850"/>
                      <a:pt x="2082596" y="1307512"/>
                      <a:pt x="2082078" y="1284253"/>
                    </a:cubicBezTo>
                    <a:close/>
                    <a:moveTo>
                      <a:pt x="1997623" y="1044531"/>
                    </a:moveTo>
                    <a:lnTo>
                      <a:pt x="1997623" y="1044531"/>
                    </a:lnTo>
                    <a:cubicBezTo>
                      <a:pt x="1997623" y="1044531"/>
                      <a:pt x="1997623" y="1044531"/>
                      <a:pt x="1997623" y="1044531"/>
                    </a:cubicBezTo>
                    <a:close/>
                    <a:moveTo>
                      <a:pt x="2037619" y="1347525"/>
                    </a:moveTo>
                    <a:cubicBezTo>
                      <a:pt x="2031082" y="1388955"/>
                      <a:pt x="2017531" y="1429328"/>
                      <a:pt x="1997344" y="1466010"/>
                    </a:cubicBezTo>
                    <a:cubicBezTo>
                      <a:pt x="1987301" y="1484382"/>
                      <a:pt x="1975742" y="1501915"/>
                      <a:pt x="1962829" y="1518351"/>
                    </a:cubicBezTo>
                    <a:cubicBezTo>
                      <a:pt x="1949856" y="1534748"/>
                      <a:pt x="1935588" y="1550067"/>
                      <a:pt x="1920203" y="1564189"/>
                    </a:cubicBezTo>
                    <a:cubicBezTo>
                      <a:pt x="1904839" y="1578332"/>
                      <a:pt x="1888279" y="1591118"/>
                      <a:pt x="1870862" y="1602567"/>
                    </a:cubicBezTo>
                    <a:lnTo>
                      <a:pt x="1864306" y="1606836"/>
                    </a:lnTo>
                    <a:lnTo>
                      <a:pt x="1857630" y="1610885"/>
                    </a:lnTo>
                    <a:cubicBezTo>
                      <a:pt x="1855378" y="1612202"/>
                      <a:pt x="1853206" y="1613638"/>
                      <a:pt x="1850914" y="1614875"/>
                    </a:cubicBezTo>
                    <a:lnTo>
                      <a:pt x="1845454" y="1617927"/>
                    </a:lnTo>
                    <a:cubicBezTo>
                      <a:pt x="1842564" y="1619602"/>
                      <a:pt x="1839535" y="1621038"/>
                      <a:pt x="1836586" y="1622594"/>
                    </a:cubicBezTo>
                    <a:cubicBezTo>
                      <a:pt x="1833597" y="1624090"/>
                      <a:pt x="1830568" y="1625466"/>
                      <a:pt x="1827539" y="1626923"/>
                    </a:cubicBezTo>
                    <a:cubicBezTo>
                      <a:pt x="1827280" y="1631371"/>
                      <a:pt x="1827778" y="1636018"/>
                      <a:pt x="1827559" y="1640546"/>
                    </a:cubicBezTo>
                    <a:lnTo>
                      <a:pt x="1827299" y="1650281"/>
                    </a:lnTo>
                    <a:lnTo>
                      <a:pt x="1827260" y="1651497"/>
                    </a:lnTo>
                    <a:lnTo>
                      <a:pt x="1827140" y="1653213"/>
                    </a:lnTo>
                    <a:lnTo>
                      <a:pt x="1826861" y="1656783"/>
                    </a:lnTo>
                    <a:lnTo>
                      <a:pt x="1826283" y="1663944"/>
                    </a:lnTo>
                    <a:lnTo>
                      <a:pt x="1825685" y="1671105"/>
                    </a:lnTo>
                    <a:cubicBezTo>
                      <a:pt x="1825426" y="1673479"/>
                      <a:pt x="1825068" y="1675853"/>
                      <a:pt x="1824769" y="1678226"/>
                    </a:cubicBezTo>
                    <a:cubicBezTo>
                      <a:pt x="1824111" y="1682974"/>
                      <a:pt x="1823513" y="1687721"/>
                      <a:pt x="1822776" y="1692448"/>
                    </a:cubicBezTo>
                    <a:cubicBezTo>
                      <a:pt x="1819508" y="1711318"/>
                      <a:pt x="1814924" y="1729949"/>
                      <a:pt x="1809026" y="1748180"/>
                    </a:cubicBezTo>
                    <a:cubicBezTo>
                      <a:pt x="1802828" y="1766292"/>
                      <a:pt x="1795594" y="1784045"/>
                      <a:pt x="1786926" y="1801100"/>
                    </a:cubicBezTo>
                    <a:cubicBezTo>
                      <a:pt x="1784793" y="1805388"/>
                      <a:pt x="1782382" y="1809517"/>
                      <a:pt x="1780130" y="1813726"/>
                    </a:cubicBezTo>
                    <a:lnTo>
                      <a:pt x="1776683" y="1820009"/>
                    </a:lnTo>
                    <a:lnTo>
                      <a:pt x="1772936" y="1826113"/>
                    </a:lnTo>
                    <a:cubicBezTo>
                      <a:pt x="1770405" y="1830162"/>
                      <a:pt x="1768014" y="1834311"/>
                      <a:pt x="1765344" y="1838261"/>
                    </a:cubicBezTo>
                    <a:lnTo>
                      <a:pt x="1757253" y="1850070"/>
                    </a:lnTo>
                    <a:cubicBezTo>
                      <a:pt x="1745097" y="1867024"/>
                      <a:pt x="1731666" y="1883022"/>
                      <a:pt x="1717178" y="1897982"/>
                    </a:cubicBezTo>
                    <a:cubicBezTo>
                      <a:pt x="1702591" y="1912863"/>
                      <a:pt x="1686828" y="1926506"/>
                      <a:pt x="1670268" y="1939073"/>
                    </a:cubicBezTo>
                    <a:cubicBezTo>
                      <a:pt x="1653748" y="1951719"/>
                      <a:pt x="1636071" y="1962750"/>
                      <a:pt x="1617877" y="1972743"/>
                    </a:cubicBezTo>
                    <a:lnTo>
                      <a:pt x="1611022" y="1976434"/>
                    </a:lnTo>
                    <a:cubicBezTo>
                      <a:pt x="1608750" y="1977670"/>
                      <a:pt x="1606459" y="1978907"/>
                      <a:pt x="1604087" y="1979984"/>
                    </a:cubicBezTo>
                    <a:lnTo>
                      <a:pt x="1590038" y="1986706"/>
                    </a:lnTo>
                    <a:cubicBezTo>
                      <a:pt x="1585295" y="1988821"/>
                      <a:pt x="1580493" y="1990775"/>
                      <a:pt x="1575730" y="1992810"/>
                    </a:cubicBezTo>
                    <a:cubicBezTo>
                      <a:pt x="1570987" y="1994924"/>
                      <a:pt x="1566085" y="1996660"/>
                      <a:pt x="1561222" y="1998435"/>
                    </a:cubicBezTo>
                    <a:cubicBezTo>
                      <a:pt x="1551557" y="2002205"/>
                      <a:pt x="1541593" y="2005117"/>
                      <a:pt x="1531709" y="2008269"/>
                    </a:cubicBezTo>
                    <a:cubicBezTo>
                      <a:pt x="1521685" y="2010902"/>
                      <a:pt x="1511701" y="2013794"/>
                      <a:pt x="1501538" y="2015769"/>
                    </a:cubicBezTo>
                    <a:cubicBezTo>
                      <a:pt x="1491435" y="2018163"/>
                      <a:pt x="1481172" y="2019599"/>
                      <a:pt x="1470969" y="2021354"/>
                    </a:cubicBezTo>
                    <a:cubicBezTo>
                      <a:pt x="1460686" y="2022531"/>
                      <a:pt x="1450423" y="2024047"/>
                      <a:pt x="1440061" y="2024566"/>
                    </a:cubicBezTo>
                    <a:lnTo>
                      <a:pt x="1432309" y="2025104"/>
                    </a:lnTo>
                    <a:lnTo>
                      <a:pt x="1428443" y="2025363"/>
                    </a:lnTo>
                    <a:lnTo>
                      <a:pt x="1424557" y="2025463"/>
                    </a:lnTo>
                    <a:lnTo>
                      <a:pt x="1409033" y="2025822"/>
                    </a:lnTo>
                    <a:cubicBezTo>
                      <a:pt x="1403872" y="2025902"/>
                      <a:pt x="1398790" y="2025742"/>
                      <a:pt x="1393649" y="2025703"/>
                    </a:cubicBezTo>
                    <a:cubicBezTo>
                      <a:pt x="1388527" y="2025623"/>
                      <a:pt x="1383406" y="2025344"/>
                      <a:pt x="1378304" y="2025164"/>
                    </a:cubicBezTo>
                    <a:cubicBezTo>
                      <a:pt x="1357838" y="2024187"/>
                      <a:pt x="1337372" y="2022152"/>
                      <a:pt x="1317046" y="2018941"/>
                    </a:cubicBezTo>
                    <a:cubicBezTo>
                      <a:pt x="1276413" y="2012538"/>
                      <a:pt x="1236258" y="2001268"/>
                      <a:pt x="1198315" y="1984193"/>
                    </a:cubicBezTo>
                    <a:cubicBezTo>
                      <a:pt x="1179344" y="1975656"/>
                      <a:pt x="1160951" y="1965682"/>
                      <a:pt x="1143454" y="1954193"/>
                    </a:cubicBezTo>
                    <a:cubicBezTo>
                      <a:pt x="1125937" y="1942743"/>
                      <a:pt x="1109457" y="1929598"/>
                      <a:pt x="1094212" y="1915137"/>
                    </a:cubicBezTo>
                    <a:cubicBezTo>
                      <a:pt x="1092239" y="1913242"/>
                      <a:pt x="1090246" y="1911367"/>
                      <a:pt x="1088293" y="1909452"/>
                    </a:cubicBezTo>
                    <a:lnTo>
                      <a:pt x="1082594" y="1903547"/>
                    </a:lnTo>
                    <a:cubicBezTo>
                      <a:pt x="1078728" y="1899678"/>
                      <a:pt x="1075201" y="1895469"/>
                      <a:pt x="1071534" y="1891400"/>
                    </a:cubicBezTo>
                    <a:lnTo>
                      <a:pt x="1070777" y="1890562"/>
                    </a:lnTo>
                    <a:lnTo>
                      <a:pt x="1069940" y="1889565"/>
                    </a:lnTo>
                    <a:lnTo>
                      <a:pt x="1068286" y="1887550"/>
                    </a:lnTo>
                    <a:lnTo>
                      <a:pt x="1064998" y="1883501"/>
                    </a:lnTo>
                    <a:cubicBezTo>
                      <a:pt x="1062945" y="1880708"/>
                      <a:pt x="1060773" y="1877975"/>
                      <a:pt x="1058800" y="1875123"/>
                    </a:cubicBezTo>
                    <a:cubicBezTo>
                      <a:pt x="1053041" y="1867084"/>
                      <a:pt x="1047999" y="1858547"/>
                      <a:pt x="1043476" y="1849750"/>
                    </a:cubicBezTo>
                    <a:lnTo>
                      <a:pt x="1041782" y="1846459"/>
                    </a:lnTo>
                    <a:lnTo>
                      <a:pt x="1041563" y="1846040"/>
                    </a:lnTo>
                    <a:cubicBezTo>
                      <a:pt x="1041503" y="1845901"/>
                      <a:pt x="1041423" y="1845721"/>
                      <a:pt x="1041244" y="1845741"/>
                    </a:cubicBezTo>
                    <a:cubicBezTo>
                      <a:pt x="1041064" y="1845741"/>
                      <a:pt x="1041004" y="1845921"/>
                      <a:pt x="1040945" y="1846040"/>
                    </a:cubicBezTo>
                    <a:lnTo>
                      <a:pt x="1040726" y="1846459"/>
                    </a:lnTo>
                    <a:lnTo>
                      <a:pt x="1039869" y="1848115"/>
                    </a:lnTo>
                    <a:cubicBezTo>
                      <a:pt x="1038713" y="1850309"/>
                      <a:pt x="1037637" y="1852523"/>
                      <a:pt x="1036441" y="1854697"/>
                    </a:cubicBezTo>
                    <a:lnTo>
                      <a:pt x="1032774" y="1861140"/>
                    </a:lnTo>
                    <a:cubicBezTo>
                      <a:pt x="1031519" y="1863274"/>
                      <a:pt x="1030164" y="1865329"/>
                      <a:pt x="1028868" y="1867443"/>
                    </a:cubicBezTo>
                    <a:cubicBezTo>
                      <a:pt x="1023508" y="1875761"/>
                      <a:pt x="1017589" y="1883700"/>
                      <a:pt x="1011153" y="1891220"/>
                    </a:cubicBezTo>
                    <a:lnTo>
                      <a:pt x="1003680" y="1899618"/>
                    </a:lnTo>
                    <a:lnTo>
                      <a:pt x="995589" y="1908035"/>
                    </a:lnTo>
                    <a:cubicBezTo>
                      <a:pt x="992919" y="1910868"/>
                      <a:pt x="990009" y="1913461"/>
                      <a:pt x="987219" y="1916174"/>
                    </a:cubicBezTo>
                    <a:cubicBezTo>
                      <a:pt x="984449" y="1918906"/>
                      <a:pt x="981520" y="1921460"/>
                      <a:pt x="978590" y="1924013"/>
                    </a:cubicBezTo>
                    <a:cubicBezTo>
                      <a:pt x="962807" y="1937896"/>
                      <a:pt x="945849" y="1950343"/>
                      <a:pt x="927993" y="1961214"/>
                    </a:cubicBezTo>
                    <a:cubicBezTo>
                      <a:pt x="910138" y="1972065"/>
                      <a:pt x="891446" y="1981420"/>
                      <a:pt x="872255" y="1989339"/>
                    </a:cubicBezTo>
                    <a:cubicBezTo>
                      <a:pt x="833834" y="2005197"/>
                      <a:pt x="793460" y="2015350"/>
                      <a:pt x="752728" y="2020836"/>
                    </a:cubicBezTo>
                    <a:cubicBezTo>
                      <a:pt x="732361" y="2023568"/>
                      <a:pt x="711875" y="2025144"/>
                      <a:pt x="691390" y="2025683"/>
                    </a:cubicBezTo>
                    <a:lnTo>
                      <a:pt x="676045" y="2025882"/>
                    </a:lnTo>
                    <a:lnTo>
                      <a:pt x="660521" y="2025543"/>
                    </a:lnTo>
                    <a:cubicBezTo>
                      <a:pt x="657931" y="2025463"/>
                      <a:pt x="655340" y="2025463"/>
                      <a:pt x="652769" y="2025304"/>
                    </a:cubicBezTo>
                    <a:lnTo>
                      <a:pt x="645017" y="2024765"/>
                    </a:lnTo>
                    <a:lnTo>
                      <a:pt x="637265" y="2024207"/>
                    </a:lnTo>
                    <a:cubicBezTo>
                      <a:pt x="634675" y="2024027"/>
                      <a:pt x="632104" y="2023848"/>
                      <a:pt x="629533" y="2023508"/>
                    </a:cubicBezTo>
                    <a:lnTo>
                      <a:pt x="614109" y="2021673"/>
                    </a:lnTo>
                    <a:cubicBezTo>
                      <a:pt x="608968" y="2021055"/>
                      <a:pt x="603886" y="2020038"/>
                      <a:pt x="598765" y="2019240"/>
                    </a:cubicBezTo>
                    <a:lnTo>
                      <a:pt x="591092" y="2017963"/>
                    </a:lnTo>
                    <a:lnTo>
                      <a:pt x="583500" y="2016328"/>
                    </a:lnTo>
                    <a:cubicBezTo>
                      <a:pt x="578438" y="2015191"/>
                      <a:pt x="573337" y="2014253"/>
                      <a:pt x="568335" y="2012937"/>
                    </a:cubicBezTo>
                    <a:cubicBezTo>
                      <a:pt x="548188" y="2008010"/>
                      <a:pt x="528459" y="2001447"/>
                      <a:pt x="509169" y="1993807"/>
                    </a:cubicBezTo>
                    <a:cubicBezTo>
                      <a:pt x="470728" y="1978169"/>
                      <a:pt x="434360" y="1957225"/>
                      <a:pt x="401997" y="1931074"/>
                    </a:cubicBezTo>
                    <a:lnTo>
                      <a:pt x="395939" y="1926167"/>
                    </a:lnTo>
                    <a:lnTo>
                      <a:pt x="392910" y="1923714"/>
                    </a:lnTo>
                    <a:lnTo>
                      <a:pt x="390000" y="1921121"/>
                    </a:lnTo>
                    <a:lnTo>
                      <a:pt x="378342" y="1910728"/>
                    </a:lnTo>
                    <a:lnTo>
                      <a:pt x="367183" y="1899797"/>
                    </a:lnTo>
                    <a:lnTo>
                      <a:pt x="364393" y="1897065"/>
                    </a:lnTo>
                    <a:lnTo>
                      <a:pt x="361742" y="1894212"/>
                    </a:lnTo>
                    <a:lnTo>
                      <a:pt x="356422" y="1888487"/>
                    </a:lnTo>
                    <a:lnTo>
                      <a:pt x="351121" y="1882743"/>
                    </a:lnTo>
                    <a:lnTo>
                      <a:pt x="346079" y="1876758"/>
                    </a:lnTo>
                    <a:lnTo>
                      <a:pt x="341057" y="1870774"/>
                    </a:lnTo>
                    <a:lnTo>
                      <a:pt x="338546" y="1867782"/>
                    </a:lnTo>
                    <a:lnTo>
                      <a:pt x="336175" y="1864671"/>
                    </a:lnTo>
                    <a:lnTo>
                      <a:pt x="326709" y="1852204"/>
                    </a:lnTo>
                    <a:lnTo>
                      <a:pt x="317841" y="1839298"/>
                    </a:lnTo>
                    <a:cubicBezTo>
                      <a:pt x="308037" y="1824198"/>
                      <a:pt x="298830" y="1808660"/>
                      <a:pt x="291237" y="1792283"/>
                    </a:cubicBezTo>
                    <a:lnTo>
                      <a:pt x="288288" y="1786199"/>
                    </a:lnTo>
                    <a:cubicBezTo>
                      <a:pt x="287332" y="1784165"/>
                      <a:pt x="286515" y="1782050"/>
                      <a:pt x="285618" y="1779996"/>
                    </a:cubicBezTo>
                    <a:lnTo>
                      <a:pt x="280357" y="1767529"/>
                    </a:lnTo>
                    <a:lnTo>
                      <a:pt x="275734" y="1754803"/>
                    </a:lnTo>
                    <a:cubicBezTo>
                      <a:pt x="274976" y="1752668"/>
                      <a:pt x="274179" y="1750574"/>
                      <a:pt x="273462" y="1748420"/>
                    </a:cubicBezTo>
                    <a:lnTo>
                      <a:pt x="271489" y="1741937"/>
                    </a:lnTo>
                    <a:cubicBezTo>
                      <a:pt x="265889" y="1724763"/>
                      <a:pt x="262183" y="1707030"/>
                      <a:pt x="259153" y="1689237"/>
                    </a:cubicBezTo>
                    <a:cubicBezTo>
                      <a:pt x="257958" y="1680281"/>
                      <a:pt x="256543" y="1671364"/>
                      <a:pt x="256005" y="1662328"/>
                    </a:cubicBezTo>
                    <a:lnTo>
                      <a:pt x="255467" y="1655586"/>
                    </a:lnTo>
                    <a:lnTo>
                      <a:pt x="255188" y="1652215"/>
                    </a:lnTo>
                    <a:cubicBezTo>
                      <a:pt x="255128" y="1651577"/>
                      <a:pt x="255148" y="1651318"/>
                      <a:pt x="255128" y="1650899"/>
                    </a:cubicBezTo>
                    <a:lnTo>
                      <a:pt x="255088" y="1649762"/>
                    </a:lnTo>
                    <a:lnTo>
                      <a:pt x="254849" y="1640586"/>
                    </a:lnTo>
                    <a:cubicBezTo>
                      <a:pt x="254769" y="1638751"/>
                      <a:pt x="254789" y="1636916"/>
                      <a:pt x="254849" y="1635081"/>
                    </a:cubicBezTo>
                    <a:lnTo>
                      <a:pt x="254969" y="1629576"/>
                    </a:lnTo>
                    <a:lnTo>
                      <a:pt x="255008" y="1628199"/>
                    </a:lnTo>
                    <a:lnTo>
                      <a:pt x="255008" y="1627501"/>
                    </a:lnTo>
                    <a:cubicBezTo>
                      <a:pt x="255028" y="1627282"/>
                      <a:pt x="255068" y="1626982"/>
                      <a:pt x="254789" y="1626923"/>
                    </a:cubicBezTo>
                    <a:lnTo>
                      <a:pt x="252298" y="1625746"/>
                    </a:lnTo>
                    <a:lnTo>
                      <a:pt x="247316" y="1623392"/>
                    </a:lnTo>
                    <a:cubicBezTo>
                      <a:pt x="244347" y="1621876"/>
                      <a:pt x="241358" y="1620360"/>
                      <a:pt x="238409" y="1618784"/>
                    </a:cubicBezTo>
                    <a:lnTo>
                      <a:pt x="233765" y="1616191"/>
                    </a:lnTo>
                    <a:cubicBezTo>
                      <a:pt x="231494" y="1614935"/>
                      <a:pt x="229222" y="1613658"/>
                      <a:pt x="227010" y="1612282"/>
                    </a:cubicBezTo>
                    <a:cubicBezTo>
                      <a:pt x="222546" y="1609569"/>
                      <a:pt x="218062" y="1606936"/>
                      <a:pt x="213738" y="1604023"/>
                    </a:cubicBezTo>
                    <a:lnTo>
                      <a:pt x="207201" y="1599755"/>
                    </a:lnTo>
                    <a:lnTo>
                      <a:pt x="200805" y="1595267"/>
                    </a:lnTo>
                    <a:cubicBezTo>
                      <a:pt x="183766" y="1583239"/>
                      <a:pt x="167625" y="1569914"/>
                      <a:pt x="152739" y="1555273"/>
                    </a:cubicBezTo>
                    <a:cubicBezTo>
                      <a:pt x="137832" y="1540652"/>
                      <a:pt x="124082" y="1524834"/>
                      <a:pt x="111687" y="1507999"/>
                    </a:cubicBezTo>
                    <a:cubicBezTo>
                      <a:pt x="99332" y="1491124"/>
                      <a:pt x="88411" y="1473191"/>
                      <a:pt x="79005" y="1454481"/>
                    </a:cubicBezTo>
                    <a:cubicBezTo>
                      <a:pt x="76554" y="1449853"/>
                      <a:pt x="74482" y="1445026"/>
                      <a:pt x="72250" y="1440299"/>
                    </a:cubicBezTo>
                    <a:cubicBezTo>
                      <a:pt x="70078" y="1435531"/>
                      <a:pt x="68145" y="1430664"/>
                      <a:pt x="66112" y="1425837"/>
                    </a:cubicBezTo>
                    <a:cubicBezTo>
                      <a:pt x="64299" y="1420930"/>
                      <a:pt x="62346" y="1416063"/>
                      <a:pt x="60652" y="1411096"/>
                    </a:cubicBezTo>
                    <a:cubicBezTo>
                      <a:pt x="59018" y="1406110"/>
                      <a:pt x="57224" y="1401183"/>
                      <a:pt x="55829" y="1396136"/>
                    </a:cubicBezTo>
                    <a:cubicBezTo>
                      <a:pt x="49811" y="1376049"/>
                      <a:pt x="45526" y="1355444"/>
                      <a:pt x="43055" y="1334620"/>
                    </a:cubicBezTo>
                    <a:cubicBezTo>
                      <a:pt x="40584" y="1313795"/>
                      <a:pt x="40086" y="1292771"/>
                      <a:pt x="41182" y="1271846"/>
                    </a:cubicBezTo>
                    <a:cubicBezTo>
                      <a:pt x="42258" y="1250902"/>
                      <a:pt x="45327" y="1230058"/>
                      <a:pt x="50130" y="1209652"/>
                    </a:cubicBezTo>
                    <a:cubicBezTo>
                      <a:pt x="50827" y="1206181"/>
                      <a:pt x="51824" y="1202770"/>
                      <a:pt x="52740" y="1199339"/>
                    </a:cubicBezTo>
                    <a:cubicBezTo>
                      <a:pt x="53677" y="1195928"/>
                      <a:pt x="54554" y="1192497"/>
                      <a:pt x="55550" y="1189086"/>
                    </a:cubicBezTo>
                    <a:lnTo>
                      <a:pt x="58798" y="1178953"/>
                    </a:lnTo>
                    <a:lnTo>
                      <a:pt x="60433" y="1173887"/>
                    </a:lnTo>
                    <a:cubicBezTo>
                      <a:pt x="61010" y="1172211"/>
                      <a:pt x="61668" y="1170556"/>
                      <a:pt x="62266" y="1168900"/>
                    </a:cubicBezTo>
                    <a:lnTo>
                      <a:pt x="65992" y="1158947"/>
                    </a:lnTo>
                    <a:cubicBezTo>
                      <a:pt x="67268" y="1155635"/>
                      <a:pt x="68742" y="1152424"/>
                      <a:pt x="70098" y="1149153"/>
                    </a:cubicBezTo>
                    <a:cubicBezTo>
                      <a:pt x="72768" y="1142590"/>
                      <a:pt x="75956" y="1136247"/>
                      <a:pt x="79025" y="1129884"/>
                    </a:cubicBezTo>
                    <a:cubicBezTo>
                      <a:pt x="80500" y="1126672"/>
                      <a:pt x="82293" y="1123601"/>
                      <a:pt x="83947" y="1120469"/>
                    </a:cubicBezTo>
                    <a:cubicBezTo>
                      <a:pt x="85641" y="1117377"/>
                      <a:pt x="87255" y="1114205"/>
                      <a:pt x="89049" y="1111154"/>
                    </a:cubicBezTo>
                    <a:lnTo>
                      <a:pt x="94509" y="1102058"/>
                    </a:lnTo>
                    <a:cubicBezTo>
                      <a:pt x="95426" y="1100542"/>
                      <a:pt x="96323" y="1099006"/>
                      <a:pt x="97259" y="1097530"/>
                    </a:cubicBezTo>
                    <a:lnTo>
                      <a:pt x="100189" y="1093102"/>
                    </a:lnTo>
                    <a:lnTo>
                      <a:pt x="106047" y="1084265"/>
                    </a:lnTo>
                    <a:lnTo>
                      <a:pt x="112265" y="1075688"/>
                    </a:lnTo>
                    <a:lnTo>
                      <a:pt x="115394" y="1071399"/>
                    </a:lnTo>
                    <a:lnTo>
                      <a:pt x="116151" y="1070362"/>
                    </a:lnTo>
                    <a:lnTo>
                      <a:pt x="116709" y="1069664"/>
                    </a:lnTo>
                    <a:lnTo>
                      <a:pt x="117825" y="1068268"/>
                    </a:lnTo>
                    <a:lnTo>
                      <a:pt x="122269" y="1062702"/>
                    </a:lnTo>
                    <a:cubicBezTo>
                      <a:pt x="123604" y="1061007"/>
                      <a:pt x="125099" y="1059411"/>
                      <a:pt x="126493" y="1057775"/>
                    </a:cubicBezTo>
                    <a:lnTo>
                      <a:pt x="128626" y="1055322"/>
                    </a:lnTo>
                    <a:lnTo>
                      <a:pt x="129702" y="1054105"/>
                    </a:lnTo>
                    <a:cubicBezTo>
                      <a:pt x="129861" y="1053886"/>
                      <a:pt x="130100" y="1053726"/>
                      <a:pt x="130200" y="1053467"/>
                    </a:cubicBezTo>
                    <a:cubicBezTo>
                      <a:pt x="130180" y="1053208"/>
                      <a:pt x="130041" y="1052948"/>
                      <a:pt x="129961" y="1052689"/>
                    </a:cubicBezTo>
                    <a:cubicBezTo>
                      <a:pt x="128446" y="1048620"/>
                      <a:pt x="127071" y="1044531"/>
                      <a:pt x="125796" y="1040382"/>
                    </a:cubicBezTo>
                    <a:cubicBezTo>
                      <a:pt x="125178" y="1038367"/>
                      <a:pt x="124541" y="1036113"/>
                      <a:pt x="124022" y="1034258"/>
                    </a:cubicBezTo>
                    <a:cubicBezTo>
                      <a:pt x="123146" y="1030967"/>
                      <a:pt x="122269" y="1027675"/>
                      <a:pt x="121492" y="1024344"/>
                    </a:cubicBezTo>
                    <a:cubicBezTo>
                      <a:pt x="119877" y="1017722"/>
                      <a:pt x="118502" y="1011040"/>
                      <a:pt x="117287" y="1004337"/>
                    </a:cubicBezTo>
                    <a:cubicBezTo>
                      <a:pt x="113620" y="983613"/>
                      <a:pt x="111787" y="962569"/>
                      <a:pt x="112026" y="941544"/>
                    </a:cubicBezTo>
                    <a:cubicBezTo>
                      <a:pt x="112464" y="931052"/>
                      <a:pt x="112404" y="920520"/>
                      <a:pt x="113799" y="910068"/>
                    </a:cubicBezTo>
                    <a:lnTo>
                      <a:pt x="114616" y="902229"/>
                    </a:lnTo>
                    <a:cubicBezTo>
                      <a:pt x="114915" y="899616"/>
                      <a:pt x="115075" y="896983"/>
                      <a:pt x="115593" y="894410"/>
                    </a:cubicBezTo>
                    <a:lnTo>
                      <a:pt x="118283" y="878851"/>
                    </a:lnTo>
                    <a:cubicBezTo>
                      <a:pt x="119040" y="873645"/>
                      <a:pt x="120495" y="868578"/>
                      <a:pt x="121691" y="863452"/>
                    </a:cubicBezTo>
                    <a:lnTo>
                      <a:pt x="123564" y="855792"/>
                    </a:lnTo>
                    <a:lnTo>
                      <a:pt x="124501" y="851962"/>
                    </a:lnTo>
                    <a:cubicBezTo>
                      <a:pt x="124839" y="850686"/>
                      <a:pt x="125278" y="849449"/>
                      <a:pt x="125657" y="848193"/>
                    </a:cubicBezTo>
                    <a:lnTo>
                      <a:pt x="130419" y="833152"/>
                    </a:lnTo>
                    <a:cubicBezTo>
                      <a:pt x="130838" y="831896"/>
                      <a:pt x="131196" y="830639"/>
                      <a:pt x="131635" y="829402"/>
                    </a:cubicBezTo>
                    <a:lnTo>
                      <a:pt x="133070" y="825732"/>
                    </a:lnTo>
                    <a:lnTo>
                      <a:pt x="135939" y="818392"/>
                    </a:lnTo>
                    <a:cubicBezTo>
                      <a:pt x="139506" y="808478"/>
                      <a:pt x="144309" y="799103"/>
                      <a:pt x="148733" y="789568"/>
                    </a:cubicBezTo>
                    <a:cubicBezTo>
                      <a:pt x="151085" y="784881"/>
                      <a:pt x="153755" y="780333"/>
                      <a:pt x="156266" y="775725"/>
                    </a:cubicBezTo>
                    <a:lnTo>
                      <a:pt x="160092" y="768823"/>
                    </a:lnTo>
                    <a:cubicBezTo>
                      <a:pt x="161447" y="766589"/>
                      <a:pt x="162902" y="764395"/>
                      <a:pt x="164317" y="762161"/>
                    </a:cubicBezTo>
                    <a:lnTo>
                      <a:pt x="169418" y="754202"/>
                    </a:lnTo>
                    <a:lnTo>
                      <a:pt x="171969" y="750233"/>
                    </a:lnTo>
                    <a:cubicBezTo>
                      <a:pt x="172806" y="748896"/>
                      <a:pt x="173802" y="747680"/>
                      <a:pt x="174719" y="746383"/>
                    </a:cubicBezTo>
                    <a:lnTo>
                      <a:pt x="185918" y="731164"/>
                    </a:lnTo>
                    <a:lnTo>
                      <a:pt x="198055" y="716682"/>
                    </a:lnTo>
                    <a:cubicBezTo>
                      <a:pt x="200027" y="714209"/>
                      <a:pt x="202259" y="711995"/>
                      <a:pt x="204412" y="709701"/>
                    </a:cubicBezTo>
                    <a:lnTo>
                      <a:pt x="210928" y="702859"/>
                    </a:lnTo>
                    <a:cubicBezTo>
                      <a:pt x="215153" y="698191"/>
                      <a:pt x="219876" y="694002"/>
                      <a:pt x="224479" y="689714"/>
                    </a:cubicBezTo>
                    <a:lnTo>
                      <a:pt x="231414" y="683311"/>
                    </a:lnTo>
                    <a:cubicBezTo>
                      <a:pt x="233765" y="681236"/>
                      <a:pt x="236256" y="679301"/>
                      <a:pt x="238688" y="677287"/>
                    </a:cubicBezTo>
                    <a:lnTo>
                      <a:pt x="246001" y="671323"/>
                    </a:lnTo>
                    <a:lnTo>
                      <a:pt x="249668" y="668351"/>
                    </a:lnTo>
                    <a:lnTo>
                      <a:pt x="253494" y="665598"/>
                    </a:lnTo>
                    <a:lnTo>
                      <a:pt x="259552" y="661269"/>
                    </a:lnTo>
                    <a:cubicBezTo>
                      <a:pt x="261206" y="660112"/>
                      <a:pt x="262800" y="658896"/>
                      <a:pt x="264474" y="657799"/>
                    </a:cubicBezTo>
                    <a:lnTo>
                      <a:pt x="271270" y="653550"/>
                    </a:lnTo>
                    <a:lnTo>
                      <a:pt x="274677" y="651436"/>
                    </a:lnTo>
                    <a:cubicBezTo>
                      <a:pt x="275215" y="651057"/>
                      <a:pt x="275893" y="650797"/>
                      <a:pt x="276291" y="650299"/>
                    </a:cubicBezTo>
                    <a:lnTo>
                      <a:pt x="275933" y="648324"/>
                    </a:lnTo>
                    <a:cubicBezTo>
                      <a:pt x="274996" y="643058"/>
                      <a:pt x="274259" y="637752"/>
                      <a:pt x="273761" y="632426"/>
                    </a:cubicBezTo>
                    <a:lnTo>
                      <a:pt x="273402" y="628337"/>
                    </a:lnTo>
                    <a:lnTo>
                      <a:pt x="273043" y="622592"/>
                    </a:lnTo>
                    <a:cubicBezTo>
                      <a:pt x="272804" y="618363"/>
                      <a:pt x="272665" y="614155"/>
                      <a:pt x="272585" y="609926"/>
                    </a:cubicBezTo>
                    <a:cubicBezTo>
                      <a:pt x="272485" y="605697"/>
                      <a:pt x="272585" y="601488"/>
                      <a:pt x="272704" y="597260"/>
                    </a:cubicBezTo>
                    <a:lnTo>
                      <a:pt x="272844" y="590916"/>
                    </a:lnTo>
                    <a:lnTo>
                      <a:pt x="273243" y="584593"/>
                    </a:lnTo>
                    <a:cubicBezTo>
                      <a:pt x="274578" y="563509"/>
                      <a:pt x="277985" y="542525"/>
                      <a:pt x="283466" y="522099"/>
                    </a:cubicBezTo>
                    <a:cubicBezTo>
                      <a:pt x="289025" y="501694"/>
                      <a:pt x="296598" y="481866"/>
                      <a:pt x="305984" y="462957"/>
                    </a:cubicBezTo>
                    <a:cubicBezTo>
                      <a:pt x="315330" y="444027"/>
                      <a:pt x="326629" y="426094"/>
                      <a:pt x="339463" y="409419"/>
                    </a:cubicBezTo>
                    <a:cubicBezTo>
                      <a:pt x="352296" y="392723"/>
                      <a:pt x="366605" y="377185"/>
                      <a:pt x="382288" y="363182"/>
                    </a:cubicBezTo>
                    <a:cubicBezTo>
                      <a:pt x="400602" y="346905"/>
                      <a:pt x="420470" y="332404"/>
                      <a:pt x="441753" y="320316"/>
                    </a:cubicBezTo>
                    <a:cubicBezTo>
                      <a:pt x="452315" y="314152"/>
                      <a:pt x="463315" y="308746"/>
                      <a:pt x="474454" y="303720"/>
                    </a:cubicBezTo>
                    <a:cubicBezTo>
                      <a:pt x="480074" y="301326"/>
                      <a:pt x="485694" y="298833"/>
                      <a:pt x="491294" y="296798"/>
                    </a:cubicBezTo>
                    <a:lnTo>
                      <a:pt x="495498" y="295202"/>
                    </a:lnTo>
                    <a:lnTo>
                      <a:pt x="497591" y="294405"/>
                    </a:lnTo>
                    <a:cubicBezTo>
                      <a:pt x="497989" y="294245"/>
                      <a:pt x="498149" y="294205"/>
                      <a:pt x="498388" y="294125"/>
                    </a:cubicBezTo>
                    <a:lnTo>
                      <a:pt x="499085" y="293886"/>
                    </a:lnTo>
                    <a:lnTo>
                      <a:pt x="504625" y="292011"/>
                    </a:lnTo>
                    <a:cubicBezTo>
                      <a:pt x="507256" y="291073"/>
                      <a:pt x="509966" y="290395"/>
                      <a:pt x="512616" y="289577"/>
                    </a:cubicBezTo>
                    <a:lnTo>
                      <a:pt x="514629" y="288979"/>
                    </a:lnTo>
                    <a:cubicBezTo>
                      <a:pt x="514789" y="288919"/>
                      <a:pt x="514968" y="288899"/>
                      <a:pt x="515127" y="288799"/>
                    </a:cubicBezTo>
                    <a:cubicBezTo>
                      <a:pt x="515247" y="288660"/>
                      <a:pt x="515247" y="288480"/>
                      <a:pt x="515327" y="288321"/>
                    </a:cubicBezTo>
                    <a:lnTo>
                      <a:pt x="515665" y="287323"/>
                    </a:lnTo>
                    <a:lnTo>
                      <a:pt x="517001" y="283354"/>
                    </a:lnTo>
                    <a:cubicBezTo>
                      <a:pt x="517857" y="280701"/>
                      <a:pt x="518814" y="278068"/>
                      <a:pt x="519830" y="275455"/>
                    </a:cubicBezTo>
                    <a:lnTo>
                      <a:pt x="521305" y="271505"/>
                    </a:lnTo>
                    <a:cubicBezTo>
                      <a:pt x="521484" y="270987"/>
                      <a:pt x="521963" y="269830"/>
                      <a:pt x="522361" y="268872"/>
                    </a:cubicBezTo>
                    <a:lnTo>
                      <a:pt x="523577" y="265880"/>
                    </a:lnTo>
                    <a:cubicBezTo>
                      <a:pt x="530013" y="249883"/>
                      <a:pt x="537307" y="234185"/>
                      <a:pt x="545517" y="218945"/>
                    </a:cubicBezTo>
                    <a:cubicBezTo>
                      <a:pt x="555422" y="200714"/>
                      <a:pt x="566621" y="183100"/>
                      <a:pt x="579156" y="166425"/>
                    </a:cubicBezTo>
                    <a:cubicBezTo>
                      <a:pt x="591690" y="149749"/>
                      <a:pt x="605580" y="133971"/>
                      <a:pt x="620964" y="119629"/>
                    </a:cubicBezTo>
                    <a:cubicBezTo>
                      <a:pt x="636329" y="105287"/>
                      <a:pt x="652969" y="92102"/>
                      <a:pt x="671103" y="81032"/>
                    </a:cubicBezTo>
                    <a:cubicBezTo>
                      <a:pt x="689178" y="69901"/>
                      <a:pt x="708488" y="60526"/>
                      <a:pt x="728834" y="53824"/>
                    </a:cubicBezTo>
                    <a:cubicBezTo>
                      <a:pt x="738937" y="50293"/>
                      <a:pt x="749400" y="47760"/>
                      <a:pt x="759882" y="45486"/>
                    </a:cubicBezTo>
                    <a:lnTo>
                      <a:pt x="767813" y="44090"/>
                    </a:lnTo>
                    <a:lnTo>
                      <a:pt x="771779" y="43392"/>
                    </a:lnTo>
                    <a:lnTo>
                      <a:pt x="775784" y="42873"/>
                    </a:lnTo>
                    <a:lnTo>
                      <a:pt x="783775" y="41876"/>
                    </a:lnTo>
                    <a:cubicBezTo>
                      <a:pt x="786446" y="41616"/>
                      <a:pt x="789136" y="41457"/>
                      <a:pt x="791806" y="41237"/>
                    </a:cubicBezTo>
                    <a:cubicBezTo>
                      <a:pt x="797167" y="40719"/>
                      <a:pt x="802527" y="40759"/>
                      <a:pt x="807908" y="40579"/>
                    </a:cubicBezTo>
                    <a:cubicBezTo>
                      <a:pt x="813209" y="40559"/>
                      <a:pt x="818390" y="40779"/>
                      <a:pt x="823631" y="40878"/>
                    </a:cubicBezTo>
                    <a:lnTo>
                      <a:pt x="827557" y="40978"/>
                    </a:lnTo>
                    <a:lnTo>
                      <a:pt x="831483" y="41257"/>
                    </a:lnTo>
                    <a:lnTo>
                      <a:pt x="839334" y="41856"/>
                    </a:lnTo>
                    <a:cubicBezTo>
                      <a:pt x="841945" y="42095"/>
                      <a:pt x="844575" y="42175"/>
                      <a:pt x="847186" y="42534"/>
                    </a:cubicBezTo>
                    <a:lnTo>
                      <a:pt x="855017" y="43551"/>
                    </a:lnTo>
                    <a:cubicBezTo>
                      <a:pt x="875902" y="46284"/>
                      <a:pt x="896687" y="51031"/>
                      <a:pt x="916794" y="58133"/>
                    </a:cubicBezTo>
                    <a:cubicBezTo>
                      <a:pt x="936921" y="65174"/>
                      <a:pt x="956191" y="74888"/>
                      <a:pt x="974067" y="86637"/>
                    </a:cubicBezTo>
                    <a:cubicBezTo>
                      <a:pt x="984848" y="93638"/>
                      <a:pt x="995031" y="101577"/>
                      <a:pt x="1004656" y="110055"/>
                    </a:cubicBezTo>
                    <a:cubicBezTo>
                      <a:pt x="1005852" y="111112"/>
                      <a:pt x="1007127" y="112109"/>
                      <a:pt x="1008283" y="113226"/>
                    </a:cubicBezTo>
                    <a:lnTo>
                      <a:pt x="1011730" y="116577"/>
                    </a:lnTo>
                    <a:lnTo>
                      <a:pt x="1016593" y="121345"/>
                    </a:lnTo>
                    <a:cubicBezTo>
                      <a:pt x="1018068" y="122701"/>
                      <a:pt x="1019383" y="124237"/>
                      <a:pt x="1020718" y="125733"/>
                    </a:cubicBezTo>
                    <a:lnTo>
                      <a:pt x="1024723" y="130221"/>
                    </a:lnTo>
                    <a:cubicBezTo>
                      <a:pt x="1026338" y="131916"/>
                      <a:pt x="1027693" y="133811"/>
                      <a:pt x="1029147" y="135647"/>
                    </a:cubicBezTo>
                    <a:lnTo>
                      <a:pt x="1033472" y="141172"/>
                    </a:lnTo>
                    <a:cubicBezTo>
                      <a:pt x="1034867" y="143047"/>
                      <a:pt x="1036122" y="145022"/>
                      <a:pt x="1037457" y="146937"/>
                    </a:cubicBezTo>
                    <a:lnTo>
                      <a:pt x="1039430" y="149829"/>
                    </a:lnTo>
                    <a:lnTo>
                      <a:pt x="1040427" y="151285"/>
                    </a:lnTo>
                    <a:lnTo>
                      <a:pt x="1040925" y="152003"/>
                    </a:lnTo>
                    <a:lnTo>
                      <a:pt x="1041184" y="152362"/>
                    </a:lnTo>
                    <a:cubicBezTo>
                      <a:pt x="1041284" y="152482"/>
                      <a:pt x="1041483" y="152462"/>
                      <a:pt x="1041563" y="152342"/>
                    </a:cubicBezTo>
                    <a:cubicBezTo>
                      <a:pt x="1044233" y="148512"/>
                      <a:pt x="1046784" y="144583"/>
                      <a:pt x="1049534" y="140813"/>
                    </a:cubicBezTo>
                    <a:lnTo>
                      <a:pt x="1053858" y="135287"/>
                    </a:lnTo>
                    <a:cubicBezTo>
                      <a:pt x="1055293" y="133432"/>
                      <a:pt x="1056708" y="131577"/>
                      <a:pt x="1058322" y="129882"/>
                    </a:cubicBezTo>
                    <a:cubicBezTo>
                      <a:pt x="1061471" y="126411"/>
                      <a:pt x="1064440" y="122841"/>
                      <a:pt x="1067907" y="119629"/>
                    </a:cubicBezTo>
                    <a:lnTo>
                      <a:pt x="1074922" y="112767"/>
                    </a:lnTo>
                    <a:lnTo>
                      <a:pt x="1083431" y="105467"/>
                    </a:lnTo>
                    <a:cubicBezTo>
                      <a:pt x="1088991" y="100460"/>
                      <a:pt x="1095149" y="96191"/>
                      <a:pt x="1101147" y="91703"/>
                    </a:cubicBezTo>
                    <a:cubicBezTo>
                      <a:pt x="1104096" y="89389"/>
                      <a:pt x="1107345" y="87514"/>
                      <a:pt x="1110473" y="85460"/>
                    </a:cubicBezTo>
                    <a:cubicBezTo>
                      <a:pt x="1113642" y="83465"/>
                      <a:pt x="1116750" y="81371"/>
                      <a:pt x="1119979" y="79476"/>
                    </a:cubicBezTo>
                    <a:cubicBezTo>
                      <a:pt x="1138432" y="68585"/>
                      <a:pt x="1158260" y="60187"/>
                      <a:pt x="1178587" y="54023"/>
                    </a:cubicBezTo>
                    <a:cubicBezTo>
                      <a:pt x="1198933" y="47860"/>
                      <a:pt x="1219838" y="43990"/>
                      <a:pt x="1240762" y="42055"/>
                    </a:cubicBezTo>
                    <a:cubicBezTo>
                      <a:pt x="1246003" y="41696"/>
                      <a:pt x="1251224" y="41198"/>
                      <a:pt x="1256465" y="40938"/>
                    </a:cubicBezTo>
                    <a:lnTo>
                      <a:pt x="1272148" y="40559"/>
                    </a:lnTo>
                    <a:cubicBezTo>
                      <a:pt x="1282830" y="40639"/>
                      <a:pt x="1293611" y="41098"/>
                      <a:pt x="1304252" y="42514"/>
                    </a:cubicBezTo>
                    <a:cubicBezTo>
                      <a:pt x="1314933" y="43711"/>
                      <a:pt x="1325455" y="45925"/>
                      <a:pt x="1335878" y="48438"/>
                    </a:cubicBezTo>
                    <a:lnTo>
                      <a:pt x="1343630" y="50593"/>
                    </a:lnTo>
                    <a:lnTo>
                      <a:pt x="1347496" y="51690"/>
                    </a:lnTo>
                    <a:lnTo>
                      <a:pt x="1351302" y="52946"/>
                    </a:lnTo>
                    <a:lnTo>
                      <a:pt x="1358914" y="55480"/>
                    </a:lnTo>
                    <a:lnTo>
                      <a:pt x="1366407" y="58352"/>
                    </a:lnTo>
                    <a:cubicBezTo>
                      <a:pt x="1406323" y="73931"/>
                      <a:pt x="1441675" y="98924"/>
                      <a:pt x="1471108" y="128765"/>
                    </a:cubicBezTo>
                    <a:cubicBezTo>
                      <a:pt x="1485915" y="143665"/>
                      <a:pt x="1499227" y="159882"/>
                      <a:pt x="1511183" y="176937"/>
                    </a:cubicBezTo>
                    <a:cubicBezTo>
                      <a:pt x="1523160" y="193991"/>
                      <a:pt x="1533802" y="211904"/>
                      <a:pt x="1543148" y="230415"/>
                    </a:cubicBezTo>
                    <a:cubicBezTo>
                      <a:pt x="1545280" y="234663"/>
                      <a:pt x="1547293" y="238972"/>
                      <a:pt x="1549365" y="243260"/>
                    </a:cubicBezTo>
                    <a:cubicBezTo>
                      <a:pt x="1551358" y="247569"/>
                      <a:pt x="1553231" y="251937"/>
                      <a:pt x="1555184" y="256286"/>
                    </a:cubicBezTo>
                    <a:cubicBezTo>
                      <a:pt x="1557037" y="260654"/>
                      <a:pt x="1558791" y="265063"/>
                      <a:pt x="1560585" y="269471"/>
                    </a:cubicBezTo>
                    <a:lnTo>
                      <a:pt x="1561202" y="271007"/>
                    </a:lnTo>
                    <a:lnTo>
                      <a:pt x="1561601" y="272104"/>
                    </a:lnTo>
                    <a:lnTo>
                      <a:pt x="1562418" y="274278"/>
                    </a:lnTo>
                    <a:lnTo>
                      <a:pt x="1564032" y="278626"/>
                    </a:lnTo>
                    <a:cubicBezTo>
                      <a:pt x="1564929" y="281040"/>
                      <a:pt x="1565706" y="283494"/>
                      <a:pt x="1566543" y="285927"/>
                    </a:cubicBezTo>
                    <a:lnTo>
                      <a:pt x="1567161" y="287762"/>
                    </a:lnTo>
                    <a:lnTo>
                      <a:pt x="1567480" y="288680"/>
                    </a:lnTo>
                    <a:cubicBezTo>
                      <a:pt x="1567659" y="288959"/>
                      <a:pt x="1568058" y="288919"/>
                      <a:pt x="1568336" y="289039"/>
                    </a:cubicBezTo>
                    <a:lnTo>
                      <a:pt x="1572043" y="290136"/>
                    </a:lnTo>
                    <a:cubicBezTo>
                      <a:pt x="1574514" y="290854"/>
                      <a:pt x="1576985" y="291592"/>
                      <a:pt x="1579416" y="292450"/>
                    </a:cubicBezTo>
                    <a:lnTo>
                      <a:pt x="1583063" y="293686"/>
                    </a:lnTo>
                    <a:lnTo>
                      <a:pt x="1584976" y="294345"/>
                    </a:lnTo>
                    <a:lnTo>
                      <a:pt x="1587746" y="295402"/>
                    </a:lnTo>
                    <a:cubicBezTo>
                      <a:pt x="1591453" y="296838"/>
                      <a:pt x="1595140" y="298175"/>
                      <a:pt x="1598846" y="299710"/>
                    </a:cubicBezTo>
                    <a:lnTo>
                      <a:pt x="1609986" y="304478"/>
                    </a:lnTo>
                    <a:lnTo>
                      <a:pt x="1620946" y="309664"/>
                    </a:lnTo>
                    <a:cubicBezTo>
                      <a:pt x="1624593" y="311399"/>
                      <a:pt x="1628120" y="313374"/>
                      <a:pt x="1631727" y="315209"/>
                    </a:cubicBezTo>
                    <a:cubicBezTo>
                      <a:pt x="1660204" y="330489"/>
                      <a:pt x="1686708" y="349558"/>
                      <a:pt x="1709964" y="372118"/>
                    </a:cubicBezTo>
                    <a:cubicBezTo>
                      <a:pt x="1725109" y="386699"/>
                      <a:pt x="1738800" y="402816"/>
                      <a:pt x="1750976" y="419991"/>
                    </a:cubicBezTo>
                    <a:cubicBezTo>
                      <a:pt x="1763152" y="437185"/>
                      <a:pt x="1773733" y="455556"/>
                      <a:pt x="1782282" y="474865"/>
                    </a:cubicBezTo>
                    <a:cubicBezTo>
                      <a:pt x="1790891" y="494154"/>
                      <a:pt x="1797627" y="514280"/>
                      <a:pt x="1802330" y="534905"/>
                    </a:cubicBezTo>
                    <a:cubicBezTo>
                      <a:pt x="1806973" y="555530"/>
                      <a:pt x="1809464" y="576634"/>
                      <a:pt x="1809942" y="597758"/>
                    </a:cubicBezTo>
                    <a:cubicBezTo>
                      <a:pt x="1810201" y="605099"/>
                      <a:pt x="1810082" y="612439"/>
                      <a:pt x="1809743" y="619760"/>
                    </a:cubicBezTo>
                    <a:cubicBezTo>
                      <a:pt x="1809564" y="623310"/>
                      <a:pt x="1809305" y="627579"/>
                      <a:pt x="1809125" y="629554"/>
                    </a:cubicBezTo>
                    <a:cubicBezTo>
                      <a:pt x="1808926" y="631868"/>
                      <a:pt x="1808707" y="634181"/>
                      <a:pt x="1808428" y="636475"/>
                    </a:cubicBezTo>
                    <a:cubicBezTo>
                      <a:pt x="1808109" y="639228"/>
                      <a:pt x="1807730" y="641961"/>
                      <a:pt x="1807292" y="644674"/>
                    </a:cubicBezTo>
                    <a:lnTo>
                      <a:pt x="1806594" y="648763"/>
                    </a:lnTo>
                    <a:lnTo>
                      <a:pt x="1806415" y="649780"/>
                    </a:lnTo>
                    <a:cubicBezTo>
                      <a:pt x="1806415" y="649959"/>
                      <a:pt x="1806315" y="650119"/>
                      <a:pt x="1806355" y="650299"/>
                    </a:cubicBezTo>
                    <a:cubicBezTo>
                      <a:pt x="1806435" y="650458"/>
                      <a:pt x="1806634" y="650498"/>
                      <a:pt x="1806754" y="650618"/>
                    </a:cubicBezTo>
                    <a:lnTo>
                      <a:pt x="1808507" y="651715"/>
                    </a:lnTo>
                    <a:lnTo>
                      <a:pt x="1815522" y="656103"/>
                    </a:lnTo>
                    <a:cubicBezTo>
                      <a:pt x="1816678" y="656841"/>
                      <a:pt x="1817874" y="657539"/>
                      <a:pt x="1819029" y="658317"/>
                    </a:cubicBezTo>
                    <a:lnTo>
                      <a:pt x="1822397" y="660731"/>
                    </a:lnTo>
                    <a:lnTo>
                      <a:pt x="1830986" y="666874"/>
                    </a:lnTo>
                    <a:cubicBezTo>
                      <a:pt x="1832780" y="668091"/>
                      <a:pt x="1834434" y="669488"/>
                      <a:pt x="1836128" y="670864"/>
                    </a:cubicBezTo>
                    <a:lnTo>
                      <a:pt x="1841169" y="674973"/>
                    </a:lnTo>
                    <a:cubicBezTo>
                      <a:pt x="1844517" y="677726"/>
                      <a:pt x="1847925" y="680418"/>
                      <a:pt x="1851193" y="683231"/>
                    </a:cubicBezTo>
                    <a:lnTo>
                      <a:pt x="1860739" y="692067"/>
                    </a:lnTo>
                    <a:cubicBezTo>
                      <a:pt x="1867255" y="697792"/>
                      <a:pt x="1873034" y="704275"/>
                      <a:pt x="1879032" y="710518"/>
                    </a:cubicBezTo>
                    <a:cubicBezTo>
                      <a:pt x="1882101" y="713590"/>
                      <a:pt x="1884831" y="716941"/>
                      <a:pt x="1887621" y="720273"/>
                    </a:cubicBezTo>
                    <a:lnTo>
                      <a:pt x="1895971" y="730246"/>
                    </a:lnTo>
                    <a:cubicBezTo>
                      <a:pt x="1898681" y="733637"/>
                      <a:pt x="1901152" y="737208"/>
                      <a:pt x="1903743" y="740678"/>
                    </a:cubicBezTo>
                    <a:lnTo>
                      <a:pt x="1907589" y="745924"/>
                    </a:lnTo>
                    <a:cubicBezTo>
                      <a:pt x="1908864" y="747680"/>
                      <a:pt x="1910200" y="749395"/>
                      <a:pt x="1911335" y="751250"/>
                    </a:cubicBezTo>
                    <a:lnTo>
                      <a:pt x="1918350" y="762221"/>
                    </a:lnTo>
                    <a:lnTo>
                      <a:pt x="1921857" y="767706"/>
                    </a:lnTo>
                    <a:cubicBezTo>
                      <a:pt x="1922993" y="769562"/>
                      <a:pt x="1923990" y="771496"/>
                      <a:pt x="1925066" y="773371"/>
                    </a:cubicBezTo>
                    <a:lnTo>
                      <a:pt x="1932678" y="787175"/>
                    </a:lnTo>
                    <a:cubicBezTo>
                      <a:pt x="1935050" y="791862"/>
                      <a:pt x="1937202" y="796669"/>
                      <a:pt x="1939454" y="801417"/>
                    </a:cubicBezTo>
                    <a:lnTo>
                      <a:pt x="1942802" y="808558"/>
                    </a:lnTo>
                    <a:lnTo>
                      <a:pt x="1945691" y="815898"/>
                    </a:lnTo>
                    <a:cubicBezTo>
                      <a:pt x="1947584" y="820805"/>
                      <a:pt x="1949577" y="825672"/>
                      <a:pt x="1951371" y="830619"/>
                    </a:cubicBezTo>
                    <a:lnTo>
                      <a:pt x="1956133" y="845659"/>
                    </a:lnTo>
                    <a:cubicBezTo>
                      <a:pt x="1956871" y="848173"/>
                      <a:pt x="1957827" y="850646"/>
                      <a:pt x="1958405" y="853219"/>
                    </a:cubicBezTo>
                    <a:lnTo>
                      <a:pt x="1960278" y="860879"/>
                    </a:lnTo>
                    <a:lnTo>
                      <a:pt x="1962152" y="868538"/>
                    </a:lnTo>
                    <a:cubicBezTo>
                      <a:pt x="1962729" y="871092"/>
                      <a:pt x="1963487" y="873625"/>
                      <a:pt x="1963865" y="876238"/>
                    </a:cubicBezTo>
                    <a:lnTo>
                      <a:pt x="1966556" y="891797"/>
                    </a:lnTo>
                    <a:cubicBezTo>
                      <a:pt x="1967592" y="896963"/>
                      <a:pt x="1967931" y="902229"/>
                      <a:pt x="1968528" y="907435"/>
                    </a:cubicBezTo>
                    <a:lnTo>
                      <a:pt x="1969326" y="915274"/>
                    </a:lnTo>
                    <a:cubicBezTo>
                      <a:pt x="1969585" y="917887"/>
                      <a:pt x="1969903" y="920500"/>
                      <a:pt x="1969923" y="923133"/>
                    </a:cubicBezTo>
                    <a:cubicBezTo>
                      <a:pt x="1970222" y="933645"/>
                      <a:pt x="1970900" y="944137"/>
                      <a:pt x="1970442" y="954650"/>
                    </a:cubicBezTo>
                    <a:cubicBezTo>
                      <a:pt x="1969804" y="975654"/>
                      <a:pt x="1967213" y="996638"/>
                      <a:pt x="1962729" y="1017203"/>
                    </a:cubicBezTo>
                    <a:cubicBezTo>
                      <a:pt x="1962211" y="1019657"/>
                      <a:pt x="1961653" y="1022110"/>
                      <a:pt x="1961036" y="1024544"/>
                    </a:cubicBezTo>
                    <a:cubicBezTo>
                      <a:pt x="1960458" y="1026997"/>
                      <a:pt x="1959840" y="1029431"/>
                      <a:pt x="1959182" y="1031844"/>
                    </a:cubicBezTo>
                    <a:lnTo>
                      <a:pt x="1958365" y="1034916"/>
                    </a:lnTo>
                    <a:lnTo>
                      <a:pt x="1957708" y="1037210"/>
                    </a:lnTo>
                    <a:cubicBezTo>
                      <a:pt x="1957269" y="1038746"/>
                      <a:pt x="1956811" y="1040282"/>
                      <a:pt x="1956333" y="1041798"/>
                    </a:cubicBezTo>
                    <a:cubicBezTo>
                      <a:pt x="1955476" y="1044610"/>
                      <a:pt x="1954519" y="1047403"/>
                      <a:pt x="1953523" y="1050176"/>
                    </a:cubicBezTo>
                    <a:lnTo>
                      <a:pt x="1952766" y="1052250"/>
                    </a:lnTo>
                    <a:lnTo>
                      <a:pt x="1952387" y="1053287"/>
                    </a:lnTo>
                    <a:cubicBezTo>
                      <a:pt x="1952307" y="1053487"/>
                      <a:pt x="1952506" y="1053626"/>
                      <a:pt x="1952606" y="1053746"/>
                    </a:cubicBezTo>
                    <a:lnTo>
                      <a:pt x="1952965" y="1054165"/>
                    </a:lnTo>
                    <a:lnTo>
                      <a:pt x="1955874" y="1057496"/>
                    </a:lnTo>
                    <a:cubicBezTo>
                      <a:pt x="1957807" y="1059710"/>
                      <a:pt x="1959740" y="1061885"/>
                      <a:pt x="1961673" y="1064358"/>
                    </a:cubicBezTo>
                    <a:lnTo>
                      <a:pt x="1964563" y="1067968"/>
                    </a:lnTo>
                    <a:cubicBezTo>
                      <a:pt x="1965579" y="1069245"/>
                      <a:pt x="1966297" y="1070083"/>
                      <a:pt x="1967831" y="1072237"/>
                    </a:cubicBezTo>
                    <a:cubicBezTo>
                      <a:pt x="1978991" y="1086898"/>
                      <a:pt x="1988855" y="1102517"/>
                      <a:pt x="1997703" y="1118694"/>
                    </a:cubicBezTo>
                    <a:cubicBezTo>
                      <a:pt x="2015499" y="1151008"/>
                      <a:pt x="2027934" y="1186234"/>
                      <a:pt x="2035247" y="1222438"/>
                    </a:cubicBezTo>
                    <a:cubicBezTo>
                      <a:pt x="2039233" y="1243023"/>
                      <a:pt x="2041425" y="1263967"/>
                      <a:pt x="2041823" y="1284912"/>
                    </a:cubicBezTo>
                    <a:cubicBezTo>
                      <a:pt x="2042302" y="1305856"/>
                      <a:pt x="2040887" y="1326860"/>
                      <a:pt x="2037738" y="1347585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9" name="Freeform 11">
                <a:extLst>
                  <a:ext uri="{FF2B5EF4-FFF2-40B4-BE49-F238E27FC236}">
                    <a16:creationId xmlns:a16="http://schemas.microsoft.com/office/drawing/2014/main" id="{C94F7629-4683-97DF-A9B6-F920076EDCD4}"/>
                  </a:ext>
                </a:extLst>
              </p:cNvPr>
              <p:cNvSpPr/>
              <p:nvPr/>
            </p:nvSpPr>
            <p:spPr>
              <a:xfrm>
                <a:off x="2376086" y="2778542"/>
                <a:ext cx="1922991" cy="1906800"/>
              </a:xfrm>
              <a:custGeom>
                <a:avLst/>
                <a:gdLst>
                  <a:gd name="connsiteX0" fmla="*/ 1916829 w 1922991"/>
                  <a:gd name="connsiteY0" fmla="*/ 1150163 h 1906800"/>
                  <a:gd name="connsiteX1" fmla="*/ 1883330 w 1922991"/>
                  <a:gd name="connsiteY1" fmla="*/ 1057629 h 1906800"/>
                  <a:gd name="connsiteX2" fmla="*/ 1856607 w 1922991"/>
                  <a:gd name="connsiteY2" fmla="*/ 1016039 h 1906800"/>
                  <a:gd name="connsiteX3" fmla="*/ 1851804 w 1922991"/>
                  <a:gd name="connsiteY3" fmla="*/ 1009975 h 1906800"/>
                  <a:gd name="connsiteX4" fmla="*/ 1846424 w 1922991"/>
                  <a:gd name="connsiteY4" fmla="*/ 1003393 h 1906800"/>
                  <a:gd name="connsiteX5" fmla="*/ 1843733 w 1922991"/>
                  <a:gd name="connsiteY5" fmla="*/ 1000102 h 1906800"/>
                  <a:gd name="connsiteX6" fmla="*/ 1842398 w 1922991"/>
                  <a:gd name="connsiteY6" fmla="*/ 998446 h 1906800"/>
                  <a:gd name="connsiteX7" fmla="*/ 1841262 w 1922991"/>
                  <a:gd name="connsiteY7" fmla="*/ 996751 h 1906800"/>
                  <a:gd name="connsiteX8" fmla="*/ 1836739 w 1922991"/>
                  <a:gd name="connsiteY8" fmla="*/ 989949 h 1906800"/>
                  <a:gd name="connsiteX9" fmla="*/ 1832215 w 1922991"/>
                  <a:gd name="connsiteY9" fmla="*/ 983147 h 1906800"/>
                  <a:gd name="connsiteX10" fmla="*/ 1831657 w 1922991"/>
                  <a:gd name="connsiteY10" fmla="*/ 982289 h 1906800"/>
                  <a:gd name="connsiteX11" fmla="*/ 1831278 w 1922991"/>
                  <a:gd name="connsiteY11" fmla="*/ 981371 h 1906800"/>
                  <a:gd name="connsiteX12" fmla="*/ 1831577 w 1922991"/>
                  <a:gd name="connsiteY12" fmla="*/ 979437 h 1906800"/>
                  <a:gd name="connsiteX13" fmla="*/ 1832175 w 1922991"/>
                  <a:gd name="connsiteY13" fmla="*/ 975567 h 1906800"/>
                  <a:gd name="connsiteX14" fmla="*/ 1833849 w 1922991"/>
                  <a:gd name="connsiteY14" fmla="*/ 967548 h 1906800"/>
                  <a:gd name="connsiteX15" fmla="*/ 1834865 w 1922991"/>
                  <a:gd name="connsiteY15" fmla="*/ 963459 h 1906800"/>
                  <a:gd name="connsiteX16" fmla="*/ 1836161 w 1922991"/>
                  <a:gd name="connsiteY16" fmla="*/ 959310 h 1906800"/>
                  <a:gd name="connsiteX17" fmla="*/ 1839030 w 1922991"/>
                  <a:gd name="connsiteY17" fmla="*/ 950294 h 1906800"/>
                  <a:gd name="connsiteX18" fmla="*/ 1840385 w 1922991"/>
                  <a:gd name="connsiteY18" fmla="*/ 945766 h 1906800"/>
                  <a:gd name="connsiteX19" fmla="*/ 1841402 w 1922991"/>
                  <a:gd name="connsiteY19" fmla="*/ 941976 h 1906800"/>
                  <a:gd name="connsiteX20" fmla="*/ 1843036 w 1922991"/>
                  <a:gd name="connsiteY20" fmla="*/ 935513 h 1906800"/>
                  <a:gd name="connsiteX21" fmla="*/ 1844530 w 1922991"/>
                  <a:gd name="connsiteY21" fmla="*/ 929011 h 1906800"/>
                  <a:gd name="connsiteX22" fmla="*/ 1851366 w 1922991"/>
                  <a:gd name="connsiteY22" fmla="*/ 873618 h 1906800"/>
                  <a:gd name="connsiteX23" fmla="*/ 1850887 w 1922991"/>
                  <a:gd name="connsiteY23" fmla="*/ 845672 h 1906800"/>
                  <a:gd name="connsiteX24" fmla="*/ 1850349 w 1922991"/>
                  <a:gd name="connsiteY24" fmla="*/ 838711 h 1906800"/>
                  <a:gd name="connsiteX25" fmla="*/ 1849632 w 1922991"/>
                  <a:gd name="connsiteY25" fmla="*/ 831769 h 1906800"/>
                  <a:gd name="connsiteX26" fmla="*/ 1847898 w 1922991"/>
                  <a:gd name="connsiteY26" fmla="*/ 817906 h 1906800"/>
                  <a:gd name="connsiteX27" fmla="*/ 1845527 w 1922991"/>
                  <a:gd name="connsiteY27" fmla="*/ 804143 h 1906800"/>
                  <a:gd name="connsiteX28" fmla="*/ 1844012 w 1922991"/>
                  <a:gd name="connsiteY28" fmla="*/ 797321 h 1906800"/>
                  <a:gd name="connsiteX29" fmla="*/ 1842358 w 1922991"/>
                  <a:gd name="connsiteY29" fmla="*/ 790539 h 1906800"/>
                  <a:gd name="connsiteX30" fmla="*/ 1840704 w 1922991"/>
                  <a:gd name="connsiteY30" fmla="*/ 783757 h 1906800"/>
                  <a:gd name="connsiteX31" fmla="*/ 1838692 w 1922991"/>
                  <a:gd name="connsiteY31" fmla="*/ 777074 h 1906800"/>
                  <a:gd name="connsiteX32" fmla="*/ 1834487 w 1922991"/>
                  <a:gd name="connsiteY32" fmla="*/ 763750 h 1906800"/>
                  <a:gd name="connsiteX33" fmla="*/ 1829445 w 1922991"/>
                  <a:gd name="connsiteY33" fmla="*/ 750725 h 1906800"/>
                  <a:gd name="connsiteX34" fmla="*/ 1826914 w 1922991"/>
                  <a:gd name="connsiteY34" fmla="*/ 744222 h 1906800"/>
                  <a:gd name="connsiteX35" fmla="*/ 1823945 w 1922991"/>
                  <a:gd name="connsiteY35" fmla="*/ 737899 h 1906800"/>
                  <a:gd name="connsiteX36" fmla="*/ 1817947 w 1922991"/>
                  <a:gd name="connsiteY36" fmla="*/ 725272 h 1906800"/>
                  <a:gd name="connsiteX37" fmla="*/ 1811191 w 1922991"/>
                  <a:gd name="connsiteY37" fmla="*/ 713045 h 1906800"/>
                  <a:gd name="connsiteX38" fmla="*/ 1808361 w 1922991"/>
                  <a:gd name="connsiteY38" fmla="*/ 708018 h 1906800"/>
                  <a:gd name="connsiteX39" fmla="*/ 1805233 w 1922991"/>
                  <a:gd name="connsiteY39" fmla="*/ 703151 h 1906800"/>
                  <a:gd name="connsiteX40" fmla="*/ 1799015 w 1922991"/>
                  <a:gd name="connsiteY40" fmla="*/ 693417 h 1906800"/>
                  <a:gd name="connsiteX41" fmla="*/ 1795687 w 1922991"/>
                  <a:gd name="connsiteY41" fmla="*/ 688689 h 1906800"/>
                  <a:gd name="connsiteX42" fmla="*/ 1792260 w 1922991"/>
                  <a:gd name="connsiteY42" fmla="*/ 684042 h 1906800"/>
                  <a:gd name="connsiteX43" fmla="*/ 1785365 w 1922991"/>
                  <a:gd name="connsiteY43" fmla="*/ 674766 h 1906800"/>
                  <a:gd name="connsiteX44" fmla="*/ 1777931 w 1922991"/>
                  <a:gd name="connsiteY44" fmla="*/ 665910 h 1906800"/>
                  <a:gd name="connsiteX45" fmla="*/ 1770299 w 1922991"/>
                  <a:gd name="connsiteY45" fmla="*/ 657233 h 1906800"/>
                  <a:gd name="connsiteX46" fmla="*/ 1754018 w 1922991"/>
                  <a:gd name="connsiteY46" fmla="*/ 640817 h 1906800"/>
                  <a:gd name="connsiteX47" fmla="*/ 1745529 w 1922991"/>
                  <a:gd name="connsiteY47" fmla="*/ 632958 h 1906800"/>
                  <a:gd name="connsiteX48" fmla="*/ 1736581 w 1922991"/>
                  <a:gd name="connsiteY48" fmla="*/ 625617 h 1906800"/>
                  <a:gd name="connsiteX49" fmla="*/ 1732097 w 1922991"/>
                  <a:gd name="connsiteY49" fmla="*/ 621947 h 1906800"/>
                  <a:gd name="connsiteX50" fmla="*/ 1727534 w 1922991"/>
                  <a:gd name="connsiteY50" fmla="*/ 618396 h 1906800"/>
                  <a:gd name="connsiteX51" fmla="*/ 1722632 w 1922991"/>
                  <a:gd name="connsiteY51" fmla="*/ 614906 h 1906800"/>
                  <a:gd name="connsiteX52" fmla="*/ 1716095 w 1922991"/>
                  <a:gd name="connsiteY52" fmla="*/ 610278 h 1906800"/>
                  <a:gd name="connsiteX53" fmla="*/ 1709280 w 1922991"/>
                  <a:gd name="connsiteY53" fmla="*/ 605710 h 1906800"/>
                  <a:gd name="connsiteX54" fmla="*/ 1703242 w 1922991"/>
                  <a:gd name="connsiteY54" fmla="*/ 600943 h 1906800"/>
                  <a:gd name="connsiteX55" fmla="*/ 1691345 w 1922991"/>
                  <a:gd name="connsiteY55" fmla="*/ 591368 h 1906800"/>
                  <a:gd name="connsiteX56" fmla="*/ 1688376 w 1922991"/>
                  <a:gd name="connsiteY56" fmla="*/ 588974 h 1906800"/>
                  <a:gd name="connsiteX57" fmla="*/ 1687698 w 1922991"/>
                  <a:gd name="connsiteY57" fmla="*/ 588316 h 1906800"/>
                  <a:gd name="connsiteX58" fmla="*/ 1687598 w 1922991"/>
                  <a:gd name="connsiteY58" fmla="*/ 587439 h 1906800"/>
                  <a:gd name="connsiteX59" fmla="*/ 1687499 w 1922991"/>
                  <a:gd name="connsiteY59" fmla="*/ 585683 h 1906800"/>
                  <a:gd name="connsiteX60" fmla="*/ 1687339 w 1922991"/>
                  <a:gd name="connsiteY60" fmla="*/ 582113 h 1906800"/>
                  <a:gd name="connsiteX61" fmla="*/ 1687260 w 1922991"/>
                  <a:gd name="connsiteY61" fmla="*/ 578423 h 1906800"/>
                  <a:gd name="connsiteX62" fmla="*/ 1688316 w 1922991"/>
                  <a:gd name="connsiteY62" fmla="*/ 562624 h 1906800"/>
                  <a:gd name="connsiteX63" fmla="*/ 1689970 w 1922991"/>
                  <a:gd name="connsiteY63" fmla="*/ 548941 h 1906800"/>
                  <a:gd name="connsiteX64" fmla="*/ 1690687 w 1922991"/>
                  <a:gd name="connsiteY64" fmla="*/ 538130 h 1906800"/>
                  <a:gd name="connsiteX65" fmla="*/ 1690866 w 1922991"/>
                  <a:gd name="connsiteY65" fmla="*/ 518821 h 1906800"/>
                  <a:gd name="connsiteX66" fmla="*/ 1684211 w 1922991"/>
                  <a:gd name="connsiteY66" fmla="*/ 463747 h 1906800"/>
                  <a:gd name="connsiteX67" fmla="*/ 1666634 w 1922991"/>
                  <a:gd name="connsiteY67" fmla="*/ 411107 h 1906800"/>
                  <a:gd name="connsiteX68" fmla="*/ 1639074 w 1922991"/>
                  <a:gd name="connsiteY68" fmla="*/ 362836 h 1906800"/>
                  <a:gd name="connsiteX69" fmla="*/ 1602825 w 1922991"/>
                  <a:gd name="connsiteY69" fmla="*/ 320528 h 1906800"/>
                  <a:gd name="connsiteX70" fmla="*/ 1533356 w 1922991"/>
                  <a:gd name="connsiteY70" fmla="*/ 270002 h 1906800"/>
                  <a:gd name="connsiteX71" fmla="*/ 1523771 w 1922991"/>
                  <a:gd name="connsiteY71" fmla="*/ 265075 h 1906800"/>
                  <a:gd name="connsiteX72" fmla="*/ 1514026 w 1922991"/>
                  <a:gd name="connsiteY72" fmla="*/ 260468 h 1906800"/>
                  <a:gd name="connsiteX73" fmla="*/ 1504102 w 1922991"/>
                  <a:gd name="connsiteY73" fmla="*/ 256219 h 1906800"/>
                  <a:gd name="connsiteX74" fmla="*/ 1493859 w 1922991"/>
                  <a:gd name="connsiteY74" fmla="*/ 252249 h 1906800"/>
                  <a:gd name="connsiteX75" fmla="*/ 1491289 w 1922991"/>
                  <a:gd name="connsiteY75" fmla="*/ 251272 h 1906800"/>
                  <a:gd name="connsiteX76" fmla="*/ 1487761 w 1922991"/>
                  <a:gd name="connsiteY76" fmla="*/ 250095 h 1906800"/>
                  <a:gd name="connsiteX77" fmla="*/ 1480527 w 1922991"/>
                  <a:gd name="connsiteY77" fmla="*/ 247722 h 1906800"/>
                  <a:gd name="connsiteX78" fmla="*/ 1473393 w 1922991"/>
                  <a:gd name="connsiteY78" fmla="*/ 245268 h 1906800"/>
                  <a:gd name="connsiteX79" fmla="*/ 1466817 w 1922991"/>
                  <a:gd name="connsiteY79" fmla="*/ 242356 h 1906800"/>
                  <a:gd name="connsiteX80" fmla="*/ 1460241 w 1922991"/>
                  <a:gd name="connsiteY80" fmla="*/ 239444 h 1906800"/>
                  <a:gd name="connsiteX81" fmla="*/ 1459424 w 1922991"/>
                  <a:gd name="connsiteY81" fmla="*/ 239085 h 1906800"/>
                  <a:gd name="connsiteX82" fmla="*/ 1458687 w 1922991"/>
                  <a:gd name="connsiteY82" fmla="*/ 238586 h 1906800"/>
                  <a:gd name="connsiteX83" fmla="*/ 1457909 w 1922991"/>
                  <a:gd name="connsiteY83" fmla="*/ 236950 h 1906800"/>
                  <a:gd name="connsiteX84" fmla="*/ 1456355 w 1922991"/>
                  <a:gd name="connsiteY84" fmla="*/ 233699 h 1906800"/>
                  <a:gd name="connsiteX85" fmla="*/ 1453246 w 1922991"/>
                  <a:gd name="connsiteY85" fmla="*/ 227176 h 1906800"/>
                  <a:gd name="connsiteX86" fmla="*/ 1450277 w 1922991"/>
                  <a:gd name="connsiteY86" fmla="*/ 220474 h 1906800"/>
                  <a:gd name="connsiteX87" fmla="*/ 1447188 w 1922991"/>
                  <a:gd name="connsiteY87" fmla="*/ 211997 h 1906800"/>
                  <a:gd name="connsiteX88" fmla="*/ 1445654 w 1922991"/>
                  <a:gd name="connsiteY88" fmla="*/ 207748 h 1906800"/>
                  <a:gd name="connsiteX89" fmla="*/ 1444877 w 1922991"/>
                  <a:gd name="connsiteY89" fmla="*/ 205633 h 1906800"/>
                  <a:gd name="connsiteX90" fmla="*/ 1444239 w 1922991"/>
                  <a:gd name="connsiteY90" fmla="*/ 203998 h 1906800"/>
                  <a:gd name="connsiteX91" fmla="*/ 1439277 w 1922991"/>
                  <a:gd name="connsiteY91" fmla="*/ 191910 h 1906800"/>
                  <a:gd name="connsiteX92" fmla="*/ 1433956 w 1922991"/>
                  <a:gd name="connsiteY92" fmla="*/ 179982 h 1906800"/>
                  <a:gd name="connsiteX93" fmla="*/ 1428277 w 1922991"/>
                  <a:gd name="connsiteY93" fmla="*/ 168253 h 1906800"/>
                  <a:gd name="connsiteX94" fmla="*/ 1399262 w 1922991"/>
                  <a:gd name="connsiteY94" fmla="*/ 119702 h 1906800"/>
                  <a:gd name="connsiteX95" fmla="*/ 1363371 w 1922991"/>
                  <a:gd name="connsiteY95" fmla="*/ 76537 h 1906800"/>
                  <a:gd name="connsiteX96" fmla="*/ 1272261 w 1922991"/>
                  <a:gd name="connsiteY96" fmla="*/ 15080 h 1906800"/>
                  <a:gd name="connsiteX97" fmla="*/ 1265864 w 1922991"/>
                  <a:gd name="connsiteY97" fmla="*/ 12626 h 1906800"/>
                  <a:gd name="connsiteX98" fmla="*/ 1259368 w 1922991"/>
                  <a:gd name="connsiteY98" fmla="*/ 10492 h 1906800"/>
                  <a:gd name="connsiteX99" fmla="*/ 1256119 w 1922991"/>
                  <a:gd name="connsiteY99" fmla="*/ 9415 h 1906800"/>
                  <a:gd name="connsiteX100" fmla="*/ 1252831 w 1922991"/>
                  <a:gd name="connsiteY100" fmla="*/ 8497 h 1906800"/>
                  <a:gd name="connsiteX101" fmla="*/ 1246255 w 1922991"/>
                  <a:gd name="connsiteY101" fmla="*/ 6662 h 1906800"/>
                  <a:gd name="connsiteX102" fmla="*/ 1219512 w 1922991"/>
                  <a:gd name="connsiteY102" fmla="*/ 1656 h 1906800"/>
                  <a:gd name="connsiteX103" fmla="*/ 1192330 w 1922991"/>
                  <a:gd name="connsiteY103" fmla="*/ 0 h 1906800"/>
                  <a:gd name="connsiteX104" fmla="*/ 1178301 w 1922991"/>
                  <a:gd name="connsiteY104" fmla="*/ 339 h 1906800"/>
                  <a:gd name="connsiteX105" fmla="*/ 1164352 w 1922991"/>
                  <a:gd name="connsiteY105" fmla="*/ 1317 h 1906800"/>
                  <a:gd name="connsiteX106" fmla="*/ 1059810 w 1922991"/>
                  <a:gd name="connsiteY106" fmla="*/ 33531 h 1906800"/>
                  <a:gd name="connsiteX107" fmla="*/ 1051719 w 1922991"/>
                  <a:gd name="connsiteY107" fmla="*/ 38637 h 1906800"/>
                  <a:gd name="connsiteX108" fmla="*/ 1043768 w 1922991"/>
                  <a:gd name="connsiteY108" fmla="*/ 43943 h 1906800"/>
                  <a:gd name="connsiteX109" fmla="*/ 1028662 w 1922991"/>
                  <a:gd name="connsiteY109" fmla="*/ 55692 h 1906800"/>
                  <a:gd name="connsiteX110" fmla="*/ 1021369 w 1922991"/>
                  <a:gd name="connsiteY110" fmla="*/ 61915 h 1906800"/>
                  <a:gd name="connsiteX111" fmla="*/ 1013517 w 1922991"/>
                  <a:gd name="connsiteY111" fmla="*/ 69595 h 1906800"/>
                  <a:gd name="connsiteX112" fmla="*/ 995184 w 1922991"/>
                  <a:gd name="connsiteY112" fmla="*/ 90998 h 1906800"/>
                  <a:gd name="connsiteX113" fmla="*/ 992952 w 1922991"/>
                  <a:gd name="connsiteY113" fmla="*/ 93771 h 1906800"/>
                  <a:gd name="connsiteX114" fmla="*/ 991836 w 1922991"/>
                  <a:gd name="connsiteY114" fmla="*/ 95147 h 1906800"/>
                  <a:gd name="connsiteX115" fmla="*/ 990720 w 1922991"/>
                  <a:gd name="connsiteY115" fmla="*/ 96324 h 1906800"/>
                  <a:gd name="connsiteX116" fmla="*/ 986256 w 1922991"/>
                  <a:gd name="connsiteY116" fmla="*/ 100812 h 1906800"/>
                  <a:gd name="connsiteX117" fmla="*/ 977268 w 1922991"/>
                  <a:gd name="connsiteY117" fmla="*/ 109589 h 1906800"/>
                  <a:gd name="connsiteX118" fmla="*/ 973223 w 1922991"/>
                  <a:gd name="connsiteY118" fmla="*/ 113179 h 1906800"/>
                  <a:gd name="connsiteX119" fmla="*/ 969397 w 1922991"/>
                  <a:gd name="connsiteY119" fmla="*/ 116411 h 1906800"/>
                  <a:gd name="connsiteX120" fmla="*/ 961745 w 1922991"/>
                  <a:gd name="connsiteY120" fmla="*/ 122873 h 1906800"/>
                  <a:gd name="connsiteX121" fmla="*/ 961047 w 1922991"/>
                  <a:gd name="connsiteY121" fmla="*/ 122893 h 1906800"/>
                  <a:gd name="connsiteX122" fmla="*/ 960569 w 1922991"/>
                  <a:gd name="connsiteY122" fmla="*/ 122494 h 1906800"/>
                  <a:gd name="connsiteX123" fmla="*/ 959612 w 1922991"/>
                  <a:gd name="connsiteY123" fmla="*/ 121677 h 1906800"/>
                  <a:gd name="connsiteX124" fmla="*/ 957699 w 1922991"/>
                  <a:gd name="connsiteY124" fmla="*/ 120061 h 1906800"/>
                  <a:gd name="connsiteX125" fmla="*/ 953873 w 1922991"/>
                  <a:gd name="connsiteY125" fmla="*/ 116829 h 1906800"/>
                  <a:gd name="connsiteX126" fmla="*/ 950047 w 1922991"/>
                  <a:gd name="connsiteY126" fmla="*/ 113598 h 1906800"/>
                  <a:gd name="connsiteX127" fmla="*/ 948134 w 1922991"/>
                  <a:gd name="connsiteY127" fmla="*/ 111982 h 1906800"/>
                  <a:gd name="connsiteX128" fmla="*/ 947177 w 1922991"/>
                  <a:gd name="connsiteY128" fmla="*/ 111165 h 1906800"/>
                  <a:gd name="connsiteX129" fmla="*/ 946081 w 1922991"/>
                  <a:gd name="connsiteY129" fmla="*/ 110147 h 1906800"/>
                  <a:gd name="connsiteX130" fmla="*/ 937094 w 1922991"/>
                  <a:gd name="connsiteY130" fmla="*/ 101390 h 1906800"/>
                  <a:gd name="connsiteX131" fmla="*/ 928126 w 1922991"/>
                  <a:gd name="connsiteY131" fmla="*/ 91676 h 1906800"/>
                  <a:gd name="connsiteX132" fmla="*/ 920454 w 1922991"/>
                  <a:gd name="connsiteY132" fmla="*/ 82202 h 1906800"/>
                  <a:gd name="connsiteX133" fmla="*/ 912563 w 1922991"/>
                  <a:gd name="connsiteY133" fmla="*/ 73046 h 1906800"/>
                  <a:gd name="connsiteX134" fmla="*/ 908438 w 1922991"/>
                  <a:gd name="connsiteY134" fmla="*/ 68837 h 1906800"/>
                  <a:gd name="connsiteX135" fmla="*/ 904731 w 1922991"/>
                  <a:gd name="connsiteY135" fmla="*/ 65207 h 1906800"/>
                  <a:gd name="connsiteX136" fmla="*/ 901782 w 1922991"/>
                  <a:gd name="connsiteY136" fmla="*/ 62314 h 1906800"/>
                  <a:gd name="connsiteX137" fmla="*/ 898673 w 1922991"/>
                  <a:gd name="connsiteY137" fmla="*/ 59602 h 1906800"/>
                  <a:gd name="connsiteX138" fmla="*/ 872567 w 1922991"/>
                  <a:gd name="connsiteY138" fmla="*/ 39615 h 1906800"/>
                  <a:gd name="connsiteX139" fmla="*/ 823664 w 1922991"/>
                  <a:gd name="connsiteY139" fmla="*/ 15279 h 1906800"/>
                  <a:gd name="connsiteX140" fmla="*/ 769939 w 1922991"/>
                  <a:gd name="connsiteY140" fmla="*/ 2633 h 1906800"/>
                  <a:gd name="connsiteX141" fmla="*/ 763044 w 1922991"/>
                  <a:gd name="connsiteY141" fmla="*/ 1735 h 1906800"/>
                  <a:gd name="connsiteX142" fmla="*/ 756089 w 1922991"/>
                  <a:gd name="connsiteY142" fmla="*/ 1157 h 1906800"/>
                  <a:gd name="connsiteX143" fmla="*/ 749114 w 1922991"/>
                  <a:gd name="connsiteY143" fmla="*/ 638 h 1906800"/>
                  <a:gd name="connsiteX144" fmla="*/ 745627 w 1922991"/>
                  <a:gd name="connsiteY144" fmla="*/ 379 h 1906800"/>
                  <a:gd name="connsiteX145" fmla="*/ 742119 w 1922991"/>
                  <a:gd name="connsiteY145" fmla="*/ 299 h 1906800"/>
                  <a:gd name="connsiteX146" fmla="*/ 728130 w 1922991"/>
                  <a:gd name="connsiteY146" fmla="*/ 20 h 1906800"/>
                  <a:gd name="connsiteX147" fmla="*/ 714539 w 1922991"/>
                  <a:gd name="connsiteY147" fmla="*/ 578 h 1906800"/>
                  <a:gd name="connsiteX148" fmla="*/ 707764 w 1922991"/>
                  <a:gd name="connsiteY148" fmla="*/ 1097 h 1906800"/>
                  <a:gd name="connsiteX149" fmla="*/ 701008 w 1922991"/>
                  <a:gd name="connsiteY149" fmla="*/ 1955 h 1906800"/>
                  <a:gd name="connsiteX150" fmla="*/ 697640 w 1922991"/>
                  <a:gd name="connsiteY150" fmla="*/ 2374 h 1906800"/>
                  <a:gd name="connsiteX151" fmla="*/ 694292 w 1922991"/>
                  <a:gd name="connsiteY151" fmla="*/ 2972 h 1906800"/>
                  <a:gd name="connsiteX152" fmla="*/ 687597 w 1922991"/>
                  <a:gd name="connsiteY152" fmla="*/ 4149 h 1906800"/>
                  <a:gd name="connsiteX153" fmla="*/ 661272 w 1922991"/>
                  <a:gd name="connsiteY153" fmla="*/ 11230 h 1906800"/>
                  <a:gd name="connsiteX154" fmla="*/ 611711 w 1922991"/>
                  <a:gd name="connsiteY154" fmla="*/ 34608 h 1906800"/>
                  <a:gd name="connsiteX155" fmla="*/ 567790 w 1922991"/>
                  <a:gd name="connsiteY155" fmla="*/ 68458 h 1906800"/>
                  <a:gd name="connsiteX156" fmla="*/ 530465 w 1922991"/>
                  <a:gd name="connsiteY156" fmla="*/ 110247 h 1906800"/>
                  <a:gd name="connsiteX157" fmla="*/ 499995 w 1922991"/>
                  <a:gd name="connsiteY157" fmla="*/ 157821 h 1906800"/>
                  <a:gd name="connsiteX158" fmla="*/ 479928 w 1922991"/>
                  <a:gd name="connsiteY158" fmla="*/ 200746 h 1906800"/>
                  <a:gd name="connsiteX159" fmla="*/ 478812 w 1922991"/>
                  <a:gd name="connsiteY159" fmla="*/ 203499 h 1906800"/>
                  <a:gd name="connsiteX160" fmla="*/ 477596 w 1922991"/>
                  <a:gd name="connsiteY160" fmla="*/ 206631 h 1906800"/>
                  <a:gd name="connsiteX161" fmla="*/ 474787 w 1922991"/>
                  <a:gd name="connsiteY161" fmla="*/ 214350 h 1906800"/>
                  <a:gd name="connsiteX162" fmla="*/ 471977 w 1922991"/>
                  <a:gd name="connsiteY162" fmla="*/ 222070 h 1906800"/>
                  <a:gd name="connsiteX163" fmla="*/ 468649 w 1922991"/>
                  <a:gd name="connsiteY163" fmla="*/ 229171 h 1906800"/>
                  <a:gd name="connsiteX164" fmla="*/ 465281 w 1922991"/>
                  <a:gd name="connsiteY164" fmla="*/ 236232 h 1906800"/>
                  <a:gd name="connsiteX165" fmla="*/ 464444 w 1922991"/>
                  <a:gd name="connsiteY165" fmla="*/ 237987 h 1906800"/>
                  <a:gd name="connsiteX166" fmla="*/ 463966 w 1922991"/>
                  <a:gd name="connsiteY166" fmla="*/ 238845 h 1906800"/>
                  <a:gd name="connsiteX167" fmla="*/ 463109 w 1922991"/>
                  <a:gd name="connsiteY167" fmla="*/ 239284 h 1906800"/>
                  <a:gd name="connsiteX168" fmla="*/ 459542 w 1922991"/>
                  <a:gd name="connsiteY168" fmla="*/ 240860 h 1906800"/>
                  <a:gd name="connsiteX169" fmla="*/ 452427 w 1922991"/>
                  <a:gd name="connsiteY169" fmla="*/ 244011 h 1906800"/>
                  <a:gd name="connsiteX170" fmla="*/ 448860 w 1922991"/>
                  <a:gd name="connsiteY170" fmla="*/ 245587 h 1906800"/>
                  <a:gd name="connsiteX171" fmla="*/ 444994 w 1922991"/>
                  <a:gd name="connsiteY171" fmla="*/ 246924 h 1906800"/>
                  <a:gd name="connsiteX172" fmla="*/ 434054 w 1922991"/>
                  <a:gd name="connsiteY172" fmla="*/ 250514 h 1906800"/>
                  <a:gd name="connsiteX173" fmla="*/ 432679 w 1922991"/>
                  <a:gd name="connsiteY173" fmla="*/ 250953 h 1906800"/>
                  <a:gd name="connsiteX174" fmla="*/ 431443 w 1922991"/>
                  <a:gd name="connsiteY174" fmla="*/ 251372 h 1906800"/>
                  <a:gd name="connsiteX175" fmla="*/ 429490 w 1922991"/>
                  <a:gd name="connsiteY175" fmla="*/ 252110 h 1906800"/>
                  <a:gd name="connsiteX176" fmla="*/ 425605 w 1922991"/>
                  <a:gd name="connsiteY176" fmla="*/ 253586 h 1906800"/>
                  <a:gd name="connsiteX177" fmla="*/ 410380 w 1922991"/>
                  <a:gd name="connsiteY177" fmla="*/ 259829 h 1906800"/>
                  <a:gd name="connsiteX178" fmla="*/ 381285 w 1922991"/>
                  <a:gd name="connsiteY178" fmla="*/ 274590 h 1906800"/>
                  <a:gd name="connsiteX179" fmla="*/ 328476 w 1922991"/>
                  <a:gd name="connsiteY179" fmla="*/ 312649 h 1906800"/>
                  <a:gd name="connsiteX180" fmla="*/ 290593 w 1922991"/>
                  <a:gd name="connsiteY180" fmla="*/ 353540 h 1906800"/>
                  <a:gd name="connsiteX181" fmla="*/ 261100 w 1922991"/>
                  <a:gd name="connsiteY181" fmla="*/ 400695 h 1906800"/>
                  <a:gd name="connsiteX182" fmla="*/ 241331 w 1922991"/>
                  <a:gd name="connsiteY182" fmla="*/ 452557 h 1906800"/>
                  <a:gd name="connsiteX183" fmla="*/ 232384 w 1922991"/>
                  <a:gd name="connsiteY183" fmla="*/ 507292 h 1906800"/>
                  <a:gd name="connsiteX184" fmla="*/ 232025 w 1922991"/>
                  <a:gd name="connsiteY184" fmla="*/ 512837 h 1906800"/>
                  <a:gd name="connsiteX185" fmla="*/ 231905 w 1922991"/>
                  <a:gd name="connsiteY185" fmla="*/ 518402 h 1906800"/>
                  <a:gd name="connsiteX186" fmla="*/ 231806 w 1922991"/>
                  <a:gd name="connsiteY186" fmla="*/ 529532 h 1906800"/>
                  <a:gd name="connsiteX187" fmla="*/ 232204 w 1922991"/>
                  <a:gd name="connsiteY187" fmla="*/ 540643 h 1906800"/>
                  <a:gd name="connsiteX188" fmla="*/ 232384 w 1922991"/>
                  <a:gd name="connsiteY188" fmla="*/ 543416 h 1906800"/>
                  <a:gd name="connsiteX189" fmla="*/ 232643 w 1922991"/>
                  <a:gd name="connsiteY189" fmla="*/ 546787 h 1906800"/>
                  <a:gd name="connsiteX190" fmla="*/ 233400 w 1922991"/>
                  <a:gd name="connsiteY190" fmla="*/ 554566 h 1906800"/>
                  <a:gd name="connsiteX191" fmla="*/ 235273 w 1922991"/>
                  <a:gd name="connsiteY191" fmla="*/ 570264 h 1906800"/>
                  <a:gd name="connsiteX192" fmla="*/ 235333 w 1922991"/>
                  <a:gd name="connsiteY192" fmla="*/ 584885 h 1906800"/>
                  <a:gd name="connsiteX193" fmla="*/ 235114 w 1922991"/>
                  <a:gd name="connsiteY193" fmla="*/ 588276 h 1906800"/>
                  <a:gd name="connsiteX194" fmla="*/ 234536 w 1922991"/>
                  <a:gd name="connsiteY194" fmla="*/ 588955 h 1906800"/>
                  <a:gd name="connsiteX195" fmla="*/ 233818 w 1922991"/>
                  <a:gd name="connsiteY195" fmla="*/ 589533 h 1906800"/>
                  <a:gd name="connsiteX196" fmla="*/ 232384 w 1922991"/>
                  <a:gd name="connsiteY196" fmla="*/ 590690 h 1906800"/>
                  <a:gd name="connsiteX197" fmla="*/ 226664 w 1922991"/>
                  <a:gd name="connsiteY197" fmla="*/ 595338 h 1906800"/>
                  <a:gd name="connsiteX198" fmla="*/ 215246 w 1922991"/>
                  <a:gd name="connsiteY198" fmla="*/ 604653 h 1906800"/>
                  <a:gd name="connsiteX199" fmla="*/ 205341 w 1922991"/>
                  <a:gd name="connsiteY199" fmla="*/ 611255 h 1906800"/>
                  <a:gd name="connsiteX200" fmla="*/ 196892 w 1922991"/>
                  <a:gd name="connsiteY200" fmla="*/ 617299 h 1906800"/>
                  <a:gd name="connsiteX201" fmla="*/ 193464 w 1922991"/>
                  <a:gd name="connsiteY201" fmla="*/ 619733 h 1906800"/>
                  <a:gd name="connsiteX202" fmla="*/ 190216 w 1922991"/>
                  <a:gd name="connsiteY202" fmla="*/ 622386 h 1906800"/>
                  <a:gd name="connsiteX203" fmla="*/ 183700 w 1922991"/>
                  <a:gd name="connsiteY203" fmla="*/ 627692 h 1906800"/>
                  <a:gd name="connsiteX204" fmla="*/ 177223 w 1922991"/>
                  <a:gd name="connsiteY204" fmla="*/ 633037 h 1906800"/>
                  <a:gd name="connsiteX205" fmla="*/ 171066 w 1922991"/>
                  <a:gd name="connsiteY205" fmla="*/ 638762 h 1906800"/>
                  <a:gd name="connsiteX206" fmla="*/ 159009 w 1922991"/>
                  <a:gd name="connsiteY206" fmla="*/ 650451 h 1906800"/>
                  <a:gd name="connsiteX207" fmla="*/ 153210 w 1922991"/>
                  <a:gd name="connsiteY207" fmla="*/ 656535 h 1906800"/>
                  <a:gd name="connsiteX208" fmla="*/ 147551 w 1922991"/>
                  <a:gd name="connsiteY208" fmla="*/ 662738 h 1906800"/>
                  <a:gd name="connsiteX209" fmla="*/ 136770 w 1922991"/>
                  <a:gd name="connsiteY209" fmla="*/ 675604 h 1906800"/>
                  <a:gd name="connsiteX210" fmla="*/ 126826 w 1922991"/>
                  <a:gd name="connsiteY210" fmla="*/ 689128 h 1906800"/>
                  <a:gd name="connsiteX211" fmla="*/ 124374 w 1922991"/>
                  <a:gd name="connsiteY211" fmla="*/ 692539 h 1906800"/>
                  <a:gd name="connsiteX212" fmla="*/ 122123 w 1922991"/>
                  <a:gd name="connsiteY212" fmla="*/ 696070 h 1906800"/>
                  <a:gd name="connsiteX213" fmla="*/ 117599 w 1922991"/>
                  <a:gd name="connsiteY213" fmla="*/ 703131 h 1906800"/>
                  <a:gd name="connsiteX214" fmla="*/ 113853 w 1922991"/>
                  <a:gd name="connsiteY214" fmla="*/ 709035 h 1906800"/>
                  <a:gd name="connsiteX215" fmla="*/ 110485 w 1922991"/>
                  <a:gd name="connsiteY215" fmla="*/ 715159 h 1906800"/>
                  <a:gd name="connsiteX216" fmla="*/ 103809 w 1922991"/>
                  <a:gd name="connsiteY216" fmla="*/ 727426 h 1906800"/>
                  <a:gd name="connsiteX217" fmla="*/ 92490 w 1922991"/>
                  <a:gd name="connsiteY217" fmla="*/ 752959 h 1906800"/>
                  <a:gd name="connsiteX218" fmla="*/ 89939 w 1922991"/>
                  <a:gd name="connsiteY218" fmla="*/ 759461 h 1906800"/>
                  <a:gd name="connsiteX219" fmla="*/ 88664 w 1922991"/>
                  <a:gd name="connsiteY219" fmla="*/ 762713 h 1906800"/>
                  <a:gd name="connsiteX220" fmla="*/ 87588 w 1922991"/>
                  <a:gd name="connsiteY220" fmla="*/ 766044 h 1906800"/>
                  <a:gd name="connsiteX221" fmla="*/ 83383 w 1922991"/>
                  <a:gd name="connsiteY221" fmla="*/ 779368 h 1906800"/>
                  <a:gd name="connsiteX222" fmla="*/ 82347 w 1922991"/>
                  <a:gd name="connsiteY222" fmla="*/ 782700 h 1906800"/>
                  <a:gd name="connsiteX223" fmla="*/ 81529 w 1922991"/>
                  <a:gd name="connsiteY223" fmla="*/ 786090 h 1906800"/>
                  <a:gd name="connsiteX224" fmla="*/ 79875 w 1922991"/>
                  <a:gd name="connsiteY224" fmla="*/ 792873 h 1906800"/>
                  <a:gd name="connsiteX225" fmla="*/ 76866 w 1922991"/>
                  <a:gd name="connsiteY225" fmla="*/ 806496 h 1906800"/>
                  <a:gd name="connsiteX226" fmla="*/ 74475 w 1922991"/>
                  <a:gd name="connsiteY226" fmla="*/ 820260 h 1906800"/>
                  <a:gd name="connsiteX227" fmla="*/ 73618 w 1922991"/>
                  <a:gd name="connsiteY227" fmla="*/ 827181 h 1906800"/>
                  <a:gd name="connsiteX228" fmla="*/ 72901 w 1922991"/>
                  <a:gd name="connsiteY228" fmla="*/ 834123 h 1906800"/>
                  <a:gd name="connsiteX229" fmla="*/ 71326 w 1922991"/>
                  <a:gd name="connsiteY229" fmla="*/ 862029 h 1906800"/>
                  <a:gd name="connsiteX230" fmla="*/ 75970 w 1922991"/>
                  <a:gd name="connsiteY230" fmla="*/ 917641 h 1906800"/>
                  <a:gd name="connsiteX231" fmla="*/ 79676 w 1922991"/>
                  <a:gd name="connsiteY231" fmla="*/ 935354 h 1906800"/>
                  <a:gd name="connsiteX232" fmla="*/ 81928 w 1922991"/>
                  <a:gd name="connsiteY232" fmla="*/ 944111 h 1906800"/>
                  <a:gd name="connsiteX233" fmla="*/ 83761 w 1922991"/>
                  <a:gd name="connsiteY233" fmla="*/ 950354 h 1906800"/>
                  <a:gd name="connsiteX234" fmla="*/ 85635 w 1922991"/>
                  <a:gd name="connsiteY234" fmla="*/ 956478 h 1906800"/>
                  <a:gd name="connsiteX235" fmla="*/ 87607 w 1922991"/>
                  <a:gd name="connsiteY235" fmla="*/ 962581 h 1906800"/>
                  <a:gd name="connsiteX236" fmla="*/ 88106 w 1922991"/>
                  <a:gd name="connsiteY236" fmla="*/ 964117 h 1906800"/>
                  <a:gd name="connsiteX237" fmla="*/ 88464 w 1922991"/>
                  <a:gd name="connsiteY237" fmla="*/ 965613 h 1906800"/>
                  <a:gd name="connsiteX238" fmla="*/ 89162 w 1922991"/>
                  <a:gd name="connsiteY238" fmla="*/ 968605 h 1906800"/>
                  <a:gd name="connsiteX239" fmla="*/ 89859 w 1922991"/>
                  <a:gd name="connsiteY239" fmla="*/ 971597 h 1906800"/>
                  <a:gd name="connsiteX240" fmla="*/ 90198 w 1922991"/>
                  <a:gd name="connsiteY240" fmla="*/ 973093 h 1906800"/>
                  <a:gd name="connsiteX241" fmla="*/ 90417 w 1922991"/>
                  <a:gd name="connsiteY241" fmla="*/ 974530 h 1906800"/>
                  <a:gd name="connsiteX242" fmla="*/ 91294 w 1922991"/>
                  <a:gd name="connsiteY242" fmla="*/ 980234 h 1906800"/>
                  <a:gd name="connsiteX243" fmla="*/ 91473 w 1922991"/>
                  <a:gd name="connsiteY243" fmla="*/ 981671 h 1906800"/>
                  <a:gd name="connsiteX244" fmla="*/ 90696 w 1922991"/>
                  <a:gd name="connsiteY244" fmla="*/ 982947 h 1906800"/>
                  <a:gd name="connsiteX245" fmla="*/ 89042 w 1922991"/>
                  <a:gd name="connsiteY245" fmla="*/ 985441 h 1906800"/>
                  <a:gd name="connsiteX246" fmla="*/ 85714 w 1922991"/>
                  <a:gd name="connsiteY246" fmla="*/ 990447 h 1906800"/>
                  <a:gd name="connsiteX247" fmla="*/ 82386 w 1922991"/>
                  <a:gd name="connsiteY247" fmla="*/ 995454 h 1906800"/>
                  <a:gd name="connsiteX248" fmla="*/ 80732 w 1922991"/>
                  <a:gd name="connsiteY248" fmla="*/ 997947 h 1906800"/>
                  <a:gd name="connsiteX249" fmla="*/ 78759 w 1922991"/>
                  <a:gd name="connsiteY249" fmla="*/ 1000421 h 1906800"/>
                  <a:gd name="connsiteX250" fmla="*/ 70529 w 1922991"/>
                  <a:gd name="connsiteY250" fmla="*/ 1010494 h 1906800"/>
                  <a:gd name="connsiteX251" fmla="*/ 68477 w 1922991"/>
                  <a:gd name="connsiteY251" fmla="*/ 1013007 h 1906800"/>
                  <a:gd name="connsiteX252" fmla="*/ 67440 w 1922991"/>
                  <a:gd name="connsiteY252" fmla="*/ 1014264 h 1906800"/>
                  <a:gd name="connsiteX253" fmla="*/ 66703 w 1922991"/>
                  <a:gd name="connsiteY253" fmla="*/ 1015261 h 1906800"/>
                  <a:gd name="connsiteX254" fmla="*/ 63913 w 1922991"/>
                  <a:gd name="connsiteY254" fmla="*/ 1019111 h 1906800"/>
                  <a:gd name="connsiteX255" fmla="*/ 58333 w 1922991"/>
                  <a:gd name="connsiteY255" fmla="*/ 1026791 h 1906800"/>
                  <a:gd name="connsiteX256" fmla="*/ 53092 w 1922991"/>
                  <a:gd name="connsiteY256" fmla="*/ 1034710 h 1906800"/>
                  <a:gd name="connsiteX257" fmla="*/ 50462 w 1922991"/>
                  <a:gd name="connsiteY257" fmla="*/ 1038659 h 1906800"/>
                  <a:gd name="connsiteX258" fmla="*/ 48011 w 1922991"/>
                  <a:gd name="connsiteY258" fmla="*/ 1042728 h 1906800"/>
                  <a:gd name="connsiteX259" fmla="*/ 43128 w 1922991"/>
                  <a:gd name="connsiteY259" fmla="*/ 1050867 h 1906800"/>
                  <a:gd name="connsiteX260" fmla="*/ 38585 w 1922991"/>
                  <a:gd name="connsiteY260" fmla="*/ 1059185 h 1906800"/>
                  <a:gd name="connsiteX261" fmla="*/ 34181 w 1922991"/>
                  <a:gd name="connsiteY261" fmla="*/ 1067582 h 1906800"/>
                  <a:gd name="connsiteX262" fmla="*/ 26230 w 1922991"/>
                  <a:gd name="connsiteY262" fmla="*/ 1084797 h 1906800"/>
                  <a:gd name="connsiteX263" fmla="*/ 22563 w 1922991"/>
                  <a:gd name="connsiteY263" fmla="*/ 1093533 h 1906800"/>
                  <a:gd name="connsiteX264" fmla="*/ 19255 w 1922991"/>
                  <a:gd name="connsiteY264" fmla="*/ 1102410 h 1906800"/>
                  <a:gd name="connsiteX265" fmla="*/ 17601 w 1922991"/>
                  <a:gd name="connsiteY265" fmla="*/ 1106858 h 1906800"/>
                  <a:gd name="connsiteX266" fmla="*/ 16166 w 1922991"/>
                  <a:gd name="connsiteY266" fmla="*/ 1111366 h 1906800"/>
                  <a:gd name="connsiteX267" fmla="*/ 13257 w 1922991"/>
                  <a:gd name="connsiteY267" fmla="*/ 1120382 h 1906800"/>
                  <a:gd name="connsiteX268" fmla="*/ 10766 w 1922991"/>
                  <a:gd name="connsiteY268" fmla="*/ 1129518 h 1906800"/>
                  <a:gd name="connsiteX269" fmla="*/ 8454 w 1922991"/>
                  <a:gd name="connsiteY269" fmla="*/ 1138693 h 1906800"/>
                  <a:gd name="connsiteX270" fmla="*/ 483 w 1922991"/>
                  <a:gd name="connsiteY270" fmla="*/ 1194126 h 1906800"/>
                  <a:gd name="connsiteX271" fmla="*/ 2157 w 1922991"/>
                  <a:gd name="connsiteY271" fmla="*/ 1250137 h 1906800"/>
                  <a:gd name="connsiteX272" fmla="*/ 13555 w 1922991"/>
                  <a:gd name="connsiteY272" fmla="*/ 1304971 h 1906800"/>
                  <a:gd name="connsiteX273" fmla="*/ 17860 w 1922991"/>
                  <a:gd name="connsiteY273" fmla="*/ 1318316 h 1906800"/>
                  <a:gd name="connsiteX274" fmla="*/ 22722 w 1922991"/>
                  <a:gd name="connsiteY274" fmla="*/ 1331461 h 1906800"/>
                  <a:gd name="connsiteX275" fmla="*/ 28202 w 1922991"/>
                  <a:gd name="connsiteY275" fmla="*/ 1344367 h 1906800"/>
                  <a:gd name="connsiteX276" fmla="*/ 34221 w 1922991"/>
                  <a:gd name="connsiteY276" fmla="*/ 1357033 h 1906800"/>
                  <a:gd name="connsiteX277" fmla="*/ 63455 w 1922991"/>
                  <a:gd name="connsiteY277" fmla="*/ 1404926 h 1906800"/>
                  <a:gd name="connsiteX278" fmla="*/ 100321 w 1922991"/>
                  <a:gd name="connsiteY278" fmla="*/ 1447353 h 1906800"/>
                  <a:gd name="connsiteX279" fmla="*/ 143565 w 1922991"/>
                  <a:gd name="connsiteY279" fmla="*/ 1483337 h 1906800"/>
                  <a:gd name="connsiteX280" fmla="*/ 149324 w 1922991"/>
                  <a:gd name="connsiteY280" fmla="*/ 1487386 h 1906800"/>
                  <a:gd name="connsiteX281" fmla="*/ 155223 w 1922991"/>
                  <a:gd name="connsiteY281" fmla="*/ 1491236 h 1906800"/>
                  <a:gd name="connsiteX282" fmla="*/ 167199 w 1922991"/>
                  <a:gd name="connsiteY282" fmla="*/ 1498676 h 1906800"/>
                  <a:gd name="connsiteX283" fmla="*/ 173297 w 1922991"/>
                  <a:gd name="connsiteY283" fmla="*/ 1502207 h 1906800"/>
                  <a:gd name="connsiteX284" fmla="*/ 177343 w 1922991"/>
                  <a:gd name="connsiteY284" fmla="*/ 1504461 h 1906800"/>
                  <a:gd name="connsiteX285" fmla="*/ 181667 w 1922991"/>
                  <a:gd name="connsiteY285" fmla="*/ 1506795 h 1906800"/>
                  <a:gd name="connsiteX286" fmla="*/ 198965 w 1922991"/>
                  <a:gd name="connsiteY286" fmla="*/ 1516010 h 1906800"/>
                  <a:gd name="connsiteX287" fmla="*/ 207015 w 1922991"/>
                  <a:gd name="connsiteY287" fmla="*/ 1521715 h 1906800"/>
                  <a:gd name="connsiteX288" fmla="*/ 211041 w 1922991"/>
                  <a:gd name="connsiteY288" fmla="*/ 1524568 h 1906800"/>
                  <a:gd name="connsiteX289" fmla="*/ 211439 w 1922991"/>
                  <a:gd name="connsiteY289" fmla="*/ 1525046 h 1906800"/>
                  <a:gd name="connsiteX290" fmla="*/ 211539 w 1922991"/>
                  <a:gd name="connsiteY290" fmla="*/ 1525665 h 1906800"/>
                  <a:gd name="connsiteX291" fmla="*/ 211698 w 1922991"/>
                  <a:gd name="connsiteY291" fmla="*/ 1526901 h 1906800"/>
                  <a:gd name="connsiteX292" fmla="*/ 212017 w 1922991"/>
                  <a:gd name="connsiteY292" fmla="*/ 1529375 h 1906800"/>
                  <a:gd name="connsiteX293" fmla="*/ 213313 w 1922991"/>
                  <a:gd name="connsiteY293" fmla="*/ 1539308 h 1906800"/>
                  <a:gd name="connsiteX294" fmla="*/ 213970 w 1922991"/>
                  <a:gd name="connsiteY294" fmla="*/ 1544275 h 1906800"/>
                  <a:gd name="connsiteX295" fmla="*/ 214130 w 1922991"/>
                  <a:gd name="connsiteY295" fmla="*/ 1549681 h 1906800"/>
                  <a:gd name="connsiteX296" fmla="*/ 214409 w 1922991"/>
                  <a:gd name="connsiteY296" fmla="*/ 1566217 h 1906800"/>
                  <a:gd name="connsiteX297" fmla="*/ 214449 w 1922991"/>
                  <a:gd name="connsiteY297" fmla="*/ 1568291 h 1906800"/>
                  <a:gd name="connsiteX298" fmla="*/ 214508 w 1922991"/>
                  <a:gd name="connsiteY298" fmla="*/ 1570186 h 1906800"/>
                  <a:gd name="connsiteX299" fmla="*/ 214767 w 1922991"/>
                  <a:gd name="connsiteY299" fmla="*/ 1573198 h 1906800"/>
                  <a:gd name="connsiteX300" fmla="*/ 215266 w 1922991"/>
                  <a:gd name="connsiteY300" fmla="*/ 1579242 h 1906800"/>
                  <a:gd name="connsiteX301" fmla="*/ 218075 w 1922991"/>
                  <a:gd name="connsiteY301" fmla="*/ 1603298 h 1906800"/>
                  <a:gd name="connsiteX302" fmla="*/ 229115 w 1922991"/>
                  <a:gd name="connsiteY302" fmla="*/ 1650433 h 1906800"/>
                  <a:gd name="connsiteX303" fmla="*/ 230869 w 1922991"/>
                  <a:gd name="connsiteY303" fmla="*/ 1656238 h 1906800"/>
                  <a:gd name="connsiteX304" fmla="*/ 232902 w 1922991"/>
                  <a:gd name="connsiteY304" fmla="*/ 1661942 h 1906800"/>
                  <a:gd name="connsiteX305" fmla="*/ 237027 w 1922991"/>
                  <a:gd name="connsiteY305" fmla="*/ 1673332 h 1906800"/>
                  <a:gd name="connsiteX306" fmla="*/ 241750 w 1922991"/>
                  <a:gd name="connsiteY306" fmla="*/ 1684502 h 1906800"/>
                  <a:gd name="connsiteX307" fmla="*/ 244141 w 1922991"/>
                  <a:gd name="connsiteY307" fmla="*/ 1690068 h 1906800"/>
                  <a:gd name="connsiteX308" fmla="*/ 246791 w 1922991"/>
                  <a:gd name="connsiteY308" fmla="*/ 1695533 h 1906800"/>
                  <a:gd name="connsiteX309" fmla="*/ 270685 w 1922991"/>
                  <a:gd name="connsiteY309" fmla="*/ 1737761 h 1906800"/>
                  <a:gd name="connsiteX310" fmla="*/ 278656 w 1922991"/>
                  <a:gd name="connsiteY310" fmla="*/ 1749370 h 1906800"/>
                  <a:gd name="connsiteX311" fmla="*/ 287185 w 1922991"/>
                  <a:gd name="connsiteY311" fmla="*/ 1760600 h 1906800"/>
                  <a:gd name="connsiteX312" fmla="*/ 289318 w 1922991"/>
                  <a:gd name="connsiteY312" fmla="*/ 1763413 h 1906800"/>
                  <a:gd name="connsiteX313" fmla="*/ 291589 w 1922991"/>
                  <a:gd name="connsiteY313" fmla="*/ 1766106 h 1906800"/>
                  <a:gd name="connsiteX314" fmla="*/ 296133 w 1922991"/>
                  <a:gd name="connsiteY314" fmla="*/ 1771511 h 1906800"/>
                  <a:gd name="connsiteX315" fmla="*/ 300677 w 1922991"/>
                  <a:gd name="connsiteY315" fmla="*/ 1776917 h 1906800"/>
                  <a:gd name="connsiteX316" fmla="*/ 305479 w 1922991"/>
                  <a:gd name="connsiteY316" fmla="*/ 1782083 h 1906800"/>
                  <a:gd name="connsiteX317" fmla="*/ 310282 w 1922991"/>
                  <a:gd name="connsiteY317" fmla="*/ 1787249 h 1906800"/>
                  <a:gd name="connsiteX318" fmla="*/ 312673 w 1922991"/>
                  <a:gd name="connsiteY318" fmla="*/ 1789842 h 1906800"/>
                  <a:gd name="connsiteX319" fmla="*/ 315184 w 1922991"/>
                  <a:gd name="connsiteY319" fmla="*/ 1792316 h 1906800"/>
                  <a:gd name="connsiteX320" fmla="*/ 325268 w 1922991"/>
                  <a:gd name="connsiteY320" fmla="*/ 1802210 h 1906800"/>
                  <a:gd name="connsiteX321" fmla="*/ 335809 w 1922991"/>
                  <a:gd name="connsiteY321" fmla="*/ 1811605 h 1906800"/>
                  <a:gd name="connsiteX322" fmla="*/ 338440 w 1922991"/>
                  <a:gd name="connsiteY322" fmla="*/ 1813958 h 1906800"/>
                  <a:gd name="connsiteX323" fmla="*/ 341190 w 1922991"/>
                  <a:gd name="connsiteY323" fmla="*/ 1816192 h 1906800"/>
                  <a:gd name="connsiteX324" fmla="*/ 346690 w 1922991"/>
                  <a:gd name="connsiteY324" fmla="*/ 1820641 h 1906800"/>
                  <a:gd name="connsiteX325" fmla="*/ 444018 w 1922991"/>
                  <a:gd name="connsiteY325" fmla="*/ 1877589 h 1906800"/>
                  <a:gd name="connsiteX326" fmla="*/ 497883 w 1922991"/>
                  <a:gd name="connsiteY326" fmla="*/ 1895003 h 1906800"/>
                  <a:gd name="connsiteX327" fmla="*/ 511713 w 1922991"/>
                  <a:gd name="connsiteY327" fmla="*/ 1898095 h 1906800"/>
                  <a:gd name="connsiteX328" fmla="*/ 518648 w 1922991"/>
                  <a:gd name="connsiteY328" fmla="*/ 1899591 h 1906800"/>
                  <a:gd name="connsiteX329" fmla="*/ 525643 w 1922991"/>
                  <a:gd name="connsiteY329" fmla="*/ 1900748 h 1906800"/>
                  <a:gd name="connsiteX330" fmla="*/ 539632 w 1922991"/>
                  <a:gd name="connsiteY330" fmla="*/ 1902982 h 1906800"/>
                  <a:gd name="connsiteX331" fmla="*/ 553721 w 1922991"/>
                  <a:gd name="connsiteY331" fmla="*/ 1904657 h 1906800"/>
                  <a:gd name="connsiteX332" fmla="*/ 667728 w 1922991"/>
                  <a:gd name="connsiteY332" fmla="*/ 1902144 h 1906800"/>
                  <a:gd name="connsiteX333" fmla="*/ 777511 w 1922991"/>
                  <a:gd name="connsiteY333" fmla="*/ 1873261 h 1906800"/>
                  <a:gd name="connsiteX334" fmla="*/ 827829 w 1922991"/>
                  <a:gd name="connsiteY334" fmla="*/ 1847888 h 1906800"/>
                  <a:gd name="connsiteX335" fmla="*/ 872926 w 1922991"/>
                  <a:gd name="connsiteY335" fmla="*/ 1814736 h 1906800"/>
                  <a:gd name="connsiteX336" fmla="*/ 880578 w 1922991"/>
                  <a:gd name="connsiteY336" fmla="*/ 1807775 h 1906800"/>
                  <a:gd name="connsiteX337" fmla="*/ 887991 w 1922991"/>
                  <a:gd name="connsiteY337" fmla="*/ 1800574 h 1906800"/>
                  <a:gd name="connsiteX338" fmla="*/ 895146 w 1922991"/>
                  <a:gd name="connsiteY338" fmla="*/ 1793134 h 1906800"/>
                  <a:gd name="connsiteX339" fmla="*/ 902300 w 1922991"/>
                  <a:gd name="connsiteY339" fmla="*/ 1785095 h 1906800"/>
                  <a:gd name="connsiteX340" fmla="*/ 920016 w 1922991"/>
                  <a:gd name="connsiteY340" fmla="*/ 1761298 h 1906800"/>
                  <a:gd name="connsiteX341" fmla="*/ 924220 w 1922991"/>
                  <a:gd name="connsiteY341" fmla="*/ 1754975 h 1906800"/>
                  <a:gd name="connsiteX342" fmla="*/ 928425 w 1922991"/>
                  <a:gd name="connsiteY342" fmla="*/ 1748831 h 1906800"/>
                  <a:gd name="connsiteX343" fmla="*/ 932630 w 1922991"/>
                  <a:gd name="connsiteY343" fmla="*/ 1742688 h 1906800"/>
                  <a:gd name="connsiteX344" fmla="*/ 933686 w 1922991"/>
                  <a:gd name="connsiteY344" fmla="*/ 1741152 h 1906800"/>
                  <a:gd name="connsiteX345" fmla="*/ 934742 w 1922991"/>
                  <a:gd name="connsiteY345" fmla="*/ 1739756 h 1906800"/>
                  <a:gd name="connsiteX346" fmla="*/ 936835 w 1922991"/>
                  <a:gd name="connsiteY346" fmla="*/ 1737422 h 1906800"/>
                  <a:gd name="connsiteX347" fmla="*/ 941040 w 1922991"/>
                  <a:gd name="connsiteY347" fmla="*/ 1732754 h 1906800"/>
                  <a:gd name="connsiteX348" fmla="*/ 943132 w 1922991"/>
                  <a:gd name="connsiteY348" fmla="*/ 1730420 h 1906800"/>
                  <a:gd name="connsiteX349" fmla="*/ 945145 w 1922991"/>
                  <a:gd name="connsiteY349" fmla="*/ 1728246 h 1906800"/>
                  <a:gd name="connsiteX350" fmla="*/ 952578 w 1922991"/>
                  <a:gd name="connsiteY350" fmla="*/ 1720606 h 1906800"/>
                  <a:gd name="connsiteX351" fmla="*/ 953494 w 1922991"/>
                  <a:gd name="connsiteY351" fmla="*/ 1719649 h 1906800"/>
                  <a:gd name="connsiteX352" fmla="*/ 954272 w 1922991"/>
                  <a:gd name="connsiteY352" fmla="*/ 1718791 h 1906800"/>
                  <a:gd name="connsiteX353" fmla="*/ 955846 w 1922991"/>
                  <a:gd name="connsiteY353" fmla="*/ 1717076 h 1906800"/>
                  <a:gd name="connsiteX354" fmla="*/ 958995 w 1922991"/>
                  <a:gd name="connsiteY354" fmla="*/ 1713645 h 1906800"/>
                  <a:gd name="connsiteX355" fmla="*/ 960569 w 1922991"/>
                  <a:gd name="connsiteY355" fmla="*/ 1711930 h 1906800"/>
                  <a:gd name="connsiteX356" fmla="*/ 960967 w 1922991"/>
                  <a:gd name="connsiteY356" fmla="*/ 1711491 h 1906800"/>
                  <a:gd name="connsiteX357" fmla="*/ 961506 w 1922991"/>
                  <a:gd name="connsiteY357" fmla="*/ 1711172 h 1906800"/>
                  <a:gd name="connsiteX358" fmla="*/ 962063 w 1922991"/>
                  <a:gd name="connsiteY358" fmla="*/ 1711471 h 1906800"/>
                  <a:gd name="connsiteX359" fmla="*/ 962462 w 1922991"/>
                  <a:gd name="connsiteY359" fmla="*/ 1711910 h 1906800"/>
                  <a:gd name="connsiteX360" fmla="*/ 965611 w 1922991"/>
                  <a:gd name="connsiteY360" fmla="*/ 1715340 h 1906800"/>
                  <a:gd name="connsiteX361" fmla="*/ 968759 w 1922991"/>
                  <a:gd name="connsiteY361" fmla="*/ 1718771 h 1906800"/>
                  <a:gd name="connsiteX362" fmla="*/ 969536 w 1922991"/>
                  <a:gd name="connsiteY362" fmla="*/ 1719629 h 1906800"/>
                  <a:gd name="connsiteX363" fmla="*/ 970453 w 1922991"/>
                  <a:gd name="connsiteY363" fmla="*/ 1720587 h 1906800"/>
                  <a:gd name="connsiteX364" fmla="*/ 972306 w 1922991"/>
                  <a:gd name="connsiteY364" fmla="*/ 1722501 h 1906800"/>
                  <a:gd name="connsiteX365" fmla="*/ 976013 w 1922991"/>
                  <a:gd name="connsiteY365" fmla="*/ 1726331 h 1906800"/>
                  <a:gd name="connsiteX366" fmla="*/ 979879 w 1922991"/>
                  <a:gd name="connsiteY366" fmla="*/ 1730420 h 1906800"/>
                  <a:gd name="connsiteX367" fmla="*/ 988289 w 1922991"/>
                  <a:gd name="connsiteY367" fmla="*/ 1739736 h 1906800"/>
                  <a:gd name="connsiteX368" fmla="*/ 989345 w 1922991"/>
                  <a:gd name="connsiteY368" fmla="*/ 1741112 h 1906800"/>
                  <a:gd name="connsiteX369" fmla="*/ 990401 w 1922991"/>
                  <a:gd name="connsiteY369" fmla="*/ 1742608 h 1906800"/>
                  <a:gd name="connsiteX370" fmla="*/ 992533 w 1922991"/>
                  <a:gd name="connsiteY370" fmla="*/ 1745620 h 1906800"/>
                  <a:gd name="connsiteX371" fmla="*/ 996798 w 1922991"/>
                  <a:gd name="connsiteY371" fmla="*/ 1751624 h 1906800"/>
                  <a:gd name="connsiteX372" fmla="*/ 1002597 w 1922991"/>
                  <a:gd name="connsiteY372" fmla="*/ 1760680 h 1906800"/>
                  <a:gd name="connsiteX373" fmla="*/ 1008495 w 1922991"/>
                  <a:gd name="connsiteY373" fmla="*/ 1769556 h 1906800"/>
                  <a:gd name="connsiteX374" fmla="*/ 1014852 w 1922991"/>
                  <a:gd name="connsiteY374" fmla="*/ 1777715 h 1906800"/>
                  <a:gd name="connsiteX375" fmla="*/ 1018041 w 1922991"/>
                  <a:gd name="connsiteY375" fmla="*/ 1781784 h 1906800"/>
                  <a:gd name="connsiteX376" fmla="*/ 1019635 w 1922991"/>
                  <a:gd name="connsiteY376" fmla="*/ 1783798 h 1906800"/>
                  <a:gd name="connsiteX377" fmla="*/ 1021429 w 1922991"/>
                  <a:gd name="connsiteY377" fmla="*/ 1785873 h 1906800"/>
                  <a:gd name="connsiteX378" fmla="*/ 1031213 w 1922991"/>
                  <a:gd name="connsiteY378" fmla="*/ 1796585 h 1906800"/>
                  <a:gd name="connsiteX379" fmla="*/ 1036255 w 1922991"/>
                  <a:gd name="connsiteY379" fmla="*/ 1801811 h 1906800"/>
                  <a:gd name="connsiteX380" fmla="*/ 1041496 w 1922991"/>
                  <a:gd name="connsiteY380" fmla="*/ 1806837 h 1906800"/>
                  <a:gd name="connsiteX381" fmla="*/ 1134659 w 1922991"/>
                  <a:gd name="connsiteY381" fmla="*/ 1868553 h 1906800"/>
                  <a:gd name="connsiteX382" fmla="*/ 1243485 w 1922991"/>
                  <a:gd name="connsiteY382" fmla="*/ 1900349 h 1906800"/>
                  <a:gd name="connsiteX383" fmla="*/ 1300459 w 1922991"/>
                  <a:gd name="connsiteY383" fmla="*/ 1906133 h 1906800"/>
                  <a:gd name="connsiteX384" fmla="*/ 1314807 w 1922991"/>
                  <a:gd name="connsiteY384" fmla="*/ 1906632 h 1906800"/>
                  <a:gd name="connsiteX385" fmla="*/ 1329155 w 1922991"/>
                  <a:gd name="connsiteY385" fmla="*/ 1906752 h 1906800"/>
                  <a:gd name="connsiteX386" fmla="*/ 1343344 w 1922991"/>
                  <a:gd name="connsiteY386" fmla="*/ 1906413 h 1906800"/>
                  <a:gd name="connsiteX387" fmla="*/ 1346891 w 1922991"/>
                  <a:gd name="connsiteY387" fmla="*/ 1906333 h 1906800"/>
                  <a:gd name="connsiteX388" fmla="*/ 1350438 w 1922991"/>
                  <a:gd name="connsiteY388" fmla="*/ 1906074 h 1906800"/>
                  <a:gd name="connsiteX389" fmla="*/ 1357513 w 1922991"/>
                  <a:gd name="connsiteY389" fmla="*/ 1905575 h 1906800"/>
                  <a:gd name="connsiteX390" fmla="*/ 1385731 w 1922991"/>
                  <a:gd name="connsiteY390" fmla="*/ 1902643 h 1906800"/>
                  <a:gd name="connsiteX391" fmla="*/ 1413610 w 1922991"/>
                  <a:gd name="connsiteY391" fmla="*/ 1897536 h 1906800"/>
                  <a:gd name="connsiteX392" fmla="*/ 1441110 w 1922991"/>
                  <a:gd name="connsiteY392" fmla="*/ 1890714 h 1906800"/>
                  <a:gd name="connsiteX393" fmla="*/ 1467973 w 1922991"/>
                  <a:gd name="connsiteY393" fmla="*/ 1881738 h 1906800"/>
                  <a:gd name="connsiteX394" fmla="*/ 1481165 w 1922991"/>
                  <a:gd name="connsiteY394" fmla="*/ 1876612 h 1906800"/>
                  <a:gd name="connsiteX395" fmla="*/ 1494198 w 1922991"/>
                  <a:gd name="connsiteY395" fmla="*/ 1871067 h 1906800"/>
                  <a:gd name="connsiteX396" fmla="*/ 1506972 w 1922991"/>
                  <a:gd name="connsiteY396" fmla="*/ 1864963 h 1906800"/>
                  <a:gd name="connsiteX397" fmla="*/ 1513269 w 1922991"/>
                  <a:gd name="connsiteY397" fmla="*/ 1861731 h 1906800"/>
                  <a:gd name="connsiteX398" fmla="*/ 1519507 w 1922991"/>
                  <a:gd name="connsiteY398" fmla="*/ 1858380 h 1906800"/>
                  <a:gd name="connsiteX399" fmla="*/ 1567054 w 1922991"/>
                  <a:gd name="connsiteY399" fmla="*/ 1827841 h 1906800"/>
                  <a:gd name="connsiteX400" fmla="*/ 1609521 w 1922991"/>
                  <a:gd name="connsiteY400" fmla="*/ 1790640 h 1906800"/>
                  <a:gd name="connsiteX401" fmla="*/ 1645670 w 1922991"/>
                  <a:gd name="connsiteY401" fmla="*/ 1747415 h 1906800"/>
                  <a:gd name="connsiteX402" fmla="*/ 1652964 w 1922991"/>
                  <a:gd name="connsiteY402" fmla="*/ 1736783 h 1906800"/>
                  <a:gd name="connsiteX403" fmla="*/ 1659799 w 1922991"/>
                  <a:gd name="connsiteY403" fmla="*/ 1725873 h 1906800"/>
                  <a:gd name="connsiteX404" fmla="*/ 1663187 w 1922991"/>
                  <a:gd name="connsiteY404" fmla="*/ 1720387 h 1906800"/>
                  <a:gd name="connsiteX405" fmla="*/ 1666275 w 1922991"/>
                  <a:gd name="connsiteY405" fmla="*/ 1714742 h 1906800"/>
                  <a:gd name="connsiteX406" fmla="*/ 1672393 w 1922991"/>
                  <a:gd name="connsiteY406" fmla="*/ 1703412 h 1906800"/>
                  <a:gd name="connsiteX407" fmla="*/ 1692202 w 1922991"/>
                  <a:gd name="connsiteY407" fmla="*/ 1655998 h 1906800"/>
                  <a:gd name="connsiteX408" fmla="*/ 1704497 w 1922991"/>
                  <a:gd name="connsiteY408" fmla="*/ 1606151 h 1906800"/>
                  <a:gd name="connsiteX409" fmla="*/ 1706271 w 1922991"/>
                  <a:gd name="connsiteY409" fmla="*/ 1593425 h 1906800"/>
                  <a:gd name="connsiteX410" fmla="*/ 1707108 w 1922991"/>
                  <a:gd name="connsiteY410" fmla="*/ 1587061 h 1906800"/>
                  <a:gd name="connsiteX411" fmla="*/ 1707626 w 1922991"/>
                  <a:gd name="connsiteY411" fmla="*/ 1580659 h 1906800"/>
                  <a:gd name="connsiteX412" fmla="*/ 1708144 w 1922991"/>
                  <a:gd name="connsiteY412" fmla="*/ 1574256 h 1906800"/>
                  <a:gd name="connsiteX413" fmla="*/ 1708403 w 1922991"/>
                  <a:gd name="connsiteY413" fmla="*/ 1571044 h 1906800"/>
                  <a:gd name="connsiteX414" fmla="*/ 1708523 w 1922991"/>
                  <a:gd name="connsiteY414" fmla="*/ 1569368 h 1906800"/>
                  <a:gd name="connsiteX415" fmla="*/ 1708562 w 1922991"/>
                  <a:gd name="connsiteY415" fmla="*/ 1567174 h 1906800"/>
                  <a:gd name="connsiteX416" fmla="*/ 1708841 w 1922991"/>
                  <a:gd name="connsiteY416" fmla="*/ 1549641 h 1906800"/>
                  <a:gd name="connsiteX417" fmla="*/ 1708921 w 1922991"/>
                  <a:gd name="connsiteY417" fmla="*/ 1546270 h 1906800"/>
                  <a:gd name="connsiteX418" fmla="*/ 1708961 w 1922991"/>
                  <a:gd name="connsiteY418" fmla="*/ 1544594 h 1906800"/>
                  <a:gd name="connsiteX419" fmla="*/ 1709160 w 1922991"/>
                  <a:gd name="connsiteY419" fmla="*/ 1543058 h 1906800"/>
                  <a:gd name="connsiteX420" fmla="*/ 1709957 w 1922991"/>
                  <a:gd name="connsiteY420" fmla="*/ 1536895 h 1906800"/>
                  <a:gd name="connsiteX421" fmla="*/ 1710754 w 1922991"/>
                  <a:gd name="connsiteY421" fmla="*/ 1530731 h 1906800"/>
                  <a:gd name="connsiteX422" fmla="*/ 1711153 w 1922991"/>
                  <a:gd name="connsiteY422" fmla="*/ 1527659 h 1906800"/>
                  <a:gd name="connsiteX423" fmla="*/ 1711352 w 1922991"/>
                  <a:gd name="connsiteY423" fmla="*/ 1526123 h 1906800"/>
                  <a:gd name="connsiteX424" fmla="*/ 1711771 w 1922991"/>
                  <a:gd name="connsiteY424" fmla="*/ 1524667 h 1906800"/>
                  <a:gd name="connsiteX425" fmla="*/ 1719104 w 1922991"/>
                  <a:gd name="connsiteY425" fmla="*/ 1519481 h 1906800"/>
                  <a:gd name="connsiteX426" fmla="*/ 1722771 w 1922991"/>
                  <a:gd name="connsiteY426" fmla="*/ 1516888 h 1906800"/>
                  <a:gd name="connsiteX427" fmla="*/ 1724604 w 1922991"/>
                  <a:gd name="connsiteY427" fmla="*/ 1515591 h 1906800"/>
                  <a:gd name="connsiteX428" fmla="*/ 1726776 w 1922991"/>
                  <a:gd name="connsiteY428" fmla="*/ 1514454 h 1906800"/>
                  <a:gd name="connsiteX429" fmla="*/ 1744194 w 1922991"/>
                  <a:gd name="connsiteY429" fmla="*/ 1505259 h 1906800"/>
                  <a:gd name="connsiteX430" fmla="*/ 1751726 w 1922991"/>
                  <a:gd name="connsiteY430" fmla="*/ 1501070 h 1906800"/>
                  <a:gd name="connsiteX431" fmla="*/ 1757784 w 1922991"/>
                  <a:gd name="connsiteY431" fmla="*/ 1497460 h 1906800"/>
                  <a:gd name="connsiteX432" fmla="*/ 1763803 w 1922991"/>
                  <a:gd name="connsiteY432" fmla="*/ 1493809 h 1906800"/>
                  <a:gd name="connsiteX433" fmla="*/ 1769701 w 1922991"/>
                  <a:gd name="connsiteY433" fmla="*/ 1489960 h 1906800"/>
                  <a:gd name="connsiteX434" fmla="*/ 1814140 w 1922991"/>
                  <a:gd name="connsiteY434" fmla="*/ 1455411 h 1906800"/>
                  <a:gd name="connsiteX435" fmla="*/ 1852442 w 1922991"/>
                  <a:gd name="connsiteY435" fmla="*/ 1414261 h 1906800"/>
                  <a:gd name="connsiteX436" fmla="*/ 1883350 w 1922991"/>
                  <a:gd name="connsiteY436" fmla="*/ 1367405 h 1906800"/>
                  <a:gd name="connsiteX437" fmla="*/ 1889827 w 1922991"/>
                  <a:gd name="connsiteY437" fmla="*/ 1354958 h 1906800"/>
                  <a:gd name="connsiteX438" fmla="*/ 1895765 w 1922991"/>
                  <a:gd name="connsiteY438" fmla="*/ 1342252 h 1906800"/>
                  <a:gd name="connsiteX439" fmla="*/ 1905888 w 1922991"/>
                  <a:gd name="connsiteY439" fmla="*/ 1316102 h 1906800"/>
                  <a:gd name="connsiteX440" fmla="*/ 1919280 w 1922991"/>
                  <a:gd name="connsiteY440" fmla="*/ 1261726 h 1906800"/>
                  <a:gd name="connsiteX441" fmla="*/ 1922907 w 1922991"/>
                  <a:gd name="connsiteY441" fmla="*/ 1205815 h 1906800"/>
                  <a:gd name="connsiteX442" fmla="*/ 1917048 w 1922991"/>
                  <a:gd name="connsiteY442" fmla="*/ 1150103 h 1906800"/>
                  <a:gd name="connsiteX443" fmla="*/ 1820378 w 1922991"/>
                  <a:gd name="connsiteY443" fmla="*/ 1389207 h 1906800"/>
                  <a:gd name="connsiteX444" fmla="*/ 1786580 w 1922991"/>
                  <a:gd name="connsiteY444" fmla="*/ 1425531 h 1906800"/>
                  <a:gd name="connsiteX445" fmla="*/ 1747242 w 1922991"/>
                  <a:gd name="connsiteY445" fmla="*/ 1456110 h 1906800"/>
                  <a:gd name="connsiteX446" fmla="*/ 1742021 w 1922991"/>
                  <a:gd name="connsiteY446" fmla="*/ 1459520 h 1906800"/>
                  <a:gd name="connsiteX447" fmla="*/ 1736681 w 1922991"/>
                  <a:gd name="connsiteY447" fmla="*/ 1462752 h 1906800"/>
                  <a:gd name="connsiteX448" fmla="*/ 1731320 w 1922991"/>
                  <a:gd name="connsiteY448" fmla="*/ 1465943 h 1906800"/>
                  <a:gd name="connsiteX449" fmla="*/ 1721635 w 1922991"/>
                  <a:gd name="connsiteY449" fmla="*/ 1471289 h 1906800"/>
                  <a:gd name="connsiteX450" fmla="*/ 1714999 w 1922991"/>
                  <a:gd name="connsiteY450" fmla="*/ 1474700 h 1906800"/>
                  <a:gd name="connsiteX451" fmla="*/ 1708463 w 1922991"/>
                  <a:gd name="connsiteY451" fmla="*/ 1478191 h 1906800"/>
                  <a:gd name="connsiteX452" fmla="*/ 1695390 w 1922991"/>
                  <a:gd name="connsiteY452" fmla="*/ 1485192 h 1906800"/>
                  <a:gd name="connsiteX453" fmla="*/ 1692122 w 1922991"/>
                  <a:gd name="connsiteY453" fmla="*/ 1486948 h 1906800"/>
                  <a:gd name="connsiteX454" fmla="*/ 1689970 w 1922991"/>
                  <a:gd name="connsiteY454" fmla="*/ 1489281 h 1906800"/>
                  <a:gd name="connsiteX455" fmla="*/ 1685685 w 1922991"/>
                  <a:gd name="connsiteY455" fmla="*/ 1493969 h 1906800"/>
                  <a:gd name="connsiteX456" fmla="*/ 1677096 w 1922991"/>
                  <a:gd name="connsiteY456" fmla="*/ 1503324 h 1906800"/>
                  <a:gd name="connsiteX457" fmla="*/ 1676239 w 1922991"/>
                  <a:gd name="connsiteY457" fmla="*/ 1505359 h 1906800"/>
                  <a:gd name="connsiteX458" fmla="*/ 1675562 w 1922991"/>
                  <a:gd name="connsiteY458" fmla="*/ 1507453 h 1906800"/>
                  <a:gd name="connsiteX459" fmla="*/ 1674207 w 1922991"/>
                  <a:gd name="connsiteY459" fmla="*/ 1511662 h 1906800"/>
                  <a:gd name="connsiteX460" fmla="*/ 1671497 w 1922991"/>
                  <a:gd name="connsiteY460" fmla="*/ 1520080 h 1906800"/>
                  <a:gd name="connsiteX461" fmla="*/ 1668786 w 1922991"/>
                  <a:gd name="connsiteY461" fmla="*/ 1528497 h 1906800"/>
                  <a:gd name="connsiteX462" fmla="*/ 1668109 w 1922991"/>
                  <a:gd name="connsiteY462" fmla="*/ 1530592 h 1906800"/>
                  <a:gd name="connsiteX463" fmla="*/ 1668049 w 1922991"/>
                  <a:gd name="connsiteY463" fmla="*/ 1533125 h 1906800"/>
                  <a:gd name="connsiteX464" fmla="*/ 1667969 w 1922991"/>
                  <a:gd name="connsiteY464" fmla="*/ 1538251 h 1906800"/>
                  <a:gd name="connsiteX465" fmla="*/ 1667850 w 1922991"/>
                  <a:gd name="connsiteY465" fmla="*/ 1563903 h 1906800"/>
                  <a:gd name="connsiteX466" fmla="*/ 1667850 w 1922991"/>
                  <a:gd name="connsiteY466" fmla="*/ 1567513 h 1906800"/>
                  <a:gd name="connsiteX467" fmla="*/ 1667810 w 1922991"/>
                  <a:gd name="connsiteY467" fmla="*/ 1567713 h 1906800"/>
                  <a:gd name="connsiteX468" fmla="*/ 1667770 w 1922991"/>
                  <a:gd name="connsiteY468" fmla="*/ 1568072 h 1906800"/>
                  <a:gd name="connsiteX469" fmla="*/ 1667710 w 1922991"/>
                  <a:gd name="connsiteY469" fmla="*/ 1568770 h 1906800"/>
                  <a:gd name="connsiteX470" fmla="*/ 1667471 w 1922991"/>
                  <a:gd name="connsiteY470" fmla="*/ 1571583 h 1906800"/>
                  <a:gd name="connsiteX471" fmla="*/ 1667013 w 1922991"/>
                  <a:gd name="connsiteY471" fmla="*/ 1577208 h 1906800"/>
                  <a:gd name="connsiteX472" fmla="*/ 1666574 w 1922991"/>
                  <a:gd name="connsiteY472" fmla="*/ 1582833 h 1906800"/>
                  <a:gd name="connsiteX473" fmla="*/ 1665817 w 1922991"/>
                  <a:gd name="connsiteY473" fmla="*/ 1588418 h 1906800"/>
                  <a:gd name="connsiteX474" fmla="*/ 1664283 w 1922991"/>
                  <a:gd name="connsiteY474" fmla="*/ 1599588 h 1906800"/>
                  <a:gd name="connsiteX475" fmla="*/ 1653482 w 1922991"/>
                  <a:gd name="connsiteY475" fmla="*/ 1643352 h 1906800"/>
                  <a:gd name="connsiteX476" fmla="*/ 1636045 w 1922991"/>
                  <a:gd name="connsiteY476" fmla="*/ 1685081 h 1906800"/>
                  <a:gd name="connsiteX477" fmla="*/ 1630644 w 1922991"/>
                  <a:gd name="connsiteY477" fmla="*/ 1695074 h 1906800"/>
                  <a:gd name="connsiteX478" fmla="*/ 1627934 w 1922991"/>
                  <a:gd name="connsiteY478" fmla="*/ 1700061 h 1906800"/>
                  <a:gd name="connsiteX479" fmla="*/ 1624945 w 1922991"/>
                  <a:gd name="connsiteY479" fmla="*/ 1704908 h 1906800"/>
                  <a:gd name="connsiteX480" fmla="*/ 1618907 w 1922991"/>
                  <a:gd name="connsiteY480" fmla="*/ 1714563 h 1906800"/>
                  <a:gd name="connsiteX481" fmla="*/ 1612450 w 1922991"/>
                  <a:gd name="connsiteY481" fmla="*/ 1723978 h 1906800"/>
                  <a:gd name="connsiteX482" fmla="*/ 1453725 w 1922991"/>
                  <a:gd name="connsiteY482" fmla="*/ 1843799 h 1906800"/>
                  <a:gd name="connsiteX483" fmla="*/ 1429592 w 1922991"/>
                  <a:gd name="connsiteY483" fmla="*/ 1851858 h 1906800"/>
                  <a:gd name="connsiteX484" fmla="*/ 1404861 w 1922991"/>
                  <a:gd name="connsiteY484" fmla="*/ 1857981 h 1906800"/>
                  <a:gd name="connsiteX485" fmla="*/ 1379772 w 1922991"/>
                  <a:gd name="connsiteY485" fmla="*/ 1862589 h 1906800"/>
                  <a:gd name="connsiteX486" fmla="*/ 1354344 w 1922991"/>
                  <a:gd name="connsiteY486" fmla="*/ 1865222 h 1906800"/>
                  <a:gd name="connsiteX487" fmla="*/ 1347967 w 1922991"/>
                  <a:gd name="connsiteY487" fmla="*/ 1865681 h 1906800"/>
                  <a:gd name="connsiteX488" fmla="*/ 1344779 w 1922991"/>
                  <a:gd name="connsiteY488" fmla="*/ 1865920 h 1906800"/>
                  <a:gd name="connsiteX489" fmla="*/ 1341570 w 1922991"/>
                  <a:gd name="connsiteY489" fmla="*/ 1865980 h 1906800"/>
                  <a:gd name="connsiteX490" fmla="*/ 1328757 w 1922991"/>
                  <a:gd name="connsiteY490" fmla="*/ 1866279 h 1906800"/>
                  <a:gd name="connsiteX491" fmla="*/ 1315485 w 1922991"/>
                  <a:gd name="connsiteY491" fmla="*/ 1866180 h 1906800"/>
                  <a:gd name="connsiteX492" fmla="*/ 1302173 w 1922991"/>
                  <a:gd name="connsiteY492" fmla="*/ 1865721 h 1906800"/>
                  <a:gd name="connsiteX493" fmla="*/ 1249643 w 1922991"/>
                  <a:gd name="connsiteY493" fmla="*/ 1860395 h 1906800"/>
                  <a:gd name="connsiteX494" fmla="*/ 1151080 w 1922991"/>
                  <a:gd name="connsiteY494" fmla="*/ 1831651 h 1906800"/>
                  <a:gd name="connsiteX495" fmla="*/ 1069216 w 1922991"/>
                  <a:gd name="connsiteY495" fmla="*/ 1777515 h 1906800"/>
                  <a:gd name="connsiteX496" fmla="*/ 1064672 w 1922991"/>
                  <a:gd name="connsiteY496" fmla="*/ 1773167 h 1906800"/>
                  <a:gd name="connsiteX497" fmla="*/ 1060328 w 1922991"/>
                  <a:gd name="connsiteY497" fmla="*/ 1768659 h 1906800"/>
                  <a:gd name="connsiteX498" fmla="*/ 1051878 w 1922991"/>
                  <a:gd name="connsiteY498" fmla="*/ 1759403 h 1906800"/>
                  <a:gd name="connsiteX499" fmla="*/ 1051101 w 1922991"/>
                  <a:gd name="connsiteY499" fmla="*/ 1758526 h 1906800"/>
                  <a:gd name="connsiteX500" fmla="*/ 1050723 w 1922991"/>
                  <a:gd name="connsiteY500" fmla="*/ 1758107 h 1906800"/>
                  <a:gd name="connsiteX501" fmla="*/ 1050543 w 1922991"/>
                  <a:gd name="connsiteY501" fmla="*/ 1757907 h 1906800"/>
                  <a:gd name="connsiteX502" fmla="*/ 1050244 w 1922991"/>
                  <a:gd name="connsiteY502" fmla="*/ 1757528 h 1906800"/>
                  <a:gd name="connsiteX503" fmla="*/ 1049029 w 1922991"/>
                  <a:gd name="connsiteY503" fmla="*/ 1756032 h 1906800"/>
                  <a:gd name="connsiteX504" fmla="*/ 1046657 w 1922991"/>
                  <a:gd name="connsiteY504" fmla="*/ 1752901 h 1906800"/>
                  <a:gd name="connsiteX505" fmla="*/ 1041954 w 1922991"/>
                  <a:gd name="connsiteY505" fmla="*/ 1746617 h 1906800"/>
                  <a:gd name="connsiteX506" fmla="*/ 1032588 w 1922991"/>
                  <a:gd name="connsiteY506" fmla="*/ 1733971 h 1906800"/>
                  <a:gd name="connsiteX507" fmla="*/ 1024059 w 1922991"/>
                  <a:gd name="connsiteY507" fmla="*/ 1719509 h 1906800"/>
                  <a:gd name="connsiteX508" fmla="*/ 1015689 w 1922991"/>
                  <a:gd name="connsiteY508" fmla="*/ 1704629 h 1906800"/>
                  <a:gd name="connsiteX509" fmla="*/ 1009073 w 1922991"/>
                  <a:gd name="connsiteY509" fmla="*/ 1695573 h 1906800"/>
                  <a:gd name="connsiteX510" fmla="*/ 1005765 w 1922991"/>
                  <a:gd name="connsiteY510" fmla="*/ 1691045 h 1906800"/>
                  <a:gd name="connsiteX511" fmla="*/ 1004111 w 1922991"/>
                  <a:gd name="connsiteY511" fmla="*/ 1688771 h 1906800"/>
                  <a:gd name="connsiteX512" fmla="*/ 1003294 w 1922991"/>
                  <a:gd name="connsiteY512" fmla="*/ 1687634 h 1906800"/>
                  <a:gd name="connsiteX513" fmla="*/ 1003095 w 1922991"/>
                  <a:gd name="connsiteY513" fmla="*/ 1687355 h 1906800"/>
                  <a:gd name="connsiteX514" fmla="*/ 1002876 w 1922991"/>
                  <a:gd name="connsiteY514" fmla="*/ 1687215 h 1906800"/>
                  <a:gd name="connsiteX515" fmla="*/ 1002457 w 1922991"/>
                  <a:gd name="connsiteY515" fmla="*/ 1686916 h 1906800"/>
                  <a:gd name="connsiteX516" fmla="*/ 988747 w 1922991"/>
                  <a:gd name="connsiteY516" fmla="*/ 1677621 h 1906800"/>
                  <a:gd name="connsiteX517" fmla="*/ 987033 w 1922991"/>
                  <a:gd name="connsiteY517" fmla="*/ 1676464 h 1906800"/>
                  <a:gd name="connsiteX518" fmla="*/ 986615 w 1922991"/>
                  <a:gd name="connsiteY518" fmla="*/ 1676185 h 1906800"/>
                  <a:gd name="connsiteX519" fmla="*/ 986256 w 1922991"/>
                  <a:gd name="connsiteY519" fmla="*/ 1676065 h 1906800"/>
                  <a:gd name="connsiteX520" fmla="*/ 985539 w 1922991"/>
                  <a:gd name="connsiteY520" fmla="*/ 1675825 h 1906800"/>
                  <a:gd name="connsiteX521" fmla="*/ 982649 w 1922991"/>
                  <a:gd name="connsiteY521" fmla="*/ 1674908 h 1906800"/>
                  <a:gd name="connsiteX522" fmla="*/ 976890 w 1922991"/>
                  <a:gd name="connsiteY522" fmla="*/ 1673053 h 1906800"/>
                  <a:gd name="connsiteX523" fmla="*/ 974000 w 1922991"/>
                  <a:gd name="connsiteY523" fmla="*/ 1672135 h 1906800"/>
                  <a:gd name="connsiteX524" fmla="*/ 972585 w 1922991"/>
                  <a:gd name="connsiteY524" fmla="*/ 1671697 h 1906800"/>
                  <a:gd name="connsiteX525" fmla="*/ 971489 w 1922991"/>
                  <a:gd name="connsiteY525" fmla="*/ 1671597 h 1906800"/>
                  <a:gd name="connsiteX526" fmla="*/ 967065 w 1922991"/>
                  <a:gd name="connsiteY526" fmla="*/ 1671178 h 1906800"/>
                  <a:gd name="connsiteX527" fmla="*/ 962641 w 1922991"/>
                  <a:gd name="connsiteY527" fmla="*/ 1670759 h 1906800"/>
                  <a:gd name="connsiteX528" fmla="*/ 960051 w 1922991"/>
                  <a:gd name="connsiteY528" fmla="*/ 1670759 h 1906800"/>
                  <a:gd name="connsiteX529" fmla="*/ 957839 w 1922991"/>
                  <a:gd name="connsiteY529" fmla="*/ 1670978 h 1906800"/>
                  <a:gd name="connsiteX530" fmla="*/ 953415 w 1922991"/>
                  <a:gd name="connsiteY530" fmla="*/ 1671397 h 1906800"/>
                  <a:gd name="connsiteX531" fmla="*/ 951203 w 1922991"/>
                  <a:gd name="connsiteY531" fmla="*/ 1671617 h 1906800"/>
                  <a:gd name="connsiteX532" fmla="*/ 950107 w 1922991"/>
                  <a:gd name="connsiteY532" fmla="*/ 1671716 h 1906800"/>
                  <a:gd name="connsiteX533" fmla="*/ 948692 w 1922991"/>
                  <a:gd name="connsiteY533" fmla="*/ 1672155 h 1906800"/>
                  <a:gd name="connsiteX534" fmla="*/ 937154 w 1922991"/>
                  <a:gd name="connsiteY534" fmla="*/ 1675845 h 1906800"/>
                  <a:gd name="connsiteX535" fmla="*/ 936436 w 1922991"/>
                  <a:gd name="connsiteY535" fmla="*/ 1676085 h 1906800"/>
                  <a:gd name="connsiteX536" fmla="*/ 936077 w 1922991"/>
                  <a:gd name="connsiteY536" fmla="*/ 1676204 h 1906800"/>
                  <a:gd name="connsiteX537" fmla="*/ 935659 w 1922991"/>
                  <a:gd name="connsiteY537" fmla="*/ 1676484 h 1906800"/>
                  <a:gd name="connsiteX538" fmla="*/ 933945 w 1922991"/>
                  <a:gd name="connsiteY538" fmla="*/ 1677641 h 1906800"/>
                  <a:gd name="connsiteX539" fmla="*/ 930518 w 1922991"/>
                  <a:gd name="connsiteY539" fmla="*/ 1679974 h 1906800"/>
                  <a:gd name="connsiteX540" fmla="*/ 923662 w 1922991"/>
                  <a:gd name="connsiteY540" fmla="*/ 1684622 h 1906800"/>
                  <a:gd name="connsiteX541" fmla="*/ 920235 w 1922991"/>
                  <a:gd name="connsiteY541" fmla="*/ 1686956 h 1906800"/>
                  <a:gd name="connsiteX542" fmla="*/ 918581 w 1922991"/>
                  <a:gd name="connsiteY542" fmla="*/ 1688891 h 1906800"/>
                  <a:gd name="connsiteX543" fmla="*/ 916967 w 1922991"/>
                  <a:gd name="connsiteY543" fmla="*/ 1691265 h 1906800"/>
                  <a:gd name="connsiteX544" fmla="*/ 910530 w 1922991"/>
                  <a:gd name="connsiteY544" fmla="*/ 1700739 h 1906800"/>
                  <a:gd name="connsiteX545" fmla="*/ 904093 w 1922991"/>
                  <a:gd name="connsiteY545" fmla="*/ 1710234 h 1906800"/>
                  <a:gd name="connsiteX546" fmla="*/ 898035 w 1922991"/>
                  <a:gd name="connsiteY546" fmla="*/ 1720527 h 1906800"/>
                  <a:gd name="connsiteX547" fmla="*/ 872069 w 1922991"/>
                  <a:gd name="connsiteY547" fmla="*/ 1758007 h 1906800"/>
                  <a:gd name="connsiteX548" fmla="*/ 865274 w 1922991"/>
                  <a:gd name="connsiteY548" fmla="*/ 1765647 h 1906800"/>
                  <a:gd name="connsiteX549" fmla="*/ 859076 w 1922991"/>
                  <a:gd name="connsiteY549" fmla="*/ 1772070 h 1906800"/>
                  <a:gd name="connsiteX550" fmla="*/ 852659 w 1922991"/>
                  <a:gd name="connsiteY550" fmla="*/ 1778293 h 1906800"/>
                  <a:gd name="connsiteX551" fmla="*/ 846023 w 1922991"/>
                  <a:gd name="connsiteY551" fmla="*/ 1784317 h 1906800"/>
                  <a:gd name="connsiteX552" fmla="*/ 806606 w 1922991"/>
                  <a:gd name="connsiteY552" fmla="*/ 1813300 h 1906800"/>
                  <a:gd name="connsiteX553" fmla="*/ 761928 w 1922991"/>
                  <a:gd name="connsiteY553" fmla="*/ 1835820 h 1906800"/>
                  <a:gd name="connsiteX554" fmla="*/ 662208 w 1922991"/>
                  <a:gd name="connsiteY554" fmla="*/ 1861991 h 1906800"/>
                  <a:gd name="connsiteX555" fmla="*/ 609419 w 1922991"/>
                  <a:gd name="connsiteY555" fmla="*/ 1866160 h 1906800"/>
                  <a:gd name="connsiteX556" fmla="*/ 596068 w 1922991"/>
                  <a:gd name="connsiteY556" fmla="*/ 1866339 h 1906800"/>
                  <a:gd name="connsiteX557" fmla="*/ 583234 w 1922991"/>
                  <a:gd name="connsiteY557" fmla="*/ 1866040 h 1906800"/>
                  <a:gd name="connsiteX558" fmla="*/ 576837 w 1922991"/>
                  <a:gd name="connsiteY558" fmla="*/ 1865860 h 1906800"/>
                  <a:gd name="connsiteX559" fmla="*/ 570460 w 1922991"/>
                  <a:gd name="connsiteY559" fmla="*/ 1865402 h 1906800"/>
                  <a:gd name="connsiteX560" fmla="*/ 564083 w 1922991"/>
                  <a:gd name="connsiteY560" fmla="*/ 1864963 h 1906800"/>
                  <a:gd name="connsiteX561" fmla="*/ 557726 w 1922991"/>
                  <a:gd name="connsiteY561" fmla="*/ 1864384 h 1906800"/>
                  <a:gd name="connsiteX562" fmla="*/ 545032 w 1922991"/>
                  <a:gd name="connsiteY562" fmla="*/ 1862888 h 1906800"/>
                  <a:gd name="connsiteX563" fmla="*/ 532438 w 1922991"/>
                  <a:gd name="connsiteY563" fmla="*/ 1860874 h 1906800"/>
                  <a:gd name="connsiteX564" fmla="*/ 526141 w 1922991"/>
                  <a:gd name="connsiteY564" fmla="*/ 1859836 h 1906800"/>
                  <a:gd name="connsiteX565" fmla="*/ 519903 w 1922991"/>
                  <a:gd name="connsiteY565" fmla="*/ 1858480 h 1906800"/>
                  <a:gd name="connsiteX566" fmla="*/ 507468 w 1922991"/>
                  <a:gd name="connsiteY566" fmla="*/ 1855707 h 1906800"/>
                  <a:gd name="connsiteX567" fmla="*/ 459083 w 1922991"/>
                  <a:gd name="connsiteY567" fmla="*/ 1840069 h 1906800"/>
                  <a:gd name="connsiteX568" fmla="*/ 371939 w 1922991"/>
                  <a:gd name="connsiteY568" fmla="*/ 1789084 h 1906800"/>
                  <a:gd name="connsiteX569" fmla="*/ 367036 w 1922991"/>
                  <a:gd name="connsiteY569" fmla="*/ 1785115 h 1906800"/>
                  <a:gd name="connsiteX570" fmla="*/ 364585 w 1922991"/>
                  <a:gd name="connsiteY570" fmla="*/ 1783140 h 1906800"/>
                  <a:gd name="connsiteX571" fmla="*/ 362234 w 1922991"/>
                  <a:gd name="connsiteY571" fmla="*/ 1781046 h 1906800"/>
                  <a:gd name="connsiteX572" fmla="*/ 352828 w 1922991"/>
                  <a:gd name="connsiteY572" fmla="*/ 1772668 h 1906800"/>
                  <a:gd name="connsiteX573" fmla="*/ 343860 w 1922991"/>
                  <a:gd name="connsiteY573" fmla="*/ 1763852 h 1906800"/>
                  <a:gd name="connsiteX574" fmla="*/ 341608 w 1922991"/>
                  <a:gd name="connsiteY574" fmla="*/ 1761657 h 1906800"/>
                  <a:gd name="connsiteX575" fmla="*/ 339476 w 1922991"/>
                  <a:gd name="connsiteY575" fmla="*/ 1759344 h 1906800"/>
                  <a:gd name="connsiteX576" fmla="*/ 335212 w 1922991"/>
                  <a:gd name="connsiteY576" fmla="*/ 1754736 h 1906800"/>
                  <a:gd name="connsiteX577" fmla="*/ 330947 w 1922991"/>
                  <a:gd name="connsiteY577" fmla="*/ 1750148 h 1906800"/>
                  <a:gd name="connsiteX578" fmla="*/ 326922 w 1922991"/>
                  <a:gd name="connsiteY578" fmla="*/ 1745341 h 1906800"/>
                  <a:gd name="connsiteX579" fmla="*/ 322876 w 1922991"/>
                  <a:gd name="connsiteY579" fmla="*/ 1740553 h 1906800"/>
                  <a:gd name="connsiteX580" fmla="*/ 320863 w 1922991"/>
                  <a:gd name="connsiteY580" fmla="*/ 1738160 h 1906800"/>
                  <a:gd name="connsiteX581" fmla="*/ 318970 w 1922991"/>
                  <a:gd name="connsiteY581" fmla="*/ 1735666 h 1906800"/>
                  <a:gd name="connsiteX582" fmla="*/ 311398 w 1922991"/>
                  <a:gd name="connsiteY582" fmla="*/ 1725713 h 1906800"/>
                  <a:gd name="connsiteX583" fmla="*/ 304343 w 1922991"/>
                  <a:gd name="connsiteY583" fmla="*/ 1715420 h 1906800"/>
                  <a:gd name="connsiteX584" fmla="*/ 283260 w 1922991"/>
                  <a:gd name="connsiteY584" fmla="*/ 1678139 h 1906800"/>
                  <a:gd name="connsiteX585" fmla="*/ 280908 w 1922991"/>
                  <a:gd name="connsiteY585" fmla="*/ 1673332 h 1906800"/>
                  <a:gd name="connsiteX586" fmla="*/ 278816 w 1922991"/>
                  <a:gd name="connsiteY586" fmla="*/ 1668425 h 1906800"/>
                  <a:gd name="connsiteX587" fmla="*/ 274651 w 1922991"/>
                  <a:gd name="connsiteY587" fmla="*/ 1658591 h 1906800"/>
                  <a:gd name="connsiteX588" fmla="*/ 271024 w 1922991"/>
                  <a:gd name="connsiteY588" fmla="*/ 1648578 h 1906800"/>
                  <a:gd name="connsiteX589" fmla="*/ 269230 w 1922991"/>
                  <a:gd name="connsiteY589" fmla="*/ 1643571 h 1906800"/>
                  <a:gd name="connsiteX590" fmla="*/ 267696 w 1922991"/>
                  <a:gd name="connsiteY590" fmla="*/ 1638485 h 1906800"/>
                  <a:gd name="connsiteX591" fmla="*/ 258011 w 1922991"/>
                  <a:gd name="connsiteY591" fmla="*/ 1597115 h 1906800"/>
                  <a:gd name="connsiteX592" fmla="*/ 255560 w 1922991"/>
                  <a:gd name="connsiteY592" fmla="*/ 1575991 h 1906800"/>
                  <a:gd name="connsiteX593" fmla="*/ 255121 w 1922991"/>
                  <a:gd name="connsiteY593" fmla="*/ 1570685 h 1906800"/>
                  <a:gd name="connsiteX594" fmla="*/ 254902 w 1922991"/>
                  <a:gd name="connsiteY594" fmla="*/ 1568032 h 1906800"/>
                  <a:gd name="connsiteX595" fmla="*/ 254902 w 1922991"/>
                  <a:gd name="connsiteY595" fmla="*/ 1567693 h 1906800"/>
                  <a:gd name="connsiteX596" fmla="*/ 254862 w 1922991"/>
                  <a:gd name="connsiteY596" fmla="*/ 1567035 h 1906800"/>
                  <a:gd name="connsiteX597" fmla="*/ 254862 w 1922991"/>
                  <a:gd name="connsiteY597" fmla="*/ 1562507 h 1906800"/>
                  <a:gd name="connsiteX598" fmla="*/ 254723 w 1922991"/>
                  <a:gd name="connsiteY598" fmla="*/ 1538331 h 1906800"/>
                  <a:gd name="connsiteX599" fmla="*/ 254663 w 1922991"/>
                  <a:gd name="connsiteY599" fmla="*/ 1534202 h 1906800"/>
                  <a:gd name="connsiteX600" fmla="*/ 254623 w 1922991"/>
                  <a:gd name="connsiteY600" fmla="*/ 1532147 h 1906800"/>
                  <a:gd name="connsiteX601" fmla="*/ 254424 w 1922991"/>
                  <a:gd name="connsiteY601" fmla="*/ 1530213 h 1906800"/>
                  <a:gd name="connsiteX602" fmla="*/ 252252 w 1922991"/>
                  <a:gd name="connsiteY602" fmla="*/ 1523431 h 1906800"/>
                  <a:gd name="connsiteX603" fmla="*/ 247888 w 1922991"/>
                  <a:gd name="connsiteY603" fmla="*/ 1509887 h 1906800"/>
                  <a:gd name="connsiteX604" fmla="*/ 246791 w 1922991"/>
                  <a:gd name="connsiteY604" fmla="*/ 1506496 h 1906800"/>
                  <a:gd name="connsiteX605" fmla="*/ 246253 w 1922991"/>
                  <a:gd name="connsiteY605" fmla="*/ 1504800 h 1906800"/>
                  <a:gd name="connsiteX606" fmla="*/ 245955 w 1922991"/>
                  <a:gd name="connsiteY606" fmla="*/ 1503982 h 1906800"/>
                  <a:gd name="connsiteX607" fmla="*/ 245456 w 1922991"/>
                  <a:gd name="connsiteY607" fmla="*/ 1503244 h 1906800"/>
                  <a:gd name="connsiteX608" fmla="*/ 240733 w 1922991"/>
                  <a:gd name="connsiteY608" fmla="*/ 1498098 h 1906800"/>
                  <a:gd name="connsiteX609" fmla="*/ 231288 w 1922991"/>
                  <a:gd name="connsiteY609" fmla="*/ 1487805 h 1906800"/>
                  <a:gd name="connsiteX610" fmla="*/ 228398 w 1922991"/>
                  <a:gd name="connsiteY610" fmla="*/ 1485870 h 1906800"/>
                  <a:gd name="connsiteX611" fmla="*/ 225130 w 1922991"/>
                  <a:gd name="connsiteY611" fmla="*/ 1484115 h 1906800"/>
                  <a:gd name="connsiteX612" fmla="*/ 218594 w 1922991"/>
                  <a:gd name="connsiteY612" fmla="*/ 1480624 h 1906800"/>
                  <a:gd name="connsiteX613" fmla="*/ 205501 w 1922991"/>
                  <a:gd name="connsiteY613" fmla="*/ 1473663 h 1906800"/>
                  <a:gd name="connsiteX614" fmla="*/ 198905 w 1922991"/>
                  <a:gd name="connsiteY614" fmla="*/ 1470232 h 1906800"/>
                  <a:gd name="connsiteX615" fmla="*/ 193225 w 1922991"/>
                  <a:gd name="connsiteY615" fmla="*/ 1467060 h 1906800"/>
                  <a:gd name="connsiteX616" fmla="*/ 187825 w 1922991"/>
                  <a:gd name="connsiteY616" fmla="*/ 1463929 h 1906800"/>
                  <a:gd name="connsiteX617" fmla="*/ 177223 w 1922991"/>
                  <a:gd name="connsiteY617" fmla="*/ 1457326 h 1906800"/>
                  <a:gd name="connsiteX618" fmla="*/ 171982 w 1922991"/>
                  <a:gd name="connsiteY618" fmla="*/ 1453915 h 1906800"/>
                  <a:gd name="connsiteX619" fmla="*/ 166881 w 1922991"/>
                  <a:gd name="connsiteY619" fmla="*/ 1450325 h 1906800"/>
                  <a:gd name="connsiteX620" fmla="*/ 128599 w 1922991"/>
                  <a:gd name="connsiteY620" fmla="*/ 1418470 h 1906800"/>
                  <a:gd name="connsiteX621" fmla="*/ 96097 w 1922991"/>
                  <a:gd name="connsiteY621" fmla="*/ 1381049 h 1906800"/>
                  <a:gd name="connsiteX622" fmla="*/ 70410 w 1922991"/>
                  <a:gd name="connsiteY622" fmla="*/ 1338981 h 1906800"/>
                  <a:gd name="connsiteX623" fmla="*/ 65129 w 1922991"/>
                  <a:gd name="connsiteY623" fmla="*/ 1327890 h 1906800"/>
                  <a:gd name="connsiteX624" fmla="*/ 60326 w 1922991"/>
                  <a:gd name="connsiteY624" fmla="*/ 1316600 h 1906800"/>
                  <a:gd name="connsiteX625" fmla="*/ 56082 w 1922991"/>
                  <a:gd name="connsiteY625" fmla="*/ 1305091 h 1906800"/>
                  <a:gd name="connsiteX626" fmla="*/ 52315 w 1922991"/>
                  <a:gd name="connsiteY626" fmla="*/ 1293422 h 1906800"/>
                  <a:gd name="connsiteX627" fmla="*/ 42351 w 1922991"/>
                  <a:gd name="connsiteY627" fmla="*/ 1245529 h 1906800"/>
                  <a:gd name="connsiteX628" fmla="*/ 40896 w 1922991"/>
                  <a:gd name="connsiteY628" fmla="*/ 1196520 h 1906800"/>
                  <a:gd name="connsiteX629" fmla="*/ 47871 w 1922991"/>
                  <a:gd name="connsiteY629" fmla="*/ 1148068 h 1906800"/>
                  <a:gd name="connsiteX630" fmla="*/ 49904 w 1922991"/>
                  <a:gd name="connsiteY630" fmla="*/ 1140050 h 1906800"/>
                  <a:gd name="connsiteX631" fmla="*/ 52076 w 1922991"/>
                  <a:gd name="connsiteY631" fmla="*/ 1132051 h 1906800"/>
                  <a:gd name="connsiteX632" fmla="*/ 54627 w 1922991"/>
                  <a:gd name="connsiteY632" fmla="*/ 1124172 h 1906800"/>
                  <a:gd name="connsiteX633" fmla="*/ 55882 w 1922991"/>
                  <a:gd name="connsiteY633" fmla="*/ 1120222 h 1906800"/>
                  <a:gd name="connsiteX634" fmla="*/ 57337 w 1922991"/>
                  <a:gd name="connsiteY634" fmla="*/ 1116333 h 1906800"/>
                  <a:gd name="connsiteX635" fmla="*/ 60227 w 1922991"/>
                  <a:gd name="connsiteY635" fmla="*/ 1108553 h 1906800"/>
                  <a:gd name="connsiteX636" fmla="*/ 63455 w 1922991"/>
                  <a:gd name="connsiteY636" fmla="*/ 1100914 h 1906800"/>
                  <a:gd name="connsiteX637" fmla="*/ 70430 w 1922991"/>
                  <a:gd name="connsiteY637" fmla="*/ 1085834 h 1906800"/>
                  <a:gd name="connsiteX638" fmla="*/ 74296 w 1922991"/>
                  <a:gd name="connsiteY638" fmla="*/ 1078453 h 1906800"/>
                  <a:gd name="connsiteX639" fmla="*/ 78281 w 1922991"/>
                  <a:gd name="connsiteY639" fmla="*/ 1071153 h 1906800"/>
                  <a:gd name="connsiteX640" fmla="*/ 82586 w 1922991"/>
                  <a:gd name="connsiteY640" fmla="*/ 1064012 h 1906800"/>
                  <a:gd name="connsiteX641" fmla="*/ 84738 w 1922991"/>
                  <a:gd name="connsiteY641" fmla="*/ 1060441 h 1906800"/>
                  <a:gd name="connsiteX642" fmla="*/ 87049 w 1922991"/>
                  <a:gd name="connsiteY642" fmla="*/ 1056970 h 1906800"/>
                  <a:gd name="connsiteX643" fmla="*/ 91653 w 1922991"/>
                  <a:gd name="connsiteY643" fmla="*/ 1050009 h 1906800"/>
                  <a:gd name="connsiteX644" fmla="*/ 96575 w 1922991"/>
                  <a:gd name="connsiteY644" fmla="*/ 1043247 h 1906800"/>
                  <a:gd name="connsiteX645" fmla="*/ 99026 w 1922991"/>
                  <a:gd name="connsiteY645" fmla="*/ 1039856 h 1906800"/>
                  <a:gd name="connsiteX646" fmla="*/ 99325 w 1922991"/>
                  <a:gd name="connsiteY646" fmla="*/ 1039437 h 1906800"/>
                  <a:gd name="connsiteX647" fmla="*/ 99484 w 1922991"/>
                  <a:gd name="connsiteY647" fmla="*/ 1039218 h 1906800"/>
                  <a:gd name="connsiteX648" fmla="*/ 99724 w 1922991"/>
                  <a:gd name="connsiteY648" fmla="*/ 1038918 h 1906800"/>
                  <a:gd name="connsiteX649" fmla="*/ 101258 w 1922991"/>
                  <a:gd name="connsiteY649" fmla="*/ 1037083 h 1906800"/>
                  <a:gd name="connsiteX650" fmla="*/ 104327 w 1922991"/>
                  <a:gd name="connsiteY650" fmla="*/ 1033413 h 1906800"/>
                  <a:gd name="connsiteX651" fmla="*/ 116583 w 1922991"/>
                  <a:gd name="connsiteY651" fmla="*/ 1018752 h 1906800"/>
                  <a:gd name="connsiteX652" fmla="*/ 118177 w 1922991"/>
                  <a:gd name="connsiteY652" fmla="*/ 1016897 h 1906800"/>
                  <a:gd name="connsiteX653" fmla="*/ 119512 w 1922991"/>
                  <a:gd name="connsiteY653" fmla="*/ 1015002 h 1906800"/>
                  <a:gd name="connsiteX654" fmla="*/ 121345 w 1922991"/>
                  <a:gd name="connsiteY654" fmla="*/ 1011092 h 1906800"/>
                  <a:gd name="connsiteX655" fmla="*/ 124992 w 1922991"/>
                  <a:gd name="connsiteY655" fmla="*/ 1003253 h 1906800"/>
                  <a:gd name="connsiteX656" fmla="*/ 128639 w 1922991"/>
                  <a:gd name="connsiteY656" fmla="*/ 995414 h 1906800"/>
                  <a:gd name="connsiteX657" fmla="*/ 130472 w 1922991"/>
                  <a:gd name="connsiteY657" fmla="*/ 991505 h 1906800"/>
                  <a:gd name="connsiteX658" fmla="*/ 131289 w 1922991"/>
                  <a:gd name="connsiteY658" fmla="*/ 989510 h 1906800"/>
                  <a:gd name="connsiteX659" fmla="*/ 131509 w 1922991"/>
                  <a:gd name="connsiteY659" fmla="*/ 987455 h 1906800"/>
                  <a:gd name="connsiteX660" fmla="*/ 132226 w 1922991"/>
                  <a:gd name="connsiteY660" fmla="*/ 979317 h 1906800"/>
                  <a:gd name="connsiteX661" fmla="*/ 132405 w 1922991"/>
                  <a:gd name="connsiteY661" fmla="*/ 977282 h 1906800"/>
                  <a:gd name="connsiteX662" fmla="*/ 132146 w 1922991"/>
                  <a:gd name="connsiteY662" fmla="*/ 975048 h 1906800"/>
                  <a:gd name="connsiteX663" fmla="*/ 131588 w 1922991"/>
                  <a:gd name="connsiteY663" fmla="*/ 970560 h 1906800"/>
                  <a:gd name="connsiteX664" fmla="*/ 131030 w 1922991"/>
                  <a:gd name="connsiteY664" fmla="*/ 966072 h 1906800"/>
                  <a:gd name="connsiteX665" fmla="*/ 130731 w 1922991"/>
                  <a:gd name="connsiteY665" fmla="*/ 963818 h 1906800"/>
                  <a:gd name="connsiteX666" fmla="*/ 129974 w 1922991"/>
                  <a:gd name="connsiteY666" fmla="*/ 961504 h 1906800"/>
                  <a:gd name="connsiteX667" fmla="*/ 126925 w 1922991"/>
                  <a:gd name="connsiteY667" fmla="*/ 952289 h 1906800"/>
                  <a:gd name="connsiteX668" fmla="*/ 123976 w 1922991"/>
                  <a:gd name="connsiteY668" fmla="*/ 943053 h 1906800"/>
                  <a:gd name="connsiteX669" fmla="*/ 122521 w 1922991"/>
                  <a:gd name="connsiteY669" fmla="*/ 938446 h 1906800"/>
                  <a:gd name="connsiteX670" fmla="*/ 121804 w 1922991"/>
                  <a:gd name="connsiteY670" fmla="*/ 936132 h 1906800"/>
                  <a:gd name="connsiteX671" fmla="*/ 121465 w 1922991"/>
                  <a:gd name="connsiteY671" fmla="*/ 934975 h 1906800"/>
                  <a:gd name="connsiteX672" fmla="*/ 121066 w 1922991"/>
                  <a:gd name="connsiteY672" fmla="*/ 933479 h 1906800"/>
                  <a:gd name="connsiteX673" fmla="*/ 119133 w 1922991"/>
                  <a:gd name="connsiteY673" fmla="*/ 925899 h 1906800"/>
                  <a:gd name="connsiteX674" fmla="*/ 115925 w 1922991"/>
                  <a:gd name="connsiteY674" fmla="*/ 910580 h 1906800"/>
                  <a:gd name="connsiteX675" fmla="*/ 111900 w 1922991"/>
                  <a:gd name="connsiteY675" fmla="*/ 862368 h 1906800"/>
                  <a:gd name="connsiteX676" fmla="*/ 113295 w 1922991"/>
                  <a:gd name="connsiteY676" fmla="*/ 838172 h 1906800"/>
                  <a:gd name="connsiteX677" fmla="*/ 113912 w 1922991"/>
                  <a:gd name="connsiteY677" fmla="*/ 832148 h 1906800"/>
                  <a:gd name="connsiteX678" fmla="*/ 114650 w 1922991"/>
                  <a:gd name="connsiteY678" fmla="*/ 826144 h 1906800"/>
                  <a:gd name="connsiteX679" fmla="*/ 116722 w 1922991"/>
                  <a:gd name="connsiteY679" fmla="*/ 814236 h 1906800"/>
                  <a:gd name="connsiteX680" fmla="*/ 119333 w 1922991"/>
                  <a:gd name="connsiteY680" fmla="*/ 802447 h 1906800"/>
                  <a:gd name="connsiteX681" fmla="*/ 120748 w 1922991"/>
                  <a:gd name="connsiteY681" fmla="*/ 796583 h 1906800"/>
                  <a:gd name="connsiteX682" fmla="*/ 121445 w 1922991"/>
                  <a:gd name="connsiteY682" fmla="*/ 793650 h 1906800"/>
                  <a:gd name="connsiteX683" fmla="*/ 122342 w 1922991"/>
                  <a:gd name="connsiteY683" fmla="*/ 790758 h 1906800"/>
                  <a:gd name="connsiteX684" fmla="*/ 125989 w 1922991"/>
                  <a:gd name="connsiteY684" fmla="*/ 779229 h 1906800"/>
                  <a:gd name="connsiteX685" fmla="*/ 126905 w 1922991"/>
                  <a:gd name="connsiteY685" fmla="*/ 776356 h 1906800"/>
                  <a:gd name="connsiteX686" fmla="*/ 128021 w 1922991"/>
                  <a:gd name="connsiteY686" fmla="*/ 773544 h 1906800"/>
                  <a:gd name="connsiteX687" fmla="*/ 130233 w 1922991"/>
                  <a:gd name="connsiteY687" fmla="*/ 767919 h 1906800"/>
                  <a:gd name="connsiteX688" fmla="*/ 140018 w 1922991"/>
                  <a:gd name="connsiteY688" fmla="*/ 745778 h 1906800"/>
                  <a:gd name="connsiteX689" fmla="*/ 145837 w 1922991"/>
                  <a:gd name="connsiteY689" fmla="*/ 735126 h 1906800"/>
                  <a:gd name="connsiteX690" fmla="*/ 148746 w 1922991"/>
                  <a:gd name="connsiteY690" fmla="*/ 729800 h 1906800"/>
                  <a:gd name="connsiteX691" fmla="*/ 152014 w 1922991"/>
                  <a:gd name="connsiteY691" fmla="*/ 724694 h 1906800"/>
                  <a:gd name="connsiteX692" fmla="*/ 155940 w 1922991"/>
                  <a:gd name="connsiteY692" fmla="*/ 718550 h 1906800"/>
                  <a:gd name="connsiteX693" fmla="*/ 157893 w 1922991"/>
                  <a:gd name="connsiteY693" fmla="*/ 715478 h 1906800"/>
                  <a:gd name="connsiteX694" fmla="*/ 160025 w 1922991"/>
                  <a:gd name="connsiteY694" fmla="*/ 712526 h 1906800"/>
                  <a:gd name="connsiteX695" fmla="*/ 168674 w 1922991"/>
                  <a:gd name="connsiteY695" fmla="*/ 700757 h 1906800"/>
                  <a:gd name="connsiteX696" fmla="*/ 178080 w 1922991"/>
                  <a:gd name="connsiteY696" fmla="*/ 689547 h 1906800"/>
                  <a:gd name="connsiteX697" fmla="*/ 183022 w 1922991"/>
                  <a:gd name="connsiteY697" fmla="*/ 684142 h 1906800"/>
                  <a:gd name="connsiteX698" fmla="*/ 188064 w 1922991"/>
                  <a:gd name="connsiteY698" fmla="*/ 678836 h 1906800"/>
                  <a:gd name="connsiteX699" fmla="*/ 198586 w 1922991"/>
                  <a:gd name="connsiteY699" fmla="*/ 668643 h 1906800"/>
                  <a:gd name="connsiteX700" fmla="*/ 203947 w 1922991"/>
                  <a:gd name="connsiteY700" fmla="*/ 663636 h 1906800"/>
                  <a:gd name="connsiteX701" fmla="*/ 209606 w 1922991"/>
                  <a:gd name="connsiteY701" fmla="*/ 658988 h 1906800"/>
                  <a:gd name="connsiteX702" fmla="*/ 215285 w 1922991"/>
                  <a:gd name="connsiteY702" fmla="*/ 654341 h 1906800"/>
                  <a:gd name="connsiteX703" fmla="*/ 218115 w 1922991"/>
                  <a:gd name="connsiteY703" fmla="*/ 652007 h 1906800"/>
                  <a:gd name="connsiteX704" fmla="*/ 221104 w 1922991"/>
                  <a:gd name="connsiteY704" fmla="*/ 649893 h 1906800"/>
                  <a:gd name="connsiteX705" fmla="*/ 232005 w 1922991"/>
                  <a:gd name="connsiteY705" fmla="*/ 642053 h 1906800"/>
                  <a:gd name="connsiteX706" fmla="*/ 247330 w 1922991"/>
                  <a:gd name="connsiteY706" fmla="*/ 632439 h 1906800"/>
                  <a:gd name="connsiteX707" fmla="*/ 261518 w 1922991"/>
                  <a:gd name="connsiteY707" fmla="*/ 616900 h 1906800"/>
                  <a:gd name="connsiteX708" fmla="*/ 268613 w 1922991"/>
                  <a:gd name="connsiteY708" fmla="*/ 609121 h 1906800"/>
                  <a:gd name="connsiteX709" fmla="*/ 270386 w 1922991"/>
                  <a:gd name="connsiteY709" fmla="*/ 607186 h 1906800"/>
                  <a:gd name="connsiteX710" fmla="*/ 271283 w 1922991"/>
                  <a:gd name="connsiteY710" fmla="*/ 606209 h 1906800"/>
                  <a:gd name="connsiteX711" fmla="*/ 271721 w 1922991"/>
                  <a:gd name="connsiteY711" fmla="*/ 605730 h 1906800"/>
                  <a:gd name="connsiteX712" fmla="*/ 272000 w 1922991"/>
                  <a:gd name="connsiteY712" fmla="*/ 605132 h 1906800"/>
                  <a:gd name="connsiteX713" fmla="*/ 273734 w 1922991"/>
                  <a:gd name="connsiteY713" fmla="*/ 600803 h 1906800"/>
                  <a:gd name="connsiteX714" fmla="*/ 277341 w 1922991"/>
                  <a:gd name="connsiteY714" fmla="*/ 580258 h 1906800"/>
                  <a:gd name="connsiteX715" fmla="*/ 274412 w 1922991"/>
                  <a:gd name="connsiteY715" fmla="*/ 556541 h 1906800"/>
                  <a:gd name="connsiteX716" fmla="*/ 273694 w 1922991"/>
                  <a:gd name="connsiteY716" fmla="*/ 550596 h 1906800"/>
                  <a:gd name="connsiteX717" fmla="*/ 273375 w 1922991"/>
                  <a:gd name="connsiteY717" fmla="*/ 547664 h 1906800"/>
                  <a:gd name="connsiteX718" fmla="*/ 273136 w 1922991"/>
                  <a:gd name="connsiteY718" fmla="*/ 544932 h 1906800"/>
                  <a:gd name="connsiteX719" fmla="*/ 272797 w 1922991"/>
                  <a:gd name="connsiteY719" fmla="*/ 540743 h 1906800"/>
                  <a:gd name="connsiteX720" fmla="*/ 272658 w 1922991"/>
                  <a:gd name="connsiteY720" fmla="*/ 538369 h 1906800"/>
                  <a:gd name="connsiteX721" fmla="*/ 272319 w 1922991"/>
                  <a:gd name="connsiteY721" fmla="*/ 528874 h 1906800"/>
                  <a:gd name="connsiteX722" fmla="*/ 272419 w 1922991"/>
                  <a:gd name="connsiteY722" fmla="*/ 519360 h 1906800"/>
                  <a:gd name="connsiteX723" fmla="*/ 272518 w 1922991"/>
                  <a:gd name="connsiteY723" fmla="*/ 514592 h 1906800"/>
                  <a:gd name="connsiteX724" fmla="*/ 272837 w 1922991"/>
                  <a:gd name="connsiteY724" fmla="*/ 509845 h 1906800"/>
                  <a:gd name="connsiteX725" fmla="*/ 280450 w 1922991"/>
                  <a:gd name="connsiteY725" fmla="*/ 463109 h 1906800"/>
                  <a:gd name="connsiteX726" fmla="*/ 297349 w 1922991"/>
                  <a:gd name="connsiteY726" fmla="*/ 418767 h 1906800"/>
                  <a:gd name="connsiteX727" fmla="*/ 322717 w 1922991"/>
                  <a:gd name="connsiteY727" fmla="*/ 378235 h 1906800"/>
                  <a:gd name="connsiteX728" fmla="*/ 355478 w 1922991"/>
                  <a:gd name="connsiteY728" fmla="*/ 342849 h 1906800"/>
                  <a:gd name="connsiteX729" fmla="*/ 401392 w 1922991"/>
                  <a:gd name="connsiteY729" fmla="*/ 309777 h 1906800"/>
                  <a:gd name="connsiteX730" fmla="*/ 426740 w 1922991"/>
                  <a:gd name="connsiteY730" fmla="*/ 296911 h 1906800"/>
                  <a:gd name="connsiteX731" fmla="*/ 433297 w 1922991"/>
                  <a:gd name="connsiteY731" fmla="*/ 294118 h 1906800"/>
                  <a:gd name="connsiteX732" fmla="*/ 434931 w 1922991"/>
                  <a:gd name="connsiteY732" fmla="*/ 293420 h 1906800"/>
                  <a:gd name="connsiteX733" fmla="*/ 436704 w 1922991"/>
                  <a:gd name="connsiteY733" fmla="*/ 292742 h 1906800"/>
                  <a:gd name="connsiteX734" fmla="*/ 440291 w 1922991"/>
                  <a:gd name="connsiteY734" fmla="*/ 291385 h 1906800"/>
                  <a:gd name="connsiteX735" fmla="*/ 443878 w 1922991"/>
                  <a:gd name="connsiteY735" fmla="*/ 290029 h 1906800"/>
                  <a:gd name="connsiteX736" fmla="*/ 445672 w 1922991"/>
                  <a:gd name="connsiteY736" fmla="*/ 289351 h 1906800"/>
                  <a:gd name="connsiteX737" fmla="*/ 447366 w 1922991"/>
                  <a:gd name="connsiteY737" fmla="*/ 288792 h 1906800"/>
                  <a:gd name="connsiteX738" fmla="*/ 449438 w 1922991"/>
                  <a:gd name="connsiteY738" fmla="*/ 288134 h 1906800"/>
                  <a:gd name="connsiteX739" fmla="*/ 466038 w 1922991"/>
                  <a:gd name="connsiteY739" fmla="*/ 282888 h 1906800"/>
                  <a:gd name="connsiteX740" fmla="*/ 469007 w 1922991"/>
                  <a:gd name="connsiteY740" fmla="*/ 281931 h 1906800"/>
                  <a:gd name="connsiteX741" fmla="*/ 470482 w 1922991"/>
                  <a:gd name="connsiteY741" fmla="*/ 281452 h 1906800"/>
                  <a:gd name="connsiteX742" fmla="*/ 471837 w 1922991"/>
                  <a:gd name="connsiteY742" fmla="*/ 280853 h 1906800"/>
                  <a:gd name="connsiteX743" fmla="*/ 476620 w 1922991"/>
                  <a:gd name="connsiteY743" fmla="*/ 277841 h 1906800"/>
                  <a:gd name="connsiteX744" fmla="*/ 486165 w 1922991"/>
                  <a:gd name="connsiteY744" fmla="*/ 271837 h 1906800"/>
                  <a:gd name="connsiteX745" fmla="*/ 490948 w 1922991"/>
                  <a:gd name="connsiteY745" fmla="*/ 268825 h 1906800"/>
                  <a:gd name="connsiteX746" fmla="*/ 492104 w 1922991"/>
                  <a:gd name="connsiteY746" fmla="*/ 268028 h 1906800"/>
                  <a:gd name="connsiteX747" fmla="*/ 492941 w 1922991"/>
                  <a:gd name="connsiteY747" fmla="*/ 266891 h 1906800"/>
                  <a:gd name="connsiteX748" fmla="*/ 494495 w 1922991"/>
                  <a:gd name="connsiteY748" fmla="*/ 264517 h 1906800"/>
                  <a:gd name="connsiteX749" fmla="*/ 500733 w 1922991"/>
                  <a:gd name="connsiteY749" fmla="*/ 255022 h 1906800"/>
                  <a:gd name="connsiteX750" fmla="*/ 503841 w 1922991"/>
                  <a:gd name="connsiteY750" fmla="*/ 250275 h 1906800"/>
                  <a:gd name="connsiteX751" fmla="*/ 505396 w 1922991"/>
                  <a:gd name="connsiteY751" fmla="*/ 247901 h 1906800"/>
                  <a:gd name="connsiteX752" fmla="*/ 506791 w 1922991"/>
                  <a:gd name="connsiteY752" fmla="*/ 245368 h 1906800"/>
                  <a:gd name="connsiteX753" fmla="*/ 510916 w 1922991"/>
                  <a:gd name="connsiteY753" fmla="*/ 233719 h 1906800"/>
                  <a:gd name="connsiteX754" fmla="*/ 515041 w 1922991"/>
                  <a:gd name="connsiteY754" fmla="*/ 222070 h 1906800"/>
                  <a:gd name="connsiteX755" fmla="*/ 515559 w 1922991"/>
                  <a:gd name="connsiteY755" fmla="*/ 220614 h 1906800"/>
                  <a:gd name="connsiteX756" fmla="*/ 515798 w 1922991"/>
                  <a:gd name="connsiteY756" fmla="*/ 219975 h 1906800"/>
                  <a:gd name="connsiteX757" fmla="*/ 515918 w 1922991"/>
                  <a:gd name="connsiteY757" fmla="*/ 219656 h 1906800"/>
                  <a:gd name="connsiteX758" fmla="*/ 516436 w 1922991"/>
                  <a:gd name="connsiteY758" fmla="*/ 218419 h 1906800"/>
                  <a:gd name="connsiteX759" fmla="*/ 517452 w 1922991"/>
                  <a:gd name="connsiteY759" fmla="*/ 215926 h 1906800"/>
                  <a:gd name="connsiteX760" fmla="*/ 535567 w 1922991"/>
                  <a:gd name="connsiteY760" fmla="*/ 177149 h 1906800"/>
                  <a:gd name="connsiteX761" fmla="*/ 562748 w 1922991"/>
                  <a:gd name="connsiteY761" fmla="*/ 134702 h 1906800"/>
                  <a:gd name="connsiteX762" fmla="*/ 595430 w 1922991"/>
                  <a:gd name="connsiteY762" fmla="*/ 98079 h 1906800"/>
                  <a:gd name="connsiteX763" fmla="*/ 674026 w 1922991"/>
                  <a:gd name="connsiteY763" fmla="*/ 49748 h 1906800"/>
                  <a:gd name="connsiteX764" fmla="*/ 695468 w 1922991"/>
                  <a:gd name="connsiteY764" fmla="*/ 43963 h 1906800"/>
                  <a:gd name="connsiteX765" fmla="*/ 700908 w 1922991"/>
                  <a:gd name="connsiteY765" fmla="*/ 43026 h 1906800"/>
                  <a:gd name="connsiteX766" fmla="*/ 703619 w 1922991"/>
                  <a:gd name="connsiteY766" fmla="*/ 42527 h 1906800"/>
                  <a:gd name="connsiteX767" fmla="*/ 706349 w 1922991"/>
                  <a:gd name="connsiteY767" fmla="*/ 42188 h 1906800"/>
                  <a:gd name="connsiteX768" fmla="*/ 711809 w 1922991"/>
                  <a:gd name="connsiteY768" fmla="*/ 41490 h 1906800"/>
                  <a:gd name="connsiteX769" fmla="*/ 717309 w 1922991"/>
                  <a:gd name="connsiteY769" fmla="*/ 41071 h 1906800"/>
                  <a:gd name="connsiteX770" fmla="*/ 728329 w 1922991"/>
                  <a:gd name="connsiteY770" fmla="*/ 40612 h 1906800"/>
                  <a:gd name="connsiteX771" fmla="*/ 731278 w 1922991"/>
                  <a:gd name="connsiteY771" fmla="*/ 40612 h 1906800"/>
                  <a:gd name="connsiteX772" fmla="*/ 734347 w 1922991"/>
                  <a:gd name="connsiteY772" fmla="*/ 40692 h 1906800"/>
                  <a:gd name="connsiteX773" fmla="*/ 740505 w 1922991"/>
                  <a:gd name="connsiteY773" fmla="*/ 40831 h 1906800"/>
                  <a:gd name="connsiteX774" fmla="*/ 743574 w 1922991"/>
                  <a:gd name="connsiteY774" fmla="*/ 40891 h 1906800"/>
                  <a:gd name="connsiteX775" fmla="*/ 746603 w 1922991"/>
                  <a:gd name="connsiteY775" fmla="*/ 41131 h 1906800"/>
                  <a:gd name="connsiteX776" fmla="*/ 752661 w 1922991"/>
                  <a:gd name="connsiteY776" fmla="*/ 41589 h 1906800"/>
                  <a:gd name="connsiteX777" fmla="*/ 758699 w 1922991"/>
                  <a:gd name="connsiteY777" fmla="*/ 42088 h 1906800"/>
                  <a:gd name="connsiteX778" fmla="*/ 764638 w 1922991"/>
                  <a:gd name="connsiteY778" fmla="*/ 42866 h 1906800"/>
                  <a:gd name="connsiteX779" fmla="*/ 810034 w 1922991"/>
                  <a:gd name="connsiteY779" fmla="*/ 53518 h 1906800"/>
                  <a:gd name="connsiteX780" fmla="*/ 850288 w 1922991"/>
                  <a:gd name="connsiteY780" fmla="*/ 73545 h 1906800"/>
                  <a:gd name="connsiteX781" fmla="*/ 871750 w 1922991"/>
                  <a:gd name="connsiteY781" fmla="*/ 89961 h 1906800"/>
                  <a:gd name="connsiteX782" fmla="*/ 874321 w 1922991"/>
                  <a:gd name="connsiteY782" fmla="*/ 92195 h 1906800"/>
                  <a:gd name="connsiteX783" fmla="*/ 876752 w 1922991"/>
                  <a:gd name="connsiteY783" fmla="*/ 94609 h 1906800"/>
                  <a:gd name="connsiteX784" fmla="*/ 881515 w 1922991"/>
                  <a:gd name="connsiteY784" fmla="*/ 99276 h 1906800"/>
                  <a:gd name="connsiteX785" fmla="*/ 887573 w 1922991"/>
                  <a:gd name="connsiteY785" fmla="*/ 105739 h 1906800"/>
                  <a:gd name="connsiteX786" fmla="*/ 890582 w 1922991"/>
                  <a:gd name="connsiteY786" fmla="*/ 109130 h 1906800"/>
                  <a:gd name="connsiteX787" fmla="*/ 892097 w 1922991"/>
                  <a:gd name="connsiteY787" fmla="*/ 110825 h 1906800"/>
                  <a:gd name="connsiteX788" fmla="*/ 893511 w 1922991"/>
                  <a:gd name="connsiteY788" fmla="*/ 112740 h 1906800"/>
                  <a:gd name="connsiteX789" fmla="*/ 899131 w 1922991"/>
                  <a:gd name="connsiteY789" fmla="*/ 120380 h 1906800"/>
                  <a:gd name="connsiteX790" fmla="*/ 910370 w 1922991"/>
                  <a:gd name="connsiteY790" fmla="*/ 135659 h 1906800"/>
                  <a:gd name="connsiteX791" fmla="*/ 913738 w 1922991"/>
                  <a:gd name="connsiteY791" fmla="*/ 140267 h 1906800"/>
                  <a:gd name="connsiteX792" fmla="*/ 914575 w 1922991"/>
                  <a:gd name="connsiteY792" fmla="*/ 141424 h 1906800"/>
                  <a:gd name="connsiteX793" fmla="*/ 915452 w 1922991"/>
                  <a:gd name="connsiteY793" fmla="*/ 142202 h 1906800"/>
                  <a:gd name="connsiteX794" fmla="*/ 917206 w 1922991"/>
                  <a:gd name="connsiteY794" fmla="*/ 143558 h 1906800"/>
                  <a:gd name="connsiteX795" fmla="*/ 924300 w 1922991"/>
                  <a:gd name="connsiteY795" fmla="*/ 148844 h 1906800"/>
                  <a:gd name="connsiteX796" fmla="*/ 938648 w 1922991"/>
                  <a:gd name="connsiteY796" fmla="*/ 158758 h 1906800"/>
                  <a:gd name="connsiteX797" fmla="*/ 939545 w 1922991"/>
                  <a:gd name="connsiteY797" fmla="*/ 159356 h 1906800"/>
                  <a:gd name="connsiteX798" fmla="*/ 940362 w 1922991"/>
                  <a:gd name="connsiteY798" fmla="*/ 159755 h 1906800"/>
                  <a:gd name="connsiteX799" fmla="*/ 941777 w 1922991"/>
                  <a:gd name="connsiteY799" fmla="*/ 160015 h 1906800"/>
                  <a:gd name="connsiteX800" fmla="*/ 944607 w 1922991"/>
                  <a:gd name="connsiteY800" fmla="*/ 160533 h 1906800"/>
                  <a:gd name="connsiteX801" fmla="*/ 950266 w 1922991"/>
                  <a:gd name="connsiteY801" fmla="*/ 161590 h 1906800"/>
                  <a:gd name="connsiteX802" fmla="*/ 955926 w 1922991"/>
                  <a:gd name="connsiteY802" fmla="*/ 162648 h 1906800"/>
                  <a:gd name="connsiteX803" fmla="*/ 958755 w 1922991"/>
                  <a:gd name="connsiteY803" fmla="*/ 163166 h 1906800"/>
                  <a:gd name="connsiteX804" fmla="*/ 960170 w 1922991"/>
                  <a:gd name="connsiteY804" fmla="*/ 163426 h 1906800"/>
                  <a:gd name="connsiteX805" fmla="*/ 960868 w 1922991"/>
                  <a:gd name="connsiteY805" fmla="*/ 163545 h 1906800"/>
                  <a:gd name="connsiteX806" fmla="*/ 961804 w 1922991"/>
                  <a:gd name="connsiteY806" fmla="*/ 163545 h 1906800"/>
                  <a:gd name="connsiteX807" fmla="*/ 973123 w 1922991"/>
                  <a:gd name="connsiteY807" fmla="*/ 161451 h 1906800"/>
                  <a:gd name="connsiteX808" fmla="*/ 978783 w 1922991"/>
                  <a:gd name="connsiteY808" fmla="*/ 160394 h 1906800"/>
                  <a:gd name="connsiteX809" fmla="*/ 984961 w 1922991"/>
                  <a:gd name="connsiteY809" fmla="*/ 158120 h 1906800"/>
                  <a:gd name="connsiteX810" fmla="*/ 999289 w 1922991"/>
                  <a:gd name="connsiteY810" fmla="*/ 148146 h 1906800"/>
                  <a:gd name="connsiteX811" fmla="*/ 1006363 w 1922991"/>
                  <a:gd name="connsiteY811" fmla="*/ 142820 h 1906800"/>
                  <a:gd name="connsiteX812" fmla="*/ 1008097 w 1922991"/>
                  <a:gd name="connsiteY812" fmla="*/ 141344 h 1906800"/>
                  <a:gd name="connsiteX813" fmla="*/ 1009751 w 1922991"/>
                  <a:gd name="connsiteY813" fmla="*/ 139110 h 1906800"/>
                  <a:gd name="connsiteX814" fmla="*/ 1013039 w 1922991"/>
                  <a:gd name="connsiteY814" fmla="*/ 134642 h 1906800"/>
                  <a:gd name="connsiteX815" fmla="*/ 1026191 w 1922991"/>
                  <a:gd name="connsiteY815" fmla="*/ 116750 h 1906800"/>
                  <a:gd name="connsiteX816" fmla="*/ 1032927 w 1922991"/>
                  <a:gd name="connsiteY816" fmla="*/ 108153 h 1906800"/>
                  <a:gd name="connsiteX817" fmla="*/ 1036434 w 1922991"/>
                  <a:gd name="connsiteY817" fmla="*/ 104223 h 1906800"/>
                  <a:gd name="connsiteX818" fmla="*/ 1038188 w 1922991"/>
                  <a:gd name="connsiteY818" fmla="*/ 102248 h 1906800"/>
                  <a:gd name="connsiteX819" fmla="*/ 1039962 w 1922991"/>
                  <a:gd name="connsiteY819" fmla="*/ 100413 h 1906800"/>
                  <a:gd name="connsiteX820" fmla="*/ 1043509 w 1922991"/>
                  <a:gd name="connsiteY820" fmla="*/ 96982 h 1906800"/>
                  <a:gd name="connsiteX821" fmla="*/ 1045820 w 1922991"/>
                  <a:gd name="connsiteY821" fmla="*/ 94688 h 1906800"/>
                  <a:gd name="connsiteX822" fmla="*/ 1048650 w 1922991"/>
                  <a:gd name="connsiteY822" fmla="*/ 91876 h 1906800"/>
                  <a:gd name="connsiteX823" fmla="*/ 1054668 w 1922991"/>
                  <a:gd name="connsiteY823" fmla="*/ 86769 h 1906800"/>
                  <a:gd name="connsiteX824" fmla="*/ 1067083 w 1922991"/>
                  <a:gd name="connsiteY824" fmla="*/ 77095 h 1906800"/>
                  <a:gd name="connsiteX825" fmla="*/ 1073600 w 1922991"/>
                  <a:gd name="connsiteY825" fmla="*/ 72747 h 1906800"/>
                  <a:gd name="connsiteX826" fmla="*/ 1080216 w 1922991"/>
                  <a:gd name="connsiteY826" fmla="*/ 68558 h 1906800"/>
                  <a:gd name="connsiteX827" fmla="*/ 1167919 w 1922991"/>
                  <a:gd name="connsiteY827" fmla="*/ 41749 h 1906800"/>
                  <a:gd name="connsiteX828" fmla="*/ 1180035 w 1922991"/>
                  <a:gd name="connsiteY828" fmla="*/ 40891 h 1906800"/>
                  <a:gd name="connsiteX829" fmla="*/ 1192330 w 1922991"/>
                  <a:gd name="connsiteY829" fmla="*/ 40592 h 1906800"/>
                  <a:gd name="connsiteX830" fmla="*/ 1197930 w 1922991"/>
                  <a:gd name="connsiteY830" fmla="*/ 40712 h 1906800"/>
                  <a:gd name="connsiteX831" fmla="*/ 1203430 w 1922991"/>
                  <a:gd name="connsiteY831" fmla="*/ 40931 h 1906800"/>
                  <a:gd name="connsiteX832" fmla="*/ 1214390 w 1922991"/>
                  <a:gd name="connsiteY832" fmla="*/ 41968 h 1906800"/>
                  <a:gd name="connsiteX833" fmla="*/ 1236092 w 1922991"/>
                  <a:gd name="connsiteY833" fmla="*/ 46018 h 1906800"/>
                  <a:gd name="connsiteX834" fmla="*/ 1241453 w 1922991"/>
                  <a:gd name="connsiteY834" fmla="*/ 47514 h 1906800"/>
                  <a:gd name="connsiteX835" fmla="*/ 1244123 w 1922991"/>
                  <a:gd name="connsiteY835" fmla="*/ 48252 h 1906800"/>
                  <a:gd name="connsiteX836" fmla="*/ 1246773 w 1922991"/>
                  <a:gd name="connsiteY836" fmla="*/ 49149 h 1906800"/>
                  <a:gd name="connsiteX837" fmla="*/ 1252094 w 1922991"/>
                  <a:gd name="connsiteY837" fmla="*/ 50885 h 1906800"/>
                  <a:gd name="connsiteX838" fmla="*/ 1257335 w 1922991"/>
                  <a:gd name="connsiteY838" fmla="*/ 52919 h 1906800"/>
                  <a:gd name="connsiteX839" fmla="*/ 1334376 w 1922991"/>
                  <a:gd name="connsiteY839" fmla="*/ 105121 h 1906800"/>
                  <a:gd name="connsiteX840" fmla="*/ 1365942 w 1922991"/>
                  <a:gd name="connsiteY840" fmla="*/ 143120 h 1906800"/>
                  <a:gd name="connsiteX841" fmla="*/ 1391908 w 1922991"/>
                  <a:gd name="connsiteY841" fmla="*/ 186584 h 1906800"/>
                  <a:gd name="connsiteX842" fmla="*/ 1397030 w 1922991"/>
                  <a:gd name="connsiteY842" fmla="*/ 197176 h 1906800"/>
                  <a:gd name="connsiteX843" fmla="*/ 1401832 w 1922991"/>
                  <a:gd name="connsiteY843" fmla="*/ 207967 h 1906800"/>
                  <a:gd name="connsiteX844" fmla="*/ 1406336 w 1922991"/>
                  <a:gd name="connsiteY844" fmla="*/ 218938 h 1906800"/>
                  <a:gd name="connsiteX845" fmla="*/ 1406615 w 1922991"/>
                  <a:gd name="connsiteY845" fmla="*/ 219616 h 1906800"/>
                  <a:gd name="connsiteX846" fmla="*/ 1406754 w 1922991"/>
                  <a:gd name="connsiteY846" fmla="*/ 219955 h 1906800"/>
                  <a:gd name="connsiteX847" fmla="*/ 1407014 w 1922991"/>
                  <a:gd name="connsiteY847" fmla="*/ 220653 h 1906800"/>
                  <a:gd name="connsiteX848" fmla="*/ 1408149 w 1922991"/>
                  <a:gd name="connsiteY848" fmla="*/ 223845 h 1906800"/>
                  <a:gd name="connsiteX849" fmla="*/ 1410421 w 1922991"/>
                  <a:gd name="connsiteY849" fmla="*/ 230248 h 1906800"/>
                  <a:gd name="connsiteX850" fmla="*/ 1414965 w 1922991"/>
                  <a:gd name="connsiteY850" fmla="*/ 243054 h 1906800"/>
                  <a:gd name="connsiteX851" fmla="*/ 1415921 w 1922991"/>
                  <a:gd name="connsiteY851" fmla="*/ 245767 h 1906800"/>
                  <a:gd name="connsiteX852" fmla="*/ 1417276 w 1922991"/>
                  <a:gd name="connsiteY852" fmla="*/ 248041 h 1906800"/>
                  <a:gd name="connsiteX853" fmla="*/ 1420146 w 1922991"/>
                  <a:gd name="connsiteY853" fmla="*/ 252429 h 1906800"/>
                  <a:gd name="connsiteX854" fmla="*/ 1425905 w 1922991"/>
                  <a:gd name="connsiteY854" fmla="*/ 261186 h 1906800"/>
                  <a:gd name="connsiteX855" fmla="*/ 1428775 w 1922991"/>
                  <a:gd name="connsiteY855" fmla="*/ 265574 h 1906800"/>
                  <a:gd name="connsiteX856" fmla="*/ 1430210 w 1922991"/>
                  <a:gd name="connsiteY856" fmla="*/ 267768 h 1906800"/>
                  <a:gd name="connsiteX857" fmla="*/ 1430688 w 1922991"/>
                  <a:gd name="connsiteY857" fmla="*/ 268227 h 1906800"/>
                  <a:gd name="connsiteX858" fmla="*/ 1431246 w 1922991"/>
                  <a:gd name="connsiteY858" fmla="*/ 268566 h 1906800"/>
                  <a:gd name="connsiteX859" fmla="*/ 1432342 w 1922991"/>
                  <a:gd name="connsiteY859" fmla="*/ 269264 h 1906800"/>
                  <a:gd name="connsiteX860" fmla="*/ 1441170 w 1922991"/>
                  <a:gd name="connsiteY860" fmla="*/ 274810 h 1906800"/>
                  <a:gd name="connsiteX861" fmla="*/ 1449998 w 1922991"/>
                  <a:gd name="connsiteY861" fmla="*/ 280355 h 1906800"/>
                  <a:gd name="connsiteX862" fmla="*/ 1451094 w 1922991"/>
                  <a:gd name="connsiteY862" fmla="*/ 281053 h 1906800"/>
                  <a:gd name="connsiteX863" fmla="*/ 1452429 w 1922991"/>
                  <a:gd name="connsiteY863" fmla="*/ 281532 h 1906800"/>
                  <a:gd name="connsiteX864" fmla="*/ 1455179 w 1922991"/>
                  <a:gd name="connsiteY864" fmla="*/ 282409 h 1906800"/>
                  <a:gd name="connsiteX865" fmla="*/ 1460659 w 1922991"/>
                  <a:gd name="connsiteY865" fmla="*/ 284145 h 1906800"/>
                  <a:gd name="connsiteX866" fmla="*/ 1471620 w 1922991"/>
                  <a:gd name="connsiteY866" fmla="*/ 287635 h 1906800"/>
                  <a:gd name="connsiteX867" fmla="*/ 1476821 w 1922991"/>
                  <a:gd name="connsiteY867" fmla="*/ 289311 h 1906800"/>
                  <a:gd name="connsiteX868" fmla="*/ 1479192 w 1922991"/>
                  <a:gd name="connsiteY868" fmla="*/ 290209 h 1906800"/>
                  <a:gd name="connsiteX869" fmla="*/ 1488558 w 1922991"/>
                  <a:gd name="connsiteY869" fmla="*/ 293819 h 1906800"/>
                  <a:gd name="connsiteX870" fmla="*/ 1497207 w 1922991"/>
                  <a:gd name="connsiteY870" fmla="*/ 297509 h 1906800"/>
                  <a:gd name="connsiteX871" fmla="*/ 1505716 w 1922991"/>
                  <a:gd name="connsiteY871" fmla="*/ 301538 h 1906800"/>
                  <a:gd name="connsiteX872" fmla="*/ 1514066 w 1922991"/>
                  <a:gd name="connsiteY872" fmla="*/ 305847 h 1906800"/>
                  <a:gd name="connsiteX873" fmla="*/ 1574468 w 1922991"/>
                  <a:gd name="connsiteY873" fmla="*/ 349750 h 1906800"/>
                  <a:gd name="connsiteX874" fmla="*/ 1605794 w 1922991"/>
                  <a:gd name="connsiteY874" fmla="*/ 386313 h 1906800"/>
                  <a:gd name="connsiteX875" fmla="*/ 1629469 w 1922991"/>
                  <a:gd name="connsiteY875" fmla="*/ 427763 h 1906800"/>
                  <a:gd name="connsiteX876" fmla="*/ 1644494 w 1922991"/>
                  <a:gd name="connsiteY876" fmla="*/ 472723 h 1906800"/>
                  <a:gd name="connsiteX877" fmla="*/ 1650174 w 1922991"/>
                  <a:gd name="connsiteY877" fmla="*/ 519758 h 1906800"/>
                  <a:gd name="connsiteX878" fmla="*/ 1650034 w 1922991"/>
                  <a:gd name="connsiteY878" fmla="*/ 536275 h 1906800"/>
                  <a:gd name="connsiteX879" fmla="*/ 1649795 w 1922991"/>
                  <a:gd name="connsiteY879" fmla="*/ 540384 h 1906800"/>
                  <a:gd name="connsiteX880" fmla="*/ 1649735 w 1922991"/>
                  <a:gd name="connsiteY880" fmla="*/ 541421 h 1906800"/>
                  <a:gd name="connsiteX881" fmla="*/ 1649576 w 1922991"/>
                  <a:gd name="connsiteY881" fmla="*/ 543396 h 1906800"/>
                  <a:gd name="connsiteX882" fmla="*/ 1649177 w 1922991"/>
                  <a:gd name="connsiteY882" fmla="*/ 548143 h 1906800"/>
                  <a:gd name="connsiteX883" fmla="*/ 1646228 w 1922991"/>
                  <a:gd name="connsiteY883" fmla="*/ 568848 h 1906800"/>
                  <a:gd name="connsiteX884" fmla="*/ 1646467 w 1922991"/>
                  <a:gd name="connsiteY884" fmla="*/ 592126 h 1906800"/>
                  <a:gd name="connsiteX885" fmla="*/ 1647005 w 1922991"/>
                  <a:gd name="connsiteY885" fmla="*/ 594759 h 1906800"/>
                  <a:gd name="connsiteX886" fmla="*/ 1647723 w 1922991"/>
                  <a:gd name="connsiteY886" fmla="*/ 597213 h 1906800"/>
                  <a:gd name="connsiteX887" fmla="*/ 1648440 w 1922991"/>
                  <a:gd name="connsiteY887" fmla="*/ 599666 h 1906800"/>
                  <a:gd name="connsiteX888" fmla="*/ 1649297 w 1922991"/>
                  <a:gd name="connsiteY888" fmla="*/ 601920 h 1906800"/>
                  <a:gd name="connsiteX889" fmla="*/ 1650194 w 1922991"/>
                  <a:gd name="connsiteY889" fmla="*/ 604154 h 1906800"/>
                  <a:gd name="connsiteX890" fmla="*/ 1651489 w 1922991"/>
                  <a:gd name="connsiteY890" fmla="*/ 606368 h 1906800"/>
                  <a:gd name="connsiteX891" fmla="*/ 1655235 w 1922991"/>
                  <a:gd name="connsiteY891" fmla="*/ 610358 h 1906800"/>
                  <a:gd name="connsiteX892" fmla="*/ 1670201 w 1922991"/>
                  <a:gd name="connsiteY892" fmla="*/ 626275 h 1906800"/>
                  <a:gd name="connsiteX893" fmla="*/ 1673948 w 1922991"/>
                  <a:gd name="connsiteY893" fmla="*/ 630265 h 1906800"/>
                  <a:gd name="connsiteX894" fmla="*/ 1675821 w 1922991"/>
                  <a:gd name="connsiteY894" fmla="*/ 632259 h 1906800"/>
                  <a:gd name="connsiteX895" fmla="*/ 1677973 w 1922991"/>
                  <a:gd name="connsiteY895" fmla="*/ 634134 h 1906800"/>
                  <a:gd name="connsiteX896" fmla="*/ 1688575 w 1922991"/>
                  <a:gd name="connsiteY896" fmla="*/ 640737 h 1906800"/>
                  <a:gd name="connsiteX897" fmla="*/ 1693517 w 1922991"/>
                  <a:gd name="connsiteY897" fmla="*/ 644128 h 1906800"/>
                  <a:gd name="connsiteX898" fmla="*/ 1698280 w 1922991"/>
                  <a:gd name="connsiteY898" fmla="*/ 647559 h 1906800"/>
                  <a:gd name="connsiteX899" fmla="*/ 1702983 w 1922991"/>
                  <a:gd name="connsiteY899" fmla="*/ 650910 h 1906800"/>
                  <a:gd name="connsiteX900" fmla="*/ 1706968 w 1922991"/>
                  <a:gd name="connsiteY900" fmla="*/ 654002 h 1906800"/>
                  <a:gd name="connsiteX901" fmla="*/ 1710874 w 1922991"/>
                  <a:gd name="connsiteY901" fmla="*/ 657213 h 1906800"/>
                  <a:gd name="connsiteX902" fmla="*/ 1718686 w 1922991"/>
                  <a:gd name="connsiteY902" fmla="*/ 663616 h 1906800"/>
                  <a:gd name="connsiteX903" fmla="*/ 1726079 w 1922991"/>
                  <a:gd name="connsiteY903" fmla="*/ 670498 h 1906800"/>
                  <a:gd name="connsiteX904" fmla="*/ 1740288 w 1922991"/>
                  <a:gd name="connsiteY904" fmla="*/ 684820 h 1906800"/>
                  <a:gd name="connsiteX905" fmla="*/ 1746943 w 1922991"/>
                  <a:gd name="connsiteY905" fmla="*/ 692380 h 1906800"/>
                  <a:gd name="connsiteX906" fmla="*/ 1753420 w 1922991"/>
                  <a:gd name="connsiteY906" fmla="*/ 700079 h 1906800"/>
                  <a:gd name="connsiteX907" fmla="*/ 1759418 w 1922991"/>
                  <a:gd name="connsiteY907" fmla="*/ 708158 h 1906800"/>
                  <a:gd name="connsiteX908" fmla="*/ 1762408 w 1922991"/>
                  <a:gd name="connsiteY908" fmla="*/ 712207 h 1906800"/>
                  <a:gd name="connsiteX909" fmla="*/ 1765297 w 1922991"/>
                  <a:gd name="connsiteY909" fmla="*/ 716316 h 1906800"/>
                  <a:gd name="connsiteX910" fmla="*/ 1770698 w 1922991"/>
                  <a:gd name="connsiteY910" fmla="*/ 724773 h 1906800"/>
                  <a:gd name="connsiteX911" fmla="*/ 1773428 w 1922991"/>
                  <a:gd name="connsiteY911" fmla="*/ 728982 h 1906800"/>
                  <a:gd name="connsiteX912" fmla="*/ 1775879 w 1922991"/>
                  <a:gd name="connsiteY912" fmla="*/ 733371 h 1906800"/>
                  <a:gd name="connsiteX913" fmla="*/ 1781758 w 1922991"/>
                  <a:gd name="connsiteY913" fmla="*/ 743982 h 1906800"/>
                  <a:gd name="connsiteX914" fmla="*/ 1786939 w 1922991"/>
                  <a:gd name="connsiteY914" fmla="*/ 754933 h 1906800"/>
                  <a:gd name="connsiteX915" fmla="*/ 1789549 w 1922991"/>
                  <a:gd name="connsiteY915" fmla="*/ 760399 h 1906800"/>
                  <a:gd name="connsiteX916" fmla="*/ 1791722 w 1922991"/>
                  <a:gd name="connsiteY916" fmla="*/ 766044 h 1906800"/>
                  <a:gd name="connsiteX917" fmla="*/ 1796106 w 1922991"/>
                  <a:gd name="connsiteY917" fmla="*/ 777314 h 1906800"/>
                  <a:gd name="connsiteX918" fmla="*/ 1799733 w 1922991"/>
                  <a:gd name="connsiteY918" fmla="*/ 788843 h 1906800"/>
                  <a:gd name="connsiteX919" fmla="*/ 1801486 w 1922991"/>
                  <a:gd name="connsiteY919" fmla="*/ 794628 h 1906800"/>
                  <a:gd name="connsiteX920" fmla="*/ 1802901 w 1922991"/>
                  <a:gd name="connsiteY920" fmla="*/ 800512 h 1906800"/>
                  <a:gd name="connsiteX921" fmla="*/ 1804336 w 1922991"/>
                  <a:gd name="connsiteY921" fmla="*/ 806377 h 1906800"/>
                  <a:gd name="connsiteX922" fmla="*/ 1805651 w 1922991"/>
                  <a:gd name="connsiteY922" fmla="*/ 812261 h 1906800"/>
                  <a:gd name="connsiteX923" fmla="*/ 1807704 w 1922991"/>
                  <a:gd name="connsiteY923" fmla="*/ 824169 h 1906800"/>
                  <a:gd name="connsiteX924" fmla="*/ 1809198 w 1922991"/>
                  <a:gd name="connsiteY924" fmla="*/ 836177 h 1906800"/>
                  <a:gd name="connsiteX925" fmla="*/ 1809836 w 1922991"/>
                  <a:gd name="connsiteY925" fmla="*/ 842201 h 1906800"/>
                  <a:gd name="connsiteX926" fmla="*/ 1810314 w 1922991"/>
                  <a:gd name="connsiteY926" fmla="*/ 848245 h 1906800"/>
                  <a:gd name="connsiteX927" fmla="*/ 1810733 w 1922991"/>
                  <a:gd name="connsiteY927" fmla="*/ 872501 h 1906800"/>
                  <a:gd name="connsiteX928" fmla="*/ 1804814 w 1922991"/>
                  <a:gd name="connsiteY928" fmla="*/ 920473 h 1906800"/>
                  <a:gd name="connsiteX929" fmla="*/ 1803519 w 1922991"/>
                  <a:gd name="connsiteY929" fmla="*/ 926098 h 1906800"/>
                  <a:gd name="connsiteX930" fmla="*/ 1802104 w 1922991"/>
                  <a:gd name="connsiteY930" fmla="*/ 931684 h 1906800"/>
                  <a:gd name="connsiteX931" fmla="*/ 1801725 w 1922991"/>
                  <a:gd name="connsiteY931" fmla="*/ 933080 h 1906800"/>
                  <a:gd name="connsiteX932" fmla="*/ 1801367 w 1922991"/>
                  <a:gd name="connsiteY932" fmla="*/ 934476 h 1906800"/>
                  <a:gd name="connsiteX933" fmla="*/ 1800849 w 1922991"/>
                  <a:gd name="connsiteY933" fmla="*/ 936231 h 1906800"/>
                  <a:gd name="connsiteX934" fmla="*/ 1798716 w 1922991"/>
                  <a:gd name="connsiteY934" fmla="*/ 943033 h 1906800"/>
                  <a:gd name="connsiteX935" fmla="*/ 1796564 w 1922991"/>
                  <a:gd name="connsiteY935" fmla="*/ 949835 h 1906800"/>
                  <a:gd name="connsiteX936" fmla="*/ 1794153 w 1922991"/>
                  <a:gd name="connsiteY936" fmla="*/ 956617 h 1906800"/>
                  <a:gd name="connsiteX937" fmla="*/ 1792240 w 1922991"/>
                  <a:gd name="connsiteY937" fmla="*/ 962901 h 1906800"/>
                  <a:gd name="connsiteX938" fmla="*/ 1791682 w 1922991"/>
                  <a:gd name="connsiteY938" fmla="*/ 965972 h 1906800"/>
                  <a:gd name="connsiteX939" fmla="*/ 1791303 w 1922991"/>
                  <a:gd name="connsiteY939" fmla="*/ 969024 h 1906800"/>
                  <a:gd name="connsiteX940" fmla="*/ 1790626 w 1922991"/>
                  <a:gd name="connsiteY940" fmla="*/ 980853 h 1906800"/>
                  <a:gd name="connsiteX941" fmla="*/ 1791104 w 1922991"/>
                  <a:gd name="connsiteY941" fmla="*/ 986378 h 1906800"/>
                  <a:gd name="connsiteX942" fmla="*/ 1791343 w 1922991"/>
                  <a:gd name="connsiteY942" fmla="*/ 989151 h 1906800"/>
                  <a:gd name="connsiteX943" fmla="*/ 1791482 w 1922991"/>
                  <a:gd name="connsiteY943" fmla="*/ 989869 h 1906800"/>
                  <a:gd name="connsiteX944" fmla="*/ 1791781 w 1922991"/>
                  <a:gd name="connsiteY944" fmla="*/ 990527 h 1906800"/>
                  <a:gd name="connsiteX945" fmla="*/ 1792399 w 1922991"/>
                  <a:gd name="connsiteY945" fmla="*/ 991864 h 1906800"/>
                  <a:gd name="connsiteX946" fmla="*/ 1797361 w 1922991"/>
                  <a:gd name="connsiteY946" fmla="*/ 1002515 h 1906800"/>
                  <a:gd name="connsiteX947" fmla="*/ 1802323 w 1922991"/>
                  <a:gd name="connsiteY947" fmla="*/ 1013167 h 1906800"/>
                  <a:gd name="connsiteX948" fmla="*/ 1803579 w 1922991"/>
                  <a:gd name="connsiteY948" fmla="*/ 1015820 h 1906800"/>
                  <a:gd name="connsiteX949" fmla="*/ 1805591 w 1922991"/>
                  <a:gd name="connsiteY949" fmla="*/ 1018233 h 1906800"/>
                  <a:gd name="connsiteX950" fmla="*/ 1809617 w 1922991"/>
                  <a:gd name="connsiteY950" fmla="*/ 1023041 h 1906800"/>
                  <a:gd name="connsiteX951" fmla="*/ 1817668 w 1922991"/>
                  <a:gd name="connsiteY951" fmla="*/ 1032655 h 1906800"/>
                  <a:gd name="connsiteX952" fmla="*/ 1824124 w 1922991"/>
                  <a:gd name="connsiteY952" fmla="*/ 1040554 h 1906800"/>
                  <a:gd name="connsiteX953" fmla="*/ 1847619 w 1922991"/>
                  <a:gd name="connsiteY953" fmla="*/ 1077097 h 1906800"/>
                  <a:gd name="connsiteX954" fmla="*/ 1876953 w 1922991"/>
                  <a:gd name="connsiteY954" fmla="*/ 1158042 h 1906800"/>
                  <a:gd name="connsiteX955" fmla="*/ 1882055 w 1922991"/>
                  <a:gd name="connsiteY955" fmla="*/ 1206752 h 1906800"/>
                  <a:gd name="connsiteX956" fmla="*/ 1878906 w 1922991"/>
                  <a:gd name="connsiteY956" fmla="*/ 1255662 h 1906800"/>
                  <a:gd name="connsiteX957" fmla="*/ 1867188 w 1922991"/>
                  <a:gd name="connsiteY957" fmla="*/ 1303176 h 1906800"/>
                  <a:gd name="connsiteX958" fmla="*/ 1858340 w 1922991"/>
                  <a:gd name="connsiteY958" fmla="*/ 1326055 h 1906800"/>
                  <a:gd name="connsiteX959" fmla="*/ 1853139 w 1922991"/>
                  <a:gd name="connsiteY959" fmla="*/ 1337186 h 1906800"/>
                  <a:gd name="connsiteX960" fmla="*/ 1847460 w 1922991"/>
                  <a:gd name="connsiteY960" fmla="*/ 1348097 h 1906800"/>
                  <a:gd name="connsiteX961" fmla="*/ 1820298 w 1922991"/>
                  <a:gd name="connsiteY961" fmla="*/ 1389287 h 1906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</a:cxnLst>
                <a:rect l="l" t="t" r="r" b="b"/>
                <a:pathLst>
                  <a:path w="1922991" h="1906800">
                    <a:moveTo>
                      <a:pt x="1916829" y="1150163"/>
                    </a:moveTo>
                    <a:cubicBezTo>
                      <a:pt x="1910293" y="1117928"/>
                      <a:pt x="1899253" y="1086512"/>
                      <a:pt x="1883330" y="1057629"/>
                    </a:cubicBezTo>
                    <a:cubicBezTo>
                      <a:pt x="1875419" y="1043187"/>
                      <a:pt x="1866611" y="1029184"/>
                      <a:pt x="1856607" y="1016039"/>
                    </a:cubicBezTo>
                    <a:cubicBezTo>
                      <a:pt x="1855650" y="1014603"/>
                      <a:pt x="1853518" y="1012110"/>
                      <a:pt x="1851804" y="1009975"/>
                    </a:cubicBezTo>
                    <a:lnTo>
                      <a:pt x="1846424" y="1003393"/>
                    </a:lnTo>
                    <a:lnTo>
                      <a:pt x="1843733" y="1000102"/>
                    </a:lnTo>
                    <a:lnTo>
                      <a:pt x="1842398" y="998446"/>
                    </a:lnTo>
                    <a:lnTo>
                      <a:pt x="1841262" y="996751"/>
                    </a:lnTo>
                    <a:lnTo>
                      <a:pt x="1836739" y="989949"/>
                    </a:lnTo>
                    <a:lnTo>
                      <a:pt x="1832215" y="983147"/>
                    </a:lnTo>
                    <a:lnTo>
                      <a:pt x="1831657" y="982289"/>
                    </a:lnTo>
                    <a:cubicBezTo>
                      <a:pt x="1831478" y="982010"/>
                      <a:pt x="1831219" y="981730"/>
                      <a:pt x="1831278" y="981371"/>
                    </a:cubicBezTo>
                    <a:lnTo>
                      <a:pt x="1831577" y="979437"/>
                    </a:lnTo>
                    <a:lnTo>
                      <a:pt x="1832175" y="975567"/>
                    </a:lnTo>
                    <a:cubicBezTo>
                      <a:pt x="1832474" y="973034"/>
                      <a:pt x="1833231" y="970241"/>
                      <a:pt x="1833849" y="967548"/>
                    </a:cubicBezTo>
                    <a:cubicBezTo>
                      <a:pt x="1834188" y="966192"/>
                      <a:pt x="1834427" y="964835"/>
                      <a:pt x="1834865" y="963459"/>
                    </a:cubicBezTo>
                    <a:lnTo>
                      <a:pt x="1836161" y="959310"/>
                    </a:lnTo>
                    <a:cubicBezTo>
                      <a:pt x="1837197" y="956318"/>
                      <a:pt x="1838134" y="953306"/>
                      <a:pt x="1839030" y="950294"/>
                    </a:cubicBezTo>
                    <a:lnTo>
                      <a:pt x="1840385" y="945766"/>
                    </a:lnTo>
                    <a:lnTo>
                      <a:pt x="1841402" y="941976"/>
                    </a:lnTo>
                    <a:cubicBezTo>
                      <a:pt x="1842000" y="939842"/>
                      <a:pt x="1842538" y="937668"/>
                      <a:pt x="1843036" y="935513"/>
                    </a:cubicBezTo>
                    <a:cubicBezTo>
                      <a:pt x="1843574" y="933359"/>
                      <a:pt x="1844072" y="931185"/>
                      <a:pt x="1844530" y="929011"/>
                    </a:cubicBezTo>
                    <a:cubicBezTo>
                      <a:pt x="1848496" y="910819"/>
                      <a:pt x="1850788" y="892268"/>
                      <a:pt x="1851366" y="873618"/>
                    </a:cubicBezTo>
                    <a:cubicBezTo>
                      <a:pt x="1851784" y="864303"/>
                      <a:pt x="1851127" y="854987"/>
                      <a:pt x="1850887" y="845672"/>
                    </a:cubicBezTo>
                    <a:cubicBezTo>
                      <a:pt x="1850887" y="843338"/>
                      <a:pt x="1850588" y="841024"/>
                      <a:pt x="1850349" y="838711"/>
                    </a:cubicBezTo>
                    <a:lnTo>
                      <a:pt x="1849632" y="831769"/>
                    </a:lnTo>
                    <a:cubicBezTo>
                      <a:pt x="1849114" y="827141"/>
                      <a:pt x="1848855" y="822474"/>
                      <a:pt x="1847898" y="817906"/>
                    </a:cubicBezTo>
                    <a:lnTo>
                      <a:pt x="1845527" y="804143"/>
                    </a:lnTo>
                    <a:cubicBezTo>
                      <a:pt x="1845208" y="801829"/>
                      <a:pt x="1844530" y="799595"/>
                      <a:pt x="1844012" y="797321"/>
                    </a:cubicBezTo>
                    <a:lnTo>
                      <a:pt x="1842358" y="790539"/>
                    </a:lnTo>
                    <a:lnTo>
                      <a:pt x="1840704" y="783757"/>
                    </a:lnTo>
                    <a:cubicBezTo>
                      <a:pt x="1840206" y="781483"/>
                      <a:pt x="1839349" y="779309"/>
                      <a:pt x="1838692" y="777074"/>
                    </a:cubicBezTo>
                    <a:lnTo>
                      <a:pt x="1834487" y="763750"/>
                    </a:lnTo>
                    <a:cubicBezTo>
                      <a:pt x="1832893" y="759382"/>
                      <a:pt x="1831099" y="755073"/>
                      <a:pt x="1829445" y="750725"/>
                    </a:cubicBezTo>
                    <a:lnTo>
                      <a:pt x="1826914" y="744222"/>
                    </a:lnTo>
                    <a:lnTo>
                      <a:pt x="1823945" y="737899"/>
                    </a:lnTo>
                    <a:cubicBezTo>
                      <a:pt x="1821932" y="733690"/>
                      <a:pt x="1820039" y="729441"/>
                      <a:pt x="1817947" y="725272"/>
                    </a:cubicBezTo>
                    <a:lnTo>
                      <a:pt x="1811191" y="713045"/>
                    </a:lnTo>
                    <a:cubicBezTo>
                      <a:pt x="1810235" y="711369"/>
                      <a:pt x="1809378" y="709654"/>
                      <a:pt x="1808361" y="708018"/>
                    </a:cubicBezTo>
                    <a:lnTo>
                      <a:pt x="1805233" y="703151"/>
                    </a:lnTo>
                    <a:lnTo>
                      <a:pt x="1799015" y="693417"/>
                    </a:lnTo>
                    <a:cubicBezTo>
                      <a:pt x="1798019" y="691761"/>
                      <a:pt x="1796823" y="690245"/>
                      <a:pt x="1795687" y="688689"/>
                    </a:cubicBezTo>
                    <a:lnTo>
                      <a:pt x="1792260" y="684042"/>
                    </a:lnTo>
                    <a:cubicBezTo>
                      <a:pt x="1789948" y="680950"/>
                      <a:pt x="1787776" y="677778"/>
                      <a:pt x="1785365" y="674766"/>
                    </a:cubicBezTo>
                    <a:lnTo>
                      <a:pt x="1777931" y="665910"/>
                    </a:lnTo>
                    <a:cubicBezTo>
                      <a:pt x="1775460" y="662958"/>
                      <a:pt x="1773029" y="659946"/>
                      <a:pt x="1770299" y="657233"/>
                    </a:cubicBezTo>
                    <a:cubicBezTo>
                      <a:pt x="1764938" y="651688"/>
                      <a:pt x="1759837" y="645883"/>
                      <a:pt x="1754018" y="640817"/>
                    </a:cubicBezTo>
                    <a:lnTo>
                      <a:pt x="1745529" y="632958"/>
                    </a:lnTo>
                    <a:cubicBezTo>
                      <a:pt x="1742599" y="630444"/>
                      <a:pt x="1739570" y="628071"/>
                      <a:pt x="1736581" y="625617"/>
                    </a:cubicBezTo>
                    <a:lnTo>
                      <a:pt x="1732097" y="621947"/>
                    </a:lnTo>
                    <a:cubicBezTo>
                      <a:pt x="1730603" y="620730"/>
                      <a:pt x="1729128" y="619473"/>
                      <a:pt x="1727534" y="618396"/>
                    </a:cubicBezTo>
                    <a:lnTo>
                      <a:pt x="1722632" y="614906"/>
                    </a:lnTo>
                    <a:cubicBezTo>
                      <a:pt x="1720439" y="613370"/>
                      <a:pt x="1718367" y="611794"/>
                      <a:pt x="1716095" y="610278"/>
                    </a:cubicBezTo>
                    <a:lnTo>
                      <a:pt x="1709280" y="605710"/>
                    </a:lnTo>
                    <a:cubicBezTo>
                      <a:pt x="1707128" y="604154"/>
                      <a:pt x="1705274" y="602538"/>
                      <a:pt x="1703242" y="600943"/>
                    </a:cubicBezTo>
                    <a:lnTo>
                      <a:pt x="1691345" y="591368"/>
                    </a:lnTo>
                    <a:lnTo>
                      <a:pt x="1688376" y="588974"/>
                    </a:lnTo>
                    <a:cubicBezTo>
                      <a:pt x="1688136" y="588755"/>
                      <a:pt x="1687837" y="588615"/>
                      <a:pt x="1687698" y="588316"/>
                    </a:cubicBezTo>
                    <a:cubicBezTo>
                      <a:pt x="1687578" y="588017"/>
                      <a:pt x="1687638" y="587738"/>
                      <a:pt x="1687598" y="587439"/>
                    </a:cubicBezTo>
                    <a:lnTo>
                      <a:pt x="1687499" y="585683"/>
                    </a:lnTo>
                    <a:cubicBezTo>
                      <a:pt x="1687419" y="584546"/>
                      <a:pt x="1687379" y="583329"/>
                      <a:pt x="1687339" y="582113"/>
                    </a:cubicBezTo>
                    <a:cubicBezTo>
                      <a:pt x="1687279" y="580916"/>
                      <a:pt x="1687260" y="579679"/>
                      <a:pt x="1687260" y="578423"/>
                    </a:cubicBezTo>
                    <a:cubicBezTo>
                      <a:pt x="1687240" y="573416"/>
                      <a:pt x="1687499" y="568070"/>
                      <a:pt x="1688316" y="562624"/>
                    </a:cubicBezTo>
                    <a:cubicBezTo>
                      <a:pt x="1688993" y="558057"/>
                      <a:pt x="1689551" y="553489"/>
                      <a:pt x="1689970" y="548941"/>
                    </a:cubicBezTo>
                    <a:cubicBezTo>
                      <a:pt x="1690388" y="544054"/>
                      <a:pt x="1690528" y="541441"/>
                      <a:pt x="1690687" y="538130"/>
                    </a:cubicBezTo>
                    <a:cubicBezTo>
                      <a:pt x="1690986" y="531707"/>
                      <a:pt x="1691086" y="525264"/>
                      <a:pt x="1690866" y="518821"/>
                    </a:cubicBezTo>
                    <a:cubicBezTo>
                      <a:pt x="1690448" y="500290"/>
                      <a:pt x="1688276" y="481819"/>
                      <a:pt x="1684211" y="463747"/>
                    </a:cubicBezTo>
                    <a:cubicBezTo>
                      <a:pt x="1680085" y="445695"/>
                      <a:pt x="1674187" y="428042"/>
                      <a:pt x="1666634" y="411107"/>
                    </a:cubicBezTo>
                    <a:cubicBezTo>
                      <a:pt x="1659121" y="394152"/>
                      <a:pt x="1649815" y="377995"/>
                      <a:pt x="1639074" y="362836"/>
                    </a:cubicBezTo>
                    <a:cubicBezTo>
                      <a:pt x="1628333" y="347676"/>
                      <a:pt x="1616237" y="333434"/>
                      <a:pt x="1602825" y="320528"/>
                    </a:cubicBezTo>
                    <a:cubicBezTo>
                      <a:pt x="1582220" y="300541"/>
                      <a:pt x="1558665" y="283606"/>
                      <a:pt x="1533356" y="270002"/>
                    </a:cubicBezTo>
                    <a:cubicBezTo>
                      <a:pt x="1530148" y="268367"/>
                      <a:pt x="1527019" y="266611"/>
                      <a:pt x="1523771" y="265075"/>
                    </a:cubicBezTo>
                    <a:lnTo>
                      <a:pt x="1514026" y="260468"/>
                    </a:lnTo>
                    <a:lnTo>
                      <a:pt x="1504102" y="256219"/>
                    </a:lnTo>
                    <a:cubicBezTo>
                      <a:pt x="1500754" y="254823"/>
                      <a:pt x="1497267" y="253586"/>
                      <a:pt x="1493859" y="252249"/>
                    </a:cubicBezTo>
                    <a:lnTo>
                      <a:pt x="1491289" y="251272"/>
                    </a:lnTo>
                    <a:lnTo>
                      <a:pt x="1487761" y="250095"/>
                    </a:lnTo>
                    <a:lnTo>
                      <a:pt x="1480527" y="247722"/>
                    </a:lnTo>
                    <a:cubicBezTo>
                      <a:pt x="1478156" y="246904"/>
                      <a:pt x="1475605" y="246206"/>
                      <a:pt x="1473393" y="245268"/>
                    </a:cubicBezTo>
                    <a:lnTo>
                      <a:pt x="1466817" y="242356"/>
                    </a:lnTo>
                    <a:lnTo>
                      <a:pt x="1460241" y="239444"/>
                    </a:lnTo>
                    <a:lnTo>
                      <a:pt x="1459424" y="239085"/>
                    </a:lnTo>
                    <a:cubicBezTo>
                      <a:pt x="1459165" y="238965"/>
                      <a:pt x="1458846" y="238865"/>
                      <a:pt x="1458687" y="238586"/>
                    </a:cubicBezTo>
                    <a:lnTo>
                      <a:pt x="1457909" y="236950"/>
                    </a:lnTo>
                    <a:lnTo>
                      <a:pt x="1456355" y="233699"/>
                    </a:lnTo>
                    <a:lnTo>
                      <a:pt x="1453246" y="227176"/>
                    </a:lnTo>
                    <a:cubicBezTo>
                      <a:pt x="1452250" y="224962"/>
                      <a:pt x="1451074" y="222967"/>
                      <a:pt x="1450277" y="220474"/>
                    </a:cubicBezTo>
                    <a:lnTo>
                      <a:pt x="1447188" y="211997"/>
                    </a:lnTo>
                    <a:lnTo>
                      <a:pt x="1445654" y="207748"/>
                    </a:lnTo>
                    <a:lnTo>
                      <a:pt x="1444877" y="205633"/>
                    </a:lnTo>
                    <a:cubicBezTo>
                      <a:pt x="1444617" y="204895"/>
                      <a:pt x="1444458" y="204556"/>
                      <a:pt x="1444239" y="203998"/>
                    </a:cubicBezTo>
                    <a:cubicBezTo>
                      <a:pt x="1442585" y="199968"/>
                      <a:pt x="1440991" y="195919"/>
                      <a:pt x="1439277" y="191910"/>
                    </a:cubicBezTo>
                    <a:cubicBezTo>
                      <a:pt x="1437503" y="187940"/>
                      <a:pt x="1435789" y="183931"/>
                      <a:pt x="1433956" y="179982"/>
                    </a:cubicBezTo>
                    <a:cubicBezTo>
                      <a:pt x="1432063" y="176072"/>
                      <a:pt x="1430229" y="172122"/>
                      <a:pt x="1428277" y="168253"/>
                    </a:cubicBezTo>
                    <a:cubicBezTo>
                      <a:pt x="1419747" y="151358"/>
                      <a:pt x="1410062" y="135101"/>
                      <a:pt x="1399262" y="119702"/>
                    </a:cubicBezTo>
                    <a:cubicBezTo>
                      <a:pt x="1388461" y="104303"/>
                      <a:pt x="1376524" y="89761"/>
                      <a:pt x="1363371" y="76537"/>
                    </a:cubicBezTo>
                    <a:cubicBezTo>
                      <a:pt x="1337206" y="49987"/>
                      <a:pt x="1306318" y="28345"/>
                      <a:pt x="1272261" y="15080"/>
                    </a:cubicBezTo>
                    <a:lnTo>
                      <a:pt x="1265864" y="12626"/>
                    </a:lnTo>
                    <a:lnTo>
                      <a:pt x="1259368" y="10492"/>
                    </a:lnTo>
                    <a:lnTo>
                      <a:pt x="1256119" y="9415"/>
                    </a:lnTo>
                    <a:lnTo>
                      <a:pt x="1252831" y="8497"/>
                    </a:lnTo>
                    <a:lnTo>
                      <a:pt x="1246255" y="6662"/>
                    </a:lnTo>
                    <a:cubicBezTo>
                      <a:pt x="1237427" y="4568"/>
                      <a:pt x="1228519" y="2653"/>
                      <a:pt x="1219512" y="1656"/>
                    </a:cubicBezTo>
                    <a:cubicBezTo>
                      <a:pt x="1210504" y="439"/>
                      <a:pt x="1201457" y="80"/>
                      <a:pt x="1192330" y="0"/>
                    </a:cubicBezTo>
                    <a:lnTo>
                      <a:pt x="1178301" y="339"/>
                    </a:lnTo>
                    <a:cubicBezTo>
                      <a:pt x="1173638" y="559"/>
                      <a:pt x="1169015" y="1017"/>
                      <a:pt x="1164352" y="1317"/>
                    </a:cubicBezTo>
                    <a:cubicBezTo>
                      <a:pt x="1127345" y="4727"/>
                      <a:pt x="1091296" y="15020"/>
                      <a:pt x="1059810" y="33531"/>
                    </a:cubicBezTo>
                    <a:cubicBezTo>
                      <a:pt x="1057060" y="35147"/>
                      <a:pt x="1054429" y="36942"/>
                      <a:pt x="1051719" y="38637"/>
                    </a:cubicBezTo>
                    <a:cubicBezTo>
                      <a:pt x="1049069" y="40393"/>
                      <a:pt x="1046259" y="41948"/>
                      <a:pt x="1043768" y="43943"/>
                    </a:cubicBezTo>
                    <a:cubicBezTo>
                      <a:pt x="1038686" y="47793"/>
                      <a:pt x="1033385" y="51363"/>
                      <a:pt x="1028662" y="55692"/>
                    </a:cubicBezTo>
                    <a:lnTo>
                      <a:pt x="1021369" y="61915"/>
                    </a:lnTo>
                    <a:lnTo>
                      <a:pt x="1013517" y="69595"/>
                    </a:lnTo>
                    <a:cubicBezTo>
                      <a:pt x="1006921" y="75898"/>
                      <a:pt x="1001202" y="83717"/>
                      <a:pt x="995184" y="90998"/>
                    </a:cubicBezTo>
                    <a:lnTo>
                      <a:pt x="992952" y="93771"/>
                    </a:lnTo>
                    <a:lnTo>
                      <a:pt x="991836" y="95147"/>
                    </a:lnTo>
                    <a:cubicBezTo>
                      <a:pt x="991457" y="95586"/>
                      <a:pt x="991098" y="95925"/>
                      <a:pt x="990720" y="96324"/>
                    </a:cubicBezTo>
                    <a:lnTo>
                      <a:pt x="986256" y="100812"/>
                    </a:lnTo>
                    <a:cubicBezTo>
                      <a:pt x="983267" y="103784"/>
                      <a:pt x="980278" y="106716"/>
                      <a:pt x="977268" y="109589"/>
                    </a:cubicBezTo>
                    <a:cubicBezTo>
                      <a:pt x="975674" y="111184"/>
                      <a:pt x="974518" y="112062"/>
                      <a:pt x="973223" y="113179"/>
                    </a:cubicBezTo>
                    <a:lnTo>
                      <a:pt x="969397" y="116411"/>
                    </a:lnTo>
                    <a:lnTo>
                      <a:pt x="961745" y="122873"/>
                    </a:lnTo>
                    <a:cubicBezTo>
                      <a:pt x="961585" y="122993"/>
                      <a:pt x="961226" y="123013"/>
                      <a:pt x="961047" y="122893"/>
                    </a:cubicBezTo>
                    <a:cubicBezTo>
                      <a:pt x="960888" y="122774"/>
                      <a:pt x="960728" y="122634"/>
                      <a:pt x="960569" y="122494"/>
                    </a:cubicBezTo>
                    <a:lnTo>
                      <a:pt x="959612" y="121677"/>
                    </a:lnTo>
                    <a:lnTo>
                      <a:pt x="957699" y="120061"/>
                    </a:lnTo>
                    <a:lnTo>
                      <a:pt x="953873" y="116829"/>
                    </a:lnTo>
                    <a:lnTo>
                      <a:pt x="950047" y="113598"/>
                    </a:lnTo>
                    <a:lnTo>
                      <a:pt x="948134" y="111982"/>
                    </a:lnTo>
                    <a:lnTo>
                      <a:pt x="947177" y="111165"/>
                    </a:lnTo>
                    <a:cubicBezTo>
                      <a:pt x="946878" y="110905"/>
                      <a:pt x="946440" y="110486"/>
                      <a:pt x="946081" y="110147"/>
                    </a:cubicBezTo>
                    <a:cubicBezTo>
                      <a:pt x="943072" y="107275"/>
                      <a:pt x="940083" y="104363"/>
                      <a:pt x="937094" y="101390"/>
                    </a:cubicBezTo>
                    <a:cubicBezTo>
                      <a:pt x="934105" y="98339"/>
                      <a:pt x="931175" y="95745"/>
                      <a:pt x="928126" y="91676"/>
                    </a:cubicBezTo>
                    <a:lnTo>
                      <a:pt x="920454" y="82202"/>
                    </a:lnTo>
                    <a:cubicBezTo>
                      <a:pt x="917883" y="79050"/>
                      <a:pt x="915392" y="75799"/>
                      <a:pt x="912563" y="73046"/>
                    </a:cubicBezTo>
                    <a:cubicBezTo>
                      <a:pt x="911188" y="71630"/>
                      <a:pt x="909812" y="70134"/>
                      <a:pt x="908438" y="68837"/>
                    </a:cubicBezTo>
                    <a:lnTo>
                      <a:pt x="904731" y="65207"/>
                    </a:lnTo>
                    <a:lnTo>
                      <a:pt x="901782" y="62314"/>
                    </a:lnTo>
                    <a:cubicBezTo>
                      <a:pt x="900805" y="61337"/>
                      <a:pt x="899709" y="60519"/>
                      <a:pt x="898673" y="59602"/>
                    </a:cubicBezTo>
                    <a:cubicBezTo>
                      <a:pt x="890423" y="52361"/>
                      <a:pt x="881754" y="45579"/>
                      <a:pt x="872567" y="39615"/>
                    </a:cubicBezTo>
                    <a:cubicBezTo>
                      <a:pt x="857342" y="29601"/>
                      <a:pt x="840962" y="21323"/>
                      <a:pt x="823664" y="15279"/>
                    </a:cubicBezTo>
                    <a:cubicBezTo>
                      <a:pt x="806387" y="9176"/>
                      <a:pt x="788332" y="5027"/>
                      <a:pt x="769939" y="2633"/>
                    </a:cubicBezTo>
                    <a:lnTo>
                      <a:pt x="763044" y="1735"/>
                    </a:lnTo>
                    <a:cubicBezTo>
                      <a:pt x="760752" y="1416"/>
                      <a:pt x="758400" y="1356"/>
                      <a:pt x="756089" y="1157"/>
                    </a:cubicBezTo>
                    <a:lnTo>
                      <a:pt x="749114" y="638"/>
                    </a:lnTo>
                    <a:lnTo>
                      <a:pt x="745627" y="379"/>
                    </a:lnTo>
                    <a:lnTo>
                      <a:pt x="742119" y="299"/>
                    </a:lnTo>
                    <a:cubicBezTo>
                      <a:pt x="737456" y="219"/>
                      <a:pt x="732733" y="0"/>
                      <a:pt x="728130" y="20"/>
                    </a:cubicBezTo>
                    <a:cubicBezTo>
                      <a:pt x="723606" y="180"/>
                      <a:pt x="719043" y="120"/>
                      <a:pt x="714539" y="578"/>
                    </a:cubicBezTo>
                    <a:lnTo>
                      <a:pt x="707764" y="1097"/>
                    </a:lnTo>
                    <a:lnTo>
                      <a:pt x="701008" y="1955"/>
                    </a:lnTo>
                    <a:lnTo>
                      <a:pt x="697640" y="2374"/>
                    </a:lnTo>
                    <a:lnTo>
                      <a:pt x="694292" y="2972"/>
                    </a:lnTo>
                    <a:lnTo>
                      <a:pt x="687597" y="4149"/>
                    </a:lnTo>
                    <a:cubicBezTo>
                      <a:pt x="678729" y="6104"/>
                      <a:pt x="669881" y="8218"/>
                      <a:pt x="661272" y="11230"/>
                    </a:cubicBezTo>
                    <a:cubicBezTo>
                      <a:pt x="643954" y="16915"/>
                      <a:pt x="627374" y="24954"/>
                      <a:pt x="611711" y="34608"/>
                    </a:cubicBezTo>
                    <a:cubicBezTo>
                      <a:pt x="595988" y="44203"/>
                      <a:pt x="581401" y="55772"/>
                      <a:pt x="567790" y="68458"/>
                    </a:cubicBezTo>
                    <a:cubicBezTo>
                      <a:pt x="554179" y="81144"/>
                      <a:pt x="541744" y="95247"/>
                      <a:pt x="530465" y="110247"/>
                    </a:cubicBezTo>
                    <a:cubicBezTo>
                      <a:pt x="519166" y="125247"/>
                      <a:pt x="509003" y="141205"/>
                      <a:pt x="499995" y="157821"/>
                    </a:cubicBezTo>
                    <a:cubicBezTo>
                      <a:pt x="492522" y="171704"/>
                      <a:pt x="485827" y="186045"/>
                      <a:pt x="479928" y="200746"/>
                    </a:cubicBezTo>
                    <a:lnTo>
                      <a:pt x="478812" y="203499"/>
                    </a:lnTo>
                    <a:cubicBezTo>
                      <a:pt x="478433" y="204437"/>
                      <a:pt x="478095" y="205195"/>
                      <a:pt x="477596" y="206631"/>
                    </a:cubicBezTo>
                    <a:lnTo>
                      <a:pt x="474787" y="214350"/>
                    </a:lnTo>
                    <a:lnTo>
                      <a:pt x="471977" y="222070"/>
                    </a:lnTo>
                    <a:cubicBezTo>
                      <a:pt x="470940" y="224523"/>
                      <a:pt x="469745" y="226797"/>
                      <a:pt x="468649" y="229171"/>
                    </a:cubicBezTo>
                    <a:lnTo>
                      <a:pt x="465281" y="236232"/>
                    </a:lnTo>
                    <a:lnTo>
                      <a:pt x="464444" y="237987"/>
                    </a:lnTo>
                    <a:cubicBezTo>
                      <a:pt x="464285" y="238267"/>
                      <a:pt x="464205" y="238606"/>
                      <a:pt x="463966" y="238845"/>
                    </a:cubicBezTo>
                    <a:cubicBezTo>
                      <a:pt x="463727" y="239065"/>
                      <a:pt x="463388" y="239124"/>
                      <a:pt x="463109" y="239284"/>
                    </a:cubicBezTo>
                    <a:lnTo>
                      <a:pt x="459542" y="240860"/>
                    </a:lnTo>
                    <a:lnTo>
                      <a:pt x="452427" y="244011"/>
                    </a:lnTo>
                    <a:lnTo>
                      <a:pt x="448860" y="245587"/>
                    </a:lnTo>
                    <a:cubicBezTo>
                      <a:pt x="447625" y="246086"/>
                      <a:pt x="446270" y="246465"/>
                      <a:pt x="444994" y="246924"/>
                    </a:cubicBezTo>
                    <a:lnTo>
                      <a:pt x="434054" y="250514"/>
                    </a:lnTo>
                    <a:lnTo>
                      <a:pt x="432679" y="250953"/>
                    </a:lnTo>
                    <a:cubicBezTo>
                      <a:pt x="432240" y="251093"/>
                      <a:pt x="431702" y="251272"/>
                      <a:pt x="431443" y="251372"/>
                    </a:cubicBezTo>
                    <a:lnTo>
                      <a:pt x="429490" y="252110"/>
                    </a:lnTo>
                    <a:lnTo>
                      <a:pt x="425605" y="253586"/>
                    </a:lnTo>
                    <a:cubicBezTo>
                      <a:pt x="420324" y="255501"/>
                      <a:pt x="415401" y="257695"/>
                      <a:pt x="410380" y="259829"/>
                    </a:cubicBezTo>
                    <a:cubicBezTo>
                      <a:pt x="400475" y="264297"/>
                      <a:pt x="390691" y="269105"/>
                      <a:pt x="381285" y="274590"/>
                    </a:cubicBezTo>
                    <a:cubicBezTo>
                      <a:pt x="362353" y="285322"/>
                      <a:pt x="344717" y="298227"/>
                      <a:pt x="328476" y="312649"/>
                    </a:cubicBezTo>
                    <a:cubicBezTo>
                      <a:pt x="314586" y="325056"/>
                      <a:pt x="301932" y="338819"/>
                      <a:pt x="290593" y="353540"/>
                    </a:cubicBezTo>
                    <a:cubicBezTo>
                      <a:pt x="279254" y="368281"/>
                      <a:pt x="269310" y="384059"/>
                      <a:pt x="261100" y="400695"/>
                    </a:cubicBezTo>
                    <a:cubicBezTo>
                      <a:pt x="252850" y="417311"/>
                      <a:pt x="246214" y="434705"/>
                      <a:pt x="241331" y="452557"/>
                    </a:cubicBezTo>
                    <a:cubicBezTo>
                      <a:pt x="236549" y="470449"/>
                      <a:pt x="233559" y="488821"/>
                      <a:pt x="232384" y="507292"/>
                    </a:cubicBezTo>
                    <a:lnTo>
                      <a:pt x="232025" y="512837"/>
                    </a:lnTo>
                    <a:lnTo>
                      <a:pt x="231905" y="518402"/>
                    </a:lnTo>
                    <a:cubicBezTo>
                      <a:pt x="231826" y="522112"/>
                      <a:pt x="231706" y="525822"/>
                      <a:pt x="231806" y="529532"/>
                    </a:cubicBezTo>
                    <a:cubicBezTo>
                      <a:pt x="231866" y="533243"/>
                      <a:pt x="231985" y="536953"/>
                      <a:pt x="232204" y="540643"/>
                    </a:cubicBezTo>
                    <a:lnTo>
                      <a:pt x="232384" y="543416"/>
                    </a:lnTo>
                    <a:lnTo>
                      <a:pt x="232643" y="546787"/>
                    </a:lnTo>
                    <a:cubicBezTo>
                      <a:pt x="232822" y="549260"/>
                      <a:pt x="233101" y="551953"/>
                      <a:pt x="233400" y="554566"/>
                    </a:cubicBezTo>
                    <a:cubicBezTo>
                      <a:pt x="233938" y="559792"/>
                      <a:pt x="234994" y="565138"/>
                      <a:pt x="235273" y="570264"/>
                    </a:cubicBezTo>
                    <a:cubicBezTo>
                      <a:pt x="235632" y="575391"/>
                      <a:pt x="235572" y="580298"/>
                      <a:pt x="235333" y="584885"/>
                    </a:cubicBezTo>
                    <a:lnTo>
                      <a:pt x="235114" y="588276"/>
                    </a:lnTo>
                    <a:cubicBezTo>
                      <a:pt x="235054" y="588615"/>
                      <a:pt x="234775" y="588755"/>
                      <a:pt x="234536" y="588955"/>
                    </a:cubicBezTo>
                    <a:lnTo>
                      <a:pt x="233818" y="589533"/>
                    </a:lnTo>
                    <a:lnTo>
                      <a:pt x="232384" y="590690"/>
                    </a:lnTo>
                    <a:lnTo>
                      <a:pt x="226664" y="595338"/>
                    </a:lnTo>
                    <a:lnTo>
                      <a:pt x="215246" y="604653"/>
                    </a:lnTo>
                    <a:cubicBezTo>
                      <a:pt x="211918" y="606787"/>
                      <a:pt x="208630" y="609041"/>
                      <a:pt x="205341" y="611255"/>
                    </a:cubicBezTo>
                    <a:lnTo>
                      <a:pt x="196892" y="617299"/>
                    </a:lnTo>
                    <a:lnTo>
                      <a:pt x="193464" y="619733"/>
                    </a:lnTo>
                    <a:lnTo>
                      <a:pt x="190216" y="622386"/>
                    </a:lnTo>
                    <a:lnTo>
                      <a:pt x="183700" y="627692"/>
                    </a:lnTo>
                    <a:cubicBezTo>
                      <a:pt x="181548" y="629487"/>
                      <a:pt x="179316" y="631182"/>
                      <a:pt x="177223" y="633037"/>
                    </a:cubicBezTo>
                    <a:lnTo>
                      <a:pt x="171066" y="638762"/>
                    </a:lnTo>
                    <a:cubicBezTo>
                      <a:pt x="166960" y="642572"/>
                      <a:pt x="162756" y="646282"/>
                      <a:pt x="159009" y="650451"/>
                    </a:cubicBezTo>
                    <a:lnTo>
                      <a:pt x="153210" y="656535"/>
                    </a:lnTo>
                    <a:cubicBezTo>
                      <a:pt x="151297" y="658569"/>
                      <a:pt x="149284" y="660544"/>
                      <a:pt x="147551" y="662738"/>
                    </a:cubicBezTo>
                    <a:lnTo>
                      <a:pt x="136770" y="675604"/>
                    </a:lnTo>
                    <a:lnTo>
                      <a:pt x="126826" y="689128"/>
                    </a:lnTo>
                    <a:cubicBezTo>
                      <a:pt x="126009" y="690265"/>
                      <a:pt x="125132" y="691342"/>
                      <a:pt x="124374" y="692539"/>
                    </a:cubicBezTo>
                    <a:lnTo>
                      <a:pt x="122123" y="696070"/>
                    </a:lnTo>
                    <a:lnTo>
                      <a:pt x="117599" y="703131"/>
                    </a:lnTo>
                    <a:cubicBezTo>
                      <a:pt x="116344" y="705106"/>
                      <a:pt x="115068" y="707041"/>
                      <a:pt x="113853" y="709035"/>
                    </a:cubicBezTo>
                    <a:lnTo>
                      <a:pt x="110485" y="715159"/>
                    </a:lnTo>
                    <a:cubicBezTo>
                      <a:pt x="108273" y="719268"/>
                      <a:pt x="105901" y="723277"/>
                      <a:pt x="103809" y="727426"/>
                    </a:cubicBezTo>
                    <a:cubicBezTo>
                      <a:pt x="99923" y="735904"/>
                      <a:pt x="95618" y="744182"/>
                      <a:pt x="92490" y="752959"/>
                    </a:cubicBezTo>
                    <a:lnTo>
                      <a:pt x="89939" y="759461"/>
                    </a:lnTo>
                    <a:lnTo>
                      <a:pt x="88664" y="762713"/>
                    </a:lnTo>
                    <a:cubicBezTo>
                      <a:pt x="88265" y="763810"/>
                      <a:pt x="87946" y="764927"/>
                      <a:pt x="87588" y="766044"/>
                    </a:cubicBezTo>
                    <a:lnTo>
                      <a:pt x="83383" y="779368"/>
                    </a:lnTo>
                    <a:cubicBezTo>
                      <a:pt x="83044" y="780485"/>
                      <a:pt x="82645" y="781583"/>
                      <a:pt x="82347" y="782700"/>
                    </a:cubicBezTo>
                    <a:lnTo>
                      <a:pt x="81529" y="786090"/>
                    </a:lnTo>
                    <a:lnTo>
                      <a:pt x="79875" y="792873"/>
                    </a:lnTo>
                    <a:cubicBezTo>
                      <a:pt x="78819" y="797400"/>
                      <a:pt x="77504" y="801889"/>
                      <a:pt x="76866" y="806496"/>
                    </a:cubicBezTo>
                    <a:lnTo>
                      <a:pt x="74475" y="820260"/>
                    </a:lnTo>
                    <a:cubicBezTo>
                      <a:pt x="73997" y="822534"/>
                      <a:pt x="73877" y="824867"/>
                      <a:pt x="73618" y="827181"/>
                    </a:cubicBezTo>
                    <a:lnTo>
                      <a:pt x="72901" y="834123"/>
                    </a:lnTo>
                    <a:cubicBezTo>
                      <a:pt x="71625" y="843358"/>
                      <a:pt x="71745" y="852713"/>
                      <a:pt x="71326" y="862029"/>
                    </a:cubicBezTo>
                    <a:cubicBezTo>
                      <a:pt x="71087" y="880679"/>
                      <a:pt x="72721" y="899310"/>
                      <a:pt x="75970" y="917641"/>
                    </a:cubicBezTo>
                    <a:cubicBezTo>
                      <a:pt x="77046" y="923585"/>
                      <a:pt x="78241" y="929489"/>
                      <a:pt x="79676" y="935354"/>
                    </a:cubicBezTo>
                    <a:cubicBezTo>
                      <a:pt x="80354" y="938286"/>
                      <a:pt x="81151" y="941198"/>
                      <a:pt x="81928" y="944111"/>
                    </a:cubicBezTo>
                    <a:cubicBezTo>
                      <a:pt x="82526" y="946384"/>
                      <a:pt x="83144" y="948259"/>
                      <a:pt x="83761" y="950354"/>
                    </a:cubicBezTo>
                    <a:cubicBezTo>
                      <a:pt x="84399" y="952388"/>
                      <a:pt x="84977" y="954443"/>
                      <a:pt x="85635" y="956478"/>
                    </a:cubicBezTo>
                    <a:lnTo>
                      <a:pt x="87607" y="962581"/>
                    </a:lnTo>
                    <a:lnTo>
                      <a:pt x="88106" y="964117"/>
                    </a:lnTo>
                    <a:lnTo>
                      <a:pt x="88464" y="965613"/>
                    </a:lnTo>
                    <a:lnTo>
                      <a:pt x="89162" y="968605"/>
                    </a:lnTo>
                    <a:lnTo>
                      <a:pt x="89859" y="971597"/>
                    </a:lnTo>
                    <a:lnTo>
                      <a:pt x="90198" y="973093"/>
                    </a:lnTo>
                    <a:lnTo>
                      <a:pt x="90417" y="974530"/>
                    </a:lnTo>
                    <a:lnTo>
                      <a:pt x="91294" y="980234"/>
                    </a:lnTo>
                    <a:cubicBezTo>
                      <a:pt x="91354" y="980713"/>
                      <a:pt x="91493" y="981172"/>
                      <a:pt x="91473" y="981671"/>
                    </a:cubicBezTo>
                    <a:cubicBezTo>
                      <a:pt x="91314" y="982149"/>
                      <a:pt x="90955" y="982528"/>
                      <a:pt x="90696" y="982947"/>
                    </a:cubicBezTo>
                    <a:lnTo>
                      <a:pt x="89042" y="985441"/>
                    </a:lnTo>
                    <a:lnTo>
                      <a:pt x="85714" y="990447"/>
                    </a:lnTo>
                    <a:lnTo>
                      <a:pt x="82386" y="995454"/>
                    </a:lnTo>
                    <a:lnTo>
                      <a:pt x="80732" y="997947"/>
                    </a:lnTo>
                    <a:cubicBezTo>
                      <a:pt x="80194" y="998785"/>
                      <a:pt x="79417" y="999603"/>
                      <a:pt x="78759" y="1000421"/>
                    </a:cubicBezTo>
                    <a:lnTo>
                      <a:pt x="70529" y="1010494"/>
                    </a:lnTo>
                    <a:lnTo>
                      <a:pt x="68477" y="1013007"/>
                    </a:lnTo>
                    <a:lnTo>
                      <a:pt x="67440" y="1014264"/>
                    </a:lnTo>
                    <a:lnTo>
                      <a:pt x="66703" y="1015261"/>
                    </a:lnTo>
                    <a:lnTo>
                      <a:pt x="63913" y="1019111"/>
                    </a:lnTo>
                    <a:lnTo>
                      <a:pt x="58333" y="1026791"/>
                    </a:lnTo>
                    <a:lnTo>
                      <a:pt x="53092" y="1034710"/>
                    </a:lnTo>
                    <a:lnTo>
                      <a:pt x="50462" y="1038659"/>
                    </a:lnTo>
                    <a:cubicBezTo>
                      <a:pt x="49625" y="1039996"/>
                      <a:pt x="48828" y="1041372"/>
                      <a:pt x="48011" y="1042728"/>
                    </a:cubicBezTo>
                    <a:lnTo>
                      <a:pt x="43128" y="1050867"/>
                    </a:lnTo>
                    <a:cubicBezTo>
                      <a:pt x="41534" y="1053599"/>
                      <a:pt x="40099" y="1056432"/>
                      <a:pt x="38585" y="1059185"/>
                    </a:cubicBezTo>
                    <a:cubicBezTo>
                      <a:pt x="37110" y="1061977"/>
                      <a:pt x="35496" y="1064710"/>
                      <a:pt x="34181" y="1067582"/>
                    </a:cubicBezTo>
                    <a:cubicBezTo>
                      <a:pt x="31451" y="1073287"/>
                      <a:pt x="28581" y="1078932"/>
                      <a:pt x="26230" y="1084797"/>
                    </a:cubicBezTo>
                    <a:cubicBezTo>
                      <a:pt x="25014" y="1087709"/>
                      <a:pt x="23679" y="1090581"/>
                      <a:pt x="22563" y="1093533"/>
                    </a:cubicBezTo>
                    <a:lnTo>
                      <a:pt x="19255" y="1102410"/>
                    </a:lnTo>
                    <a:cubicBezTo>
                      <a:pt x="18717" y="1103886"/>
                      <a:pt x="18139" y="1105362"/>
                      <a:pt x="17601" y="1106858"/>
                    </a:cubicBezTo>
                    <a:lnTo>
                      <a:pt x="16166" y="1111366"/>
                    </a:lnTo>
                    <a:lnTo>
                      <a:pt x="13257" y="1120382"/>
                    </a:lnTo>
                    <a:lnTo>
                      <a:pt x="10766" y="1129518"/>
                    </a:lnTo>
                    <a:cubicBezTo>
                      <a:pt x="9948" y="1132570"/>
                      <a:pt x="9052" y="1135602"/>
                      <a:pt x="8454" y="1138693"/>
                    </a:cubicBezTo>
                    <a:cubicBezTo>
                      <a:pt x="4169" y="1156885"/>
                      <a:pt x="1439" y="1175456"/>
                      <a:pt x="483" y="1194126"/>
                    </a:cubicBezTo>
                    <a:cubicBezTo>
                      <a:pt x="-474" y="1212796"/>
                      <a:pt x="-55" y="1231566"/>
                      <a:pt x="2157" y="1250137"/>
                    </a:cubicBezTo>
                    <a:cubicBezTo>
                      <a:pt x="4369" y="1268708"/>
                      <a:pt x="8195" y="1287059"/>
                      <a:pt x="13555" y="1304971"/>
                    </a:cubicBezTo>
                    <a:cubicBezTo>
                      <a:pt x="14791" y="1309479"/>
                      <a:pt x="16425" y="1313868"/>
                      <a:pt x="17860" y="1318316"/>
                    </a:cubicBezTo>
                    <a:cubicBezTo>
                      <a:pt x="19354" y="1322744"/>
                      <a:pt x="21108" y="1327073"/>
                      <a:pt x="22722" y="1331461"/>
                    </a:cubicBezTo>
                    <a:cubicBezTo>
                      <a:pt x="24556" y="1335749"/>
                      <a:pt x="26269" y="1340118"/>
                      <a:pt x="28202" y="1344367"/>
                    </a:cubicBezTo>
                    <a:cubicBezTo>
                      <a:pt x="30195" y="1348595"/>
                      <a:pt x="32029" y="1352904"/>
                      <a:pt x="34221" y="1357033"/>
                    </a:cubicBezTo>
                    <a:cubicBezTo>
                      <a:pt x="42610" y="1373748"/>
                      <a:pt x="52375" y="1389806"/>
                      <a:pt x="63455" y="1404926"/>
                    </a:cubicBezTo>
                    <a:cubicBezTo>
                      <a:pt x="74575" y="1420005"/>
                      <a:pt x="86910" y="1434208"/>
                      <a:pt x="100321" y="1447353"/>
                    </a:cubicBezTo>
                    <a:cubicBezTo>
                      <a:pt x="113693" y="1460538"/>
                      <a:pt x="128221" y="1472506"/>
                      <a:pt x="143565" y="1483337"/>
                    </a:cubicBezTo>
                    <a:lnTo>
                      <a:pt x="149324" y="1487386"/>
                    </a:lnTo>
                    <a:lnTo>
                      <a:pt x="155223" y="1491236"/>
                    </a:lnTo>
                    <a:cubicBezTo>
                      <a:pt x="159109" y="1493869"/>
                      <a:pt x="163174" y="1496243"/>
                      <a:pt x="167199" y="1498676"/>
                    </a:cubicBezTo>
                    <a:cubicBezTo>
                      <a:pt x="169192" y="1499913"/>
                      <a:pt x="171245" y="1501070"/>
                      <a:pt x="173297" y="1502207"/>
                    </a:cubicBezTo>
                    <a:lnTo>
                      <a:pt x="177343" y="1504461"/>
                    </a:lnTo>
                    <a:lnTo>
                      <a:pt x="181667" y="1506795"/>
                    </a:lnTo>
                    <a:cubicBezTo>
                      <a:pt x="187426" y="1509907"/>
                      <a:pt x="193385" y="1512859"/>
                      <a:pt x="198965" y="1516010"/>
                    </a:cubicBezTo>
                    <a:lnTo>
                      <a:pt x="207015" y="1521715"/>
                    </a:lnTo>
                    <a:lnTo>
                      <a:pt x="211041" y="1524568"/>
                    </a:lnTo>
                    <a:cubicBezTo>
                      <a:pt x="211220" y="1524667"/>
                      <a:pt x="211360" y="1524827"/>
                      <a:pt x="211439" y="1525046"/>
                    </a:cubicBezTo>
                    <a:cubicBezTo>
                      <a:pt x="211499" y="1525246"/>
                      <a:pt x="211499" y="1525465"/>
                      <a:pt x="211539" y="1525665"/>
                    </a:cubicBezTo>
                    <a:lnTo>
                      <a:pt x="211698" y="1526901"/>
                    </a:lnTo>
                    <a:lnTo>
                      <a:pt x="212017" y="1529375"/>
                    </a:lnTo>
                    <a:lnTo>
                      <a:pt x="213313" y="1539308"/>
                    </a:lnTo>
                    <a:lnTo>
                      <a:pt x="213970" y="1544275"/>
                    </a:lnTo>
                    <a:cubicBezTo>
                      <a:pt x="214090" y="1546011"/>
                      <a:pt x="214070" y="1547886"/>
                      <a:pt x="214130" y="1549681"/>
                    </a:cubicBezTo>
                    <a:lnTo>
                      <a:pt x="214409" y="1566217"/>
                    </a:lnTo>
                    <a:lnTo>
                      <a:pt x="214449" y="1568291"/>
                    </a:lnTo>
                    <a:cubicBezTo>
                      <a:pt x="214449" y="1568950"/>
                      <a:pt x="214449" y="1569767"/>
                      <a:pt x="214508" y="1570186"/>
                    </a:cubicBezTo>
                    <a:lnTo>
                      <a:pt x="214767" y="1573198"/>
                    </a:lnTo>
                    <a:lnTo>
                      <a:pt x="215266" y="1579242"/>
                    </a:lnTo>
                    <a:cubicBezTo>
                      <a:pt x="215724" y="1587321"/>
                      <a:pt x="217019" y="1595300"/>
                      <a:pt x="218075" y="1603298"/>
                    </a:cubicBezTo>
                    <a:cubicBezTo>
                      <a:pt x="220806" y="1619196"/>
                      <a:pt x="224074" y="1635074"/>
                      <a:pt x="229115" y="1650433"/>
                    </a:cubicBezTo>
                    <a:lnTo>
                      <a:pt x="230869" y="1656238"/>
                    </a:lnTo>
                    <a:cubicBezTo>
                      <a:pt x="231507" y="1658152"/>
                      <a:pt x="232224" y="1660047"/>
                      <a:pt x="232902" y="1661942"/>
                    </a:cubicBezTo>
                    <a:lnTo>
                      <a:pt x="237027" y="1673332"/>
                    </a:lnTo>
                    <a:lnTo>
                      <a:pt x="241750" y="1684502"/>
                    </a:lnTo>
                    <a:cubicBezTo>
                      <a:pt x="242547" y="1686358"/>
                      <a:pt x="243284" y="1688253"/>
                      <a:pt x="244141" y="1690068"/>
                    </a:cubicBezTo>
                    <a:lnTo>
                      <a:pt x="246791" y="1695533"/>
                    </a:lnTo>
                    <a:cubicBezTo>
                      <a:pt x="253567" y="1710234"/>
                      <a:pt x="261877" y="1724177"/>
                      <a:pt x="270685" y="1737761"/>
                    </a:cubicBezTo>
                    <a:lnTo>
                      <a:pt x="278656" y="1749370"/>
                    </a:lnTo>
                    <a:lnTo>
                      <a:pt x="287185" y="1760600"/>
                    </a:lnTo>
                    <a:lnTo>
                      <a:pt x="289318" y="1763413"/>
                    </a:lnTo>
                    <a:lnTo>
                      <a:pt x="291589" y="1766106"/>
                    </a:lnTo>
                    <a:lnTo>
                      <a:pt x="296133" y="1771511"/>
                    </a:lnTo>
                    <a:lnTo>
                      <a:pt x="300677" y="1776917"/>
                    </a:lnTo>
                    <a:lnTo>
                      <a:pt x="305479" y="1782083"/>
                    </a:lnTo>
                    <a:lnTo>
                      <a:pt x="310282" y="1787249"/>
                    </a:lnTo>
                    <a:lnTo>
                      <a:pt x="312673" y="1789842"/>
                    </a:lnTo>
                    <a:lnTo>
                      <a:pt x="315184" y="1792316"/>
                    </a:lnTo>
                    <a:lnTo>
                      <a:pt x="325268" y="1802210"/>
                    </a:lnTo>
                    <a:lnTo>
                      <a:pt x="335809" y="1811605"/>
                    </a:lnTo>
                    <a:lnTo>
                      <a:pt x="338440" y="1813958"/>
                    </a:lnTo>
                    <a:lnTo>
                      <a:pt x="341190" y="1816192"/>
                    </a:lnTo>
                    <a:lnTo>
                      <a:pt x="346690" y="1820641"/>
                    </a:lnTo>
                    <a:cubicBezTo>
                      <a:pt x="376004" y="1844338"/>
                      <a:pt x="409064" y="1863367"/>
                      <a:pt x="444018" y="1877589"/>
                    </a:cubicBezTo>
                    <a:cubicBezTo>
                      <a:pt x="461574" y="1884531"/>
                      <a:pt x="479529" y="1890515"/>
                      <a:pt x="497883" y="1895003"/>
                    </a:cubicBezTo>
                    <a:cubicBezTo>
                      <a:pt x="502446" y="1896200"/>
                      <a:pt x="507110" y="1897038"/>
                      <a:pt x="511713" y="1898095"/>
                    </a:cubicBezTo>
                    <a:lnTo>
                      <a:pt x="518648" y="1899591"/>
                    </a:lnTo>
                    <a:lnTo>
                      <a:pt x="525643" y="1900748"/>
                    </a:lnTo>
                    <a:cubicBezTo>
                      <a:pt x="530306" y="1901466"/>
                      <a:pt x="534949" y="1902403"/>
                      <a:pt x="539632" y="1902982"/>
                    </a:cubicBezTo>
                    <a:lnTo>
                      <a:pt x="553721" y="1904657"/>
                    </a:lnTo>
                    <a:cubicBezTo>
                      <a:pt x="591165" y="1908327"/>
                      <a:pt x="629945" y="1907151"/>
                      <a:pt x="667728" y="1902144"/>
                    </a:cubicBezTo>
                    <a:cubicBezTo>
                      <a:pt x="705512" y="1897057"/>
                      <a:pt x="742637" y="1887662"/>
                      <a:pt x="777511" y="1873261"/>
                    </a:cubicBezTo>
                    <a:cubicBezTo>
                      <a:pt x="794948" y="1866060"/>
                      <a:pt x="811807" y="1857622"/>
                      <a:pt x="827829" y="1847888"/>
                    </a:cubicBezTo>
                    <a:cubicBezTo>
                      <a:pt x="843831" y="1838154"/>
                      <a:pt x="858937" y="1827024"/>
                      <a:pt x="872926" y="1814736"/>
                    </a:cubicBezTo>
                    <a:cubicBezTo>
                      <a:pt x="875517" y="1812462"/>
                      <a:pt x="878127" y="1810208"/>
                      <a:pt x="880578" y="1807775"/>
                    </a:cubicBezTo>
                    <a:cubicBezTo>
                      <a:pt x="883029" y="1805361"/>
                      <a:pt x="885640" y="1803087"/>
                      <a:pt x="887991" y="1800574"/>
                    </a:cubicBezTo>
                    <a:lnTo>
                      <a:pt x="895146" y="1793134"/>
                    </a:lnTo>
                    <a:lnTo>
                      <a:pt x="902300" y="1785095"/>
                    </a:lnTo>
                    <a:cubicBezTo>
                      <a:pt x="908398" y="1777435"/>
                      <a:pt x="914595" y="1769995"/>
                      <a:pt x="920016" y="1761298"/>
                    </a:cubicBezTo>
                    <a:lnTo>
                      <a:pt x="924220" y="1754975"/>
                    </a:lnTo>
                    <a:lnTo>
                      <a:pt x="928425" y="1748831"/>
                    </a:lnTo>
                    <a:lnTo>
                      <a:pt x="932630" y="1742688"/>
                    </a:lnTo>
                    <a:lnTo>
                      <a:pt x="933686" y="1741152"/>
                    </a:lnTo>
                    <a:cubicBezTo>
                      <a:pt x="934045" y="1740653"/>
                      <a:pt x="934384" y="1740095"/>
                      <a:pt x="934742" y="1739756"/>
                    </a:cubicBezTo>
                    <a:lnTo>
                      <a:pt x="936835" y="1737422"/>
                    </a:lnTo>
                    <a:lnTo>
                      <a:pt x="941040" y="1732754"/>
                    </a:lnTo>
                    <a:lnTo>
                      <a:pt x="943132" y="1730420"/>
                    </a:lnTo>
                    <a:cubicBezTo>
                      <a:pt x="943829" y="1729643"/>
                      <a:pt x="944547" y="1728825"/>
                      <a:pt x="945145" y="1728246"/>
                    </a:cubicBezTo>
                    <a:lnTo>
                      <a:pt x="952578" y="1720606"/>
                    </a:lnTo>
                    <a:lnTo>
                      <a:pt x="953494" y="1719649"/>
                    </a:lnTo>
                    <a:lnTo>
                      <a:pt x="954272" y="1718791"/>
                    </a:lnTo>
                    <a:lnTo>
                      <a:pt x="955846" y="1717076"/>
                    </a:lnTo>
                    <a:lnTo>
                      <a:pt x="958995" y="1713645"/>
                    </a:lnTo>
                    <a:lnTo>
                      <a:pt x="960569" y="1711930"/>
                    </a:lnTo>
                    <a:lnTo>
                      <a:pt x="960967" y="1711491"/>
                    </a:lnTo>
                    <a:cubicBezTo>
                      <a:pt x="961087" y="1711351"/>
                      <a:pt x="961207" y="1711172"/>
                      <a:pt x="961506" y="1711172"/>
                    </a:cubicBezTo>
                    <a:cubicBezTo>
                      <a:pt x="961824" y="1711172"/>
                      <a:pt x="961944" y="1711331"/>
                      <a:pt x="962063" y="1711471"/>
                    </a:cubicBezTo>
                    <a:lnTo>
                      <a:pt x="962462" y="1711910"/>
                    </a:lnTo>
                    <a:lnTo>
                      <a:pt x="965611" y="1715340"/>
                    </a:lnTo>
                    <a:lnTo>
                      <a:pt x="968759" y="1718771"/>
                    </a:lnTo>
                    <a:lnTo>
                      <a:pt x="969536" y="1719629"/>
                    </a:lnTo>
                    <a:lnTo>
                      <a:pt x="970453" y="1720587"/>
                    </a:lnTo>
                    <a:lnTo>
                      <a:pt x="972306" y="1722501"/>
                    </a:lnTo>
                    <a:lnTo>
                      <a:pt x="976013" y="1726331"/>
                    </a:lnTo>
                    <a:cubicBezTo>
                      <a:pt x="977288" y="1727648"/>
                      <a:pt x="978404" y="1728725"/>
                      <a:pt x="979879" y="1730420"/>
                    </a:cubicBezTo>
                    <a:lnTo>
                      <a:pt x="988289" y="1739736"/>
                    </a:lnTo>
                    <a:cubicBezTo>
                      <a:pt x="988627" y="1740075"/>
                      <a:pt x="988986" y="1740613"/>
                      <a:pt x="989345" y="1741112"/>
                    </a:cubicBezTo>
                    <a:lnTo>
                      <a:pt x="990401" y="1742608"/>
                    </a:lnTo>
                    <a:lnTo>
                      <a:pt x="992533" y="1745620"/>
                    </a:lnTo>
                    <a:lnTo>
                      <a:pt x="996798" y="1751624"/>
                    </a:lnTo>
                    <a:cubicBezTo>
                      <a:pt x="998611" y="1754836"/>
                      <a:pt x="1000644" y="1757708"/>
                      <a:pt x="1002597" y="1760680"/>
                    </a:cubicBezTo>
                    <a:lnTo>
                      <a:pt x="1008495" y="1769556"/>
                    </a:lnTo>
                    <a:cubicBezTo>
                      <a:pt x="1010588" y="1772309"/>
                      <a:pt x="1012740" y="1775002"/>
                      <a:pt x="1014852" y="1777715"/>
                    </a:cubicBezTo>
                    <a:lnTo>
                      <a:pt x="1018041" y="1781784"/>
                    </a:lnTo>
                    <a:cubicBezTo>
                      <a:pt x="1018579" y="1782462"/>
                      <a:pt x="1019097" y="1783140"/>
                      <a:pt x="1019635" y="1783798"/>
                    </a:cubicBezTo>
                    <a:lnTo>
                      <a:pt x="1021429" y="1785873"/>
                    </a:lnTo>
                    <a:cubicBezTo>
                      <a:pt x="1024677" y="1789463"/>
                      <a:pt x="1027766" y="1793174"/>
                      <a:pt x="1031213" y="1796585"/>
                    </a:cubicBezTo>
                    <a:lnTo>
                      <a:pt x="1036255" y="1801811"/>
                    </a:lnTo>
                    <a:lnTo>
                      <a:pt x="1041496" y="1806837"/>
                    </a:lnTo>
                    <a:cubicBezTo>
                      <a:pt x="1068419" y="1832589"/>
                      <a:pt x="1100323" y="1853134"/>
                      <a:pt x="1134659" y="1868553"/>
                    </a:cubicBezTo>
                    <a:cubicBezTo>
                      <a:pt x="1169015" y="1884012"/>
                      <a:pt x="1205841" y="1894424"/>
                      <a:pt x="1243485" y="1900349"/>
                    </a:cubicBezTo>
                    <a:cubicBezTo>
                      <a:pt x="1262297" y="1903321"/>
                      <a:pt x="1281348" y="1905236"/>
                      <a:pt x="1300459" y="1906133"/>
                    </a:cubicBezTo>
                    <a:cubicBezTo>
                      <a:pt x="1305242" y="1906293"/>
                      <a:pt x="1310024" y="1906552"/>
                      <a:pt x="1314807" y="1906632"/>
                    </a:cubicBezTo>
                    <a:cubicBezTo>
                      <a:pt x="1319590" y="1906652"/>
                      <a:pt x="1324412" y="1906831"/>
                      <a:pt x="1329155" y="1906752"/>
                    </a:cubicBezTo>
                    <a:lnTo>
                      <a:pt x="1343344" y="1906413"/>
                    </a:lnTo>
                    <a:lnTo>
                      <a:pt x="1346891" y="1906333"/>
                    </a:lnTo>
                    <a:lnTo>
                      <a:pt x="1350438" y="1906074"/>
                    </a:lnTo>
                    <a:lnTo>
                      <a:pt x="1357513" y="1905575"/>
                    </a:lnTo>
                    <a:cubicBezTo>
                      <a:pt x="1366978" y="1905116"/>
                      <a:pt x="1376325" y="1903700"/>
                      <a:pt x="1385731" y="1902643"/>
                    </a:cubicBezTo>
                    <a:cubicBezTo>
                      <a:pt x="1395037" y="1901027"/>
                      <a:pt x="1404423" y="1899730"/>
                      <a:pt x="1413610" y="1897536"/>
                    </a:cubicBezTo>
                    <a:cubicBezTo>
                      <a:pt x="1422896" y="1895741"/>
                      <a:pt x="1431963" y="1893088"/>
                      <a:pt x="1441110" y="1890714"/>
                    </a:cubicBezTo>
                    <a:cubicBezTo>
                      <a:pt x="1450098" y="1887822"/>
                      <a:pt x="1459185" y="1885209"/>
                      <a:pt x="1467973" y="1881738"/>
                    </a:cubicBezTo>
                    <a:cubicBezTo>
                      <a:pt x="1472397" y="1880103"/>
                      <a:pt x="1476861" y="1878547"/>
                      <a:pt x="1481165" y="1876612"/>
                    </a:cubicBezTo>
                    <a:cubicBezTo>
                      <a:pt x="1485509" y="1874757"/>
                      <a:pt x="1489874" y="1872981"/>
                      <a:pt x="1494198" y="1871067"/>
                    </a:cubicBezTo>
                    <a:lnTo>
                      <a:pt x="1506972" y="1864963"/>
                    </a:lnTo>
                    <a:cubicBezTo>
                      <a:pt x="1509124" y="1863985"/>
                      <a:pt x="1511197" y="1862868"/>
                      <a:pt x="1513269" y="1861731"/>
                    </a:cubicBezTo>
                    <a:lnTo>
                      <a:pt x="1519507" y="1858380"/>
                    </a:lnTo>
                    <a:cubicBezTo>
                      <a:pt x="1536027" y="1849304"/>
                      <a:pt x="1552109" y="1839311"/>
                      <a:pt x="1567054" y="1827841"/>
                    </a:cubicBezTo>
                    <a:cubicBezTo>
                      <a:pt x="1582060" y="1816432"/>
                      <a:pt x="1596329" y="1804085"/>
                      <a:pt x="1609521" y="1790640"/>
                    </a:cubicBezTo>
                    <a:cubicBezTo>
                      <a:pt x="1622613" y="1777116"/>
                      <a:pt x="1634710" y="1762675"/>
                      <a:pt x="1645670" y="1747415"/>
                    </a:cubicBezTo>
                    <a:lnTo>
                      <a:pt x="1652964" y="1736783"/>
                    </a:lnTo>
                    <a:cubicBezTo>
                      <a:pt x="1655375" y="1733233"/>
                      <a:pt x="1657507" y="1729503"/>
                      <a:pt x="1659799" y="1725873"/>
                    </a:cubicBezTo>
                    <a:lnTo>
                      <a:pt x="1663187" y="1720387"/>
                    </a:lnTo>
                    <a:lnTo>
                      <a:pt x="1666275" y="1714742"/>
                    </a:lnTo>
                    <a:cubicBezTo>
                      <a:pt x="1668308" y="1710952"/>
                      <a:pt x="1670480" y="1707262"/>
                      <a:pt x="1672393" y="1703412"/>
                    </a:cubicBezTo>
                    <a:cubicBezTo>
                      <a:pt x="1680185" y="1688113"/>
                      <a:pt x="1686642" y="1672195"/>
                      <a:pt x="1692202" y="1655998"/>
                    </a:cubicBezTo>
                    <a:cubicBezTo>
                      <a:pt x="1697463" y="1639682"/>
                      <a:pt x="1701568" y="1623026"/>
                      <a:pt x="1704497" y="1606151"/>
                    </a:cubicBezTo>
                    <a:cubicBezTo>
                      <a:pt x="1705155" y="1601922"/>
                      <a:pt x="1705673" y="1597673"/>
                      <a:pt x="1706271" y="1593425"/>
                    </a:cubicBezTo>
                    <a:cubicBezTo>
                      <a:pt x="1706550" y="1591310"/>
                      <a:pt x="1706888" y="1589176"/>
                      <a:pt x="1707108" y="1587061"/>
                    </a:cubicBezTo>
                    <a:lnTo>
                      <a:pt x="1707626" y="1580659"/>
                    </a:lnTo>
                    <a:lnTo>
                      <a:pt x="1708144" y="1574256"/>
                    </a:lnTo>
                    <a:lnTo>
                      <a:pt x="1708403" y="1571044"/>
                    </a:lnTo>
                    <a:cubicBezTo>
                      <a:pt x="1708443" y="1570466"/>
                      <a:pt x="1708503" y="1570067"/>
                      <a:pt x="1708523" y="1569368"/>
                    </a:cubicBezTo>
                    <a:lnTo>
                      <a:pt x="1708562" y="1567174"/>
                    </a:lnTo>
                    <a:lnTo>
                      <a:pt x="1708841" y="1549641"/>
                    </a:lnTo>
                    <a:lnTo>
                      <a:pt x="1708921" y="1546270"/>
                    </a:lnTo>
                    <a:lnTo>
                      <a:pt x="1708961" y="1544594"/>
                    </a:lnTo>
                    <a:lnTo>
                      <a:pt x="1709160" y="1543058"/>
                    </a:lnTo>
                    <a:lnTo>
                      <a:pt x="1709957" y="1536895"/>
                    </a:lnTo>
                    <a:lnTo>
                      <a:pt x="1710754" y="1530731"/>
                    </a:lnTo>
                    <a:lnTo>
                      <a:pt x="1711153" y="1527659"/>
                    </a:lnTo>
                    <a:lnTo>
                      <a:pt x="1711352" y="1526123"/>
                    </a:lnTo>
                    <a:cubicBezTo>
                      <a:pt x="1711472" y="1525625"/>
                      <a:pt x="1711352" y="1525026"/>
                      <a:pt x="1711771" y="1524667"/>
                    </a:cubicBezTo>
                    <a:lnTo>
                      <a:pt x="1719104" y="1519481"/>
                    </a:lnTo>
                    <a:lnTo>
                      <a:pt x="1722771" y="1516888"/>
                    </a:lnTo>
                    <a:lnTo>
                      <a:pt x="1724604" y="1515591"/>
                    </a:lnTo>
                    <a:lnTo>
                      <a:pt x="1726776" y="1514454"/>
                    </a:lnTo>
                    <a:cubicBezTo>
                      <a:pt x="1732576" y="1511383"/>
                      <a:pt x="1738394" y="1508411"/>
                      <a:pt x="1744194" y="1505259"/>
                    </a:cubicBezTo>
                    <a:lnTo>
                      <a:pt x="1751726" y="1501070"/>
                    </a:lnTo>
                    <a:cubicBezTo>
                      <a:pt x="1753799" y="1499953"/>
                      <a:pt x="1755752" y="1498657"/>
                      <a:pt x="1757784" y="1497460"/>
                    </a:cubicBezTo>
                    <a:lnTo>
                      <a:pt x="1763803" y="1493809"/>
                    </a:lnTo>
                    <a:lnTo>
                      <a:pt x="1769701" y="1489960"/>
                    </a:lnTo>
                    <a:cubicBezTo>
                      <a:pt x="1785404" y="1479647"/>
                      <a:pt x="1800330" y="1468138"/>
                      <a:pt x="1814140" y="1455411"/>
                    </a:cubicBezTo>
                    <a:cubicBezTo>
                      <a:pt x="1827970" y="1442725"/>
                      <a:pt x="1840804" y="1428962"/>
                      <a:pt x="1852442" y="1414261"/>
                    </a:cubicBezTo>
                    <a:cubicBezTo>
                      <a:pt x="1864020" y="1399520"/>
                      <a:pt x="1874362" y="1383822"/>
                      <a:pt x="1883350" y="1367405"/>
                    </a:cubicBezTo>
                    <a:cubicBezTo>
                      <a:pt x="1885701" y="1363356"/>
                      <a:pt x="1887674" y="1359107"/>
                      <a:pt x="1889827" y="1354958"/>
                    </a:cubicBezTo>
                    <a:cubicBezTo>
                      <a:pt x="1891899" y="1350770"/>
                      <a:pt x="1893792" y="1346481"/>
                      <a:pt x="1895765" y="1342252"/>
                    </a:cubicBezTo>
                    <a:cubicBezTo>
                      <a:pt x="1899432" y="1333655"/>
                      <a:pt x="1902939" y="1324978"/>
                      <a:pt x="1905888" y="1316102"/>
                    </a:cubicBezTo>
                    <a:cubicBezTo>
                      <a:pt x="1911887" y="1298389"/>
                      <a:pt x="1916390" y="1280197"/>
                      <a:pt x="1919280" y="1261726"/>
                    </a:cubicBezTo>
                    <a:cubicBezTo>
                      <a:pt x="1922070" y="1243255"/>
                      <a:pt x="1923345" y="1224525"/>
                      <a:pt x="1922907" y="1205815"/>
                    </a:cubicBezTo>
                    <a:cubicBezTo>
                      <a:pt x="1922548" y="1187105"/>
                      <a:pt x="1920615" y="1168454"/>
                      <a:pt x="1917048" y="1150103"/>
                    </a:cubicBezTo>
                    <a:close/>
                    <a:moveTo>
                      <a:pt x="1820378" y="1389207"/>
                    </a:moveTo>
                    <a:cubicBezTo>
                      <a:pt x="1810115" y="1402153"/>
                      <a:pt x="1798796" y="1414321"/>
                      <a:pt x="1786580" y="1425531"/>
                    </a:cubicBezTo>
                    <a:cubicBezTo>
                      <a:pt x="1774384" y="1436781"/>
                      <a:pt x="1761152" y="1446974"/>
                      <a:pt x="1747242" y="1456110"/>
                    </a:cubicBezTo>
                    <a:lnTo>
                      <a:pt x="1742021" y="1459520"/>
                    </a:lnTo>
                    <a:lnTo>
                      <a:pt x="1736681" y="1462752"/>
                    </a:lnTo>
                    <a:cubicBezTo>
                      <a:pt x="1734887" y="1463809"/>
                      <a:pt x="1733153" y="1464966"/>
                      <a:pt x="1731320" y="1465943"/>
                    </a:cubicBezTo>
                    <a:lnTo>
                      <a:pt x="1721635" y="1471289"/>
                    </a:lnTo>
                    <a:lnTo>
                      <a:pt x="1714999" y="1474700"/>
                    </a:lnTo>
                    <a:lnTo>
                      <a:pt x="1708463" y="1478191"/>
                    </a:lnTo>
                    <a:lnTo>
                      <a:pt x="1695390" y="1485192"/>
                    </a:lnTo>
                    <a:lnTo>
                      <a:pt x="1692122" y="1486948"/>
                    </a:lnTo>
                    <a:lnTo>
                      <a:pt x="1689970" y="1489281"/>
                    </a:lnTo>
                    <a:lnTo>
                      <a:pt x="1685685" y="1493969"/>
                    </a:lnTo>
                    <a:lnTo>
                      <a:pt x="1677096" y="1503324"/>
                    </a:lnTo>
                    <a:cubicBezTo>
                      <a:pt x="1676638" y="1503942"/>
                      <a:pt x="1676478" y="1504641"/>
                      <a:pt x="1676239" y="1505359"/>
                    </a:cubicBezTo>
                    <a:lnTo>
                      <a:pt x="1675562" y="1507453"/>
                    </a:lnTo>
                    <a:lnTo>
                      <a:pt x="1674207" y="1511662"/>
                    </a:lnTo>
                    <a:lnTo>
                      <a:pt x="1671497" y="1520080"/>
                    </a:lnTo>
                    <a:lnTo>
                      <a:pt x="1668786" y="1528497"/>
                    </a:lnTo>
                    <a:lnTo>
                      <a:pt x="1668109" y="1530592"/>
                    </a:lnTo>
                    <a:cubicBezTo>
                      <a:pt x="1668049" y="1531409"/>
                      <a:pt x="1668069" y="1532287"/>
                      <a:pt x="1668049" y="1533125"/>
                    </a:cubicBezTo>
                    <a:lnTo>
                      <a:pt x="1667969" y="1538251"/>
                    </a:lnTo>
                    <a:lnTo>
                      <a:pt x="1667850" y="1563903"/>
                    </a:lnTo>
                    <a:lnTo>
                      <a:pt x="1667850" y="1567513"/>
                    </a:lnTo>
                    <a:lnTo>
                      <a:pt x="1667810" y="1567713"/>
                    </a:lnTo>
                    <a:lnTo>
                      <a:pt x="1667770" y="1568072"/>
                    </a:lnTo>
                    <a:lnTo>
                      <a:pt x="1667710" y="1568770"/>
                    </a:lnTo>
                    <a:lnTo>
                      <a:pt x="1667471" y="1571583"/>
                    </a:lnTo>
                    <a:lnTo>
                      <a:pt x="1667013" y="1577208"/>
                    </a:lnTo>
                    <a:lnTo>
                      <a:pt x="1666574" y="1582833"/>
                    </a:lnTo>
                    <a:cubicBezTo>
                      <a:pt x="1666375" y="1584708"/>
                      <a:pt x="1666076" y="1586563"/>
                      <a:pt x="1665817" y="1588418"/>
                    </a:cubicBezTo>
                    <a:cubicBezTo>
                      <a:pt x="1665279" y="1592128"/>
                      <a:pt x="1664841" y="1595878"/>
                      <a:pt x="1664283" y="1599588"/>
                    </a:cubicBezTo>
                    <a:cubicBezTo>
                      <a:pt x="1661692" y="1614389"/>
                      <a:pt x="1658105" y="1629010"/>
                      <a:pt x="1653482" y="1643352"/>
                    </a:cubicBezTo>
                    <a:cubicBezTo>
                      <a:pt x="1648579" y="1657594"/>
                      <a:pt x="1642900" y="1671597"/>
                      <a:pt x="1636045" y="1685081"/>
                    </a:cubicBezTo>
                    <a:cubicBezTo>
                      <a:pt x="1634371" y="1688472"/>
                      <a:pt x="1632418" y="1691723"/>
                      <a:pt x="1630644" y="1695074"/>
                    </a:cubicBezTo>
                    <a:lnTo>
                      <a:pt x="1627934" y="1700061"/>
                    </a:lnTo>
                    <a:lnTo>
                      <a:pt x="1624945" y="1704908"/>
                    </a:lnTo>
                    <a:cubicBezTo>
                      <a:pt x="1622912" y="1708120"/>
                      <a:pt x="1621059" y="1711431"/>
                      <a:pt x="1618907" y="1714563"/>
                    </a:cubicBezTo>
                    <a:lnTo>
                      <a:pt x="1612450" y="1723978"/>
                    </a:lnTo>
                    <a:cubicBezTo>
                      <a:pt x="1573949" y="1778393"/>
                      <a:pt x="1517275" y="1820381"/>
                      <a:pt x="1453725" y="1843799"/>
                    </a:cubicBezTo>
                    <a:cubicBezTo>
                      <a:pt x="1445833" y="1846911"/>
                      <a:pt x="1437663" y="1849245"/>
                      <a:pt x="1429592" y="1851858"/>
                    </a:cubicBezTo>
                    <a:cubicBezTo>
                      <a:pt x="1421362" y="1853952"/>
                      <a:pt x="1413231" y="1856386"/>
                      <a:pt x="1404861" y="1857981"/>
                    </a:cubicBezTo>
                    <a:cubicBezTo>
                      <a:pt x="1396591" y="1859976"/>
                      <a:pt x="1388142" y="1861093"/>
                      <a:pt x="1379772" y="1862589"/>
                    </a:cubicBezTo>
                    <a:cubicBezTo>
                      <a:pt x="1371303" y="1863507"/>
                      <a:pt x="1362873" y="1864823"/>
                      <a:pt x="1354344" y="1865222"/>
                    </a:cubicBezTo>
                    <a:lnTo>
                      <a:pt x="1347967" y="1865681"/>
                    </a:lnTo>
                    <a:lnTo>
                      <a:pt x="1344779" y="1865920"/>
                    </a:lnTo>
                    <a:lnTo>
                      <a:pt x="1341570" y="1865980"/>
                    </a:lnTo>
                    <a:lnTo>
                      <a:pt x="1328757" y="1866279"/>
                    </a:lnTo>
                    <a:cubicBezTo>
                      <a:pt x="1324452" y="1866359"/>
                      <a:pt x="1319889" y="1866199"/>
                      <a:pt x="1315485" y="1866180"/>
                    </a:cubicBezTo>
                    <a:cubicBezTo>
                      <a:pt x="1311041" y="1866120"/>
                      <a:pt x="1306617" y="1865860"/>
                      <a:pt x="1302173" y="1865721"/>
                    </a:cubicBezTo>
                    <a:cubicBezTo>
                      <a:pt x="1284457" y="1864883"/>
                      <a:pt x="1266901" y="1863128"/>
                      <a:pt x="1249643" y="1860395"/>
                    </a:cubicBezTo>
                    <a:cubicBezTo>
                      <a:pt x="1215108" y="1854949"/>
                      <a:pt x="1181729" y="1845455"/>
                      <a:pt x="1151080" y="1831651"/>
                    </a:cubicBezTo>
                    <a:cubicBezTo>
                      <a:pt x="1120431" y="1817888"/>
                      <a:pt x="1092512" y="1799816"/>
                      <a:pt x="1069216" y="1777515"/>
                    </a:cubicBezTo>
                    <a:lnTo>
                      <a:pt x="1064672" y="1773167"/>
                    </a:lnTo>
                    <a:lnTo>
                      <a:pt x="1060328" y="1768659"/>
                    </a:lnTo>
                    <a:cubicBezTo>
                      <a:pt x="1057339" y="1765727"/>
                      <a:pt x="1054708" y="1762495"/>
                      <a:pt x="1051878" y="1759403"/>
                    </a:cubicBezTo>
                    <a:lnTo>
                      <a:pt x="1051101" y="1758526"/>
                    </a:lnTo>
                    <a:lnTo>
                      <a:pt x="1050723" y="1758107"/>
                    </a:lnTo>
                    <a:lnTo>
                      <a:pt x="1050543" y="1757907"/>
                    </a:lnTo>
                    <a:lnTo>
                      <a:pt x="1050244" y="1757528"/>
                    </a:lnTo>
                    <a:lnTo>
                      <a:pt x="1049029" y="1756032"/>
                    </a:lnTo>
                    <a:cubicBezTo>
                      <a:pt x="1048212" y="1755015"/>
                      <a:pt x="1047455" y="1753938"/>
                      <a:pt x="1046657" y="1752901"/>
                    </a:cubicBezTo>
                    <a:lnTo>
                      <a:pt x="1041954" y="1746617"/>
                    </a:lnTo>
                    <a:cubicBezTo>
                      <a:pt x="1038826" y="1742389"/>
                      <a:pt x="1035657" y="1738299"/>
                      <a:pt x="1032588" y="1733971"/>
                    </a:cubicBezTo>
                    <a:lnTo>
                      <a:pt x="1024059" y="1719509"/>
                    </a:lnTo>
                    <a:cubicBezTo>
                      <a:pt x="1021229" y="1714662"/>
                      <a:pt x="1018320" y="1710035"/>
                      <a:pt x="1015689" y="1704629"/>
                    </a:cubicBezTo>
                    <a:lnTo>
                      <a:pt x="1009073" y="1695573"/>
                    </a:lnTo>
                    <a:lnTo>
                      <a:pt x="1005765" y="1691045"/>
                    </a:lnTo>
                    <a:lnTo>
                      <a:pt x="1004111" y="1688771"/>
                    </a:lnTo>
                    <a:lnTo>
                      <a:pt x="1003294" y="1687634"/>
                    </a:lnTo>
                    <a:lnTo>
                      <a:pt x="1003095" y="1687355"/>
                    </a:lnTo>
                    <a:lnTo>
                      <a:pt x="1002876" y="1687215"/>
                    </a:lnTo>
                    <a:lnTo>
                      <a:pt x="1002457" y="1686916"/>
                    </a:lnTo>
                    <a:lnTo>
                      <a:pt x="988747" y="1677621"/>
                    </a:lnTo>
                    <a:lnTo>
                      <a:pt x="987033" y="1676464"/>
                    </a:lnTo>
                    <a:cubicBezTo>
                      <a:pt x="986894" y="1676364"/>
                      <a:pt x="986734" y="1676264"/>
                      <a:pt x="986615" y="1676185"/>
                    </a:cubicBezTo>
                    <a:lnTo>
                      <a:pt x="986256" y="1676065"/>
                    </a:lnTo>
                    <a:lnTo>
                      <a:pt x="985539" y="1675825"/>
                    </a:lnTo>
                    <a:lnTo>
                      <a:pt x="982649" y="1674908"/>
                    </a:lnTo>
                    <a:lnTo>
                      <a:pt x="976890" y="1673053"/>
                    </a:lnTo>
                    <a:lnTo>
                      <a:pt x="974000" y="1672135"/>
                    </a:lnTo>
                    <a:cubicBezTo>
                      <a:pt x="973542" y="1671996"/>
                      <a:pt x="973004" y="1671796"/>
                      <a:pt x="972585" y="1671697"/>
                    </a:cubicBezTo>
                    <a:lnTo>
                      <a:pt x="971489" y="1671597"/>
                    </a:lnTo>
                    <a:lnTo>
                      <a:pt x="967065" y="1671178"/>
                    </a:lnTo>
                    <a:lnTo>
                      <a:pt x="962641" y="1670759"/>
                    </a:lnTo>
                    <a:cubicBezTo>
                      <a:pt x="962103" y="1670659"/>
                      <a:pt x="960569" y="1670659"/>
                      <a:pt x="960051" y="1670759"/>
                    </a:cubicBezTo>
                    <a:lnTo>
                      <a:pt x="957839" y="1670978"/>
                    </a:lnTo>
                    <a:lnTo>
                      <a:pt x="953415" y="1671397"/>
                    </a:lnTo>
                    <a:lnTo>
                      <a:pt x="951203" y="1671617"/>
                    </a:lnTo>
                    <a:lnTo>
                      <a:pt x="950107" y="1671716"/>
                    </a:lnTo>
                    <a:cubicBezTo>
                      <a:pt x="949668" y="1671816"/>
                      <a:pt x="949150" y="1672016"/>
                      <a:pt x="948692" y="1672155"/>
                    </a:cubicBezTo>
                    <a:lnTo>
                      <a:pt x="937154" y="1675845"/>
                    </a:lnTo>
                    <a:lnTo>
                      <a:pt x="936436" y="1676085"/>
                    </a:lnTo>
                    <a:lnTo>
                      <a:pt x="936077" y="1676204"/>
                    </a:lnTo>
                    <a:lnTo>
                      <a:pt x="935659" y="1676484"/>
                    </a:lnTo>
                    <a:lnTo>
                      <a:pt x="933945" y="1677641"/>
                    </a:lnTo>
                    <a:lnTo>
                      <a:pt x="930518" y="1679974"/>
                    </a:lnTo>
                    <a:lnTo>
                      <a:pt x="923662" y="1684622"/>
                    </a:lnTo>
                    <a:lnTo>
                      <a:pt x="920235" y="1686956"/>
                    </a:lnTo>
                    <a:cubicBezTo>
                      <a:pt x="919657" y="1687175"/>
                      <a:pt x="919119" y="1688113"/>
                      <a:pt x="918581" y="1688891"/>
                    </a:cubicBezTo>
                    <a:lnTo>
                      <a:pt x="916967" y="1691265"/>
                    </a:lnTo>
                    <a:lnTo>
                      <a:pt x="910530" y="1700739"/>
                    </a:lnTo>
                    <a:lnTo>
                      <a:pt x="904093" y="1710234"/>
                    </a:lnTo>
                    <a:lnTo>
                      <a:pt x="898035" y="1720527"/>
                    </a:lnTo>
                    <a:cubicBezTo>
                      <a:pt x="890303" y="1734988"/>
                      <a:pt x="881057" y="1746119"/>
                      <a:pt x="872069" y="1758007"/>
                    </a:cubicBezTo>
                    <a:lnTo>
                      <a:pt x="865274" y="1765647"/>
                    </a:lnTo>
                    <a:lnTo>
                      <a:pt x="859076" y="1772070"/>
                    </a:lnTo>
                    <a:cubicBezTo>
                      <a:pt x="857063" y="1774244"/>
                      <a:pt x="854792" y="1776199"/>
                      <a:pt x="852659" y="1778293"/>
                    </a:cubicBezTo>
                    <a:cubicBezTo>
                      <a:pt x="850547" y="1780388"/>
                      <a:pt x="848275" y="1782342"/>
                      <a:pt x="846023" y="1784317"/>
                    </a:cubicBezTo>
                    <a:cubicBezTo>
                      <a:pt x="833887" y="1794989"/>
                      <a:pt x="820715" y="1804703"/>
                      <a:pt x="806606" y="1813300"/>
                    </a:cubicBezTo>
                    <a:cubicBezTo>
                      <a:pt x="792497" y="1821857"/>
                      <a:pt x="777531" y="1829377"/>
                      <a:pt x="761928" y="1835820"/>
                    </a:cubicBezTo>
                    <a:cubicBezTo>
                      <a:pt x="730701" y="1848706"/>
                      <a:pt x="696963" y="1857323"/>
                      <a:pt x="662208" y="1861991"/>
                    </a:cubicBezTo>
                    <a:cubicBezTo>
                      <a:pt x="644831" y="1864324"/>
                      <a:pt x="627175" y="1865701"/>
                      <a:pt x="609419" y="1866160"/>
                    </a:cubicBezTo>
                    <a:lnTo>
                      <a:pt x="596068" y="1866339"/>
                    </a:lnTo>
                    <a:lnTo>
                      <a:pt x="583234" y="1866040"/>
                    </a:lnTo>
                    <a:cubicBezTo>
                      <a:pt x="581102" y="1865960"/>
                      <a:pt x="578950" y="1866000"/>
                      <a:pt x="576837" y="1865860"/>
                    </a:cubicBezTo>
                    <a:lnTo>
                      <a:pt x="570460" y="1865402"/>
                    </a:lnTo>
                    <a:lnTo>
                      <a:pt x="564083" y="1864963"/>
                    </a:lnTo>
                    <a:cubicBezTo>
                      <a:pt x="561951" y="1864823"/>
                      <a:pt x="559819" y="1864684"/>
                      <a:pt x="557726" y="1864384"/>
                    </a:cubicBezTo>
                    <a:lnTo>
                      <a:pt x="545032" y="1862888"/>
                    </a:lnTo>
                    <a:cubicBezTo>
                      <a:pt x="540808" y="1862390"/>
                      <a:pt x="536643" y="1861512"/>
                      <a:pt x="532438" y="1860874"/>
                    </a:cubicBezTo>
                    <a:lnTo>
                      <a:pt x="526141" y="1859836"/>
                    </a:lnTo>
                    <a:lnTo>
                      <a:pt x="519903" y="1858480"/>
                    </a:lnTo>
                    <a:cubicBezTo>
                      <a:pt x="515758" y="1857543"/>
                      <a:pt x="511573" y="1856805"/>
                      <a:pt x="507468" y="1855707"/>
                    </a:cubicBezTo>
                    <a:cubicBezTo>
                      <a:pt x="490968" y="1851678"/>
                      <a:pt x="474846" y="1846272"/>
                      <a:pt x="459083" y="1840069"/>
                    </a:cubicBezTo>
                    <a:cubicBezTo>
                      <a:pt x="427717" y="1827303"/>
                      <a:pt x="398104" y="1810248"/>
                      <a:pt x="371939" y="1789084"/>
                    </a:cubicBezTo>
                    <a:lnTo>
                      <a:pt x="367036" y="1785115"/>
                    </a:lnTo>
                    <a:lnTo>
                      <a:pt x="364585" y="1783140"/>
                    </a:lnTo>
                    <a:lnTo>
                      <a:pt x="362234" y="1781046"/>
                    </a:lnTo>
                    <a:lnTo>
                      <a:pt x="352828" y="1772668"/>
                    </a:lnTo>
                    <a:lnTo>
                      <a:pt x="343860" y="1763852"/>
                    </a:lnTo>
                    <a:lnTo>
                      <a:pt x="341608" y="1761657"/>
                    </a:lnTo>
                    <a:lnTo>
                      <a:pt x="339476" y="1759344"/>
                    </a:lnTo>
                    <a:lnTo>
                      <a:pt x="335212" y="1754736"/>
                    </a:lnTo>
                    <a:lnTo>
                      <a:pt x="330947" y="1750148"/>
                    </a:lnTo>
                    <a:lnTo>
                      <a:pt x="326922" y="1745341"/>
                    </a:lnTo>
                    <a:lnTo>
                      <a:pt x="322876" y="1740553"/>
                    </a:lnTo>
                    <a:lnTo>
                      <a:pt x="320863" y="1738160"/>
                    </a:lnTo>
                    <a:lnTo>
                      <a:pt x="318970" y="1735666"/>
                    </a:lnTo>
                    <a:lnTo>
                      <a:pt x="311398" y="1725713"/>
                    </a:lnTo>
                    <a:lnTo>
                      <a:pt x="304343" y="1715420"/>
                    </a:lnTo>
                    <a:cubicBezTo>
                      <a:pt x="296571" y="1703392"/>
                      <a:pt x="289198" y="1691085"/>
                      <a:pt x="283260" y="1678139"/>
                    </a:cubicBezTo>
                    <a:lnTo>
                      <a:pt x="280908" y="1673332"/>
                    </a:lnTo>
                    <a:cubicBezTo>
                      <a:pt x="280151" y="1671716"/>
                      <a:pt x="279513" y="1670061"/>
                      <a:pt x="278816" y="1668425"/>
                    </a:cubicBezTo>
                    <a:lnTo>
                      <a:pt x="274651" y="1658591"/>
                    </a:lnTo>
                    <a:lnTo>
                      <a:pt x="271024" y="1648578"/>
                    </a:lnTo>
                    <a:cubicBezTo>
                      <a:pt x="270426" y="1646902"/>
                      <a:pt x="269768" y="1645247"/>
                      <a:pt x="269230" y="1643571"/>
                    </a:cubicBezTo>
                    <a:lnTo>
                      <a:pt x="267696" y="1638485"/>
                    </a:lnTo>
                    <a:cubicBezTo>
                      <a:pt x="263252" y="1625001"/>
                      <a:pt x="260442" y="1611058"/>
                      <a:pt x="258011" y="1597115"/>
                    </a:cubicBezTo>
                    <a:cubicBezTo>
                      <a:pt x="257114" y="1590073"/>
                      <a:pt x="255938" y="1583092"/>
                      <a:pt x="255560" y="1575991"/>
                    </a:cubicBezTo>
                    <a:lnTo>
                      <a:pt x="255121" y="1570685"/>
                    </a:lnTo>
                    <a:lnTo>
                      <a:pt x="254902" y="1568032"/>
                    </a:lnTo>
                    <a:lnTo>
                      <a:pt x="254902" y="1567693"/>
                    </a:lnTo>
                    <a:cubicBezTo>
                      <a:pt x="254902" y="1567693"/>
                      <a:pt x="254862" y="1567234"/>
                      <a:pt x="254862" y="1567035"/>
                    </a:cubicBezTo>
                    <a:lnTo>
                      <a:pt x="254862" y="1562507"/>
                    </a:lnTo>
                    <a:lnTo>
                      <a:pt x="254723" y="1538331"/>
                    </a:lnTo>
                    <a:lnTo>
                      <a:pt x="254663" y="1534202"/>
                    </a:lnTo>
                    <a:lnTo>
                      <a:pt x="254623" y="1532147"/>
                    </a:lnTo>
                    <a:cubicBezTo>
                      <a:pt x="254583" y="1531469"/>
                      <a:pt x="254683" y="1530711"/>
                      <a:pt x="254424" y="1530213"/>
                    </a:cubicBezTo>
                    <a:lnTo>
                      <a:pt x="252252" y="1523431"/>
                    </a:lnTo>
                    <a:lnTo>
                      <a:pt x="247888" y="1509887"/>
                    </a:lnTo>
                    <a:lnTo>
                      <a:pt x="246791" y="1506496"/>
                    </a:lnTo>
                    <a:lnTo>
                      <a:pt x="246253" y="1504800"/>
                    </a:lnTo>
                    <a:cubicBezTo>
                      <a:pt x="246154" y="1504521"/>
                      <a:pt x="246094" y="1504222"/>
                      <a:pt x="245955" y="1503982"/>
                    </a:cubicBezTo>
                    <a:cubicBezTo>
                      <a:pt x="245775" y="1503723"/>
                      <a:pt x="245656" y="1503444"/>
                      <a:pt x="245456" y="1503244"/>
                    </a:cubicBezTo>
                    <a:lnTo>
                      <a:pt x="240733" y="1498098"/>
                    </a:lnTo>
                    <a:lnTo>
                      <a:pt x="231288" y="1487805"/>
                    </a:lnTo>
                    <a:cubicBezTo>
                      <a:pt x="230730" y="1486948"/>
                      <a:pt x="229434" y="1486469"/>
                      <a:pt x="228398" y="1485870"/>
                    </a:cubicBezTo>
                    <a:lnTo>
                      <a:pt x="225130" y="1484115"/>
                    </a:lnTo>
                    <a:lnTo>
                      <a:pt x="218594" y="1480624"/>
                    </a:lnTo>
                    <a:cubicBezTo>
                      <a:pt x="214229" y="1478311"/>
                      <a:pt x="209925" y="1475937"/>
                      <a:pt x="205501" y="1473663"/>
                    </a:cubicBezTo>
                    <a:cubicBezTo>
                      <a:pt x="203309" y="1472506"/>
                      <a:pt x="201017" y="1471409"/>
                      <a:pt x="198905" y="1470232"/>
                    </a:cubicBezTo>
                    <a:lnTo>
                      <a:pt x="193225" y="1467060"/>
                    </a:lnTo>
                    <a:cubicBezTo>
                      <a:pt x="191392" y="1466063"/>
                      <a:pt x="189579" y="1465046"/>
                      <a:pt x="187825" y="1463929"/>
                    </a:cubicBezTo>
                    <a:cubicBezTo>
                      <a:pt x="184278" y="1461755"/>
                      <a:pt x="180651" y="1459660"/>
                      <a:pt x="177223" y="1457326"/>
                    </a:cubicBezTo>
                    <a:lnTo>
                      <a:pt x="171982" y="1453915"/>
                    </a:lnTo>
                    <a:lnTo>
                      <a:pt x="166881" y="1450325"/>
                    </a:lnTo>
                    <a:cubicBezTo>
                      <a:pt x="153290" y="1440730"/>
                      <a:pt x="140416" y="1430119"/>
                      <a:pt x="128599" y="1418470"/>
                    </a:cubicBezTo>
                    <a:cubicBezTo>
                      <a:pt x="116762" y="1406860"/>
                      <a:pt x="105881" y="1394334"/>
                      <a:pt x="96097" y="1381049"/>
                    </a:cubicBezTo>
                    <a:cubicBezTo>
                      <a:pt x="86352" y="1367744"/>
                      <a:pt x="77783" y="1353642"/>
                      <a:pt x="70410" y="1338981"/>
                    </a:cubicBezTo>
                    <a:cubicBezTo>
                      <a:pt x="68477" y="1335370"/>
                      <a:pt x="66882" y="1331581"/>
                      <a:pt x="65129" y="1327890"/>
                    </a:cubicBezTo>
                    <a:cubicBezTo>
                      <a:pt x="63415" y="1324160"/>
                      <a:pt x="61940" y="1320350"/>
                      <a:pt x="60326" y="1316600"/>
                    </a:cubicBezTo>
                    <a:cubicBezTo>
                      <a:pt x="58931" y="1312751"/>
                      <a:pt x="57377" y="1308961"/>
                      <a:pt x="56082" y="1305091"/>
                    </a:cubicBezTo>
                    <a:cubicBezTo>
                      <a:pt x="54846" y="1301201"/>
                      <a:pt x="53391" y="1297371"/>
                      <a:pt x="52315" y="1293422"/>
                    </a:cubicBezTo>
                    <a:cubicBezTo>
                      <a:pt x="47632" y="1277764"/>
                      <a:pt x="44304" y="1261746"/>
                      <a:pt x="42351" y="1245529"/>
                    </a:cubicBezTo>
                    <a:cubicBezTo>
                      <a:pt x="40418" y="1229312"/>
                      <a:pt x="40060" y="1212856"/>
                      <a:pt x="40896" y="1196520"/>
                    </a:cubicBezTo>
                    <a:cubicBezTo>
                      <a:pt x="41733" y="1180183"/>
                      <a:pt x="44125" y="1163966"/>
                      <a:pt x="47871" y="1148068"/>
                    </a:cubicBezTo>
                    <a:cubicBezTo>
                      <a:pt x="48389" y="1145356"/>
                      <a:pt x="49186" y="1142703"/>
                      <a:pt x="49904" y="1140050"/>
                    </a:cubicBezTo>
                    <a:lnTo>
                      <a:pt x="52076" y="1132051"/>
                    </a:lnTo>
                    <a:lnTo>
                      <a:pt x="54627" y="1124172"/>
                    </a:lnTo>
                    <a:lnTo>
                      <a:pt x="55882" y="1120222"/>
                    </a:lnTo>
                    <a:cubicBezTo>
                      <a:pt x="56341" y="1118926"/>
                      <a:pt x="56859" y="1117629"/>
                      <a:pt x="57337" y="1116333"/>
                    </a:cubicBezTo>
                    <a:lnTo>
                      <a:pt x="60227" y="1108553"/>
                    </a:lnTo>
                    <a:cubicBezTo>
                      <a:pt x="61223" y="1105980"/>
                      <a:pt x="62399" y="1103467"/>
                      <a:pt x="63455" y="1100914"/>
                    </a:cubicBezTo>
                    <a:cubicBezTo>
                      <a:pt x="65507" y="1095767"/>
                      <a:pt x="68038" y="1090841"/>
                      <a:pt x="70430" y="1085834"/>
                    </a:cubicBezTo>
                    <a:cubicBezTo>
                      <a:pt x="71566" y="1083301"/>
                      <a:pt x="73000" y="1080927"/>
                      <a:pt x="74296" y="1078453"/>
                    </a:cubicBezTo>
                    <a:cubicBezTo>
                      <a:pt x="75631" y="1076020"/>
                      <a:pt x="76886" y="1073546"/>
                      <a:pt x="78281" y="1071153"/>
                    </a:cubicBezTo>
                    <a:lnTo>
                      <a:pt x="82586" y="1064012"/>
                    </a:lnTo>
                    <a:cubicBezTo>
                      <a:pt x="83303" y="1062815"/>
                      <a:pt x="84001" y="1061618"/>
                      <a:pt x="84738" y="1060441"/>
                    </a:cubicBezTo>
                    <a:lnTo>
                      <a:pt x="87049" y="1056970"/>
                    </a:lnTo>
                    <a:lnTo>
                      <a:pt x="91653" y="1050009"/>
                    </a:lnTo>
                    <a:lnTo>
                      <a:pt x="96575" y="1043247"/>
                    </a:lnTo>
                    <a:lnTo>
                      <a:pt x="99026" y="1039856"/>
                    </a:lnTo>
                    <a:lnTo>
                      <a:pt x="99325" y="1039437"/>
                    </a:lnTo>
                    <a:lnTo>
                      <a:pt x="99484" y="1039218"/>
                    </a:lnTo>
                    <a:cubicBezTo>
                      <a:pt x="99484" y="1039218"/>
                      <a:pt x="99564" y="1039098"/>
                      <a:pt x="99724" y="1038918"/>
                    </a:cubicBezTo>
                    <a:lnTo>
                      <a:pt x="101258" y="1037083"/>
                    </a:lnTo>
                    <a:lnTo>
                      <a:pt x="104327" y="1033413"/>
                    </a:lnTo>
                    <a:lnTo>
                      <a:pt x="116583" y="1018752"/>
                    </a:lnTo>
                    <a:lnTo>
                      <a:pt x="118177" y="1016897"/>
                    </a:lnTo>
                    <a:cubicBezTo>
                      <a:pt x="118715" y="1016279"/>
                      <a:pt x="119293" y="1015660"/>
                      <a:pt x="119512" y="1015002"/>
                    </a:cubicBezTo>
                    <a:lnTo>
                      <a:pt x="121345" y="1011092"/>
                    </a:lnTo>
                    <a:lnTo>
                      <a:pt x="124992" y="1003253"/>
                    </a:lnTo>
                    <a:lnTo>
                      <a:pt x="128639" y="995414"/>
                    </a:lnTo>
                    <a:lnTo>
                      <a:pt x="130472" y="991505"/>
                    </a:lnTo>
                    <a:cubicBezTo>
                      <a:pt x="130731" y="990846"/>
                      <a:pt x="131170" y="990228"/>
                      <a:pt x="131289" y="989510"/>
                    </a:cubicBezTo>
                    <a:cubicBezTo>
                      <a:pt x="131429" y="988812"/>
                      <a:pt x="131429" y="988153"/>
                      <a:pt x="131509" y="987455"/>
                    </a:cubicBezTo>
                    <a:lnTo>
                      <a:pt x="132226" y="979317"/>
                    </a:lnTo>
                    <a:lnTo>
                      <a:pt x="132405" y="977282"/>
                    </a:lnTo>
                    <a:cubicBezTo>
                      <a:pt x="132366" y="976564"/>
                      <a:pt x="132226" y="975786"/>
                      <a:pt x="132146" y="975048"/>
                    </a:cubicBezTo>
                    <a:lnTo>
                      <a:pt x="131588" y="970560"/>
                    </a:lnTo>
                    <a:lnTo>
                      <a:pt x="131030" y="966072"/>
                    </a:lnTo>
                    <a:cubicBezTo>
                      <a:pt x="130931" y="965314"/>
                      <a:pt x="130871" y="964576"/>
                      <a:pt x="130731" y="963818"/>
                    </a:cubicBezTo>
                    <a:lnTo>
                      <a:pt x="129974" y="961504"/>
                    </a:lnTo>
                    <a:lnTo>
                      <a:pt x="126925" y="952289"/>
                    </a:lnTo>
                    <a:cubicBezTo>
                      <a:pt x="125889" y="949217"/>
                      <a:pt x="124972" y="946125"/>
                      <a:pt x="123976" y="943053"/>
                    </a:cubicBezTo>
                    <a:lnTo>
                      <a:pt x="122521" y="938446"/>
                    </a:lnTo>
                    <a:lnTo>
                      <a:pt x="121804" y="936132"/>
                    </a:lnTo>
                    <a:lnTo>
                      <a:pt x="121465" y="934975"/>
                    </a:lnTo>
                    <a:lnTo>
                      <a:pt x="121066" y="933479"/>
                    </a:lnTo>
                    <a:cubicBezTo>
                      <a:pt x="120389" y="930965"/>
                      <a:pt x="119711" y="928432"/>
                      <a:pt x="119133" y="925899"/>
                    </a:cubicBezTo>
                    <a:cubicBezTo>
                      <a:pt x="117878" y="920832"/>
                      <a:pt x="116842" y="915706"/>
                      <a:pt x="115925" y="910580"/>
                    </a:cubicBezTo>
                    <a:cubicBezTo>
                      <a:pt x="113115" y="894722"/>
                      <a:pt x="111680" y="878565"/>
                      <a:pt x="111900" y="862368"/>
                    </a:cubicBezTo>
                    <a:cubicBezTo>
                      <a:pt x="112318" y="854289"/>
                      <a:pt x="112139" y="846171"/>
                      <a:pt x="113295" y="838172"/>
                    </a:cubicBezTo>
                    <a:lnTo>
                      <a:pt x="113912" y="832148"/>
                    </a:lnTo>
                    <a:cubicBezTo>
                      <a:pt x="114132" y="830153"/>
                      <a:pt x="114211" y="828119"/>
                      <a:pt x="114650" y="826144"/>
                    </a:cubicBezTo>
                    <a:lnTo>
                      <a:pt x="116722" y="814236"/>
                    </a:lnTo>
                    <a:cubicBezTo>
                      <a:pt x="117240" y="810226"/>
                      <a:pt x="118436" y="806377"/>
                      <a:pt x="119333" y="802447"/>
                    </a:cubicBezTo>
                    <a:lnTo>
                      <a:pt x="120748" y="796583"/>
                    </a:lnTo>
                    <a:lnTo>
                      <a:pt x="121445" y="793650"/>
                    </a:lnTo>
                    <a:cubicBezTo>
                      <a:pt x="121704" y="792673"/>
                      <a:pt x="122063" y="791736"/>
                      <a:pt x="122342" y="790758"/>
                    </a:cubicBezTo>
                    <a:lnTo>
                      <a:pt x="125989" y="779229"/>
                    </a:lnTo>
                    <a:cubicBezTo>
                      <a:pt x="126307" y="778271"/>
                      <a:pt x="126567" y="777294"/>
                      <a:pt x="126905" y="776356"/>
                    </a:cubicBezTo>
                    <a:lnTo>
                      <a:pt x="128021" y="773544"/>
                    </a:lnTo>
                    <a:lnTo>
                      <a:pt x="130233" y="767919"/>
                    </a:lnTo>
                    <a:cubicBezTo>
                      <a:pt x="132904" y="760299"/>
                      <a:pt x="136710" y="753138"/>
                      <a:pt x="140018" y="745778"/>
                    </a:cubicBezTo>
                    <a:cubicBezTo>
                      <a:pt x="141831" y="742167"/>
                      <a:pt x="143924" y="738697"/>
                      <a:pt x="145837" y="735126"/>
                    </a:cubicBezTo>
                    <a:lnTo>
                      <a:pt x="148746" y="729800"/>
                    </a:lnTo>
                    <a:cubicBezTo>
                      <a:pt x="149802" y="728085"/>
                      <a:pt x="150938" y="726389"/>
                      <a:pt x="152014" y="724694"/>
                    </a:cubicBezTo>
                    <a:lnTo>
                      <a:pt x="155940" y="718550"/>
                    </a:lnTo>
                    <a:lnTo>
                      <a:pt x="157893" y="715478"/>
                    </a:lnTo>
                    <a:cubicBezTo>
                      <a:pt x="158531" y="714441"/>
                      <a:pt x="159328" y="713503"/>
                      <a:pt x="160025" y="712526"/>
                    </a:cubicBezTo>
                    <a:lnTo>
                      <a:pt x="168674" y="700757"/>
                    </a:lnTo>
                    <a:lnTo>
                      <a:pt x="178080" y="689547"/>
                    </a:lnTo>
                    <a:cubicBezTo>
                      <a:pt x="179575" y="687612"/>
                      <a:pt x="181328" y="685917"/>
                      <a:pt x="183022" y="684142"/>
                    </a:cubicBezTo>
                    <a:lnTo>
                      <a:pt x="188064" y="678836"/>
                    </a:lnTo>
                    <a:cubicBezTo>
                      <a:pt x="191312" y="675185"/>
                      <a:pt x="195019" y="671974"/>
                      <a:pt x="198586" y="668643"/>
                    </a:cubicBezTo>
                    <a:lnTo>
                      <a:pt x="203947" y="663636"/>
                    </a:lnTo>
                    <a:cubicBezTo>
                      <a:pt x="205780" y="662020"/>
                      <a:pt x="207733" y="660544"/>
                      <a:pt x="209606" y="658988"/>
                    </a:cubicBezTo>
                    <a:lnTo>
                      <a:pt x="215285" y="654341"/>
                    </a:lnTo>
                    <a:lnTo>
                      <a:pt x="218115" y="652007"/>
                    </a:lnTo>
                    <a:lnTo>
                      <a:pt x="221104" y="649893"/>
                    </a:lnTo>
                    <a:lnTo>
                      <a:pt x="232005" y="642053"/>
                    </a:lnTo>
                    <a:lnTo>
                      <a:pt x="247330" y="632439"/>
                    </a:lnTo>
                    <a:lnTo>
                      <a:pt x="261518" y="616900"/>
                    </a:lnTo>
                    <a:lnTo>
                      <a:pt x="268613" y="609121"/>
                    </a:lnTo>
                    <a:lnTo>
                      <a:pt x="270386" y="607186"/>
                    </a:lnTo>
                    <a:lnTo>
                      <a:pt x="271283" y="606209"/>
                    </a:lnTo>
                    <a:lnTo>
                      <a:pt x="271721" y="605730"/>
                    </a:lnTo>
                    <a:lnTo>
                      <a:pt x="272000" y="605132"/>
                    </a:lnTo>
                    <a:lnTo>
                      <a:pt x="273734" y="600803"/>
                    </a:lnTo>
                    <a:cubicBezTo>
                      <a:pt x="275886" y="594839"/>
                      <a:pt x="277301" y="587877"/>
                      <a:pt x="277341" y="580258"/>
                    </a:cubicBezTo>
                    <a:cubicBezTo>
                      <a:pt x="277560" y="572638"/>
                      <a:pt x="275328" y="564400"/>
                      <a:pt x="274412" y="556541"/>
                    </a:cubicBezTo>
                    <a:cubicBezTo>
                      <a:pt x="274093" y="554546"/>
                      <a:pt x="273933" y="552591"/>
                      <a:pt x="273694" y="550596"/>
                    </a:cubicBezTo>
                    <a:lnTo>
                      <a:pt x="273375" y="547664"/>
                    </a:lnTo>
                    <a:lnTo>
                      <a:pt x="273136" y="544932"/>
                    </a:lnTo>
                    <a:lnTo>
                      <a:pt x="272797" y="540743"/>
                    </a:lnTo>
                    <a:lnTo>
                      <a:pt x="272658" y="538369"/>
                    </a:lnTo>
                    <a:cubicBezTo>
                      <a:pt x="272479" y="535217"/>
                      <a:pt x="272359" y="532046"/>
                      <a:pt x="272319" y="528874"/>
                    </a:cubicBezTo>
                    <a:cubicBezTo>
                      <a:pt x="272239" y="525703"/>
                      <a:pt x="272359" y="522531"/>
                      <a:pt x="272419" y="519360"/>
                    </a:cubicBezTo>
                    <a:lnTo>
                      <a:pt x="272518" y="514592"/>
                    </a:lnTo>
                    <a:lnTo>
                      <a:pt x="272837" y="509845"/>
                    </a:lnTo>
                    <a:cubicBezTo>
                      <a:pt x="273834" y="494047"/>
                      <a:pt x="276384" y="478388"/>
                      <a:pt x="280450" y="463109"/>
                    </a:cubicBezTo>
                    <a:cubicBezTo>
                      <a:pt x="284615" y="447870"/>
                      <a:pt x="290294" y="433009"/>
                      <a:pt x="297349" y="418767"/>
                    </a:cubicBezTo>
                    <a:cubicBezTo>
                      <a:pt x="304363" y="404505"/>
                      <a:pt x="312932" y="390941"/>
                      <a:pt x="322717" y="378235"/>
                    </a:cubicBezTo>
                    <a:cubicBezTo>
                      <a:pt x="332501" y="365528"/>
                      <a:pt x="343422" y="353620"/>
                      <a:pt x="355478" y="342849"/>
                    </a:cubicBezTo>
                    <a:cubicBezTo>
                      <a:pt x="369567" y="330362"/>
                      <a:pt x="384892" y="319112"/>
                      <a:pt x="401392" y="309777"/>
                    </a:cubicBezTo>
                    <a:cubicBezTo>
                      <a:pt x="409563" y="304989"/>
                      <a:pt x="418112" y="300820"/>
                      <a:pt x="426740" y="296911"/>
                    </a:cubicBezTo>
                    <a:lnTo>
                      <a:pt x="433297" y="294118"/>
                    </a:lnTo>
                    <a:lnTo>
                      <a:pt x="434931" y="293420"/>
                    </a:lnTo>
                    <a:lnTo>
                      <a:pt x="436704" y="292742"/>
                    </a:lnTo>
                    <a:lnTo>
                      <a:pt x="440291" y="291385"/>
                    </a:lnTo>
                    <a:lnTo>
                      <a:pt x="443878" y="290029"/>
                    </a:lnTo>
                    <a:lnTo>
                      <a:pt x="445672" y="289351"/>
                    </a:lnTo>
                    <a:cubicBezTo>
                      <a:pt x="445791" y="289291"/>
                      <a:pt x="446748" y="288992"/>
                      <a:pt x="447366" y="288792"/>
                    </a:cubicBezTo>
                    <a:lnTo>
                      <a:pt x="449438" y="288134"/>
                    </a:lnTo>
                    <a:lnTo>
                      <a:pt x="466038" y="282888"/>
                    </a:lnTo>
                    <a:lnTo>
                      <a:pt x="469007" y="281931"/>
                    </a:lnTo>
                    <a:lnTo>
                      <a:pt x="470482" y="281452"/>
                    </a:lnTo>
                    <a:cubicBezTo>
                      <a:pt x="471000" y="281312"/>
                      <a:pt x="471479" y="281133"/>
                      <a:pt x="471837" y="280853"/>
                    </a:cubicBezTo>
                    <a:lnTo>
                      <a:pt x="476620" y="277841"/>
                    </a:lnTo>
                    <a:lnTo>
                      <a:pt x="486165" y="271837"/>
                    </a:lnTo>
                    <a:lnTo>
                      <a:pt x="490948" y="268825"/>
                    </a:lnTo>
                    <a:cubicBezTo>
                      <a:pt x="491327" y="268546"/>
                      <a:pt x="491785" y="268387"/>
                      <a:pt x="492104" y="268028"/>
                    </a:cubicBezTo>
                    <a:cubicBezTo>
                      <a:pt x="492483" y="267728"/>
                      <a:pt x="492662" y="267270"/>
                      <a:pt x="492941" y="266891"/>
                    </a:cubicBezTo>
                    <a:lnTo>
                      <a:pt x="494495" y="264517"/>
                    </a:lnTo>
                    <a:lnTo>
                      <a:pt x="500733" y="255022"/>
                    </a:lnTo>
                    <a:lnTo>
                      <a:pt x="503841" y="250275"/>
                    </a:lnTo>
                    <a:lnTo>
                      <a:pt x="505396" y="247901"/>
                    </a:lnTo>
                    <a:cubicBezTo>
                      <a:pt x="505874" y="247083"/>
                      <a:pt x="506532" y="246425"/>
                      <a:pt x="506791" y="245368"/>
                    </a:cubicBezTo>
                    <a:lnTo>
                      <a:pt x="510916" y="233719"/>
                    </a:lnTo>
                    <a:lnTo>
                      <a:pt x="515041" y="222070"/>
                    </a:lnTo>
                    <a:lnTo>
                      <a:pt x="515559" y="220614"/>
                    </a:lnTo>
                    <a:lnTo>
                      <a:pt x="515798" y="219975"/>
                    </a:lnTo>
                    <a:lnTo>
                      <a:pt x="515918" y="219656"/>
                    </a:lnTo>
                    <a:lnTo>
                      <a:pt x="516436" y="218419"/>
                    </a:lnTo>
                    <a:lnTo>
                      <a:pt x="517452" y="215926"/>
                    </a:lnTo>
                    <a:cubicBezTo>
                      <a:pt x="522813" y="202601"/>
                      <a:pt x="528851" y="189636"/>
                      <a:pt x="535567" y="177149"/>
                    </a:cubicBezTo>
                    <a:cubicBezTo>
                      <a:pt x="543677" y="162209"/>
                      <a:pt x="552764" y="147987"/>
                      <a:pt x="562748" y="134702"/>
                    </a:cubicBezTo>
                    <a:cubicBezTo>
                      <a:pt x="572732" y="121417"/>
                      <a:pt x="583633" y="109050"/>
                      <a:pt x="595430" y="98079"/>
                    </a:cubicBezTo>
                    <a:cubicBezTo>
                      <a:pt x="618905" y="75998"/>
                      <a:pt x="645728" y="59123"/>
                      <a:pt x="674026" y="49748"/>
                    </a:cubicBezTo>
                    <a:cubicBezTo>
                      <a:pt x="681080" y="47254"/>
                      <a:pt x="688274" y="45579"/>
                      <a:pt x="695468" y="43963"/>
                    </a:cubicBezTo>
                    <a:lnTo>
                      <a:pt x="700908" y="43026"/>
                    </a:lnTo>
                    <a:lnTo>
                      <a:pt x="703619" y="42527"/>
                    </a:lnTo>
                    <a:lnTo>
                      <a:pt x="706349" y="42188"/>
                    </a:lnTo>
                    <a:lnTo>
                      <a:pt x="711809" y="41490"/>
                    </a:lnTo>
                    <a:lnTo>
                      <a:pt x="717309" y="41071"/>
                    </a:lnTo>
                    <a:cubicBezTo>
                      <a:pt x="720956" y="40672"/>
                      <a:pt x="724643" y="40772"/>
                      <a:pt x="728329" y="40612"/>
                    </a:cubicBezTo>
                    <a:cubicBezTo>
                      <a:pt x="729206" y="40552"/>
                      <a:pt x="730242" y="40612"/>
                      <a:pt x="731278" y="40612"/>
                    </a:cubicBezTo>
                    <a:lnTo>
                      <a:pt x="734347" y="40692"/>
                    </a:lnTo>
                    <a:lnTo>
                      <a:pt x="740505" y="40831"/>
                    </a:lnTo>
                    <a:lnTo>
                      <a:pt x="743574" y="40891"/>
                    </a:lnTo>
                    <a:lnTo>
                      <a:pt x="746603" y="41131"/>
                    </a:lnTo>
                    <a:lnTo>
                      <a:pt x="752661" y="41589"/>
                    </a:lnTo>
                    <a:cubicBezTo>
                      <a:pt x="754674" y="41769"/>
                      <a:pt x="756726" y="41809"/>
                      <a:pt x="758699" y="42088"/>
                    </a:cubicBezTo>
                    <a:lnTo>
                      <a:pt x="764638" y="42866"/>
                    </a:lnTo>
                    <a:cubicBezTo>
                      <a:pt x="780441" y="44941"/>
                      <a:pt x="795666" y="48451"/>
                      <a:pt x="810034" y="53518"/>
                    </a:cubicBezTo>
                    <a:cubicBezTo>
                      <a:pt x="824422" y="58524"/>
                      <a:pt x="837813" y="65366"/>
                      <a:pt x="850288" y="73545"/>
                    </a:cubicBezTo>
                    <a:cubicBezTo>
                      <a:pt x="857821" y="78412"/>
                      <a:pt x="864915" y="83997"/>
                      <a:pt x="871750" y="89961"/>
                    </a:cubicBezTo>
                    <a:cubicBezTo>
                      <a:pt x="872607" y="90719"/>
                      <a:pt x="873524" y="91377"/>
                      <a:pt x="874321" y="92195"/>
                    </a:cubicBezTo>
                    <a:lnTo>
                      <a:pt x="876752" y="94609"/>
                    </a:lnTo>
                    <a:lnTo>
                      <a:pt x="881515" y="99276"/>
                    </a:lnTo>
                    <a:cubicBezTo>
                      <a:pt x="883567" y="101091"/>
                      <a:pt x="885560" y="103525"/>
                      <a:pt x="887573" y="105739"/>
                    </a:cubicBezTo>
                    <a:lnTo>
                      <a:pt x="890582" y="109130"/>
                    </a:lnTo>
                    <a:lnTo>
                      <a:pt x="892097" y="110825"/>
                    </a:lnTo>
                    <a:lnTo>
                      <a:pt x="893511" y="112740"/>
                    </a:lnTo>
                    <a:lnTo>
                      <a:pt x="899131" y="120380"/>
                    </a:lnTo>
                    <a:lnTo>
                      <a:pt x="910370" y="135659"/>
                    </a:lnTo>
                    <a:lnTo>
                      <a:pt x="913738" y="140267"/>
                    </a:lnTo>
                    <a:lnTo>
                      <a:pt x="914575" y="141424"/>
                    </a:lnTo>
                    <a:cubicBezTo>
                      <a:pt x="914854" y="141843"/>
                      <a:pt x="915153" y="141943"/>
                      <a:pt x="915452" y="142202"/>
                    </a:cubicBezTo>
                    <a:lnTo>
                      <a:pt x="917206" y="143558"/>
                    </a:lnTo>
                    <a:cubicBezTo>
                      <a:pt x="919557" y="145354"/>
                      <a:pt x="921909" y="147129"/>
                      <a:pt x="924300" y="148844"/>
                    </a:cubicBezTo>
                    <a:cubicBezTo>
                      <a:pt x="929043" y="152295"/>
                      <a:pt x="933846" y="155606"/>
                      <a:pt x="938648" y="158758"/>
                    </a:cubicBezTo>
                    <a:lnTo>
                      <a:pt x="939545" y="159356"/>
                    </a:lnTo>
                    <a:cubicBezTo>
                      <a:pt x="939844" y="159556"/>
                      <a:pt x="940163" y="159775"/>
                      <a:pt x="940362" y="159755"/>
                    </a:cubicBezTo>
                    <a:lnTo>
                      <a:pt x="941777" y="160015"/>
                    </a:lnTo>
                    <a:lnTo>
                      <a:pt x="944607" y="160533"/>
                    </a:lnTo>
                    <a:lnTo>
                      <a:pt x="950266" y="161590"/>
                    </a:lnTo>
                    <a:lnTo>
                      <a:pt x="955926" y="162648"/>
                    </a:lnTo>
                    <a:lnTo>
                      <a:pt x="958755" y="163166"/>
                    </a:lnTo>
                    <a:lnTo>
                      <a:pt x="960170" y="163426"/>
                    </a:lnTo>
                    <a:cubicBezTo>
                      <a:pt x="960409" y="163466"/>
                      <a:pt x="960649" y="163525"/>
                      <a:pt x="960868" y="163545"/>
                    </a:cubicBezTo>
                    <a:lnTo>
                      <a:pt x="961804" y="163545"/>
                    </a:lnTo>
                    <a:lnTo>
                      <a:pt x="973123" y="161451"/>
                    </a:lnTo>
                    <a:lnTo>
                      <a:pt x="978783" y="160394"/>
                    </a:lnTo>
                    <a:cubicBezTo>
                      <a:pt x="980736" y="159895"/>
                      <a:pt x="982330" y="160254"/>
                      <a:pt x="984961" y="158120"/>
                    </a:cubicBezTo>
                    <a:cubicBezTo>
                      <a:pt x="989763" y="154948"/>
                      <a:pt x="994546" y="151617"/>
                      <a:pt x="999289" y="148146"/>
                    </a:cubicBezTo>
                    <a:cubicBezTo>
                      <a:pt x="1001660" y="146411"/>
                      <a:pt x="1004012" y="144636"/>
                      <a:pt x="1006363" y="142820"/>
                    </a:cubicBezTo>
                    <a:cubicBezTo>
                      <a:pt x="1006941" y="142322"/>
                      <a:pt x="1007539" y="142022"/>
                      <a:pt x="1008097" y="141344"/>
                    </a:cubicBezTo>
                    <a:lnTo>
                      <a:pt x="1009751" y="139110"/>
                    </a:lnTo>
                    <a:lnTo>
                      <a:pt x="1013039" y="134642"/>
                    </a:lnTo>
                    <a:lnTo>
                      <a:pt x="1026191" y="116750"/>
                    </a:lnTo>
                    <a:cubicBezTo>
                      <a:pt x="1028403" y="113798"/>
                      <a:pt x="1030516" y="110626"/>
                      <a:pt x="1032927" y="108153"/>
                    </a:cubicBezTo>
                    <a:lnTo>
                      <a:pt x="1036434" y="104223"/>
                    </a:lnTo>
                    <a:lnTo>
                      <a:pt x="1038188" y="102248"/>
                    </a:lnTo>
                    <a:cubicBezTo>
                      <a:pt x="1038766" y="101570"/>
                      <a:pt x="1039364" y="100932"/>
                      <a:pt x="1039962" y="100413"/>
                    </a:cubicBezTo>
                    <a:lnTo>
                      <a:pt x="1043509" y="96982"/>
                    </a:lnTo>
                    <a:lnTo>
                      <a:pt x="1045820" y="94688"/>
                    </a:lnTo>
                    <a:lnTo>
                      <a:pt x="1048650" y="91876"/>
                    </a:lnTo>
                    <a:lnTo>
                      <a:pt x="1054668" y="86769"/>
                    </a:lnTo>
                    <a:cubicBezTo>
                      <a:pt x="1058554" y="83159"/>
                      <a:pt x="1062919" y="80287"/>
                      <a:pt x="1067083" y="77095"/>
                    </a:cubicBezTo>
                    <a:cubicBezTo>
                      <a:pt x="1069116" y="75420"/>
                      <a:pt x="1071428" y="74203"/>
                      <a:pt x="1073600" y="72747"/>
                    </a:cubicBezTo>
                    <a:cubicBezTo>
                      <a:pt x="1075812" y="71370"/>
                      <a:pt x="1077964" y="69854"/>
                      <a:pt x="1080216" y="68558"/>
                    </a:cubicBezTo>
                    <a:cubicBezTo>
                      <a:pt x="1105963" y="53438"/>
                      <a:pt x="1135835" y="44741"/>
                      <a:pt x="1167919" y="41749"/>
                    </a:cubicBezTo>
                    <a:cubicBezTo>
                      <a:pt x="1171964" y="41490"/>
                      <a:pt x="1175970" y="41071"/>
                      <a:pt x="1180035" y="40891"/>
                    </a:cubicBezTo>
                    <a:lnTo>
                      <a:pt x="1192330" y="40592"/>
                    </a:lnTo>
                    <a:cubicBezTo>
                      <a:pt x="1194343" y="40552"/>
                      <a:pt x="1196057" y="40692"/>
                      <a:pt x="1197930" y="40712"/>
                    </a:cubicBezTo>
                    <a:cubicBezTo>
                      <a:pt x="1199763" y="40792"/>
                      <a:pt x="1201617" y="40712"/>
                      <a:pt x="1203430" y="40931"/>
                    </a:cubicBezTo>
                    <a:cubicBezTo>
                      <a:pt x="1207097" y="41230"/>
                      <a:pt x="1210764" y="41390"/>
                      <a:pt x="1214390" y="41968"/>
                    </a:cubicBezTo>
                    <a:cubicBezTo>
                      <a:pt x="1221704" y="42746"/>
                      <a:pt x="1228898" y="44342"/>
                      <a:pt x="1236092" y="46018"/>
                    </a:cubicBezTo>
                    <a:lnTo>
                      <a:pt x="1241453" y="47514"/>
                    </a:lnTo>
                    <a:lnTo>
                      <a:pt x="1244123" y="48252"/>
                    </a:lnTo>
                    <a:lnTo>
                      <a:pt x="1246773" y="49149"/>
                    </a:lnTo>
                    <a:lnTo>
                      <a:pt x="1252094" y="50885"/>
                    </a:lnTo>
                    <a:lnTo>
                      <a:pt x="1257335" y="52919"/>
                    </a:lnTo>
                    <a:cubicBezTo>
                      <a:pt x="1285314" y="63810"/>
                      <a:pt x="1311599" y="82002"/>
                      <a:pt x="1334376" y="105121"/>
                    </a:cubicBezTo>
                    <a:cubicBezTo>
                      <a:pt x="1345835" y="116630"/>
                      <a:pt x="1356357" y="129436"/>
                      <a:pt x="1365942" y="143120"/>
                    </a:cubicBezTo>
                    <a:cubicBezTo>
                      <a:pt x="1375547" y="156803"/>
                      <a:pt x="1384216" y="171365"/>
                      <a:pt x="1391908" y="186584"/>
                    </a:cubicBezTo>
                    <a:cubicBezTo>
                      <a:pt x="1393662" y="190075"/>
                      <a:pt x="1395316" y="193645"/>
                      <a:pt x="1397030" y="197176"/>
                    </a:cubicBezTo>
                    <a:cubicBezTo>
                      <a:pt x="1398684" y="200746"/>
                      <a:pt x="1400218" y="204377"/>
                      <a:pt x="1401832" y="207967"/>
                    </a:cubicBezTo>
                    <a:cubicBezTo>
                      <a:pt x="1403387" y="211598"/>
                      <a:pt x="1404821" y="215288"/>
                      <a:pt x="1406336" y="218938"/>
                    </a:cubicBezTo>
                    <a:lnTo>
                      <a:pt x="1406615" y="219616"/>
                    </a:lnTo>
                    <a:lnTo>
                      <a:pt x="1406754" y="219955"/>
                    </a:lnTo>
                    <a:lnTo>
                      <a:pt x="1407014" y="220653"/>
                    </a:lnTo>
                    <a:lnTo>
                      <a:pt x="1408149" y="223845"/>
                    </a:lnTo>
                    <a:lnTo>
                      <a:pt x="1410421" y="230248"/>
                    </a:lnTo>
                    <a:lnTo>
                      <a:pt x="1414965" y="243054"/>
                    </a:lnTo>
                    <a:lnTo>
                      <a:pt x="1415921" y="245767"/>
                    </a:lnTo>
                    <a:cubicBezTo>
                      <a:pt x="1416240" y="246664"/>
                      <a:pt x="1416838" y="247283"/>
                      <a:pt x="1417276" y="248041"/>
                    </a:cubicBezTo>
                    <a:lnTo>
                      <a:pt x="1420146" y="252429"/>
                    </a:lnTo>
                    <a:lnTo>
                      <a:pt x="1425905" y="261186"/>
                    </a:lnTo>
                    <a:lnTo>
                      <a:pt x="1428775" y="265574"/>
                    </a:lnTo>
                    <a:lnTo>
                      <a:pt x="1430210" y="267768"/>
                    </a:lnTo>
                    <a:lnTo>
                      <a:pt x="1430688" y="268227"/>
                    </a:lnTo>
                    <a:lnTo>
                      <a:pt x="1431246" y="268566"/>
                    </a:lnTo>
                    <a:lnTo>
                      <a:pt x="1432342" y="269264"/>
                    </a:lnTo>
                    <a:lnTo>
                      <a:pt x="1441170" y="274810"/>
                    </a:lnTo>
                    <a:lnTo>
                      <a:pt x="1449998" y="280355"/>
                    </a:lnTo>
                    <a:lnTo>
                      <a:pt x="1451094" y="281053"/>
                    </a:lnTo>
                    <a:cubicBezTo>
                      <a:pt x="1451473" y="281272"/>
                      <a:pt x="1451991" y="281352"/>
                      <a:pt x="1452429" y="281532"/>
                    </a:cubicBezTo>
                    <a:lnTo>
                      <a:pt x="1455179" y="282409"/>
                    </a:lnTo>
                    <a:lnTo>
                      <a:pt x="1460659" y="284145"/>
                    </a:lnTo>
                    <a:lnTo>
                      <a:pt x="1471620" y="287635"/>
                    </a:lnTo>
                    <a:lnTo>
                      <a:pt x="1476821" y="289311"/>
                    </a:lnTo>
                    <a:lnTo>
                      <a:pt x="1479192" y="290209"/>
                    </a:lnTo>
                    <a:cubicBezTo>
                      <a:pt x="1482301" y="291425"/>
                      <a:pt x="1485609" y="292582"/>
                      <a:pt x="1488558" y="293819"/>
                    </a:cubicBezTo>
                    <a:lnTo>
                      <a:pt x="1497207" y="297509"/>
                    </a:lnTo>
                    <a:lnTo>
                      <a:pt x="1505716" y="301538"/>
                    </a:lnTo>
                    <a:cubicBezTo>
                      <a:pt x="1508546" y="302875"/>
                      <a:pt x="1511276" y="304431"/>
                      <a:pt x="1514066" y="305847"/>
                    </a:cubicBezTo>
                    <a:cubicBezTo>
                      <a:pt x="1536126" y="317696"/>
                      <a:pt x="1556632" y="332416"/>
                      <a:pt x="1574468" y="349750"/>
                    </a:cubicBezTo>
                    <a:cubicBezTo>
                      <a:pt x="1586106" y="360941"/>
                      <a:pt x="1596528" y="373268"/>
                      <a:pt x="1605794" y="386313"/>
                    </a:cubicBezTo>
                    <a:cubicBezTo>
                      <a:pt x="1615041" y="399378"/>
                      <a:pt x="1623052" y="413242"/>
                      <a:pt x="1629469" y="427763"/>
                    </a:cubicBezTo>
                    <a:cubicBezTo>
                      <a:pt x="1635925" y="442264"/>
                      <a:pt x="1640967" y="457324"/>
                      <a:pt x="1644494" y="472723"/>
                    </a:cubicBezTo>
                    <a:cubicBezTo>
                      <a:pt x="1647962" y="488142"/>
                      <a:pt x="1649815" y="503901"/>
                      <a:pt x="1650174" y="519758"/>
                    </a:cubicBezTo>
                    <a:cubicBezTo>
                      <a:pt x="1650393" y="525264"/>
                      <a:pt x="1650293" y="530789"/>
                      <a:pt x="1650034" y="536275"/>
                    </a:cubicBezTo>
                    <a:lnTo>
                      <a:pt x="1649795" y="540384"/>
                    </a:lnTo>
                    <a:lnTo>
                      <a:pt x="1649735" y="541421"/>
                    </a:lnTo>
                    <a:lnTo>
                      <a:pt x="1649576" y="543396"/>
                    </a:lnTo>
                    <a:lnTo>
                      <a:pt x="1649177" y="548143"/>
                    </a:lnTo>
                    <a:cubicBezTo>
                      <a:pt x="1648480" y="555005"/>
                      <a:pt x="1647503" y="561886"/>
                      <a:pt x="1646228" y="568848"/>
                    </a:cubicBezTo>
                    <a:cubicBezTo>
                      <a:pt x="1644713" y="577146"/>
                      <a:pt x="1645052" y="585145"/>
                      <a:pt x="1646467" y="592126"/>
                    </a:cubicBezTo>
                    <a:cubicBezTo>
                      <a:pt x="1646646" y="593004"/>
                      <a:pt x="1646786" y="593901"/>
                      <a:pt x="1647005" y="594759"/>
                    </a:cubicBezTo>
                    <a:lnTo>
                      <a:pt x="1647723" y="597213"/>
                    </a:lnTo>
                    <a:lnTo>
                      <a:pt x="1648440" y="599666"/>
                    </a:lnTo>
                    <a:cubicBezTo>
                      <a:pt x="1648699" y="600464"/>
                      <a:pt x="1649018" y="601162"/>
                      <a:pt x="1649297" y="601920"/>
                    </a:cubicBezTo>
                    <a:lnTo>
                      <a:pt x="1650194" y="604154"/>
                    </a:lnTo>
                    <a:cubicBezTo>
                      <a:pt x="1650473" y="604852"/>
                      <a:pt x="1650752" y="605770"/>
                      <a:pt x="1651489" y="606368"/>
                    </a:cubicBezTo>
                    <a:lnTo>
                      <a:pt x="1655235" y="610358"/>
                    </a:lnTo>
                    <a:lnTo>
                      <a:pt x="1670201" y="626275"/>
                    </a:lnTo>
                    <a:lnTo>
                      <a:pt x="1673948" y="630265"/>
                    </a:lnTo>
                    <a:lnTo>
                      <a:pt x="1675821" y="632259"/>
                    </a:lnTo>
                    <a:cubicBezTo>
                      <a:pt x="1676439" y="632918"/>
                      <a:pt x="1676997" y="633616"/>
                      <a:pt x="1677973" y="634134"/>
                    </a:cubicBezTo>
                    <a:lnTo>
                      <a:pt x="1688575" y="640737"/>
                    </a:lnTo>
                    <a:cubicBezTo>
                      <a:pt x="1690428" y="641814"/>
                      <a:pt x="1691903" y="642991"/>
                      <a:pt x="1693517" y="644128"/>
                    </a:cubicBezTo>
                    <a:lnTo>
                      <a:pt x="1698280" y="647559"/>
                    </a:lnTo>
                    <a:lnTo>
                      <a:pt x="1702983" y="650910"/>
                    </a:lnTo>
                    <a:cubicBezTo>
                      <a:pt x="1704397" y="651847"/>
                      <a:pt x="1705673" y="652944"/>
                      <a:pt x="1706968" y="654002"/>
                    </a:cubicBezTo>
                    <a:lnTo>
                      <a:pt x="1710874" y="657213"/>
                    </a:lnTo>
                    <a:cubicBezTo>
                      <a:pt x="1713465" y="659367"/>
                      <a:pt x="1716135" y="661422"/>
                      <a:pt x="1718686" y="663616"/>
                    </a:cubicBezTo>
                    <a:lnTo>
                      <a:pt x="1726079" y="670498"/>
                    </a:lnTo>
                    <a:cubicBezTo>
                      <a:pt x="1731181" y="674906"/>
                      <a:pt x="1735585" y="680012"/>
                      <a:pt x="1740288" y="684820"/>
                    </a:cubicBezTo>
                    <a:cubicBezTo>
                      <a:pt x="1742699" y="687173"/>
                      <a:pt x="1744791" y="689806"/>
                      <a:pt x="1746943" y="692380"/>
                    </a:cubicBezTo>
                    <a:lnTo>
                      <a:pt x="1753420" y="700079"/>
                    </a:lnTo>
                    <a:cubicBezTo>
                      <a:pt x="1755513" y="702692"/>
                      <a:pt x="1757386" y="705485"/>
                      <a:pt x="1759418" y="708158"/>
                    </a:cubicBezTo>
                    <a:lnTo>
                      <a:pt x="1762408" y="712207"/>
                    </a:lnTo>
                    <a:cubicBezTo>
                      <a:pt x="1763384" y="713563"/>
                      <a:pt x="1764460" y="714860"/>
                      <a:pt x="1765297" y="716316"/>
                    </a:cubicBezTo>
                    <a:lnTo>
                      <a:pt x="1770698" y="724773"/>
                    </a:lnTo>
                    <a:lnTo>
                      <a:pt x="1773428" y="728982"/>
                    </a:lnTo>
                    <a:cubicBezTo>
                      <a:pt x="1774305" y="730399"/>
                      <a:pt x="1775042" y="731915"/>
                      <a:pt x="1775879" y="733371"/>
                    </a:cubicBezTo>
                    <a:lnTo>
                      <a:pt x="1781758" y="743982"/>
                    </a:lnTo>
                    <a:cubicBezTo>
                      <a:pt x="1783571" y="747593"/>
                      <a:pt x="1785185" y="751303"/>
                      <a:pt x="1786939" y="754933"/>
                    </a:cubicBezTo>
                    <a:lnTo>
                      <a:pt x="1789549" y="760399"/>
                    </a:lnTo>
                    <a:lnTo>
                      <a:pt x="1791722" y="766044"/>
                    </a:lnTo>
                    <a:cubicBezTo>
                      <a:pt x="1793156" y="769814"/>
                      <a:pt x="1794711" y="773544"/>
                      <a:pt x="1796106" y="777314"/>
                    </a:cubicBezTo>
                    <a:lnTo>
                      <a:pt x="1799733" y="788843"/>
                    </a:lnTo>
                    <a:cubicBezTo>
                      <a:pt x="1800291" y="790778"/>
                      <a:pt x="1801068" y="792653"/>
                      <a:pt x="1801486" y="794628"/>
                    </a:cubicBezTo>
                    <a:lnTo>
                      <a:pt x="1802901" y="800512"/>
                    </a:lnTo>
                    <a:lnTo>
                      <a:pt x="1804336" y="806377"/>
                    </a:lnTo>
                    <a:cubicBezTo>
                      <a:pt x="1804794" y="808331"/>
                      <a:pt x="1805412" y="810266"/>
                      <a:pt x="1805651" y="812261"/>
                    </a:cubicBezTo>
                    <a:lnTo>
                      <a:pt x="1807704" y="824169"/>
                    </a:lnTo>
                    <a:cubicBezTo>
                      <a:pt x="1808561" y="828119"/>
                      <a:pt x="1808740" y="832168"/>
                      <a:pt x="1809198" y="836177"/>
                    </a:cubicBezTo>
                    <a:lnTo>
                      <a:pt x="1809836" y="842201"/>
                    </a:lnTo>
                    <a:cubicBezTo>
                      <a:pt x="1810055" y="844216"/>
                      <a:pt x="1810314" y="846211"/>
                      <a:pt x="1810314" y="848245"/>
                    </a:cubicBezTo>
                    <a:cubicBezTo>
                      <a:pt x="1810474" y="856324"/>
                      <a:pt x="1811111" y="864402"/>
                      <a:pt x="1810733" y="872501"/>
                    </a:cubicBezTo>
                    <a:cubicBezTo>
                      <a:pt x="1810235" y="888678"/>
                      <a:pt x="1808262" y="904735"/>
                      <a:pt x="1804814" y="920473"/>
                    </a:cubicBezTo>
                    <a:cubicBezTo>
                      <a:pt x="1804416" y="922348"/>
                      <a:pt x="1803997" y="924223"/>
                      <a:pt x="1803519" y="926098"/>
                    </a:cubicBezTo>
                    <a:cubicBezTo>
                      <a:pt x="1803080" y="927973"/>
                      <a:pt x="1802622" y="929828"/>
                      <a:pt x="1802104" y="931684"/>
                    </a:cubicBezTo>
                    <a:lnTo>
                      <a:pt x="1801725" y="933080"/>
                    </a:lnTo>
                    <a:lnTo>
                      <a:pt x="1801367" y="934476"/>
                    </a:lnTo>
                    <a:lnTo>
                      <a:pt x="1800849" y="936231"/>
                    </a:lnTo>
                    <a:lnTo>
                      <a:pt x="1798716" y="943033"/>
                    </a:lnTo>
                    <a:lnTo>
                      <a:pt x="1796564" y="949835"/>
                    </a:lnTo>
                    <a:lnTo>
                      <a:pt x="1794153" y="956617"/>
                    </a:lnTo>
                    <a:lnTo>
                      <a:pt x="1792240" y="962901"/>
                    </a:lnTo>
                    <a:cubicBezTo>
                      <a:pt x="1791841" y="963958"/>
                      <a:pt x="1791821" y="964955"/>
                      <a:pt x="1791682" y="965972"/>
                    </a:cubicBezTo>
                    <a:lnTo>
                      <a:pt x="1791303" y="969024"/>
                    </a:lnTo>
                    <a:cubicBezTo>
                      <a:pt x="1790885" y="973054"/>
                      <a:pt x="1789928" y="977322"/>
                      <a:pt x="1790626" y="980853"/>
                    </a:cubicBezTo>
                    <a:lnTo>
                      <a:pt x="1791104" y="986378"/>
                    </a:lnTo>
                    <a:lnTo>
                      <a:pt x="1791343" y="989151"/>
                    </a:lnTo>
                    <a:lnTo>
                      <a:pt x="1791482" y="989869"/>
                    </a:lnTo>
                    <a:lnTo>
                      <a:pt x="1791781" y="990527"/>
                    </a:lnTo>
                    <a:lnTo>
                      <a:pt x="1792399" y="991864"/>
                    </a:lnTo>
                    <a:lnTo>
                      <a:pt x="1797361" y="1002515"/>
                    </a:lnTo>
                    <a:lnTo>
                      <a:pt x="1802323" y="1013167"/>
                    </a:lnTo>
                    <a:cubicBezTo>
                      <a:pt x="1802742" y="1014045"/>
                      <a:pt x="1803140" y="1014942"/>
                      <a:pt x="1803579" y="1015820"/>
                    </a:cubicBezTo>
                    <a:lnTo>
                      <a:pt x="1805591" y="1018233"/>
                    </a:lnTo>
                    <a:lnTo>
                      <a:pt x="1809617" y="1023041"/>
                    </a:lnTo>
                    <a:lnTo>
                      <a:pt x="1817668" y="1032655"/>
                    </a:lnTo>
                    <a:cubicBezTo>
                      <a:pt x="1820159" y="1035647"/>
                      <a:pt x="1823785" y="1039856"/>
                      <a:pt x="1824124" y="1040554"/>
                    </a:cubicBezTo>
                    <a:cubicBezTo>
                      <a:pt x="1832952" y="1052123"/>
                      <a:pt x="1840664" y="1064431"/>
                      <a:pt x="1847619" y="1077097"/>
                    </a:cubicBezTo>
                    <a:cubicBezTo>
                      <a:pt x="1861609" y="1102430"/>
                      <a:pt x="1871214" y="1129897"/>
                      <a:pt x="1876953" y="1158042"/>
                    </a:cubicBezTo>
                    <a:cubicBezTo>
                      <a:pt x="1880062" y="1174079"/>
                      <a:pt x="1881756" y="1190376"/>
                      <a:pt x="1882055" y="1206752"/>
                    </a:cubicBezTo>
                    <a:cubicBezTo>
                      <a:pt x="1882433" y="1223129"/>
                      <a:pt x="1881337" y="1239525"/>
                      <a:pt x="1878906" y="1255662"/>
                    </a:cubicBezTo>
                    <a:cubicBezTo>
                      <a:pt x="1876375" y="1271799"/>
                      <a:pt x="1872449" y="1287697"/>
                      <a:pt x="1867188" y="1303176"/>
                    </a:cubicBezTo>
                    <a:cubicBezTo>
                      <a:pt x="1864618" y="1310935"/>
                      <a:pt x="1861529" y="1318515"/>
                      <a:pt x="1858340" y="1326055"/>
                    </a:cubicBezTo>
                    <a:cubicBezTo>
                      <a:pt x="1856587" y="1329765"/>
                      <a:pt x="1854953" y="1333515"/>
                      <a:pt x="1853139" y="1337186"/>
                    </a:cubicBezTo>
                    <a:cubicBezTo>
                      <a:pt x="1851226" y="1340816"/>
                      <a:pt x="1849532" y="1344546"/>
                      <a:pt x="1847460" y="1348097"/>
                    </a:cubicBezTo>
                    <a:cubicBezTo>
                      <a:pt x="1839568" y="1362498"/>
                      <a:pt x="1830501" y="1376302"/>
                      <a:pt x="1820298" y="1389287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20" name="Freeform 12">
                <a:extLst>
                  <a:ext uri="{FF2B5EF4-FFF2-40B4-BE49-F238E27FC236}">
                    <a16:creationId xmlns:a16="http://schemas.microsoft.com/office/drawing/2014/main" id="{4062F0A4-B986-13BD-F317-37EF92BF4001}"/>
                  </a:ext>
                </a:extLst>
              </p:cNvPr>
              <p:cNvSpPr/>
              <p:nvPr/>
            </p:nvSpPr>
            <p:spPr>
              <a:xfrm>
                <a:off x="3582884" y="2951523"/>
                <a:ext cx="342660" cy="341292"/>
              </a:xfrm>
              <a:custGeom>
                <a:avLst/>
                <a:gdLst>
                  <a:gd name="connsiteX0" fmla="*/ 44878 w 342660"/>
                  <a:gd name="connsiteY0" fmla="*/ 126623 h 341292"/>
                  <a:gd name="connsiteX1" fmla="*/ 44878 w 342660"/>
                  <a:gd name="connsiteY1" fmla="*/ 256279 h 341292"/>
                  <a:gd name="connsiteX2" fmla="*/ 103685 w 342660"/>
                  <a:gd name="connsiteY2" fmla="*/ 315142 h 341292"/>
                  <a:gd name="connsiteX3" fmla="*/ 225863 w 342660"/>
                  <a:gd name="connsiteY3" fmla="*/ 315142 h 341292"/>
                  <a:gd name="connsiteX4" fmla="*/ 277835 w 342660"/>
                  <a:gd name="connsiteY4" fmla="*/ 341293 h 341292"/>
                  <a:gd name="connsiteX5" fmla="*/ 342660 w 342660"/>
                  <a:gd name="connsiteY5" fmla="*/ 276405 h 341292"/>
                  <a:gd name="connsiteX6" fmla="*/ 277835 w 342660"/>
                  <a:gd name="connsiteY6" fmla="*/ 211518 h 341292"/>
                  <a:gd name="connsiteX7" fmla="*/ 213049 w 342660"/>
                  <a:gd name="connsiteY7" fmla="*/ 275248 h 341292"/>
                  <a:gd name="connsiteX8" fmla="*/ 103705 w 342660"/>
                  <a:gd name="connsiteY8" fmla="*/ 275248 h 341292"/>
                  <a:gd name="connsiteX9" fmla="*/ 84753 w 342660"/>
                  <a:gd name="connsiteY9" fmla="*/ 256279 h 341292"/>
                  <a:gd name="connsiteX10" fmla="*/ 84753 w 342660"/>
                  <a:gd name="connsiteY10" fmla="*/ 126623 h 341292"/>
                  <a:gd name="connsiteX11" fmla="*/ 129651 w 342660"/>
                  <a:gd name="connsiteY11" fmla="*/ 64888 h 341292"/>
                  <a:gd name="connsiteX12" fmla="*/ 64826 w 342660"/>
                  <a:gd name="connsiteY12" fmla="*/ 0 h 341292"/>
                  <a:gd name="connsiteX13" fmla="*/ 0 w 342660"/>
                  <a:gd name="connsiteY13" fmla="*/ 64888 h 341292"/>
                  <a:gd name="connsiteX14" fmla="*/ 44898 w 342660"/>
                  <a:gd name="connsiteY14" fmla="*/ 126623 h 341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2660" h="341292">
                    <a:moveTo>
                      <a:pt x="44878" y="126623"/>
                    </a:moveTo>
                    <a:lnTo>
                      <a:pt x="44878" y="256279"/>
                    </a:lnTo>
                    <a:cubicBezTo>
                      <a:pt x="44878" y="288733"/>
                      <a:pt x="71262" y="315142"/>
                      <a:pt x="103685" y="315142"/>
                    </a:cubicBezTo>
                    <a:lnTo>
                      <a:pt x="225863" y="315142"/>
                    </a:lnTo>
                    <a:cubicBezTo>
                      <a:pt x="237700" y="331000"/>
                      <a:pt x="256592" y="341293"/>
                      <a:pt x="277835" y="341293"/>
                    </a:cubicBezTo>
                    <a:cubicBezTo>
                      <a:pt x="313585" y="341293"/>
                      <a:pt x="342660" y="312190"/>
                      <a:pt x="342660" y="276405"/>
                    </a:cubicBezTo>
                    <a:cubicBezTo>
                      <a:pt x="342660" y="240620"/>
                      <a:pt x="313585" y="211518"/>
                      <a:pt x="277835" y="211518"/>
                    </a:cubicBezTo>
                    <a:cubicBezTo>
                      <a:pt x="242084" y="211518"/>
                      <a:pt x="213667" y="240002"/>
                      <a:pt x="213049" y="275248"/>
                    </a:cubicBezTo>
                    <a:lnTo>
                      <a:pt x="103705" y="275248"/>
                    </a:lnTo>
                    <a:cubicBezTo>
                      <a:pt x="93243" y="275248"/>
                      <a:pt x="84753" y="266731"/>
                      <a:pt x="84753" y="256279"/>
                    </a:cubicBezTo>
                    <a:lnTo>
                      <a:pt x="84753" y="126623"/>
                    </a:lnTo>
                    <a:cubicBezTo>
                      <a:pt x="110779" y="118186"/>
                      <a:pt x="129651" y="93711"/>
                      <a:pt x="129651" y="64888"/>
                    </a:cubicBezTo>
                    <a:cubicBezTo>
                      <a:pt x="129651" y="29103"/>
                      <a:pt x="100576" y="0"/>
                      <a:pt x="64826" y="0"/>
                    </a:cubicBezTo>
                    <a:cubicBezTo>
                      <a:pt x="29075" y="0"/>
                      <a:pt x="0" y="29103"/>
                      <a:pt x="0" y="64888"/>
                    </a:cubicBezTo>
                    <a:cubicBezTo>
                      <a:pt x="0" y="93711"/>
                      <a:pt x="18872" y="118186"/>
                      <a:pt x="44898" y="126623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F5918486-0BD7-4AB3-CB53-1001168F9FB9}"/>
                  </a:ext>
                </a:extLst>
              </p:cNvPr>
              <p:cNvSpPr/>
              <p:nvPr/>
            </p:nvSpPr>
            <p:spPr>
              <a:xfrm>
                <a:off x="3626487" y="3781576"/>
                <a:ext cx="479285" cy="406579"/>
              </a:xfrm>
              <a:custGeom>
                <a:avLst/>
                <a:gdLst>
                  <a:gd name="connsiteX0" fmla="*/ 434388 w 479285"/>
                  <a:gd name="connsiteY0" fmla="*/ 279956 h 406579"/>
                  <a:gd name="connsiteX1" fmla="*/ 434388 w 479285"/>
                  <a:gd name="connsiteY1" fmla="*/ 250175 h 406579"/>
                  <a:gd name="connsiteX2" fmla="*/ 414281 w 479285"/>
                  <a:gd name="connsiteY2" fmla="*/ 199550 h 406579"/>
                  <a:gd name="connsiteX3" fmla="*/ 363704 w 479285"/>
                  <a:gd name="connsiteY3" fmla="*/ 145912 h 406579"/>
                  <a:gd name="connsiteX4" fmla="*/ 314582 w 479285"/>
                  <a:gd name="connsiteY4" fmla="*/ 124709 h 406579"/>
                  <a:gd name="connsiteX5" fmla="*/ 195891 w 479285"/>
                  <a:gd name="connsiteY5" fmla="*/ 124709 h 406579"/>
                  <a:gd name="connsiteX6" fmla="*/ 195891 w 479285"/>
                  <a:gd name="connsiteY6" fmla="*/ 0 h 406579"/>
                  <a:gd name="connsiteX7" fmla="*/ 156035 w 479285"/>
                  <a:gd name="connsiteY7" fmla="*/ 0 h 406579"/>
                  <a:gd name="connsiteX8" fmla="*/ 156035 w 479285"/>
                  <a:gd name="connsiteY8" fmla="*/ 221571 h 406579"/>
                  <a:gd name="connsiteX9" fmla="*/ 137084 w 479285"/>
                  <a:gd name="connsiteY9" fmla="*/ 240541 h 406579"/>
                  <a:gd name="connsiteX10" fmla="*/ 0 w 479285"/>
                  <a:gd name="connsiteY10" fmla="*/ 240541 h 406579"/>
                  <a:gd name="connsiteX11" fmla="*/ 0 w 479285"/>
                  <a:gd name="connsiteY11" fmla="*/ 280435 h 406579"/>
                  <a:gd name="connsiteX12" fmla="*/ 137084 w 479285"/>
                  <a:gd name="connsiteY12" fmla="*/ 280435 h 406579"/>
                  <a:gd name="connsiteX13" fmla="*/ 195891 w 479285"/>
                  <a:gd name="connsiteY13" fmla="*/ 221571 h 406579"/>
                  <a:gd name="connsiteX14" fmla="*/ 195891 w 479285"/>
                  <a:gd name="connsiteY14" fmla="*/ 164603 h 406579"/>
                  <a:gd name="connsiteX15" fmla="*/ 314582 w 479285"/>
                  <a:gd name="connsiteY15" fmla="*/ 164603 h 406579"/>
                  <a:gd name="connsiteX16" fmla="*/ 334729 w 479285"/>
                  <a:gd name="connsiteY16" fmla="*/ 173299 h 406579"/>
                  <a:gd name="connsiteX17" fmla="*/ 385306 w 479285"/>
                  <a:gd name="connsiteY17" fmla="*/ 226937 h 406579"/>
                  <a:gd name="connsiteX18" fmla="*/ 394532 w 479285"/>
                  <a:gd name="connsiteY18" fmla="*/ 250175 h 406579"/>
                  <a:gd name="connsiteX19" fmla="*/ 394532 w 479285"/>
                  <a:gd name="connsiteY19" fmla="*/ 279956 h 406579"/>
                  <a:gd name="connsiteX20" fmla="*/ 349635 w 479285"/>
                  <a:gd name="connsiteY20" fmla="*/ 341692 h 406579"/>
                  <a:gd name="connsiteX21" fmla="*/ 414460 w 479285"/>
                  <a:gd name="connsiteY21" fmla="*/ 406579 h 406579"/>
                  <a:gd name="connsiteX22" fmla="*/ 479286 w 479285"/>
                  <a:gd name="connsiteY22" fmla="*/ 341692 h 406579"/>
                  <a:gd name="connsiteX23" fmla="*/ 434388 w 479285"/>
                  <a:gd name="connsiteY23" fmla="*/ 279956 h 406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479285" h="406579">
                    <a:moveTo>
                      <a:pt x="434388" y="279956"/>
                    </a:moveTo>
                    <a:lnTo>
                      <a:pt x="434388" y="250175"/>
                    </a:lnTo>
                    <a:cubicBezTo>
                      <a:pt x="434388" y="231285"/>
                      <a:pt x="427254" y="213293"/>
                      <a:pt x="414281" y="199550"/>
                    </a:cubicBezTo>
                    <a:lnTo>
                      <a:pt x="363704" y="145912"/>
                    </a:lnTo>
                    <a:cubicBezTo>
                      <a:pt x="350990" y="132428"/>
                      <a:pt x="333095" y="124709"/>
                      <a:pt x="314582" y="124709"/>
                    </a:cubicBezTo>
                    <a:lnTo>
                      <a:pt x="195891" y="124709"/>
                    </a:lnTo>
                    <a:lnTo>
                      <a:pt x="195891" y="0"/>
                    </a:lnTo>
                    <a:lnTo>
                      <a:pt x="156035" y="0"/>
                    </a:lnTo>
                    <a:lnTo>
                      <a:pt x="156035" y="221571"/>
                    </a:lnTo>
                    <a:cubicBezTo>
                      <a:pt x="156035" y="232043"/>
                      <a:pt x="147526" y="240541"/>
                      <a:pt x="137084" y="240541"/>
                    </a:cubicBezTo>
                    <a:lnTo>
                      <a:pt x="0" y="240541"/>
                    </a:lnTo>
                    <a:lnTo>
                      <a:pt x="0" y="280435"/>
                    </a:lnTo>
                    <a:lnTo>
                      <a:pt x="137084" y="280435"/>
                    </a:lnTo>
                    <a:cubicBezTo>
                      <a:pt x="169507" y="280435"/>
                      <a:pt x="195891" y="254025"/>
                      <a:pt x="195891" y="221571"/>
                    </a:cubicBezTo>
                    <a:lnTo>
                      <a:pt x="195891" y="164603"/>
                    </a:lnTo>
                    <a:lnTo>
                      <a:pt x="314582" y="164603"/>
                    </a:lnTo>
                    <a:cubicBezTo>
                      <a:pt x="322174" y="164603"/>
                      <a:pt x="329508" y="167774"/>
                      <a:pt x="334729" y="173299"/>
                    </a:cubicBezTo>
                    <a:lnTo>
                      <a:pt x="385306" y="226937"/>
                    </a:lnTo>
                    <a:cubicBezTo>
                      <a:pt x="391264" y="233240"/>
                      <a:pt x="394532" y="241498"/>
                      <a:pt x="394532" y="250175"/>
                    </a:cubicBezTo>
                    <a:lnTo>
                      <a:pt x="394532" y="279956"/>
                    </a:lnTo>
                    <a:cubicBezTo>
                      <a:pt x="368507" y="288393"/>
                      <a:pt x="349635" y="312868"/>
                      <a:pt x="349635" y="341692"/>
                    </a:cubicBezTo>
                    <a:cubicBezTo>
                      <a:pt x="349635" y="377477"/>
                      <a:pt x="378710" y="406579"/>
                      <a:pt x="414460" y="406579"/>
                    </a:cubicBezTo>
                    <a:cubicBezTo>
                      <a:pt x="450211" y="406579"/>
                      <a:pt x="479286" y="377477"/>
                      <a:pt x="479286" y="341692"/>
                    </a:cubicBezTo>
                    <a:cubicBezTo>
                      <a:pt x="479286" y="312868"/>
                      <a:pt x="460414" y="288393"/>
                      <a:pt x="434388" y="279956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F4FB8315-D9AC-C78D-F359-7F47C1F209D3}"/>
                  </a:ext>
                </a:extLst>
              </p:cNvPr>
              <p:cNvSpPr/>
              <p:nvPr/>
            </p:nvSpPr>
            <p:spPr>
              <a:xfrm>
                <a:off x="2570826" y="3474951"/>
                <a:ext cx="378669" cy="270760"/>
              </a:xfrm>
              <a:custGeom>
                <a:avLst/>
                <a:gdLst>
                  <a:gd name="connsiteX0" fmla="*/ 64806 w 378669"/>
                  <a:gd name="connsiteY0" fmla="*/ 270760 h 270760"/>
                  <a:gd name="connsiteX1" fmla="*/ 129631 w 378669"/>
                  <a:gd name="connsiteY1" fmla="*/ 205873 h 270760"/>
                  <a:gd name="connsiteX2" fmla="*/ 84733 w 378669"/>
                  <a:gd name="connsiteY2" fmla="*/ 144137 h 270760"/>
                  <a:gd name="connsiteX3" fmla="*/ 84733 w 378669"/>
                  <a:gd name="connsiteY3" fmla="*/ 81224 h 270760"/>
                  <a:gd name="connsiteX4" fmla="*/ 126004 w 378669"/>
                  <a:gd name="connsiteY4" fmla="*/ 39914 h 270760"/>
                  <a:gd name="connsiteX5" fmla="*/ 213747 w 378669"/>
                  <a:gd name="connsiteY5" fmla="*/ 39914 h 270760"/>
                  <a:gd name="connsiteX6" fmla="*/ 238457 w 378669"/>
                  <a:gd name="connsiteY6" fmla="*/ 50945 h 270760"/>
                  <a:gd name="connsiteX7" fmla="*/ 348997 w 378669"/>
                  <a:gd name="connsiteY7" fmla="*/ 174257 h 270760"/>
                  <a:gd name="connsiteX8" fmla="*/ 378670 w 378669"/>
                  <a:gd name="connsiteY8" fmla="*/ 147608 h 270760"/>
                  <a:gd name="connsiteX9" fmla="*/ 268130 w 378669"/>
                  <a:gd name="connsiteY9" fmla="*/ 24295 h 270760"/>
                  <a:gd name="connsiteX10" fmla="*/ 213767 w 378669"/>
                  <a:gd name="connsiteY10" fmla="*/ 0 h 270760"/>
                  <a:gd name="connsiteX11" fmla="*/ 126024 w 378669"/>
                  <a:gd name="connsiteY11" fmla="*/ 0 h 270760"/>
                  <a:gd name="connsiteX12" fmla="*/ 44898 w 378669"/>
                  <a:gd name="connsiteY12" fmla="*/ 81204 h 270760"/>
                  <a:gd name="connsiteX13" fmla="*/ 44898 w 378669"/>
                  <a:gd name="connsiteY13" fmla="*/ 144117 h 270760"/>
                  <a:gd name="connsiteX14" fmla="*/ 0 w 378669"/>
                  <a:gd name="connsiteY14" fmla="*/ 205853 h 270760"/>
                  <a:gd name="connsiteX15" fmla="*/ 64825 w 378669"/>
                  <a:gd name="connsiteY15" fmla="*/ 270740 h 270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78669" h="270760">
                    <a:moveTo>
                      <a:pt x="64806" y="270760"/>
                    </a:moveTo>
                    <a:cubicBezTo>
                      <a:pt x="100556" y="270760"/>
                      <a:pt x="129631" y="241658"/>
                      <a:pt x="129631" y="205873"/>
                    </a:cubicBezTo>
                    <a:cubicBezTo>
                      <a:pt x="129631" y="177049"/>
                      <a:pt x="110759" y="152574"/>
                      <a:pt x="84733" y="144137"/>
                    </a:cubicBezTo>
                    <a:lnTo>
                      <a:pt x="84733" y="81224"/>
                    </a:lnTo>
                    <a:cubicBezTo>
                      <a:pt x="84733" y="58445"/>
                      <a:pt x="103246" y="39914"/>
                      <a:pt x="126004" y="39914"/>
                    </a:cubicBezTo>
                    <a:lnTo>
                      <a:pt x="213747" y="39914"/>
                    </a:lnTo>
                    <a:cubicBezTo>
                      <a:pt x="223153" y="39914"/>
                      <a:pt x="232160" y="43943"/>
                      <a:pt x="238457" y="50945"/>
                    </a:cubicBezTo>
                    <a:lnTo>
                      <a:pt x="348997" y="174257"/>
                    </a:lnTo>
                    <a:lnTo>
                      <a:pt x="378670" y="147608"/>
                    </a:lnTo>
                    <a:lnTo>
                      <a:pt x="268130" y="24295"/>
                    </a:lnTo>
                    <a:cubicBezTo>
                      <a:pt x="254300" y="8856"/>
                      <a:pt x="234472" y="0"/>
                      <a:pt x="213767" y="0"/>
                    </a:cubicBezTo>
                    <a:lnTo>
                      <a:pt x="126024" y="0"/>
                    </a:lnTo>
                    <a:cubicBezTo>
                      <a:pt x="81286" y="0"/>
                      <a:pt x="44898" y="36423"/>
                      <a:pt x="44898" y="81204"/>
                    </a:cubicBezTo>
                    <a:lnTo>
                      <a:pt x="44898" y="144117"/>
                    </a:lnTo>
                    <a:cubicBezTo>
                      <a:pt x="18872" y="152555"/>
                      <a:pt x="0" y="177029"/>
                      <a:pt x="0" y="205853"/>
                    </a:cubicBezTo>
                    <a:cubicBezTo>
                      <a:pt x="0" y="241638"/>
                      <a:pt x="29075" y="270740"/>
                      <a:pt x="64825" y="27074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171D6C42-B017-0836-F12E-4EF940570FDB}"/>
                  </a:ext>
                </a:extLst>
              </p:cNvPr>
              <p:cNvSpPr/>
              <p:nvPr/>
            </p:nvSpPr>
            <p:spPr>
              <a:xfrm>
                <a:off x="2896747" y="4152969"/>
                <a:ext cx="213846" cy="423893"/>
              </a:xfrm>
              <a:custGeom>
                <a:avLst/>
                <a:gdLst>
                  <a:gd name="connsiteX0" fmla="*/ 81565 w 213846"/>
                  <a:gd name="connsiteY0" fmla="*/ 107793 h 423893"/>
                  <a:gd name="connsiteX1" fmla="*/ 44898 w 213846"/>
                  <a:gd name="connsiteY1" fmla="*/ 198891 h 423893"/>
                  <a:gd name="connsiteX2" fmla="*/ 44898 w 213846"/>
                  <a:gd name="connsiteY2" fmla="*/ 297270 h 423893"/>
                  <a:gd name="connsiteX3" fmla="*/ 0 w 213846"/>
                  <a:gd name="connsiteY3" fmla="*/ 359006 h 423893"/>
                  <a:gd name="connsiteX4" fmla="*/ 64825 w 213846"/>
                  <a:gd name="connsiteY4" fmla="*/ 423893 h 423893"/>
                  <a:gd name="connsiteX5" fmla="*/ 129651 w 213846"/>
                  <a:gd name="connsiteY5" fmla="*/ 359006 h 423893"/>
                  <a:gd name="connsiteX6" fmla="*/ 84753 w 213846"/>
                  <a:gd name="connsiteY6" fmla="*/ 297270 h 423893"/>
                  <a:gd name="connsiteX7" fmla="*/ 84753 w 213846"/>
                  <a:gd name="connsiteY7" fmla="*/ 198891 h 423893"/>
                  <a:gd name="connsiteX8" fmla="*/ 110281 w 213846"/>
                  <a:gd name="connsiteY8" fmla="*/ 135440 h 423893"/>
                  <a:gd name="connsiteX9" fmla="*/ 213846 w 213846"/>
                  <a:gd name="connsiteY9" fmla="*/ 27646 h 423893"/>
                  <a:gd name="connsiteX10" fmla="*/ 185110 w 213846"/>
                  <a:gd name="connsiteY10" fmla="*/ 0 h 423893"/>
                  <a:gd name="connsiteX11" fmla="*/ 81545 w 213846"/>
                  <a:gd name="connsiteY11" fmla="*/ 107793 h 423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3846" h="423893">
                    <a:moveTo>
                      <a:pt x="81565" y="107793"/>
                    </a:moveTo>
                    <a:cubicBezTo>
                      <a:pt x="57930" y="132408"/>
                      <a:pt x="44898" y="164762"/>
                      <a:pt x="44898" y="198891"/>
                    </a:cubicBezTo>
                    <a:lnTo>
                      <a:pt x="44898" y="297270"/>
                    </a:lnTo>
                    <a:cubicBezTo>
                      <a:pt x="18872" y="305707"/>
                      <a:pt x="0" y="330182"/>
                      <a:pt x="0" y="359006"/>
                    </a:cubicBezTo>
                    <a:cubicBezTo>
                      <a:pt x="0" y="394791"/>
                      <a:pt x="29075" y="423893"/>
                      <a:pt x="64825" y="423893"/>
                    </a:cubicBezTo>
                    <a:cubicBezTo>
                      <a:pt x="100576" y="423893"/>
                      <a:pt x="129651" y="394791"/>
                      <a:pt x="129651" y="359006"/>
                    </a:cubicBezTo>
                    <a:cubicBezTo>
                      <a:pt x="129651" y="330182"/>
                      <a:pt x="110779" y="305707"/>
                      <a:pt x="84753" y="297270"/>
                    </a:cubicBezTo>
                    <a:lnTo>
                      <a:pt x="84753" y="198891"/>
                    </a:lnTo>
                    <a:cubicBezTo>
                      <a:pt x="84753" y="175114"/>
                      <a:pt x="93821" y="152574"/>
                      <a:pt x="110281" y="135440"/>
                    </a:cubicBezTo>
                    <a:lnTo>
                      <a:pt x="213846" y="27646"/>
                    </a:lnTo>
                    <a:lnTo>
                      <a:pt x="185110" y="0"/>
                    </a:lnTo>
                    <a:lnTo>
                      <a:pt x="81545" y="107793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24" name="Freeform 16">
                <a:extLst>
                  <a:ext uri="{FF2B5EF4-FFF2-40B4-BE49-F238E27FC236}">
                    <a16:creationId xmlns:a16="http://schemas.microsoft.com/office/drawing/2014/main" id="{D0758DD6-682C-BBED-3FA8-E4016763844E}"/>
                  </a:ext>
                </a:extLst>
              </p:cNvPr>
              <p:cNvSpPr/>
              <p:nvPr/>
            </p:nvSpPr>
            <p:spPr>
              <a:xfrm>
                <a:off x="3565427" y="4152969"/>
                <a:ext cx="213846" cy="423893"/>
              </a:xfrm>
              <a:custGeom>
                <a:avLst/>
                <a:gdLst>
                  <a:gd name="connsiteX0" fmla="*/ 168969 w 213846"/>
                  <a:gd name="connsiteY0" fmla="*/ 297270 h 423893"/>
                  <a:gd name="connsiteX1" fmla="*/ 168969 w 213846"/>
                  <a:gd name="connsiteY1" fmla="*/ 192528 h 423893"/>
                  <a:gd name="connsiteX2" fmla="*/ 136705 w 213846"/>
                  <a:gd name="connsiteY2" fmla="*/ 112381 h 423893"/>
                  <a:gd name="connsiteX3" fmla="*/ 28736 w 213846"/>
                  <a:gd name="connsiteY3" fmla="*/ 0 h 423893"/>
                  <a:gd name="connsiteX4" fmla="*/ 0 w 213846"/>
                  <a:gd name="connsiteY4" fmla="*/ 27646 h 423893"/>
                  <a:gd name="connsiteX5" fmla="*/ 107969 w 213846"/>
                  <a:gd name="connsiteY5" fmla="*/ 140028 h 423893"/>
                  <a:gd name="connsiteX6" fmla="*/ 129093 w 213846"/>
                  <a:gd name="connsiteY6" fmla="*/ 192528 h 423893"/>
                  <a:gd name="connsiteX7" fmla="*/ 129093 w 213846"/>
                  <a:gd name="connsiteY7" fmla="*/ 297270 h 423893"/>
                  <a:gd name="connsiteX8" fmla="*/ 84195 w 213846"/>
                  <a:gd name="connsiteY8" fmla="*/ 359006 h 423893"/>
                  <a:gd name="connsiteX9" fmla="*/ 149021 w 213846"/>
                  <a:gd name="connsiteY9" fmla="*/ 423893 h 423893"/>
                  <a:gd name="connsiteX10" fmla="*/ 213846 w 213846"/>
                  <a:gd name="connsiteY10" fmla="*/ 359006 h 423893"/>
                  <a:gd name="connsiteX11" fmla="*/ 168949 w 213846"/>
                  <a:gd name="connsiteY11" fmla="*/ 297270 h 423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3846" h="423893">
                    <a:moveTo>
                      <a:pt x="168969" y="297270"/>
                    </a:moveTo>
                    <a:lnTo>
                      <a:pt x="168969" y="192528"/>
                    </a:lnTo>
                    <a:cubicBezTo>
                      <a:pt x="168969" y="162488"/>
                      <a:pt x="157510" y="134024"/>
                      <a:pt x="136705" y="112381"/>
                    </a:cubicBezTo>
                    <a:lnTo>
                      <a:pt x="28736" y="0"/>
                    </a:lnTo>
                    <a:lnTo>
                      <a:pt x="0" y="27646"/>
                    </a:lnTo>
                    <a:lnTo>
                      <a:pt x="107969" y="140028"/>
                    </a:lnTo>
                    <a:cubicBezTo>
                      <a:pt x="121600" y="154210"/>
                      <a:pt x="129093" y="172860"/>
                      <a:pt x="129093" y="192528"/>
                    </a:cubicBezTo>
                    <a:lnTo>
                      <a:pt x="129093" y="297270"/>
                    </a:lnTo>
                    <a:cubicBezTo>
                      <a:pt x="103067" y="305707"/>
                      <a:pt x="84195" y="330182"/>
                      <a:pt x="84195" y="359006"/>
                    </a:cubicBezTo>
                    <a:cubicBezTo>
                      <a:pt x="84195" y="394791"/>
                      <a:pt x="113270" y="423893"/>
                      <a:pt x="149021" y="423893"/>
                    </a:cubicBezTo>
                    <a:cubicBezTo>
                      <a:pt x="184772" y="423893"/>
                      <a:pt x="213846" y="394791"/>
                      <a:pt x="213846" y="359006"/>
                    </a:cubicBezTo>
                    <a:cubicBezTo>
                      <a:pt x="213846" y="330182"/>
                      <a:pt x="194975" y="305707"/>
                      <a:pt x="168949" y="29727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25" name="Freeform 19">
                <a:extLst>
                  <a:ext uri="{FF2B5EF4-FFF2-40B4-BE49-F238E27FC236}">
                    <a16:creationId xmlns:a16="http://schemas.microsoft.com/office/drawing/2014/main" id="{C80BD397-F408-836E-82BE-E40F7E507225}"/>
                  </a:ext>
                </a:extLst>
              </p:cNvPr>
              <p:cNvSpPr/>
              <p:nvPr/>
            </p:nvSpPr>
            <p:spPr>
              <a:xfrm>
                <a:off x="3706816" y="3474991"/>
                <a:ext cx="378669" cy="270740"/>
              </a:xfrm>
              <a:custGeom>
                <a:avLst/>
                <a:gdLst>
                  <a:gd name="connsiteX0" fmla="*/ 118192 w 378669"/>
                  <a:gd name="connsiteY0" fmla="*/ 15738 h 270740"/>
                  <a:gd name="connsiteX1" fmla="*/ 0 w 378669"/>
                  <a:gd name="connsiteY1" fmla="*/ 147588 h 270740"/>
                  <a:gd name="connsiteX2" fmla="*/ 29653 w 378669"/>
                  <a:gd name="connsiteY2" fmla="*/ 174237 h 270740"/>
                  <a:gd name="connsiteX3" fmla="*/ 147845 w 378669"/>
                  <a:gd name="connsiteY3" fmla="*/ 42387 h 270740"/>
                  <a:gd name="connsiteX4" fmla="*/ 153445 w 378669"/>
                  <a:gd name="connsiteY4" fmla="*/ 39894 h 270740"/>
                  <a:gd name="connsiteX5" fmla="*/ 286404 w 378669"/>
                  <a:gd name="connsiteY5" fmla="*/ 39894 h 270740"/>
                  <a:gd name="connsiteX6" fmla="*/ 293917 w 378669"/>
                  <a:gd name="connsiteY6" fmla="*/ 47414 h 270740"/>
                  <a:gd name="connsiteX7" fmla="*/ 293917 w 378669"/>
                  <a:gd name="connsiteY7" fmla="*/ 144117 h 270740"/>
                  <a:gd name="connsiteX8" fmla="*/ 249019 w 378669"/>
                  <a:gd name="connsiteY8" fmla="*/ 205853 h 270740"/>
                  <a:gd name="connsiteX9" fmla="*/ 313844 w 378669"/>
                  <a:gd name="connsiteY9" fmla="*/ 270740 h 270740"/>
                  <a:gd name="connsiteX10" fmla="*/ 378670 w 378669"/>
                  <a:gd name="connsiteY10" fmla="*/ 205853 h 270740"/>
                  <a:gd name="connsiteX11" fmla="*/ 333772 w 378669"/>
                  <a:gd name="connsiteY11" fmla="*/ 144117 h 270740"/>
                  <a:gd name="connsiteX12" fmla="*/ 333772 w 378669"/>
                  <a:gd name="connsiteY12" fmla="*/ 47414 h 270740"/>
                  <a:gd name="connsiteX13" fmla="*/ 286404 w 378669"/>
                  <a:gd name="connsiteY13" fmla="*/ 0 h 270740"/>
                  <a:gd name="connsiteX14" fmla="*/ 153445 w 378669"/>
                  <a:gd name="connsiteY14" fmla="*/ 0 h 270740"/>
                  <a:gd name="connsiteX15" fmla="*/ 118192 w 378669"/>
                  <a:gd name="connsiteY15" fmla="*/ 15758 h 270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78669" h="270740">
                    <a:moveTo>
                      <a:pt x="118192" y="15738"/>
                    </a:moveTo>
                    <a:lnTo>
                      <a:pt x="0" y="147588"/>
                    </a:lnTo>
                    <a:lnTo>
                      <a:pt x="29653" y="174237"/>
                    </a:lnTo>
                    <a:lnTo>
                      <a:pt x="147845" y="42387"/>
                    </a:lnTo>
                    <a:cubicBezTo>
                      <a:pt x="149260" y="40792"/>
                      <a:pt x="151312" y="39894"/>
                      <a:pt x="153445" y="39894"/>
                    </a:cubicBezTo>
                    <a:lnTo>
                      <a:pt x="286404" y="39894"/>
                    </a:lnTo>
                    <a:cubicBezTo>
                      <a:pt x="290549" y="39894"/>
                      <a:pt x="293917" y="43265"/>
                      <a:pt x="293917" y="47414"/>
                    </a:cubicBezTo>
                    <a:lnTo>
                      <a:pt x="293917" y="144117"/>
                    </a:lnTo>
                    <a:cubicBezTo>
                      <a:pt x="267891" y="152554"/>
                      <a:pt x="249019" y="177029"/>
                      <a:pt x="249019" y="205853"/>
                    </a:cubicBezTo>
                    <a:cubicBezTo>
                      <a:pt x="249019" y="241638"/>
                      <a:pt x="278094" y="270740"/>
                      <a:pt x="313844" y="270740"/>
                    </a:cubicBezTo>
                    <a:cubicBezTo>
                      <a:pt x="349595" y="270740"/>
                      <a:pt x="378670" y="241638"/>
                      <a:pt x="378670" y="205853"/>
                    </a:cubicBezTo>
                    <a:cubicBezTo>
                      <a:pt x="378670" y="177029"/>
                      <a:pt x="359798" y="152554"/>
                      <a:pt x="333772" y="144117"/>
                    </a:cubicBezTo>
                    <a:lnTo>
                      <a:pt x="333772" y="47414"/>
                    </a:lnTo>
                    <a:cubicBezTo>
                      <a:pt x="333772" y="21263"/>
                      <a:pt x="312509" y="0"/>
                      <a:pt x="286404" y="0"/>
                    </a:cubicBezTo>
                    <a:lnTo>
                      <a:pt x="153445" y="0"/>
                    </a:lnTo>
                    <a:cubicBezTo>
                      <a:pt x="140013" y="0"/>
                      <a:pt x="127160" y="5745"/>
                      <a:pt x="118192" y="15758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26" name="Freeform 20">
                <a:extLst>
                  <a:ext uri="{FF2B5EF4-FFF2-40B4-BE49-F238E27FC236}">
                    <a16:creationId xmlns:a16="http://schemas.microsoft.com/office/drawing/2014/main" id="{614C81B7-6CF6-D4DA-B5E5-72F3B98AC638}"/>
                  </a:ext>
                </a:extLst>
              </p:cNvPr>
              <p:cNvSpPr/>
              <p:nvPr/>
            </p:nvSpPr>
            <p:spPr>
              <a:xfrm>
                <a:off x="2570826" y="3781596"/>
                <a:ext cx="486121" cy="406579"/>
              </a:xfrm>
              <a:custGeom>
                <a:avLst/>
                <a:gdLst>
                  <a:gd name="connsiteX0" fmla="*/ 486121 w 486121"/>
                  <a:gd name="connsiteY0" fmla="*/ 280435 h 406579"/>
                  <a:gd name="connsiteX1" fmla="*/ 486121 w 486121"/>
                  <a:gd name="connsiteY1" fmla="*/ 240541 h 406579"/>
                  <a:gd name="connsiteX2" fmla="*/ 349037 w 486121"/>
                  <a:gd name="connsiteY2" fmla="*/ 240541 h 406579"/>
                  <a:gd name="connsiteX3" fmla="*/ 330086 w 486121"/>
                  <a:gd name="connsiteY3" fmla="*/ 221571 h 406579"/>
                  <a:gd name="connsiteX4" fmla="*/ 330086 w 486121"/>
                  <a:gd name="connsiteY4" fmla="*/ 0 h 406579"/>
                  <a:gd name="connsiteX5" fmla="*/ 290230 w 486121"/>
                  <a:gd name="connsiteY5" fmla="*/ 0 h 406579"/>
                  <a:gd name="connsiteX6" fmla="*/ 290230 w 486121"/>
                  <a:gd name="connsiteY6" fmla="*/ 124709 h 406579"/>
                  <a:gd name="connsiteX7" fmla="*/ 162532 w 486121"/>
                  <a:gd name="connsiteY7" fmla="*/ 124709 h 406579"/>
                  <a:gd name="connsiteX8" fmla="*/ 117056 w 486121"/>
                  <a:gd name="connsiteY8" fmla="*/ 144336 h 406579"/>
                  <a:gd name="connsiteX9" fmla="*/ 65802 w 486121"/>
                  <a:gd name="connsiteY9" fmla="*/ 198692 h 406579"/>
                  <a:gd name="connsiteX10" fmla="*/ 44898 w 486121"/>
                  <a:gd name="connsiteY10" fmla="*/ 251352 h 406579"/>
                  <a:gd name="connsiteX11" fmla="*/ 44898 w 486121"/>
                  <a:gd name="connsiteY11" fmla="*/ 279956 h 406579"/>
                  <a:gd name="connsiteX12" fmla="*/ 0 w 486121"/>
                  <a:gd name="connsiteY12" fmla="*/ 341692 h 406579"/>
                  <a:gd name="connsiteX13" fmla="*/ 64825 w 486121"/>
                  <a:gd name="connsiteY13" fmla="*/ 406579 h 406579"/>
                  <a:gd name="connsiteX14" fmla="*/ 129651 w 486121"/>
                  <a:gd name="connsiteY14" fmla="*/ 341692 h 406579"/>
                  <a:gd name="connsiteX15" fmla="*/ 84753 w 486121"/>
                  <a:gd name="connsiteY15" fmla="*/ 279956 h 406579"/>
                  <a:gd name="connsiteX16" fmla="*/ 84753 w 486121"/>
                  <a:gd name="connsiteY16" fmla="*/ 251352 h 406579"/>
                  <a:gd name="connsiteX17" fmla="*/ 94797 w 486121"/>
                  <a:gd name="connsiteY17" fmla="*/ 226079 h 406579"/>
                  <a:gd name="connsiteX18" fmla="*/ 146052 w 486121"/>
                  <a:gd name="connsiteY18" fmla="*/ 171723 h 406579"/>
                  <a:gd name="connsiteX19" fmla="*/ 162532 w 486121"/>
                  <a:gd name="connsiteY19" fmla="*/ 164603 h 406579"/>
                  <a:gd name="connsiteX20" fmla="*/ 290230 w 486121"/>
                  <a:gd name="connsiteY20" fmla="*/ 164603 h 406579"/>
                  <a:gd name="connsiteX21" fmla="*/ 290230 w 486121"/>
                  <a:gd name="connsiteY21" fmla="*/ 221571 h 406579"/>
                  <a:gd name="connsiteX22" fmla="*/ 349037 w 486121"/>
                  <a:gd name="connsiteY22" fmla="*/ 280435 h 406579"/>
                  <a:gd name="connsiteX23" fmla="*/ 486121 w 486121"/>
                  <a:gd name="connsiteY23" fmla="*/ 280435 h 406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486121" h="406579">
                    <a:moveTo>
                      <a:pt x="486121" y="280435"/>
                    </a:moveTo>
                    <a:lnTo>
                      <a:pt x="486121" y="240541"/>
                    </a:lnTo>
                    <a:lnTo>
                      <a:pt x="349037" y="240541"/>
                    </a:lnTo>
                    <a:cubicBezTo>
                      <a:pt x="338575" y="240541"/>
                      <a:pt x="330086" y="232023"/>
                      <a:pt x="330086" y="221571"/>
                    </a:cubicBezTo>
                    <a:lnTo>
                      <a:pt x="330086" y="0"/>
                    </a:lnTo>
                    <a:lnTo>
                      <a:pt x="290230" y="0"/>
                    </a:lnTo>
                    <a:lnTo>
                      <a:pt x="290230" y="124709"/>
                    </a:lnTo>
                    <a:lnTo>
                      <a:pt x="162532" y="124709"/>
                    </a:lnTo>
                    <a:cubicBezTo>
                      <a:pt x="145394" y="124709"/>
                      <a:pt x="128814" y="131869"/>
                      <a:pt x="117056" y="144336"/>
                    </a:cubicBezTo>
                    <a:lnTo>
                      <a:pt x="65802" y="198692"/>
                    </a:lnTo>
                    <a:cubicBezTo>
                      <a:pt x="52311" y="212994"/>
                      <a:pt x="44898" y="231684"/>
                      <a:pt x="44898" y="251352"/>
                    </a:cubicBezTo>
                    <a:lnTo>
                      <a:pt x="44898" y="279956"/>
                    </a:lnTo>
                    <a:cubicBezTo>
                      <a:pt x="18872" y="288393"/>
                      <a:pt x="0" y="312868"/>
                      <a:pt x="0" y="341692"/>
                    </a:cubicBezTo>
                    <a:cubicBezTo>
                      <a:pt x="0" y="377477"/>
                      <a:pt x="29075" y="406579"/>
                      <a:pt x="64825" y="406579"/>
                    </a:cubicBezTo>
                    <a:cubicBezTo>
                      <a:pt x="100576" y="406579"/>
                      <a:pt x="129651" y="377477"/>
                      <a:pt x="129651" y="341692"/>
                    </a:cubicBezTo>
                    <a:cubicBezTo>
                      <a:pt x="129651" y="312868"/>
                      <a:pt x="110779" y="288393"/>
                      <a:pt x="84753" y="279956"/>
                    </a:cubicBezTo>
                    <a:lnTo>
                      <a:pt x="84753" y="251352"/>
                    </a:lnTo>
                    <a:cubicBezTo>
                      <a:pt x="84753" y="241917"/>
                      <a:pt x="88320" y="232941"/>
                      <a:pt x="94797" y="226079"/>
                    </a:cubicBezTo>
                    <a:lnTo>
                      <a:pt x="146052" y="171723"/>
                    </a:lnTo>
                    <a:cubicBezTo>
                      <a:pt x="150316" y="167196"/>
                      <a:pt x="156334" y="164603"/>
                      <a:pt x="162532" y="164603"/>
                    </a:cubicBezTo>
                    <a:lnTo>
                      <a:pt x="290230" y="164603"/>
                    </a:lnTo>
                    <a:lnTo>
                      <a:pt x="290230" y="221571"/>
                    </a:lnTo>
                    <a:cubicBezTo>
                      <a:pt x="290230" y="254025"/>
                      <a:pt x="316614" y="280435"/>
                      <a:pt x="349037" y="280435"/>
                    </a:cubicBezTo>
                    <a:lnTo>
                      <a:pt x="486121" y="280435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</p:grpSp>
      </p:grpSp>
      <p:sp>
        <p:nvSpPr>
          <p:cNvPr id="91" name="TextBox 90">
            <a:extLst>
              <a:ext uri="{FF2B5EF4-FFF2-40B4-BE49-F238E27FC236}">
                <a16:creationId xmlns:a16="http://schemas.microsoft.com/office/drawing/2014/main" id="{5C5B52E5-8DD8-C6EB-D582-0B3FD1C45D04}"/>
              </a:ext>
            </a:extLst>
          </p:cNvPr>
          <p:cNvSpPr txBox="1"/>
          <p:nvPr/>
        </p:nvSpPr>
        <p:spPr>
          <a:xfrm>
            <a:off x="3566410" y="5328069"/>
            <a:ext cx="514564" cy="135165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 defTabSz="743407">
              <a:lnSpc>
                <a:spcPct val="90000"/>
              </a:lnSpc>
              <a:defRPr/>
            </a:pPr>
            <a:r>
              <a:rPr lang="en-US" sz="976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SON/MDT</a:t>
            </a:r>
            <a:endParaRPr lang="en-US" sz="976" baseline="30000">
              <a:solidFill>
                <a:srgbClr val="0B2742"/>
              </a:solidFill>
              <a:latin typeface="Calibri"/>
              <a:cs typeface="Microsoft Sans Serif" panose="020B0604020202020204" pitchFamily="34" charset="0"/>
            </a:endParaRP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802D75FC-3093-925B-B991-411FC9C304EB}"/>
              </a:ext>
            </a:extLst>
          </p:cNvPr>
          <p:cNvGrpSpPr/>
          <p:nvPr/>
        </p:nvGrpSpPr>
        <p:grpSpPr>
          <a:xfrm>
            <a:off x="3547533" y="4843638"/>
            <a:ext cx="552322" cy="448836"/>
            <a:chOff x="704806" y="2606347"/>
            <a:chExt cx="582297" cy="473197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4DD57026-D430-74DD-B275-C47794A7164D}"/>
                </a:ext>
              </a:extLst>
            </p:cNvPr>
            <p:cNvGrpSpPr/>
            <p:nvPr/>
          </p:nvGrpSpPr>
          <p:grpSpPr>
            <a:xfrm>
              <a:off x="1080853" y="2644940"/>
              <a:ext cx="206250" cy="205910"/>
              <a:chOff x="2277470" y="2714301"/>
              <a:chExt cx="2071711" cy="2068305"/>
            </a:xfrm>
            <a:solidFill>
              <a:schemeClr val="accent1"/>
            </a:solidFill>
          </p:grpSpPr>
          <p:sp>
            <p:nvSpPr>
              <p:cNvPr id="117" name="Freeform 4">
                <a:extLst>
                  <a:ext uri="{FF2B5EF4-FFF2-40B4-BE49-F238E27FC236}">
                    <a16:creationId xmlns:a16="http://schemas.microsoft.com/office/drawing/2014/main" id="{E0B9CCC2-BE43-F694-F479-6ACCFEE156BE}"/>
                  </a:ext>
                </a:extLst>
              </p:cNvPr>
              <p:cNvSpPr/>
              <p:nvPr/>
            </p:nvSpPr>
            <p:spPr>
              <a:xfrm>
                <a:off x="2360210" y="3643646"/>
                <a:ext cx="1230643" cy="960141"/>
              </a:xfrm>
              <a:custGeom>
                <a:avLst/>
                <a:gdLst>
                  <a:gd name="connsiteX0" fmla="*/ 1230021 w 1230643"/>
                  <a:gd name="connsiteY0" fmla="*/ 335426 h 960141"/>
                  <a:gd name="connsiteX1" fmla="*/ 1228903 w 1230643"/>
                  <a:gd name="connsiteY1" fmla="*/ 320767 h 960141"/>
                  <a:gd name="connsiteX2" fmla="*/ 1227124 w 1230643"/>
                  <a:gd name="connsiteY2" fmla="*/ 306171 h 960141"/>
                  <a:gd name="connsiteX3" fmla="*/ 1214296 w 1230643"/>
                  <a:gd name="connsiteY3" fmla="*/ 248904 h 960141"/>
                  <a:gd name="connsiteX4" fmla="*/ 1192034 w 1230643"/>
                  <a:gd name="connsiteY4" fmla="*/ 194598 h 960141"/>
                  <a:gd name="connsiteX5" fmla="*/ 1161226 w 1230643"/>
                  <a:gd name="connsiteY5" fmla="*/ 144640 h 960141"/>
                  <a:gd name="connsiteX6" fmla="*/ 1122557 w 1230643"/>
                  <a:gd name="connsiteY6" fmla="*/ 100458 h 960141"/>
                  <a:gd name="connsiteX7" fmla="*/ 1026410 w 1230643"/>
                  <a:gd name="connsiteY7" fmla="*/ 33813 h 960141"/>
                  <a:gd name="connsiteX8" fmla="*/ 971458 w 1230643"/>
                  <a:gd name="connsiteY8" fmla="*/ 13337 h 960141"/>
                  <a:gd name="connsiteX9" fmla="*/ 913877 w 1230643"/>
                  <a:gd name="connsiteY9" fmla="*/ 2157 h 960141"/>
                  <a:gd name="connsiteX10" fmla="*/ 854042 w 1230643"/>
                  <a:gd name="connsiteY10" fmla="*/ 24 h 960141"/>
                  <a:gd name="connsiteX11" fmla="*/ 108788 w 1230643"/>
                  <a:gd name="connsiteY11" fmla="*/ 24 h 960141"/>
                  <a:gd name="connsiteX12" fmla="*/ 58491 w 1230643"/>
                  <a:gd name="connsiteY12" fmla="*/ 12384 h 960141"/>
                  <a:gd name="connsiteX13" fmla="*/ 19573 w 1230643"/>
                  <a:gd name="connsiteY13" fmla="*/ 46670 h 960141"/>
                  <a:gd name="connsiteX14" fmla="*/ 7304 w 1230643"/>
                  <a:gd name="connsiteY14" fmla="*/ 69713 h 960141"/>
                  <a:gd name="connsiteX15" fmla="*/ 910 w 1230643"/>
                  <a:gd name="connsiteY15" fmla="*/ 94992 h 960141"/>
                  <a:gd name="connsiteX16" fmla="*/ 21 w 1230643"/>
                  <a:gd name="connsiteY16" fmla="*/ 108057 h 960141"/>
                  <a:gd name="connsiteX17" fmla="*/ 21 w 1230643"/>
                  <a:gd name="connsiteY17" fmla="*/ 123439 h 960141"/>
                  <a:gd name="connsiteX18" fmla="*/ 0 w 1230643"/>
                  <a:gd name="connsiteY18" fmla="*/ 154516 h 960141"/>
                  <a:gd name="connsiteX19" fmla="*/ 0 w 1230643"/>
                  <a:gd name="connsiteY19" fmla="*/ 857554 h 960141"/>
                  <a:gd name="connsiteX20" fmla="*/ 41 w 1230643"/>
                  <a:gd name="connsiteY20" fmla="*/ 861177 h 960141"/>
                  <a:gd name="connsiteX21" fmla="*/ 331 w 1230643"/>
                  <a:gd name="connsiteY21" fmla="*/ 867637 h 960141"/>
                  <a:gd name="connsiteX22" fmla="*/ 5566 w 1230643"/>
                  <a:gd name="connsiteY22" fmla="*/ 892833 h 960141"/>
                  <a:gd name="connsiteX23" fmla="*/ 17049 w 1230643"/>
                  <a:gd name="connsiteY23" fmla="*/ 915856 h 960141"/>
                  <a:gd name="connsiteX24" fmla="*/ 34097 w 1230643"/>
                  <a:gd name="connsiteY24" fmla="*/ 935193 h 960141"/>
                  <a:gd name="connsiteX25" fmla="*/ 79719 w 1230643"/>
                  <a:gd name="connsiteY25" fmla="*/ 958050 h 960141"/>
                  <a:gd name="connsiteX26" fmla="*/ 92484 w 1230643"/>
                  <a:gd name="connsiteY26" fmla="*/ 959810 h 960141"/>
                  <a:gd name="connsiteX27" fmla="*/ 98940 w 1230643"/>
                  <a:gd name="connsiteY27" fmla="*/ 960100 h 960141"/>
                  <a:gd name="connsiteX28" fmla="*/ 102581 w 1230643"/>
                  <a:gd name="connsiteY28" fmla="*/ 960142 h 960141"/>
                  <a:gd name="connsiteX29" fmla="*/ 1131184 w 1230643"/>
                  <a:gd name="connsiteY29" fmla="*/ 960142 h 960141"/>
                  <a:gd name="connsiteX30" fmla="*/ 1156695 w 1230643"/>
                  <a:gd name="connsiteY30" fmla="*/ 956829 h 960141"/>
                  <a:gd name="connsiteX31" fmla="*/ 1180447 w 1230643"/>
                  <a:gd name="connsiteY31" fmla="*/ 947057 h 960141"/>
                  <a:gd name="connsiteX32" fmla="*/ 1216800 w 1230643"/>
                  <a:gd name="connsiteY32" fmla="*/ 911239 h 960141"/>
                  <a:gd name="connsiteX33" fmla="*/ 1230600 w 1230643"/>
                  <a:gd name="connsiteY33" fmla="*/ 862171 h 960141"/>
                  <a:gd name="connsiteX34" fmla="*/ 1230641 w 1230643"/>
                  <a:gd name="connsiteY34" fmla="*/ 800329 h 960141"/>
                  <a:gd name="connsiteX35" fmla="*/ 1230641 w 1230643"/>
                  <a:gd name="connsiteY35" fmla="*/ 357537 h 960141"/>
                  <a:gd name="connsiteX36" fmla="*/ 1230496 w 1230643"/>
                  <a:gd name="connsiteY36" fmla="*/ 350084 h 960141"/>
                  <a:gd name="connsiteX37" fmla="*/ 1230021 w 1230643"/>
                  <a:gd name="connsiteY37" fmla="*/ 335384 h 960141"/>
                  <a:gd name="connsiteX38" fmla="*/ 1188558 w 1230643"/>
                  <a:gd name="connsiteY38" fmla="*/ 800370 h 960141"/>
                  <a:gd name="connsiteX39" fmla="*/ 1188516 w 1230643"/>
                  <a:gd name="connsiteY39" fmla="*/ 861571 h 960141"/>
                  <a:gd name="connsiteX40" fmla="*/ 1186385 w 1230643"/>
                  <a:gd name="connsiteY40" fmla="*/ 876270 h 960141"/>
                  <a:gd name="connsiteX41" fmla="*/ 1180592 w 1230643"/>
                  <a:gd name="connsiteY41" fmla="*/ 889831 h 960141"/>
                  <a:gd name="connsiteX42" fmla="*/ 1159550 w 1230643"/>
                  <a:gd name="connsiteY42" fmla="*/ 910556 h 960141"/>
                  <a:gd name="connsiteX43" fmla="*/ 1131184 w 1230643"/>
                  <a:gd name="connsiteY43" fmla="*/ 918092 h 960141"/>
                  <a:gd name="connsiteX44" fmla="*/ 100181 w 1230643"/>
                  <a:gd name="connsiteY44" fmla="*/ 918092 h 960141"/>
                  <a:gd name="connsiteX45" fmla="*/ 99953 w 1230643"/>
                  <a:gd name="connsiteY45" fmla="*/ 918092 h 960141"/>
                  <a:gd name="connsiteX46" fmla="*/ 99478 w 1230643"/>
                  <a:gd name="connsiteY46" fmla="*/ 918092 h 960141"/>
                  <a:gd name="connsiteX47" fmla="*/ 95691 w 1230643"/>
                  <a:gd name="connsiteY47" fmla="*/ 917906 h 960141"/>
                  <a:gd name="connsiteX48" fmla="*/ 88284 w 1230643"/>
                  <a:gd name="connsiteY48" fmla="*/ 916891 h 960141"/>
                  <a:gd name="connsiteX49" fmla="*/ 61904 w 1230643"/>
                  <a:gd name="connsiteY49" fmla="*/ 903641 h 960141"/>
                  <a:gd name="connsiteX50" fmla="*/ 51973 w 1230643"/>
                  <a:gd name="connsiteY50" fmla="*/ 892378 h 960141"/>
                  <a:gd name="connsiteX51" fmla="*/ 45332 w 1230643"/>
                  <a:gd name="connsiteY51" fmla="*/ 879065 h 960141"/>
                  <a:gd name="connsiteX52" fmla="*/ 42311 w 1230643"/>
                  <a:gd name="connsiteY52" fmla="*/ 864511 h 960141"/>
                  <a:gd name="connsiteX53" fmla="*/ 42125 w 1230643"/>
                  <a:gd name="connsiteY53" fmla="*/ 860722 h 960141"/>
                  <a:gd name="connsiteX54" fmla="*/ 42125 w 1230643"/>
                  <a:gd name="connsiteY54" fmla="*/ 860246 h 960141"/>
                  <a:gd name="connsiteX55" fmla="*/ 42083 w 1230643"/>
                  <a:gd name="connsiteY55" fmla="*/ 860018 h 960141"/>
                  <a:gd name="connsiteX56" fmla="*/ 42083 w 1230643"/>
                  <a:gd name="connsiteY56" fmla="*/ 859562 h 960141"/>
                  <a:gd name="connsiteX57" fmla="*/ 42083 w 1230643"/>
                  <a:gd name="connsiteY57" fmla="*/ 857616 h 960141"/>
                  <a:gd name="connsiteX58" fmla="*/ 42083 w 1230643"/>
                  <a:gd name="connsiteY58" fmla="*/ 108408 h 960141"/>
                  <a:gd name="connsiteX59" fmla="*/ 42663 w 1230643"/>
                  <a:gd name="connsiteY59" fmla="*/ 100334 h 960141"/>
                  <a:gd name="connsiteX60" fmla="*/ 46553 w 1230643"/>
                  <a:gd name="connsiteY60" fmla="*/ 84889 h 960141"/>
                  <a:gd name="connsiteX61" fmla="*/ 54063 w 1230643"/>
                  <a:gd name="connsiteY61" fmla="*/ 70790 h 960141"/>
                  <a:gd name="connsiteX62" fmla="*/ 77981 w 1230643"/>
                  <a:gd name="connsiteY62" fmla="*/ 49713 h 960141"/>
                  <a:gd name="connsiteX63" fmla="*/ 108788 w 1230643"/>
                  <a:gd name="connsiteY63" fmla="*/ 42156 h 960141"/>
                  <a:gd name="connsiteX64" fmla="*/ 170879 w 1230643"/>
                  <a:gd name="connsiteY64" fmla="*/ 42156 h 960141"/>
                  <a:gd name="connsiteX65" fmla="*/ 419304 w 1230643"/>
                  <a:gd name="connsiteY65" fmla="*/ 42156 h 960141"/>
                  <a:gd name="connsiteX66" fmla="*/ 875353 w 1230643"/>
                  <a:gd name="connsiteY66" fmla="*/ 42156 h 960141"/>
                  <a:gd name="connsiteX67" fmla="*/ 876966 w 1230643"/>
                  <a:gd name="connsiteY67" fmla="*/ 42218 h 960141"/>
                  <a:gd name="connsiteX68" fmla="*/ 883463 w 1230643"/>
                  <a:gd name="connsiteY68" fmla="*/ 42405 h 960141"/>
                  <a:gd name="connsiteX69" fmla="*/ 889960 w 1230643"/>
                  <a:gd name="connsiteY69" fmla="*/ 42550 h 960141"/>
                  <a:gd name="connsiteX70" fmla="*/ 896436 w 1230643"/>
                  <a:gd name="connsiteY70" fmla="*/ 42985 h 960141"/>
                  <a:gd name="connsiteX71" fmla="*/ 902891 w 1230643"/>
                  <a:gd name="connsiteY71" fmla="*/ 43481 h 960141"/>
                  <a:gd name="connsiteX72" fmla="*/ 909346 w 1230643"/>
                  <a:gd name="connsiteY72" fmla="*/ 44082 h 960141"/>
                  <a:gd name="connsiteX73" fmla="*/ 960078 w 1230643"/>
                  <a:gd name="connsiteY73" fmla="*/ 53937 h 960141"/>
                  <a:gd name="connsiteX74" fmla="*/ 1008493 w 1230643"/>
                  <a:gd name="connsiteY74" fmla="*/ 71949 h 960141"/>
                  <a:gd name="connsiteX75" fmla="*/ 1093280 w 1230643"/>
                  <a:gd name="connsiteY75" fmla="*/ 130727 h 960141"/>
                  <a:gd name="connsiteX76" fmla="*/ 1127398 w 1230643"/>
                  <a:gd name="connsiteY76" fmla="*/ 169692 h 960141"/>
                  <a:gd name="connsiteX77" fmla="*/ 1154543 w 1230643"/>
                  <a:gd name="connsiteY77" fmla="*/ 213749 h 960141"/>
                  <a:gd name="connsiteX78" fmla="*/ 1174158 w 1230643"/>
                  <a:gd name="connsiteY78" fmla="*/ 261575 h 960141"/>
                  <a:gd name="connsiteX79" fmla="*/ 1185454 w 1230643"/>
                  <a:gd name="connsiteY79" fmla="*/ 312030 h 960141"/>
                  <a:gd name="connsiteX80" fmla="*/ 1187027 w 1230643"/>
                  <a:gd name="connsiteY80" fmla="*/ 324887 h 960141"/>
                  <a:gd name="connsiteX81" fmla="*/ 1187999 w 1230643"/>
                  <a:gd name="connsiteY81" fmla="*/ 337827 h 960141"/>
                  <a:gd name="connsiteX82" fmla="*/ 1188413 w 1230643"/>
                  <a:gd name="connsiteY82" fmla="*/ 350808 h 960141"/>
                  <a:gd name="connsiteX83" fmla="*/ 1188496 w 1230643"/>
                  <a:gd name="connsiteY83" fmla="*/ 354059 h 960141"/>
                  <a:gd name="connsiteX84" fmla="*/ 1188537 w 1230643"/>
                  <a:gd name="connsiteY84" fmla="*/ 355674 h 960141"/>
                  <a:gd name="connsiteX85" fmla="*/ 1188537 w 1230643"/>
                  <a:gd name="connsiteY85" fmla="*/ 357599 h 960141"/>
                  <a:gd name="connsiteX86" fmla="*/ 1188537 w 1230643"/>
                  <a:gd name="connsiteY86" fmla="*/ 365363 h 960141"/>
                  <a:gd name="connsiteX87" fmla="*/ 1188537 w 1230643"/>
                  <a:gd name="connsiteY87" fmla="*/ 800391 h 960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1230643" h="960141">
                    <a:moveTo>
                      <a:pt x="1230021" y="335426"/>
                    </a:moveTo>
                    <a:lnTo>
                      <a:pt x="1228903" y="320767"/>
                    </a:lnTo>
                    <a:cubicBezTo>
                      <a:pt x="1228427" y="315902"/>
                      <a:pt x="1227703" y="311036"/>
                      <a:pt x="1227124" y="306171"/>
                    </a:cubicBezTo>
                    <a:cubicBezTo>
                      <a:pt x="1224372" y="286772"/>
                      <a:pt x="1220089" y="267600"/>
                      <a:pt x="1214296" y="248904"/>
                    </a:cubicBezTo>
                    <a:cubicBezTo>
                      <a:pt x="1208420" y="230209"/>
                      <a:pt x="1200889" y="212072"/>
                      <a:pt x="1192034" y="194598"/>
                    </a:cubicBezTo>
                    <a:cubicBezTo>
                      <a:pt x="1183116" y="177166"/>
                      <a:pt x="1172958" y="160334"/>
                      <a:pt x="1161226" y="144640"/>
                    </a:cubicBezTo>
                    <a:cubicBezTo>
                      <a:pt x="1149536" y="128905"/>
                      <a:pt x="1136605" y="114123"/>
                      <a:pt x="1122557" y="100458"/>
                    </a:cubicBezTo>
                    <a:cubicBezTo>
                      <a:pt x="1094584" y="72984"/>
                      <a:pt x="1061728" y="50666"/>
                      <a:pt x="1026410" y="33813"/>
                    </a:cubicBezTo>
                    <a:cubicBezTo>
                      <a:pt x="1008762" y="25324"/>
                      <a:pt x="990265" y="18658"/>
                      <a:pt x="971458" y="13337"/>
                    </a:cubicBezTo>
                    <a:cubicBezTo>
                      <a:pt x="952609" y="8119"/>
                      <a:pt x="933367" y="4165"/>
                      <a:pt x="913877" y="2157"/>
                    </a:cubicBezTo>
                    <a:cubicBezTo>
                      <a:pt x="894284" y="66"/>
                      <a:pt x="875228" y="-79"/>
                      <a:pt x="854042" y="24"/>
                    </a:cubicBezTo>
                    <a:lnTo>
                      <a:pt x="108788" y="24"/>
                    </a:lnTo>
                    <a:cubicBezTo>
                      <a:pt x="91284" y="86"/>
                      <a:pt x="73925" y="4248"/>
                      <a:pt x="58491" y="12384"/>
                    </a:cubicBezTo>
                    <a:cubicBezTo>
                      <a:pt x="43035" y="20438"/>
                      <a:pt x="29545" y="32343"/>
                      <a:pt x="19573" y="46670"/>
                    </a:cubicBezTo>
                    <a:cubicBezTo>
                      <a:pt x="14524" y="53792"/>
                      <a:pt x="10469" y="61597"/>
                      <a:pt x="7304" y="69713"/>
                    </a:cubicBezTo>
                    <a:cubicBezTo>
                      <a:pt x="4117" y="77829"/>
                      <a:pt x="2007" y="86338"/>
                      <a:pt x="910" y="94992"/>
                    </a:cubicBezTo>
                    <a:cubicBezTo>
                      <a:pt x="290" y="99320"/>
                      <a:pt x="103" y="103688"/>
                      <a:pt x="21" y="108057"/>
                    </a:cubicBezTo>
                    <a:lnTo>
                      <a:pt x="21" y="123439"/>
                    </a:lnTo>
                    <a:cubicBezTo>
                      <a:pt x="21" y="123439"/>
                      <a:pt x="0" y="154516"/>
                      <a:pt x="0" y="154516"/>
                    </a:cubicBezTo>
                    <a:lnTo>
                      <a:pt x="0" y="857554"/>
                    </a:lnTo>
                    <a:cubicBezTo>
                      <a:pt x="0" y="858859"/>
                      <a:pt x="0" y="860184"/>
                      <a:pt x="41" y="861177"/>
                    </a:cubicBezTo>
                    <a:cubicBezTo>
                      <a:pt x="103" y="863331"/>
                      <a:pt x="124" y="865504"/>
                      <a:pt x="331" y="867637"/>
                    </a:cubicBezTo>
                    <a:cubicBezTo>
                      <a:pt x="931" y="876250"/>
                      <a:pt x="2731" y="884718"/>
                      <a:pt x="5566" y="892833"/>
                    </a:cubicBezTo>
                    <a:cubicBezTo>
                      <a:pt x="8317" y="900991"/>
                      <a:pt x="12331" y="908672"/>
                      <a:pt x="17049" y="915856"/>
                    </a:cubicBezTo>
                    <a:cubicBezTo>
                      <a:pt x="21931" y="922937"/>
                      <a:pt x="27559" y="929562"/>
                      <a:pt x="34097" y="935193"/>
                    </a:cubicBezTo>
                    <a:cubicBezTo>
                      <a:pt x="46987" y="946663"/>
                      <a:pt x="62918" y="954489"/>
                      <a:pt x="79719" y="958050"/>
                    </a:cubicBezTo>
                    <a:cubicBezTo>
                      <a:pt x="83939" y="958837"/>
                      <a:pt x="88181" y="959562"/>
                      <a:pt x="92484" y="959810"/>
                    </a:cubicBezTo>
                    <a:cubicBezTo>
                      <a:pt x="94636" y="960017"/>
                      <a:pt x="96788" y="960059"/>
                      <a:pt x="98940" y="960100"/>
                    </a:cubicBezTo>
                    <a:cubicBezTo>
                      <a:pt x="99933" y="960142"/>
                      <a:pt x="101278" y="960142"/>
                      <a:pt x="102581" y="960142"/>
                    </a:cubicBezTo>
                    <a:lnTo>
                      <a:pt x="1131184" y="960142"/>
                    </a:lnTo>
                    <a:cubicBezTo>
                      <a:pt x="1139812" y="960079"/>
                      <a:pt x="1148398" y="959024"/>
                      <a:pt x="1156695" y="956829"/>
                    </a:cubicBezTo>
                    <a:cubicBezTo>
                      <a:pt x="1164971" y="954572"/>
                      <a:pt x="1173020" y="951384"/>
                      <a:pt x="1180447" y="947057"/>
                    </a:cubicBezTo>
                    <a:cubicBezTo>
                      <a:pt x="1195406" y="938589"/>
                      <a:pt x="1208048" y="926022"/>
                      <a:pt x="1216800" y="911239"/>
                    </a:cubicBezTo>
                    <a:cubicBezTo>
                      <a:pt x="1225593" y="896457"/>
                      <a:pt x="1230372" y="879417"/>
                      <a:pt x="1230600" y="862171"/>
                    </a:cubicBezTo>
                    <a:lnTo>
                      <a:pt x="1230641" y="800329"/>
                    </a:lnTo>
                    <a:lnTo>
                      <a:pt x="1230641" y="357537"/>
                    </a:lnTo>
                    <a:cubicBezTo>
                      <a:pt x="1230662" y="354887"/>
                      <a:pt x="1230538" y="352589"/>
                      <a:pt x="1230496" y="350084"/>
                    </a:cubicBezTo>
                    <a:cubicBezTo>
                      <a:pt x="1230331" y="345177"/>
                      <a:pt x="1230352" y="340270"/>
                      <a:pt x="1230021" y="335384"/>
                    </a:cubicBezTo>
                    <a:close/>
                    <a:moveTo>
                      <a:pt x="1188558" y="800370"/>
                    </a:moveTo>
                    <a:lnTo>
                      <a:pt x="1188516" y="861571"/>
                    </a:lnTo>
                    <a:cubicBezTo>
                      <a:pt x="1188413" y="866623"/>
                      <a:pt x="1187772" y="871550"/>
                      <a:pt x="1186385" y="876270"/>
                    </a:cubicBezTo>
                    <a:cubicBezTo>
                      <a:pt x="1185103" y="881012"/>
                      <a:pt x="1183096" y="885546"/>
                      <a:pt x="1180592" y="889831"/>
                    </a:cubicBezTo>
                    <a:cubicBezTo>
                      <a:pt x="1175544" y="898341"/>
                      <a:pt x="1168178" y="905691"/>
                      <a:pt x="1159550" y="910556"/>
                    </a:cubicBezTo>
                    <a:cubicBezTo>
                      <a:pt x="1150943" y="915525"/>
                      <a:pt x="1141281" y="918009"/>
                      <a:pt x="1131184" y="918092"/>
                    </a:cubicBezTo>
                    <a:lnTo>
                      <a:pt x="100181" y="918092"/>
                    </a:lnTo>
                    <a:cubicBezTo>
                      <a:pt x="100181" y="918092"/>
                      <a:pt x="99953" y="918092"/>
                      <a:pt x="99953" y="918092"/>
                    </a:cubicBezTo>
                    <a:lnTo>
                      <a:pt x="99478" y="918092"/>
                    </a:lnTo>
                    <a:cubicBezTo>
                      <a:pt x="98215" y="918030"/>
                      <a:pt x="96933" y="918051"/>
                      <a:pt x="95691" y="917906"/>
                    </a:cubicBezTo>
                    <a:cubicBezTo>
                      <a:pt x="93167" y="917782"/>
                      <a:pt x="90726" y="917326"/>
                      <a:pt x="88284" y="916891"/>
                    </a:cubicBezTo>
                    <a:cubicBezTo>
                      <a:pt x="78622" y="914821"/>
                      <a:pt x="69415" y="910370"/>
                      <a:pt x="61904" y="903641"/>
                    </a:cubicBezTo>
                    <a:cubicBezTo>
                      <a:pt x="58077" y="900390"/>
                      <a:pt x="54829" y="896477"/>
                      <a:pt x="51973" y="892378"/>
                    </a:cubicBezTo>
                    <a:cubicBezTo>
                      <a:pt x="49263" y="888175"/>
                      <a:pt x="46884" y="883765"/>
                      <a:pt x="45332" y="879065"/>
                    </a:cubicBezTo>
                    <a:cubicBezTo>
                      <a:pt x="43697" y="874386"/>
                      <a:pt x="42663" y="869521"/>
                      <a:pt x="42311" y="864511"/>
                    </a:cubicBezTo>
                    <a:cubicBezTo>
                      <a:pt x="42166" y="863269"/>
                      <a:pt x="42166" y="861985"/>
                      <a:pt x="42125" y="860722"/>
                    </a:cubicBezTo>
                    <a:lnTo>
                      <a:pt x="42125" y="860246"/>
                    </a:lnTo>
                    <a:cubicBezTo>
                      <a:pt x="42125" y="860246"/>
                      <a:pt x="42083" y="860018"/>
                      <a:pt x="42083" y="860018"/>
                    </a:cubicBezTo>
                    <a:lnTo>
                      <a:pt x="42083" y="859562"/>
                    </a:lnTo>
                    <a:cubicBezTo>
                      <a:pt x="42083" y="859562"/>
                      <a:pt x="42083" y="857616"/>
                      <a:pt x="42083" y="857616"/>
                    </a:cubicBezTo>
                    <a:lnTo>
                      <a:pt x="42083" y="108408"/>
                    </a:lnTo>
                    <a:cubicBezTo>
                      <a:pt x="42187" y="105696"/>
                      <a:pt x="42270" y="102984"/>
                      <a:pt x="42663" y="100334"/>
                    </a:cubicBezTo>
                    <a:cubicBezTo>
                      <a:pt x="43325" y="95034"/>
                      <a:pt x="44587" y="89837"/>
                      <a:pt x="46553" y="84889"/>
                    </a:cubicBezTo>
                    <a:cubicBezTo>
                      <a:pt x="48497" y="79941"/>
                      <a:pt x="50939" y="75158"/>
                      <a:pt x="54063" y="70790"/>
                    </a:cubicBezTo>
                    <a:cubicBezTo>
                      <a:pt x="60187" y="61991"/>
                      <a:pt x="68525" y="54620"/>
                      <a:pt x="77981" y="49713"/>
                    </a:cubicBezTo>
                    <a:cubicBezTo>
                      <a:pt x="87436" y="44724"/>
                      <a:pt x="97926" y="42239"/>
                      <a:pt x="108788" y="42156"/>
                    </a:cubicBezTo>
                    <a:lnTo>
                      <a:pt x="170879" y="42156"/>
                    </a:lnTo>
                    <a:cubicBezTo>
                      <a:pt x="170879" y="42156"/>
                      <a:pt x="419304" y="42156"/>
                      <a:pt x="419304" y="42156"/>
                    </a:cubicBezTo>
                    <a:lnTo>
                      <a:pt x="875353" y="42156"/>
                    </a:lnTo>
                    <a:cubicBezTo>
                      <a:pt x="875353" y="42156"/>
                      <a:pt x="876966" y="42218"/>
                      <a:pt x="876966" y="42218"/>
                    </a:cubicBezTo>
                    <a:lnTo>
                      <a:pt x="883463" y="42405"/>
                    </a:lnTo>
                    <a:lnTo>
                      <a:pt x="889960" y="42550"/>
                    </a:lnTo>
                    <a:cubicBezTo>
                      <a:pt x="892132" y="42550"/>
                      <a:pt x="894263" y="42860"/>
                      <a:pt x="896436" y="42985"/>
                    </a:cubicBezTo>
                    <a:lnTo>
                      <a:pt x="902891" y="43481"/>
                    </a:lnTo>
                    <a:cubicBezTo>
                      <a:pt x="905043" y="43668"/>
                      <a:pt x="907215" y="43730"/>
                      <a:pt x="909346" y="44082"/>
                    </a:cubicBezTo>
                    <a:cubicBezTo>
                      <a:pt x="926540" y="45842"/>
                      <a:pt x="943485" y="49341"/>
                      <a:pt x="960078" y="53937"/>
                    </a:cubicBezTo>
                    <a:cubicBezTo>
                      <a:pt x="976651" y="58616"/>
                      <a:pt x="992934" y="64475"/>
                      <a:pt x="1008493" y="71949"/>
                    </a:cubicBezTo>
                    <a:cubicBezTo>
                      <a:pt x="1039590" y="86794"/>
                      <a:pt x="1068597" y="106462"/>
                      <a:pt x="1093280" y="130727"/>
                    </a:cubicBezTo>
                    <a:cubicBezTo>
                      <a:pt x="1105674" y="142777"/>
                      <a:pt x="1117095" y="155841"/>
                      <a:pt x="1127398" y="169692"/>
                    </a:cubicBezTo>
                    <a:cubicBezTo>
                      <a:pt x="1137764" y="183543"/>
                      <a:pt x="1146702" y="198387"/>
                      <a:pt x="1154543" y="213749"/>
                    </a:cubicBezTo>
                    <a:cubicBezTo>
                      <a:pt x="1162344" y="229132"/>
                      <a:pt x="1169006" y="245116"/>
                      <a:pt x="1174158" y="261575"/>
                    </a:cubicBezTo>
                    <a:cubicBezTo>
                      <a:pt x="1179247" y="278055"/>
                      <a:pt x="1183013" y="294929"/>
                      <a:pt x="1185454" y="312030"/>
                    </a:cubicBezTo>
                    <a:cubicBezTo>
                      <a:pt x="1185951" y="316316"/>
                      <a:pt x="1186613" y="320581"/>
                      <a:pt x="1187027" y="324887"/>
                    </a:cubicBezTo>
                    <a:lnTo>
                      <a:pt x="1187999" y="337827"/>
                    </a:lnTo>
                    <a:cubicBezTo>
                      <a:pt x="1188310" y="342134"/>
                      <a:pt x="1188247" y="346481"/>
                      <a:pt x="1188413" y="350808"/>
                    </a:cubicBezTo>
                    <a:lnTo>
                      <a:pt x="1188496" y="354059"/>
                    </a:lnTo>
                    <a:lnTo>
                      <a:pt x="1188537" y="355674"/>
                    </a:lnTo>
                    <a:lnTo>
                      <a:pt x="1188537" y="357599"/>
                    </a:lnTo>
                    <a:cubicBezTo>
                      <a:pt x="1188537" y="357599"/>
                      <a:pt x="1188537" y="365363"/>
                      <a:pt x="1188537" y="365363"/>
                    </a:cubicBezTo>
                    <a:lnTo>
                      <a:pt x="1188537" y="800391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18" name="Freeform 5">
                <a:extLst>
                  <a:ext uri="{FF2B5EF4-FFF2-40B4-BE49-F238E27FC236}">
                    <a16:creationId xmlns:a16="http://schemas.microsoft.com/office/drawing/2014/main" id="{6650A295-F457-B7AD-B265-A01F389169EE}"/>
                  </a:ext>
                </a:extLst>
              </p:cNvPr>
              <p:cNvSpPr/>
              <p:nvPr/>
            </p:nvSpPr>
            <p:spPr>
              <a:xfrm>
                <a:off x="4135960" y="2714301"/>
                <a:ext cx="213221" cy="789101"/>
              </a:xfrm>
              <a:custGeom>
                <a:avLst/>
                <a:gdLst>
                  <a:gd name="connsiteX0" fmla="*/ 35018 w 213221"/>
                  <a:gd name="connsiteY0" fmla="*/ 5028 h 789101"/>
                  <a:gd name="connsiteX1" fmla="*/ 5845 w 213221"/>
                  <a:gd name="connsiteY1" fmla="*/ 7181 h 789101"/>
                  <a:gd name="connsiteX2" fmla="*/ 7997 w 213221"/>
                  <a:gd name="connsiteY2" fmla="*/ 36374 h 789101"/>
                  <a:gd name="connsiteX3" fmla="*/ 171841 w 213221"/>
                  <a:gd name="connsiteY3" fmla="*/ 394197 h 789101"/>
                  <a:gd name="connsiteX4" fmla="*/ 7211 w 213221"/>
                  <a:gd name="connsiteY4" fmla="*/ 752704 h 789101"/>
                  <a:gd name="connsiteX5" fmla="*/ 4997 w 213221"/>
                  <a:gd name="connsiteY5" fmla="*/ 781896 h 789101"/>
                  <a:gd name="connsiteX6" fmla="*/ 20701 w 213221"/>
                  <a:gd name="connsiteY6" fmla="*/ 789101 h 789101"/>
                  <a:gd name="connsiteX7" fmla="*/ 34170 w 213221"/>
                  <a:gd name="connsiteY7" fmla="*/ 784091 h 789101"/>
                  <a:gd name="connsiteX8" fmla="*/ 213221 w 213221"/>
                  <a:gd name="connsiteY8" fmla="*/ 394177 h 789101"/>
                  <a:gd name="connsiteX9" fmla="*/ 35018 w 213221"/>
                  <a:gd name="connsiteY9" fmla="*/ 5028 h 789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21" h="789101">
                    <a:moveTo>
                      <a:pt x="35018" y="5028"/>
                    </a:moveTo>
                    <a:cubicBezTo>
                      <a:pt x="26370" y="-2446"/>
                      <a:pt x="13294" y="-1473"/>
                      <a:pt x="5845" y="7181"/>
                    </a:cubicBezTo>
                    <a:cubicBezTo>
                      <a:pt x="-1624" y="15836"/>
                      <a:pt x="-651" y="28920"/>
                      <a:pt x="7997" y="36374"/>
                    </a:cubicBezTo>
                    <a:cubicBezTo>
                      <a:pt x="112130" y="126290"/>
                      <a:pt x="171841" y="256724"/>
                      <a:pt x="171841" y="394197"/>
                    </a:cubicBezTo>
                    <a:cubicBezTo>
                      <a:pt x="171841" y="531670"/>
                      <a:pt x="111840" y="662767"/>
                      <a:pt x="7211" y="752704"/>
                    </a:cubicBezTo>
                    <a:cubicBezTo>
                      <a:pt x="-1458" y="760157"/>
                      <a:pt x="-2451" y="773221"/>
                      <a:pt x="4997" y="781896"/>
                    </a:cubicBezTo>
                    <a:cubicBezTo>
                      <a:pt x="9093" y="786658"/>
                      <a:pt x="14887" y="789101"/>
                      <a:pt x="20701" y="789101"/>
                    </a:cubicBezTo>
                    <a:cubicBezTo>
                      <a:pt x="25480" y="789101"/>
                      <a:pt x="30259" y="787466"/>
                      <a:pt x="34170" y="784091"/>
                    </a:cubicBezTo>
                    <a:cubicBezTo>
                      <a:pt x="147965" y="686266"/>
                      <a:pt x="213221" y="544155"/>
                      <a:pt x="213221" y="394177"/>
                    </a:cubicBezTo>
                    <a:cubicBezTo>
                      <a:pt x="213221" y="244198"/>
                      <a:pt x="148254" y="102833"/>
                      <a:pt x="35018" y="5028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19" name="Freeform 6">
                <a:extLst>
                  <a:ext uri="{FF2B5EF4-FFF2-40B4-BE49-F238E27FC236}">
                    <a16:creationId xmlns:a16="http://schemas.microsoft.com/office/drawing/2014/main" id="{3DBC229E-47B6-BED8-E184-2A27BA58FA21}"/>
                  </a:ext>
                </a:extLst>
              </p:cNvPr>
              <p:cNvSpPr/>
              <p:nvPr/>
            </p:nvSpPr>
            <p:spPr>
              <a:xfrm>
                <a:off x="4048441" y="2816267"/>
                <a:ext cx="166378" cy="585168"/>
              </a:xfrm>
              <a:custGeom>
                <a:avLst/>
                <a:gdLst>
                  <a:gd name="connsiteX0" fmla="*/ 34770 w 166378"/>
                  <a:gd name="connsiteY0" fmla="*/ 5028 h 585168"/>
                  <a:gd name="connsiteX1" fmla="*/ 5597 w 166378"/>
                  <a:gd name="connsiteY1" fmla="*/ 7181 h 585168"/>
                  <a:gd name="connsiteX2" fmla="*/ 7749 w 166378"/>
                  <a:gd name="connsiteY2" fmla="*/ 36374 h 585168"/>
                  <a:gd name="connsiteX3" fmla="*/ 124978 w 166378"/>
                  <a:gd name="connsiteY3" fmla="*/ 292335 h 585168"/>
                  <a:gd name="connsiteX4" fmla="*/ 7211 w 166378"/>
                  <a:gd name="connsiteY4" fmla="*/ 548772 h 585168"/>
                  <a:gd name="connsiteX5" fmla="*/ 4997 w 166378"/>
                  <a:gd name="connsiteY5" fmla="*/ 577964 h 585168"/>
                  <a:gd name="connsiteX6" fmla="*/ 20700 w 166378"/>
                  <a:gd name="connsiteY6" fmla="*/ 585169 h 585168"/>
                  <a:gd name="connsiteX7" fmla="*/ 34170 w 166378"/>
                  <a:gd name="connsiteY7" fmla="*/ 580179 h 585168"/>
                  <a:gd name="connsiteX8" fmla="*/ 166379 w 166378"/>
                  <a:gd name="connsiteY8" fmla="*/ 292314 h 585168"/>
                  <a:gd name="connsiteX9" fmla="*/ 34811 w 166378"/>
                  <a:gd name="connsiteY9" fmla="*/ 4987 h 585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378" h="585168">
                    <a:moveTo>
                      <a:pt x="34770" y="5028"/>
                    </a:moveTo>
                    <a:cubicBezTo>
                      <a:pt x="26121" y="-2446"/>
                      <a:pt x="13045" y="-1473"/>
                      <a:pt x="5597" y="7181"/>
                    </a:cubicBezTo>
                    <a:cubicBezTo>
                      <a:pt x="-1872" y="15836"/>
                      <a:pt x="-900" y="28920"/>
                      <a:pt x="7749" y="36374"/>
                    </a:cubicBezTo>
                    <a:cubicBezTo>
                      <a:pt x="82253" y="100680"/>
                      <a:pt x="124978" y="193971"/>
                      <a:pt x="124978" y="292335"/>
                    </a:cubicBezTo>
                    <a:cubicBezTo>
                      <a:pt x="124978" y="390698"/>
                      <a:pt x="82046" y="484466"/>
                      <a:pt x="7211" y="548772"/>
                    </a:cubicBezTo>
                    <a:cubicBezTo>
                      <a:pt x="-1458" y="556225"/>
                      <a:pt x="-2451" y="569289"/>
                      <a:pt x="4997" y="577964"/>
                    </a:cubicBezTo>
                    <a:cubicBezTo>
                      <a:pt x="9093" y="582726"/>
                      <a:pt x="14887" y="585169"/>
                      <a:pt x="20700" y="585169"/>
                    </a:cubicBezTo>
                    <a:cubicBezTo>
                      <a:pt x="25480" y="585169"/>
                      <a:pt x="30259" y="583533"/>
                      <a:pt x="34170" y="580179"/>
                    </a:cubicBezTo>
                    <a:cubicBezTo>
                      <a:pt x="118192" y="507985"/>
                      <a:pt x="166379" y="403058"/>
                      <a:pt x="166379" y="292314"/>
                    </a:cubicBezTo>
                    <a:cubicBezTo>
                      <a:pt x="166379" y="181569"/>
                      <a:pt x="118419" y="77181"/>
                      <a:pt x="34811" y="4987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20" name="Freeform 7">
                <a:extLst>
                  <a:ext uri="{FF2B5EF4-FFF2-40B4-BE49-F238E27FC236}">
                    <a16:creationId xmlns:a16="http://schemas.microsoft.com/office/drawing/2014/main" id="{B2D140C0-0677-7AAC-0221-FDD548B77434}"/>
                  </a:ext>
                </a:extLst>
              </p:cNvPr>
              <p:cNvSpPr/>
              <p:nvPr/>
            </p:nvSpPr>
            <p:spPr>
              <a:xfrm>
                <a:off x="3962666" y="2916160"/>
                <a:ext cx="114689" cy="385381"/>
              </a:xfrm>
              <a:custGeom>
                <a:avLst/>
                <a:gdLst>
                  <a:gd name="connsiteX0" fmla="*/ 35384 w 114689"/>
                  <a:gd name="connsiteY0" fmla="*/ 5798 h 385381"/>
                  <a:gd name="connsiteX1" fmla="*/ 6129 w 114689"/>
                  <a:gd name="connsiteY1" fmla="*/ 6336 h 385381"/>
                  <a:gd name="connsiteX2" fmla="*/ 6667 w 114689"/>
                  <a:gd name="connsiteY2" fmla="*/ 35611 h 385381"/>
                  <a:gd name="connsiteX3" fmla="*/ 73330 w 114689"/>
                  <a:gd name="connsiteY3" fmla="*/ 192525 h 385381"/>
                  <a:gd name="connsiteX4" fmla="*/ 6356 w 114689"/>
                  <a:gd name="connsiteY4" fmla="*/ 349750 h 385381"/>
                  <a:gd name="connsiteX5" fmla="*/ 5756 w 114689"/>
                  <a:gd name="connsiteY5" fmla="*/ 379025 h 385381"/>
                  <a:gd name="connsiteX6" fmla="*/ 20674 w 114689"/>
                  <a:gd name="connsiteY6" fmla="*/ 385381 h 385381"/>
                  <a:gd name="connsiteX7" fmla="*/ 34991 w 114689"/>
                  <a:gd name="connsiteY7" fmla="*/ 379605 h 385381"/>
                  <a:gd name="connsiteX8" fmla="*/ 114689 w 114689"/>
                  <a:gd name="connsiteY8" fmla="*/ 192505 h 385381"/>
                  <a:gd name="connsiteX9" fmla="*/ 35364 w 114689"/>
                  <a:gd name="connsiteY9" fmla="*/ 5777 h 385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4689" h="385381">
                    <a:moveTo>
                      <a:pt x="35384" y="5798"/>
                    </a:moveTo>
                    <a:cubicBezTo>
                      <a:pt x="27150" y="-2132"/>
                      <a:pt x="14053" y="-1904"/>
                      <a:pt x="6129" y="6336"/>
                    </a:cubicBezTo>
                    <a:cubicBezTo>
                      <a:pt x="-1796" y="14576"/>
                      <a:pt x="-1568" y="27682"/>
                      <a:pt x="6667" y="35611"/>
                    </a:cubicBezTo>
                    <a:cubicBezTo>
                      <a:pt x="49660" y="77060"/>
                      <a:pt x="73330" y="132795"/>
                      <a:pt x="73330" y="192525"/>
                    </a:cubicBezTo>
                    <a:cubicBezTo>
                      <a:pt x="73330" y="252256"/>
                      <a:pt x="49536" y="308280"/>
                      <a:pt x="6356" y="349750"/>
                    </a:cubicBezTo>
                    <a:cubicBezTo>
                      <a:pt x="-1878" y="357659"/>
                      <a:pt x="-2147" y="370764"/>
                      <a:pt x="5756" y="379025"/>
                    </a:cubicBezTo>
                    <a:cubicBezTo>
                      <a:pt x="9811" y="383269"/>
                      <a:pt x="15253" y="385381"/>
                      <a:pt x="20674" y="385381"/>
                    </a:cubicBezTo>
                    <a:cubicBezTo>
                      <a:pt x="25826" y="385381"/>
                      <a:pt x="30998" y="383476"/>
                      <a:pt x="34991" y="379605"/>
                    </a:cubicBezTo>
                    <a:cubicBezTo>
                      <a:pt x="86385" y="330226"/>
                      <a:pt x="114689" y="263788"/>
                      <a:pt x="114689" y="192505"/>
                    </a:cubicBezTo>
                    <a:cubicBezTo>
                      <a:pt x="114689" y="121221"/>
                      <a:pt x="86509" y="55114"/>
                      <a:pt x="35364" y="5777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21" name="Freeform 9">
                <a:extLst>
                  <a:ext uri="{FF2B5EF4-FFF2-40B4-BE49-F238E27FC236}">
                    <a16:creationId xmlns:a16="http://schemas.microsoft.com/office/drawing/2014/main" id="{19EB6761-0942-7673-13DE-4403C12A233C}"/>
                  </a:ext>
                </a:extLst>
              </p:cNvPr>
              <p:cNvSpPr/>
              <p:nvPr/>
            </p:nvSpPr>
            <p:spPr>
              <a:xfrm>
                <a:off x="3291487" y="2714309"/>
                <a:ext cx="213221" cy="789114"/>
              </a:xfrm>
              <a:custGeom>
                <a:avLst/>
                <a:gdLst>
                  <a:gd name="connsiteX0" fmla="*/ 178182 w 213221"/>
                  <a:gd name="connsiteY0" fmla="*/ 784084 h 789114"/>
                  <a:gd name="connsiteX1" fmla="*/ 191693 w 213221"/>
                  <a:gd name="connsiteY1" fmla="*/ 789115 h 789114"/>
                  <a:gd name="connsiteX2" fmla="*/ 207376 w 213221"/>
                  <a:gd name="connsiteY2" fmla="*/ 781930 h 789114"/>
                  <a:gd name="connsiteX3" fmla="*/ 205224 w 213221"/>
                  <a:gd name="connsiteY3" fmla="*/ 752738 h 789114"/>
                  <a:gd name="connsiteX4" fmla="*/ 41380 w 213221"/>
                  <a:gd name="connsiteY4" fmla="*/ 394915 h 789114"/>
                  <a:gd name="connsiteX5" fmla="*/ 206010 w 213221"/>
                  <a:gd name="connsiteY5" fmla="*/ 36408 h 789114"/>
                  <a:gd name="connsiteX6" fmla="*/ 208224 w 213221"/>
                  <a:gd name="connsiteY6" fmla="*/ 7216 h 789114"/>
                  <a:gd name="connsiteX7" fmla="*/ 179051 w 213221"/>
                  <a:gd name="connsiteY7" fmla="*/ 5000 h 789114"/>
                  <a:gd name="connsiteX8" fmla="*/ 0 w 213221"/>
                  <a:gd name="connsiteY8" fmla="*/ 394915 h 789114"/>
                  <a:gd name="connsiteX9" fmla="*/ 178182 w 213221"/>
                  <a:gd name="connsiteY9" fmla="*/ 784104 h 789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21" h="789114">
                    <a:moveTo>
                      <a:pt x="178182" y="784084"/>
                    </a:moveTo>
                    <a:cubicBezTo>
                      <a:pt x="182093" y="787458"/>
                      <a:pt x="186893" y="789115"/>
                      <a:pt x="191693" y="789115"/>
                    </a:cubicBezTo>
                    <a:cubicBezTo>
                      <a:pt x="197507" y="789115"/>
                      <a:pt x="203279" y="786692"/>
                      <a:pt x="207376" y="781930"/>
                    </a:cubicBezTo>
                    <a:cubicBezTo>
                      <a:pt x="214845" y="773276"/>
                      <a:pt x="213873" y="760191"/>
                      <a:pt x="205224" y="752738"/>
                    </a:cubicBezTo>
                    <a:cubicBezTo>
                      <a:pt x="101091" y="662822"/>
                      <a:pt x="41380" y="532388"/>
                      <a:pt x="41380" y="394915"/>
                    </a:cubicBezTo>
                    <a:cubicBezTo>
                      <a:pt x="41380" y="257441"/>
                      <a:pt x="101381" y="126345"/>
                      <a:pt x="206010" y="36408"/>
                    </a:cubicBezTo>
                    <a:cubicBezTo>
                      <a:pt x="214679" y="28954"/>
                      <a:pt x="215673" y="15890"/>
                      <a:pt x="208224" y="7216"/>
                    </a:cubicBezTo>
                    <a:cubicBezTo>
                      <a:pt x="200776" y="-1459"/>
                      <a:pt x="187720" y="-2453"/>
                      <a:pt x="179051" y="5000"/>
                    </a:cubicBezTo>
                    <a:cubicBezTo>
                      <a:pt x="65256" y="102826"/>
                      <a:pt x="0" y="244936"/>
                      <a:pt x="0" y="394915"/>
                    </a:cubicBezTo>
                    <a:cubicBezTo>
                      <a:pt x="0" y="544893"/>
                      <a:pt x="64946" y="686300"/>
                      <a:pt x="178182" y="78410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22" name="Freeform 10">
                <a:extLst>
                  <a:ext uri="{FF2B5EF4-FFF2-40B4-BE49-F238E27FC236}">
                    <a16:creationId xmlns:a16="http://schemas.microsoft.com/office/drawing/2014/main" id="{8A1FB997-CA32-04A8-1C0C-097CA28620BB}"/>
                  </a:ext>
                </a:extLst>
              </p:cNvPr>
              <p:cNvSpPr/>
              <p:nvPr/>
            </p:nvSpPr>
            <p:spPr>
              <a:xfrm>
                <a:off x="3425848" y="2816275"/>
                <a:ext cx="166378" cy="585203"/>
              </a:xfrm>
              <a:custGeom>
                <a:avLst/>
                <a:gdLst>
                  <a:gd name="connsiteX0" fmla="*/ 131588 w 166378"/>
                  <a:gd name="connsiteY0" fmla="*/ 580172 h 585203"/>
                  <a:gd name="connsiteX1" fmla="*/ 145099 w 166378"/>
                  <a:gd name="connsiteY1" fmla="*/ 585203 h 585203"/>
                  <a:gd name="connsiteX2" fmla="*/ 160782 w 166378"/>
                  <a:gd name="connsiteY2" fmla="*/ 578019 h 585203"/>
                  <a:gd name="connsiteX3" fmla="*/ 158630 w 166378"/>
                  <a:gd name="connsiteY3" fmla="*/ 548827 h 585203"/>
                  <a:gd name="connsiteX4" fmla="*/ 41401 w 166378"/>
                  <a:gd name="connsiteY4" fmla="*/ 292866 h 585203"/>
                  <a:gd name="connsiteX5" fmla="*/ 159168 w 166378"/>
                  <a:gd name="connsiteY5" fmla="*/ 36408 h 585203"/>
                  <a:gd name="connsiteX6" fmla="*/ 161382 w 166378"/>
                  <a:gd name="connsiteY6" fmla="*/ 7216 h 585203"/>
                  <a:gd name="connsiteX7" fmla="*/ 132209 w 166378"/>
                  <a:gd name="connsiteY7" fmla="*/ 5000 h 585203"/>
                  <a:gd name="connsiteX8" fmla="*/ 0 w 166378"/>
                  <a:gd name="connsiteY8" fmla="*/ 292866 h 585203"/>
                  <a:gd name="connsiteX9" fmla="*/ 131568 w 166378"/>
                  <a:gd name="connsiteY9" fmla="*/ 580193 h 585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378" h="585203">
                    <a:moveTo>
                      <a:pt x="131588" y="580172"/>
                    </a:moveTo>
                    <a:cubicBezTo>
                      <a:pt x="135499" y="583547"/>
                      <a:pt x="140299" y="585203"/>
                      <a:pt x="145099" y="585203"/>
                    </a:cubicBezTo>
                    <a:cubicBezTo>
                      <a:pt x="150913" y="585203"/>
                      <a:pt x="156685" y="582760"/>
                      <a:pt x="160782" y="578019"/>
                    </a:cubicBezTo>
                    <a:cubicBezTo>
                      <a:pt x="168251" y="569365"/>
                      <a:pt x="167279" y="556280"/>
                      <a:pt x="158630" y="548827"/>
                    </a:cubicBezTo>
                    <a:cubicBezTo>
                      <a:pt x="84126" y="484521"/>
                      <a:pt x="41401" y="391229"/>
                      <a:pt x="41401" y="292866"/>
                    </a:cubicBezTo>
                    <a:cubicBezTo>
                      <a:pt x="41401" y="194502"/>
                      <a:pt x="84332" y="100735"/>
                      <a:pt x="159168" y="36408"/>
                    </a:cubicBezTo>
                    <a:cubicBezTo>
                      <a:pt x="167837" y="28954"/>
                      <a:pt x="168830" y="15890"/>
                      <a:pt x="161382" y="7216"/>
                    </a:cubicBezTo>
                    <a:cubicBezTo>
                      <a:pt x="153934" y="-1459"/>
                      <a:pt x="140878" y="-2453"/>
                      <a:pt x="132209" y="5000"/>
                    </a:cubicBezTo>
                    <a:cubicBezTo>
                      <a:pt x="48187" y="77194"/>
                      <a:pt x="0" y="182121"/>
                      <a:pt x="0" y="292866"/>
                    </a:cubicBezTo>
                    <a:cubicBezTo>
                      <a:pt x="0" y="403610"/>
                      <a:pt x="47959" y="507999"/>
                      <a:pt x="131568" y="580193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23" name="Freeform 12">
                <a:extLst>
                  <a:ext uri="{FF2B5EF4-FFF2-40B4-BE49-F238E27FC236}">
                    <a16:creationId xmlns:a16="http://schemas.microsoft.com/office/drawing/2014/main" id="{7EF0C069-1E47-69DC-18DF-96CD4BA0A156}"/>
                  </a:ext>
                </a:extLst>
              </p:cNvPr>
              <p:cNvSpPr/>
              <p:nvPr/>
            </p:nvSpPr>
            <p:spPr>
              <a:xfrm>
                <a:off x="3563271" y="2916177"/>
                <a:ext cx="114709" cy="385384"/>
              </a:xfrm>
              <a:custGeom>
                <a:avLst/>
                <a:gdLst>
                  <a:gd name="connsiteX0" fmla="*/ 79326 w 114709"/>
                  <a:gd name="connsiteY0" fmla="*/ 379588 h 385384"/>
                  <a:gd name="connsiteX1" fmla="*/ 93684 w 114709"/>
                  <a:gd name="connsiteY1" fmla="*/ 385385 h 385384"/>
                  <a:gd name="connsiteX2" fmla="*/ 108581 w 114709"/>
                  <a:gd name="connsiteY2" fmla="*/ 379049 h 385384"/>
                  <a:gd name="connsiteX3" fmla="*/ 108043 w 114709"/>
                  <a:gd name="connsiteY3" fmla="*/ 349774 h 385384"/>
                  <a:gd name="connsiteX4" fmla="*/ 41380 w 114709"/>
                  <a:gd name="connsiteY4" fmla="*/ 192860 h 385384"/>
                  <a:gd name="connsiteX5" fmla="*/ 108354 w 114709"/>
                  <a:gd name="connsiteY5" fmla="*/ 35636 h 385384"/>
                  <a:gd name="connsiteX6" fmla="*/ 108954 w 114709"/>
                  <a:gd name="connsiteY6" fmla="*/ 6360 h 385384"/>
                  <a:gd name="connsiteX7" fmla="*/ 79698 w 114709"/>
                  <a:gd name="connsiteY7" fmla="*/ 5760 h 385384"/>
                  <a:gd name="connsiteX8" fmla="*/ 0 w 114709"/>
                  <a:gd name="connsiteY8" fmla="*/ 192860 h 385384"/>
                  <a:gd name="connsiteX9" fmla="*/ 79326 w 114709"/>
                  <a:gd name="connsiteY9" fmla="*/ 379588 h 38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4709" h="385384">
                    <a:moveTo>
                      <a:pt x="79326" y="379588"/>
                    </a:moveTo>
                    <a:cubicBezTo>
                      <a:pt x="83339" y="383459"/>
                      <a:pt x="88512" y="385385"/>
                      <a:pt x="93684" y="385385"/>
                    </a:cubicBezTo>
                    <a:cubicBezTo>
                      <a:pt x="99105" y="385385"/>
                      <a:pt x="104526" y="383273"/>
                      <a:pt x="108581" y="379049"/>
                    </a:cubicBezTo>
                    <a:cubicBezTo>
                      <a:pt x="116506" y="370809"/>
                      <a:pt x="116278" y="357704"/>
                      <a:pt x="108043" y="349774"/>
                    </a:cubicBezTo>
                    <a:cubicBezTo>
                      <a:pt x="65049" y="308325"/>
                      <a:pt x="41380" y="252591"/>
                      <a:pt x="41380" y="192860"/>
                    </a:cubicBezTo>
                    <a:cubicBezTo>
                      <a:pt x="41380" y="133130"/>
                      <a:pt x="65174" y="77105"/>
                      <a:pt x="108354" y="35636"/>
                    </a:cubicBezTo>
                    <a:cubicBezTo>
                      <a:pt x="116588" y="27727"/>
                      <a:pt x="116857" y="14601"/>
                      <a:pt x="108954" y="6360"/>
                    </a:cubicBezTo>
                    <a:cubicBezTo>
                      <a:pt x="101029" y="-1880"/>
                      <a:pt x="87933" y="-2149"/>
                      <a:pt x="79698" y="5760"/>
                    </a:cubicBezTo>
                    <a:cubicBezTo>
                      <a:pt x="28304" y="55118"/>
                      <a:pt x="0" y="121577"/>
                      <a:pt x="0" y="192860"/>
                    </a:cubicBezTo>
                    <a:cubicBezTo>
                      <a:pt x="0" y="264143"/>
                      <a:pt x="28180" y="330250"/>
                      <a:pt x="79326" y="379588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24" name="Freeform 13">
                <a:extLst>
                  <a:ext uri="{FF2B5EF4-FFF2-40B4-BE49-F238E27FC236}">
                    <a16:creationId xmlns:a16="http://schemas.microsoft.com/office/drawing/2014/main" id="{C7B026E5-54AB-CEAA-CD1F-05632DA0E4ED}"/>
                  </a:ext>
                </a:extLst>
              </p:cNvPr>
              <p:cNvSpPr/>
              <p:nvPr/>
            </p:nvSpPr>
            <p:spPr>
              <a:xfrm>
                <a:off x="2277470" y="2982951"/>
                <a:ext cx="1661448" cy="1799655"/>
              </a:xfrm>
              <a:custGeom>
                <a:avLst/>
                <a:gdLst>
                  <a:gd name="connsiteX0" fmla="*/ 1625344 w 1661448"/>
                  <a:gd name="connsiteY0" fmla="*/ 36128 h 1799655"/>
                  <a:gd name="connsiteX1" fmla="*/ 1585371 w 1661448"/>
                  <a:gd name="connsiteY1" fmla="*/ 9400 h 1799655"/>
                  <a:gd name="connsiteX2" fmla="*/ 1538157 w 1661448"/>
                  <a:gd name="connsiteY2" fmla="*/ 0 h 1799655"/>
                  <a:gd name="connsiteX3" fmla="*/ 1490942 w 1661448"/>
                  <a:gd name="connsiteY3" fmla="*/ 9400 h 1799655"/>
                  <a:gd name="connsiteX4" fmla="*/ 1450969 w 1661448"/>
                  <a:gd name="connsiteY4" fmla="*/ 36128 h 1799655"/>
                  <a:gd name="connsiteX5" fmla="*/ 1424258 w 1661448"/>
                  <a:gd name="connsiteY5" fmla="*/ 76149 h 1799655"/>
                  <a:gd name="connsiteX6" fmla="*/ 1414865 w 1661448"/>
                  <a:gd name="connsiteY6" fmla="*/ 123395 h 1799655"/>
                  <a:gd name="connsiteX7" fmla="*/ 1424258 w 1661448"/>
                  <a:gd name="connsiteY7" fmla="*/ 170641 h 1799655"/>
                  <a:gd name="connsiteX8" fmla="*/ 1450969 w 1661448"/>
                  <a:gd name="connsiteY8" fmla="*/ 210661 h 1799655"/>
                  <a:gd name="connsiteX9" fmla="*/ 1490942 w 1661448"/>
                  <a:gd name="connsiteY9" fmla="*/ 237390 h 1799655"/>
                  <a:gd name="connsiteX10" fmla="*/ 1517529 w 1661448"/>
                  <a:gd name="connsiteY10" fmla="*/ 245009 h 1799655"/>
                  <a:gd name="connsiteX11" fmla="*/ 1517529 w 1661448"/>
                  <a:gd name="connsiteY11" fmla="*/ 846557 h 1799655"/>
                  <a:gd name="connsiteX12" fmla="*/ 1446417 w 1661448"/>
                  <a:gd name="connsiteY12" fmla="*/ 917716 h 1799655"/>
                  <a:gd name="connsiteX13" fmla="*/ 1384844 w 1661448"/>
                  <a:gd name="connsiteY13" fmla="*/ 917716 h 1799655"/>
                  <a:gd name="connsiteX14" fmla="*/ 1375989 w 1661448"/>
                  <a:gd name="connsiteY14" fmla="*/ 884755 h 1799655"/>
                  <a:gd name="connsiteX15" fmla="*/ 1348533 w 1661448"/>
                  <a:gd name="connsiteY15" fmla="*/ 817717 h 1799655"/>
                  <a:gd name="connsiteX16" fmla="*/ 1310546 w 1661448"/>
                  <a:gd name="connsiteY16" fmla="*/ 756123 h 1799655"/>
                  <a:gd name="connsiteX17" fmla="*/ 1262938 w 1661448"/>
                  <a:gd name="connsiteY17" fmla="*/ 701713 h 1799655"/>
                  <a:gd name="connsiteX18" fmla="*/ 1144447 w 1661448"/>
                  <a:gd name="connsiteY18" fmla="*/ 619602 h 1799655"/>
                  <a:gd name="connsiteX19" fmla="*/ 1076604 w 1661448"/>
                  <a:gd name="connsiteY19" fmla="*/ 594323 h 1799655"/>
                  <a:gd name="connsiteX20" fmla="*/ 1005555 w 1661448"/>
                  <a:gd name="connsiteY20" fmla="*/ 580534 h 1799655"/>
                  <a:gd name="connsiteX21" fmla="*/ 996555 w 1661448"/>
                  <a:gd name="connsiteY21" fmla="*/ 579685 h 1799655"/>
                  <a:gd name="connsiteX22" fmla="*/ 987534 w 1661448"/>
                  <a:gd name="connsiteY22" fmla="*/ 579002 h 1799655"/>
                  <a:gd name="connsiteX23" fmla="*/ 978513 w 1661448"/>
                  <a:gd name="connsiteY23" fmla="*/ 578422 h 1799655"/>
                  <a:gd name="connsiteX24" fmla="*/ 969492 w 1661448"/>
                  <a:gd name="connsiteY24" fmla="*/ 578174 h 1799655"/>
                  <a:gd name="connsiteX25" fmla="*/ 960471 w 1661448"/>
                  <a:gd name="connsiteY25" fmla="*/ 577967 h 1799655"/>
                  <a:gd name="connsiteX26" fmla="*/ 958216 w 1661448"/>
                  <a:gd name="connsiteY26" fmla="*/ 577925 h 1799655"/>
                  <a:gd name="connsiteX27" fmla="*/ 956230 w 1661448"/>
                  <a:gd name="connsiteY27" fmla="*/ 577925 h 1799655"/>
                  <a:gd name="connsiteX28" fmla="*/ 952340 w 1661448"/>
                  <a:gd name="connsiteY28" fmla="*/ 577925 h 1799655"/>
                  <a:gd name="connsiteX29" fmla="*/ 191507 w 1661448"/>
                  <a:gd name="connsiteY29" fmla="*/ 577925 h 1799655"/>
                  <a:gd name="connsiteX30" fmla="*/ 145947 w 1661448"/>
                  <a:gd name="connsiteY30" fmla="*/ 583433 h 1799655"/>
                  <a:gd name="connsiteX31" fmla="*/ 102871 w 1661448"/>
                  <a:gd name="connsiteY31" fmla="*/ 599706 h 1799655"/>
                  <a:gd name="connsiteX32" fmla="*/ 34470 w 1661448"/>
                  <a:gd name="connsiteY32" fmla="*/ 659954 h 1799655"/>
                  <a:gd name="connsiteX33" fmla="*/ 1572 w 1661448"/>
                  <a:gd name="connsiteY33" fmla="*/ 745212 h 1799655"/>
                  <a:gd name="connsiteX34" fmla="*/ 21 w 1661448"/>
                  <a:gd name="connsiteY34" fmla="*/ 768110 h 1799655"/>
                  <a:gd name="connsiteX35" fmla="*/ 21 w 1661448"/>
                  <a:gd name="connsiteY35" fmla="*/ 784135 h 1799655"/>
                  <a:gd name="connsiteX36" fmla="*/ 0 w 1661448"/>
                  <a:gd name="connsiteY36" fmla="*/ 815212 h 1799655"/>
                  <a:gd name="connsiteX37" fmla="*/ 0 w 1661448"/>
                  <a:gd name="connsiteY37" fmla="*/ 1520175 h 1799655"/>
                  <a:gd name="connsiteX38" fmla="*/ 41 w 1661448"/>
                  <a:gd name="connsiteY38" fmla="*/ 1522888 h 1799655"/>
                  <a:gd name="connsiteX39" fmla="*/ 579 w 1661448"/>
                  <a:gd name="connsiteY39" fmla="*/ 1534606 h 1799655"/>
                  <a:gd name="connsiteX40" fmla="*/ 3848 w 1661448"/>
                  <a:gd name="connsiteY40" fmla="*/ 1557939 h 1799655"/>
                  <a:gd name="connsiteX41" fmla="*/ 10159 w 1661448"/>
                  <a:gd name="connsiteY41" fmla="*/ 1580713 h 1799655"/>
                  <a:gd name="connsiteX42" fmla="*/ 31201 w 1661448"/>
                  <a:gd name="connsiteY42" fmla="*/ 1622845 h 1799655"/>
                  <a:gd name="connsiteX43" fmla="*/ 62215 w 1661448"/>
                  <a:gd name="connsiteY43" fmla="*/ 1658083 h 1799655"/>
                  <a:gd name="connsiteX44" fmla="*/ 142927 w 1661448"/>
                  <a:gd name="connsiteY44" fmla="*/ 1699201 h 1799655"/>
                  <a:gd name="connsiteX45" fmla="*/ 142927 w 1661448"/>
                  <a:gd name="connsiteY45" fmla="*/ 1721602 h 1799655"/>
                  <a:gd name="connsiteX46" fmla="*/ 220928 w 1661448"/>
                  <a:gd name="connsiteY46" fmla="*/ 1799656 h 1799655"/>
                  <a:gd name="connsiteX47" fmla="*/ 319847 w 1661448"/>
                  <a:gd name="connsiteY47" fmla="*/ 1799656 h 1799655"/>
                  <a:gd name="connsiteX48" fmla="*/ 397848 w 1661448"/>
                  <a:gd name="connsiteY48" fmla="*/ 1721602 h 1799655"/>
                  <a:gd name="connsiteX49" fmla="*/ 397848 w 1661448"/>
                  <a:gd name="connsiteY49" fmla="*/ 1703652 h 1799655"/>
                  <a:gd name="connsiteX50" fmla="*/ 1000568 w 1661448"/>
                  <a:gd name="connsiteY50" fmla="*/ 1703652 h 1799655"/>
                  <a:gd name="connsiteX51" fmla="*/ 1000568 w 1661448"/>
                  <a:gd name="connsiteY51" fmla="*/ 1721602 h 1799655"/>
                  <a:gd name="connsiteX52" fmla="*/ 1078570 w 1661448"/>
                  <a:gd name="connsiteY52" fmla="*/ 1799656 h 1799655"/>
                  <a:gd name="connsiteX53" fmla="*/ 1177489 w 1661448"/>
                  <a:gd name="connsiteY53" fmla="*/ 1799656 h 1799655"/>
                  <a:gd name="connsiteX54" fmla="*/ 1255490 w 1661448"/>
                  <a:gd name="connsiteY54" fmla="*/ 1721602 h 1799655"/>
                  <a:gd name="connsiteX55" fmla="*/ 1255490 w 1661448"/>
                  <a:gd name="connsiteY55" fmla="*/ 1698849 h 1799655"/>
                  <a:gd name="connsiteX56" fmla="*/ 1260621 w 1661448"/>
                  <a:gd name="connsiteY56" fmla="*/ 1697586 h 1799655"/>
                  <a:gd name="connsiteX57" fmla="*/ 1304277 w 1661448"/>
                  <a:gd name="connsiteY57" fmla="*/ 1679657 h 1799655"/>
                  <a:gd name="connsiteX58" fmla="*/ 1370754 w 1661448"/>
                  <a:gd name="connsiteY58" fmla="*/ 1614150 h 1799655"/>
                  <a:gd name="connsiteX59" fmla="*/ 1396099 w 1661448"/>
                  <a:gd name="connsiteY59" fmla="*/ 1524130 h 1799655"/>
                  <a:gd name="connsiteX60" fmla="*/ 1396161 w 1661448"/>
                  <a:gd name="connsiteY60" fmla="*/ 1461025 h 1799655"/>
                  <a:gd name="connsiteX61" fmla="*/ 1396161 w 1661448"/>
                  <a:gd name="connsiteY61" fmla="*/ 1016266 h 1799655"/>
                  <a:gd name="connsiteX62" fmla="*/ 1396099 w 1661448"/>
                  <a:gd name="connsiteY62" fmla="*/ 1014009 h 1799655"/>
                  <a:gd name="connsiteX63" fmla="*/ 1395996 w 1661448"/>
                  <a:gd name="connsiteY63" fmla="*/ 1009496 h 1799655"/>
                  <a:gd name="connsiteX64" fmla="*/ 1395396 w 1661448"/>
                  <a:gd name="connsiteY64" fmla="*/ 991421 h 1799655"/>
                  <a:gd name="connsiteX65" fmla="*/ 1394030 w 1661448"/>
                  <a:gd name="connsiteY65" fmla="*/ 973368 h 1799655"/>
                  <a:gd name="connsiteX66" fmla="*/ 1392313 w 1661448"/>
                  <a:gd name="connsiteY66" fmla="*/ 959061 h 1799655"/>
                  <a:gd name="connsiteX67" fmla="*/ 1446417 w 1661448"/>
                  <a:gd name="connsiteY67" fmla="*/ 959061 h 1799655"/>
                  <a:gd name="connsiteX68" fmla="*/ 1558909 w 1661448"/>
                  <a:gd name="connsiteY68" fmla="*/ 846495 h 1799655"/>
                  <a:gd name="connsiteX69" fmla="*/ 1558909 w 1661448"/>
                  <a:gd name="connsiteY69" fmla="*/ 244967 h 1799655"/>
                  <a:gd name="connsiteX70" fmla="*/ 1585371 w 1661448"/>
                  <a:gd name="connsiteY70" fmla="*/ 237369 h 1799655"/>
                  <a:gd name="connsiteX71" fmla="*/ 1625344 w 1661448"/>
                  <a:gd name="connsiteY71" fmla="*/ 210640 h 1799655"/>
                  <a:gd name="connsiteX72" fmla="*/ 1652055 w 1661448"/>
                  <a:gd name="connsiteY72" fmla="*/ 170620 h 1799655"/>
                  <a:gd name="connsiteX73" fmla="*/ 1661449 w 1661448"/>
                  <a:gd name="connsiteY73" fmla="*/ 123374 h 1799655"/>
                  <a:gd name="connsiteX74" fmla="*/ 1652055 w 1661448"/>
                  <a:gd name="connsiteY74" fmla="*/ 76128 h 1799655"/>
                  <a:gd name="connsiteX75" fmla="*/ 1625344 w 1661448"/>
                  <a:gd name="connsiteY75" fmla="*/ 36107 h 1799655"/>
                  <a:gd name="connsiteX76" fmla="*/ 356427 w 1661448"/>
                  <a:gd name="connsiteY76" fmla="*/ 1721623 h 1799655"/>
                  <a:gd name="connsiteX77" fmla="*/ 319805 w 1661448"/>
                  <a:gd name="connsiteY77" fmla="*/ 1758269 h 1799655"/>
                  <a:gd name="connsiteX78" fmla="*/ 220886 w 1661448"/>
                  <a:gd name="connsiteY78" fmla="*/ 1758269 h 1799655"/>
                  <a:gd name="connsiteX79" fmla="*/ 184265 w 1661448"/>
                  <a:gd name="connsiteY79" fmla="*/ 1721623 h 1799655"/>
                  <a:gd name="connsiteX80" fmla="*/ 184265 w 1661448"/>
                  <a:gd name="connsiteY80" fmla="*/ 1703673 h 1799655"/>
                  <a:gd name="connsiteX81" fmla="*/ 356406 w 1661448"/>
                  <a:gd name="connsiteY81" fmla="*/ 1703673 h 1799655"/>
                  <a:gd name="connsiteX82" fmla="*/ 356406 w 1661448"/>
                  <a:gd name="connsiteY82" fmla="*/ 1721623 h 1799655"/>
                  <a:gd name="connsiteX83" fmla="*/ 1214089 w 1661448"/>
                  <a:gd name="connsiteY83" fmla="*/ 1721623 h 1799655"/>
                  <a:gd name="connsiteX84" fmla="*/ 1177468 w 1661448"/>
                  <a:gd name="connsiteY84" fmla="*/ 1758269 h 1799655"/>
                  <a:gd name="connsiteX85" fmla="*/ 1078549 w 1661448"/>
                  <a:gd name="connsiteY85" fmla="*/ 1758269 h 1799655"/>
                  <a:gd name="connsiteX86" fmla="*/ 1041928 w 1661448"/>
                  <a:gd name="connsiteY86" fmla="*/ 1721623 h 1799655"/>
                  <a:gd name="connsiteX87" fmla="*/ 1041928 w 1661448"/>
                  <a:gd name="connsiteY87" fmla="*/ 1703673 h 1799655"/>
                  <a:gd name="connsiteX88" fmla="*/ 1213924 w 1661448"/>
                  <a:gd name="connsiteY88" fmla="*/ 1703673 h 1799655"/>
                  <a:gd name="connsiteX89" fmla="*/ 1214089 w 1661448"/>
                  <a:gd name="connsiteY89" fmla="*/ 1703673 h 1799655"/>
                  <a:gd name="connsiteX90" fmla="*/ 1214089 w 1661448"/>
                  <a:gd name="connsiteY90" fmla="*/ 1721623 h 1799655"/>
                  <a:gd name="connsiteX91" fmla="*/ 1354057 w 1661448"/>
                  <a:gd name="connsiteY91" fmla="*/ 1461045 h 1799655"/>
                  <a:gd name="connsiteX92" fmla="*/ 1354016 w 1661448"/>
                  <a:gd name="connsiteY92" fmla="*/ 1523509 h 1799655"/>
                  <a:gd name="connsiteX93" fmla="*/ 1334547 w 1661448"/>
                  <a:gd name="connsiteY93" fmla="*/ 1592721 h 1799655"/>
                  <a:gd name="connsiteX94" fmla="*/ 1283380 w 1661448"/>
                  <a:gd name="connsiteY94" fmla="*/ 1643114 h 1799655"/>
                  <a:gd name="connsiteX95" fmla="*/ 1249842 w 1661448"/>
                  <a:gd name="connsiteY95" fmla="*/ 1656882 h 1799655"/>
                  <a:gd name="connsiteX96" fmla="*/ 1213924 w 1661448"/>
                  <a:gd name="connsiteY96" fmla="*/ 1661562 h 1799655"/>
                  <a:gd name="connsiteX97" fmla="*/ 185320 w 1661448"/>
                  <a:gd name="connsiteY97" fmla="*/ 1661562 h 1799655"/>
                  <a:gd name="connsiteX98" fmla="*/ 181182 w 1661448"/>
                  <a:gd name="connsiteY98" fmla="*/ 1661520 h 1799655"/>
                  <a:gd name="connsiteX99" fmla="*/ 172141 w 1661448"/>
                  <a:gd name="connsiteY99" fmla="*/ 1661106 h 1799655"/>
                  <a:gd name="connsiteX100" fmla="*/ 154182 w 1661448"/>
                  <a:gd name="connsiteY100" fmla="*/ 1658601 h 1799655"/>
                  <a:gd name="connsiteX101" fmla="*/ 89960 w 1661448"/>
                  <a:gd name="connsiteY101" fmla="*/ 1626469 h 1799655"/>
                  <a:gd name="connsiteX102" fmla="*/ 66042 w 1661448"/>
                  <a:gd name="connsiteY102" fmla="*/ 1599326 h 1799655"/>
                  <a:gd name="connsiteX103" fmla="*/ 49863 w 1661448"/>
                  <a:gd name="connsiteY103" fmla="*/ 1566904 h 1799655"/>
                  <a:gd name="connsiteX104" fmla="*/ 42497 w 1661448"/>
                  <a:gd name="connsiteY104" fmla="*/ 1531438 h 1799655"/>
                  <a:gd name="connsiteX105" fmla="*/ 42083 w 1661448"/>
                  <a:gd name="connsiteY105" fmla="*/ 1522391 h 1799655"/>
                  <a:gd name="connsiteX106" fmla="*/ 42042 w 1661448"/>
                  <a:gd name="connsiteY106" fmla="*/ 1518250 h 1799655"/>
                  <a:gd name="connsiteX107" fmla="*/ 42042 w 1661448"/>
                  <a:gd name="connsiteY107" fmla="*/ 768442 h 1799655"/>
                  <a:gd name="connsiteX108" fmla="*/ 43283 w 1661448"/>
                  <a:gd name="connsiteY108" fmla="*/ 750533 h 1799655"/>
                  <a:gd name="connsiteX109" fmla="*/ 68939 w 1661448"/>
                  <a:gd name="connsiteY109" fmla="*/ 684053 h 1799655"/>
                  <a:gd name="connsiteX110" fmla="*/ 122361 w 1661448"/>
                  <a:gd name="connsiteY110" fmla="*/ 637014 h 1799655"/>
                  <a:gd name="connsiteX111" fmla="*/ 191507 w 1661448"/>
                  <a:gd name="connsiteY111" fmla="*/ 620016 h 1799655"/>
                  <a:gd name="connsiteX112" fmla="*/ 253618 w 1661448"/>
                  <a:gd name="connsiteY112" fmla="*/ 620016 h 1799655"/>
                  <a:gd name="connsiteX113" fmla="*/ 502043 w 1661448"/>
                  <a:gd name="connsiteY113" fmla="*/ 620016 h 1799655"/>
                  <a:gd name="connsiteX114" fmla="*/ 936781 w 1661448"/>
                  <a:gd name="connsiteY114" fmla="*/ 620016 h 1799655"/>
                  <a:gd name="connsiteX115" fmla="*/ 1001003 w 1661448"/>
                  <a:gd name="connsiteY115" fmla="*/ 622397 h 1799655"/>
                  <a:gd name="connsiteX116" fmla="*/ 1065204 w 1661448"/>
                  <a:gd name="connsiteY116" fmla="*/ 634861 h 1799655"/>
                  <a:gd name="connsiteX117" fmla="*/ 1126508 w 1661448"/>
                  <a:gd name="connsiteY117" fmla="*/ 657697 h 1799655"/>
                  <a:gd name="connsiteX118" fmla="*/ 1233641 w 1661448"/>
                  <a:gd name="connsiteY118" fmla="*/ 731941 h 1799655"/>
                  <a:gd name="connsiteX119" fmla="*/ 1276697 w 1661448"/>
                  <a:gd name="connsiteY119" fmla="*/ 781154 h 1799655"/>
                  <a:gd name="connsiteX120" fmla="*/ 1311022 w 1661448"/>
                  <a:gd name="connsiteY120" fmla="*/ 836847 h 1799655"/>
                  <a:gd name="connsiteX121" fmla="*/ 1335850 w 1661448"/>
                  <a:gd name="connsiteY121" fmla="*/ 897406 h 1799655"/>
                  <a:gd name="connsiteX122" fmla="*/ 1350167 w 1661448"/>
                  <a:gd name="connsiteY122" fmla="*/ 961277 h 1799655"/>
                  <a:gd name="connsiteX123" fmla="*/ 1352154 w 1661448"/>
                  <a:gd name="connsiteY123" fmla="*/ 977529 h 1799655"/>
                  <a:gd name="connsiteX124" fmla="*/ 1353395 w 1661448"/>
                  <a:gd name="connsiteY124" fmla="*/ 993844 h 1799655"/>
                  <a:gd name="connsiteX125" fmla="*/ 1353933 w 1661448"/>
                  <a:gd name="connsiteY125" fmla="*/ 1010200 h 1799655"/>
                  <a:gd name="connsiteX126" fmla="*/ 1354078 w 1661448"/>
                  <a:gd name="connsiteY126" fmla="*/ 1018274 h 1799655"/>
                  <a:gd name="connsiteX127" fmla="*/ 1354078 w 1661448"/>
                  <a:gd name="connsiteY127" fmla="*/ 1461066 h 1799655"/>
                  <a:gd name="connsiteX128" fmla="*/ 1613179 w 1661448"/>
                  <a:gd name="connsiteY128" fmla="*/ 154492 h 1799655"/>
                  <a:gd name="connsiteX129" fmla="*/ 1595571 w 1661448"/>
                  <a:gd name="connsiteY129" fmla="*/ 180848 h 1799655"/>
                  <a:gd name="connsiteX130" fmla="*/ 1569233 w 1661448"/>
                  <a:gd name="connsiteY130" fmla="*/ 198466 h 1799655"/>
                  <a:gd name="connsiteX131" fmla="*/ 1538136 w 1661448"/>
                  <a:gd name="connsiteY131" fmla="*/ 204657 h 1799655"/>
                  <a:gd name="connsiteX132" fmla="*/ 1507039 w 1661448"/>
                  <a:gd name="connsiteY132" fmla="*/ 198466 h 1799655"/>
                  <a:gd name="connsiteX133" fmla="*/ 1480701 w 1661448"/>
                  <a:gd name="connsiteY133" fmla="*/ 180848 h 1799655"/>
                  <a:gd name="connsiteX134" fmla="*/ 1463093 w 1661448"/>
                  <a:gd name="connsiteY134" fmla="*/ 154492 h 1799655"/>
                  <a:gd name="connsiteX135" fmla="*/ 1456907 w 1661448"/>
                  <a:gd name="connsiteY135" fmla="*/ 123374 h 1799655"/>
                  <a:gd name="connsiteX136" fmla="*/ 1463093 w 1661448"/>
                  <a:gd name="connsiteY136" fmla="*/ 92256 h 1799655"/>
                  <a:gd name="connsiteX137" fmla="*/ 1480701 w 1661448"/>
                  <a:gd name="connsiteY137" fmla="*/ 65900 h 1799655"/>
                  <a:gd name="connsiteX138" fmla="*/ 1507039 w 1661448"/>
                  <a:gd name="connsiteY138" fmla="*/ 48281 h 1799655"/>
                  <a:gd name="connsiteX139" fmla="*/ 1538136 w 1661448"/>
                  <a:gd name="connsiteY139" fmla="*/ 42091 h 1799655"/>
                  <a:gd name="connsiteX140" fmla="*/ 1569233 w 1661448"/>
                  <a:gd name="connsiteY140" fmla="*/ 48281 h 1799655"/>
                  <a:gd name="connsiteX141" fmla="*/ 1595571 w 1661448"/>
                  <a:gd name="connsiteY141" fmla="*/ 65900 h 1799655"/>
                  <a:gd name="connsiteX142" fmla="*/ 1613179 w 1661448"/>
                  <a:gd name="connsiteY142" fmla="*/ 92256 h 1799655"/>
                  <a:gd name="connsiteX143" fmla="*/ 1619365 w 1661448"/>
                  <a:gd name="connsiteY143" fmla="*/ 123374 h 1799655"/>
                  <a:gd name="connsiteX144" fmla="*/ 1613179 w 1661448"/>
                  <a:gd name="connsiteY144" fmla="*/ 154492 h 1799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1661448" h="1799655">
                    <a:moveTo>
                      <a:pt x="1625344" y="36128"/>
                    </a:moveTo>
                    <a:cubicBezTo>
                      <a:pt x="1613965" y="24741"/>
                      <a:pt x="1600330" y="15590"/>
                      <a:pt x="1585371" y="9400"/>
                    </a:cubicBezTo>
                    <a:cubicBezTo>
                      <a:pt x="1570433" y="3168"/>
                      <a:pt x="1554150" y="0"/>
                      <a:pt x="1538157" y="0"/>
                    </a:cubicBezTo>
                    <a:cubicBezTo>
                      <a:pt x="1522184" y="0"/>
                      <a:pt x="1505901" y="3188"/>
                      <a:pt x="1490942" y="9400"/>
                    </a:cubicBezTo>
                    <a:cubicBezTo>
                      <a:pt x="1475963" y="15611"/>
                      <a:pt x="1462328" y="24762"/>
                      <a:pt x="1450969" y="36128"/>
                    </a:cubicBezTo>
                    <a:cubicBezTo>
                      <a:pt x="1439590" y="47515"/>
                      <a:pt x="1430445" y="61159"/>
                      <a:pt x="1424258" y="76149"/>
                    </a:cubicBezTo>
                    <a:cubicBezTo>
                      <a:pt x="1418031" y="91097"/>
                      <a:pt x="1414865" y="107391"/>
                      <a:pt x="1414865" y="123395"/>
                    </a:cubicBezTo>
                    <a:cubicBezTo>
                      <a:pt x="1414865" y="139378"/>
                      <a:pt x="1418051" y="155672"/>
                      <a:pt x="1424258" y="170641"/>
                    </a:cubicBezTo>
                    <a:cubicBezTo>
                      <a:pt x="1430465" y="185630"/>
                      <a:pt x="1439610" y="199274"/>
                      <a:pt x="1450969" y="210661"/>
                    </a:cubicBezTo>
                    <a:cubicBezTo>
                      <a:pt x="1462349" y="222048"/>
                      <a:pt x="1475983" y="231199"/>
                      <a:pt x="1490942" y="237390"/>
                    </a:cubicBezTo>
                    <a:cubicBezTo>
                      <a:pt x="1499466" y="240930"/>
                      <a:pt x="1508425" y="243456"/>
                      <a:pt x="1517529" y="245009"/>
                    </a:cubicBezTo>
                    <a:lnTo>
                      <a:pt x="1517529" y="846557"/>
                    </a:lnTo>
                    <a:cubicBezTo>
                      <a:pt x="1517529" y="885791"/>
                      <a:pt x="1485625" y="917716"/>
                      <a:pt x="1446417" y="917716"/>
                    </a:cubicBezTo>
                    <a:lnTo>
                      <a:pt x="1384844" y="917716"/>
                    </a:lnTo>
                    <a:cubicBezTo>
                      <a:pt x="1382299" y="906639"/>
                      <a:pt x="1379361" y="895625"/>
                      <a:pt x="1375989" y="884755"/>
                    </a:cubicBezTo>
                    <a:cubicBezTo>
                      <a:pt x="1368747" y="861671"/>
                      <a:pt x="1359457" y="839269"/>
                      <a:pt x="1348533" y="817717"/>
                    </a:cubicBezTo>
                    <a:cubicBezTo>
                      <a:pt x="1337546" y="796205"/>
                      <a:pt x="1324988" y="775481"/>
                      <a:pt x="1310546" y="756123"/>
                    </a:cubicBezTo>
                    <a:cubicBezTo>
                      <a:pt x="1296166" y="736744"/>
                      <a:pt x="1280215" y="718525"/>
                      <a:pt x="1262938" y="701713"/>
                    </a:cubicBezTo>
                    <a:cubicBezTo>
                      <a:pt x="1228448" y="667925"/>
                      <a:pt x="1188061" y="640347"/>
                      <a:pt x="1144447" y="619602"/>
                    </a:cubicBezTo>
                    <a:cubicBezTo>
                      <a:pt x="1122660" y="609167"/>
                      <a:pt x="1099839" y="600886"/>
                      <a:pt x="1076604" y="594323"/>
                    </a:cubicBezTo>
                    <a:cubicBezTo>
                      <a:pt x="1053328" y="587843"/>
                      <a:pt x="1029555" y="583039"/>
                      <a:pt x="1005555" y="580534"/>
                    </a:cubicBezTo>
                    <a:cubicBezTo>
                      <a:pt x="1002575" y="580099"/>
                      <a:pt x="999555" y="579954"/>
                      <a:pt x="996555" y="579685"/>
                    </a:cubicBezTo>
                    <a:lnTo>
                      <a:pt x="987534" y="579002"/>
                    </a:lnTo>
                    <a:cubicBezTo>
                      <a:pt x="984534" y="578816"/>
                      <a:pt x="981513" y="578484"/>
                      <a:pt x="978513" y="578422"/>
                    </a:cubicBezTo>
                    <a:lnTo>
                      <a:pt x="969492" y="578174"/>
                    </a:lnTo>
                    <a:lnTo>
                      <a:pt x="960471" y="577967"/>
                    </a:lnTo>
                    <a:lnTo>
                      <a:pt x="958216" y="577925"/>
                    </a:lnTo>
                    <a:lnTo>
                      <a:pt x="956230" y="577925"/>
                    </a:lnTo>
                    <a:cubicBezTo>
                      <a:pt x="956230" y="577925"/>
                      <a:pt x="952340" y="577925"/>
                      <a:pt x="952340" y="577925"/>
                    </a:cubicBezTo>
                    <a:lnTo>
                      <a:pt x="191507" y="577925"/>
                    </a:lnTo>
                    <a:cubicBezTo>
                      <a:pt x="176258" y="577967"/>
                      <a:pt x="160885" y="579810"/>
                      <a:pt x="145947" y="583433"/>
                    </a:cubicBezTo>
                    <a:cubicBezTo>
                      <a:pt x="130968" y="587014"/>
                      <a:pt x="116505" y="592625"/>
                      <a:pt x="102871" y="599706"/>
                    </a:cubicBezTo>
                    <a:cubicBezTo>
                      <a:pt x="75622" y="613929"/>
                      <a:pt x="52015" y="634757"/>
                      <a:pt x="34470" y="659954"/>
                    </a:cubicBezTo>
                    <a:cubicBezTo>
                      <a:pt x="16883" y="685068"/>
                      <a:pt x="5379" y="714715"/>
                      <a:pt x="1572" y="745212"/>
                    </a:cubicBezTo>
                    <a:cubicBezTo>
                      <a:pt x="538" y="752831"/>
                      <a:pt x="124" y="760491"/>
                      <a:pt x="21" y="768110"/>
                    </a:cubicBezTo>
                    <a:lnTo>
                      <a:pt x="21" y="784135"/>
                    </a:lnTo>
                    <a:cubicBezTo>
                      <a:pt x="21" y="784135"/>
                      <a:pt x="0" y="815212"/>
                      <a:pt x="0" y="815212"/>
                    </a:cubicBezTo>
                    <a:lnTo>
                      <a:pt x="0" y="1520175"/>
                    </a:lnTo>
                    <a:lnTo>
                      <a:pt x="41" y="1522888"/>
                    </a:lnTo>
                    <a:cubicBezTo>
                      <a:pt x="124" y="1526801"/>
                      <a:pt x="228" y="1530693"/>
                      <a:pt x="579" y="1534606"/>
                    </a:cubicBezTo>
                    <a:cubicBezTo>
                      <a:pt x="1117" y="1542432"/>
                      <a:pt x="2317" y="1550217"/>
                      <a:pt x="3848" y="1557939"/>
                    </a:cubicBezTo>
                    <a:cubicBezTo>
                      <a:pt x="5524" y="1565641"/>
                      <a:pt x="7510" y="1573281"/>
                      <a:pt x="10159" y="1580713"/>
                    </a:cubicBezTo>
                    <a:cubicBezTo>
                      <a:pt x="15249" y="1595641"/>
                      <a:pt x="22511" y="1609761"/>
                      <a:pt x="31201" y="1622845"/>
                    </a:cubicBezTo>
                    <a:cubicBezTo>
                      <a:pt x="40056" y="1635806"/>
                      <a:pt x="50380" y="1647773"/>
                      <a:pt x="62215" y="1658083"/>
                    </a:cubicBezTo>
                    <a:cubicBezTo>
                      <a:pt x="84995" y="1678269"/>
                      <a:pt x="113112" y="1692493"/>
                      <a:pt x="142927" y="1699201"/>
                    </a:cubicBezTo>
                    <a:lnTo>
                      <a:pt x="142927" y="1721602"/>
                    </a:lnTo>
                    <a:cubicBezTo>
                      <a:pt x="142927" y="1764646"/>
                      <a:pt x="177913" y="1799656"/>
                      <a:pt x="220928" y="1799656"/>
                    </a:cubicBezTo>
                    <a:lnTo>
                      <a:pt x="319847" y="1799656"/>
                    </a:lnTo>
                    <a:cubicBezTo>
                      <a:pt x="362861" y="1799656"/>
                      <a:pt x="397848" y="1764646"/>
                      <a:pt x="397848" y="1721602"/>
                    </a:cubicBezTo>
                    <a:lnTo>
                      <a:pt x="397848" y="1703652"/>
                    </a:lnTo>
                    <a:lnTo>
                      <a:pt x="1000568" y="1703652"/>
                    </a:lnTo>
                    <a:lnTo>
                      <a:pt x="1000568" y="1721602"/>
                    </a:lnTo>
                    <a:cubicBezTo>
                      <a:pt x="1000568" y="1764646"/>
                      <a:pt x="1035555" y="1799656"/>
                      <a:pt x="1078570" y="1799656"/>
                    </a:cubicBezTo>
                    <a:lnTo>
                      <a:pt x="1177489" y="1799656"/>
                    </a:lnTo>
                    <a:cubicBezTo>
                      <a:pt x="1220503" y="1799656"/>
                      <a:pt x="1255490" y="1764646"/>
                      <a:pt x="1255490" y="1721602"/>
                    </a:cubicBezTo>
                    <a:lnTo>
                      <a:pt x="1255490" y="1698849"/>
                    </a:lnTo>
                    <a:cubicBezTo>
                      <a:pt x="1257207" y="1698456"/>
                      <a:pt x="1258924" y="1698042"/>
                      <a:pt x="1260621" y="1697586"/>
                    </a:cubicBezTo>
                    <a:cubicBezTo>
                      <a:pt x="1275870" y="1693487"/>
                      <a:pt x="1290642" y="1687545"/>
                      <a:pt x="1304277" y="1679657"/>
                    </a:cubicBezTo>
                    <a:cubicBezTo>
                      <a:pt x="1331671" y="1664067"/>
                      <a:pt x="1354699" y="1641272"/>
                      <a:pt x="1370754" y="1614150"/>
                    </a:cubicBezTo>
                    <a:cubicBezTo>
                      <a:pt x="1386871" y="1587090"/>
                      <a:pt x="1395706" y="1555455"/>
                      <a:pt x="1396099" y="1524130"/>
                    </a:cubicBezTo>
                    <a:lnTo>
                      <a:pt x="1396161" y="1461025"/>
                    </a:lnTo>
                    <a:lnTo>
                      <a:pt x="1396161" y="1016266"/>
                    </a:lnTo>
                    <a:cubicBezTo>
                      <a:pt x="1396161" y="1016266"/>
                      <a:pt x="1396099" y="1014009"/>
                      <a:pt x="1396099" y="1014009"/>
                    </a:cubicBezTo>
                    <a:lnTo>
                      <a:pt x="1395996" y="1009496"/>
                    </a:lnTo>
                    <a:cubicBezTo>
                      <a:pt x="1395810" y="1003471"/>
                      <a:pt x="1395810" y="997446"/>
                      <a:pt x="1395396" y="991421"/>
                    </a:cubicBezTo>
                    <a:lnTo>
                      <a:pt x="1394030" y="973368"/>
                    </a:lnTo>
                    <a:cubicBezTo>
                      <a:pt x="1393554" y="968585"/>
                      <a:pt x="1392934" y="963823"/>
                      <a:pt x="1392313" y="959061"/>
                    </a:cubicBezTo>
                    <a:lnTo>
                      <a:pt x="1446417" y="959061"/>
                    </a:lnTo>
                    <a:cubicBezTo>
                      <a:pt x="1508446" y="959061"/>
                      <a:pt x="1558909" y="908565"/>
                      <a:pt x="1558909" y="846495"/>
                    </a:cubicBezTo>
                    <a:lnTo>
                      <a:pt x="1558909" y="244967"/>
                    </a:lnTo>
                    <a:cubicBezTo>
                      <a:pt x="1567950" y="243414"/>
                      <a:pt x="1576888" y="240909"/>
                      <a:pt x="1585371" y="237369"/>
                    </a:cubicBezTo>
                    <a:cubicBezTo>
                      <a:pt x="1600351" y="231158"/>
                      <a:pt x="1613986" y="222007"/>
                      <a:pt x="1625344" y="210640"/>
                    </a:cubicBezTo>
                    <a:cubicBezTo>
                      <a:pt x="1636724" y="199253"/>
                      <a:pt x="1645869" y="185609"/>
                      <a:pt x="1652055" y="170620"/>
                    </a:cubicBezTo>
                    <a:cubicBezTo>
                      <a:pt x="1658283" y="155672"/>
                      <a:pt x="1661449" y="139378"/>
                      <a:pt x="1661449" y="123374"/>
                    </a:cubicBezTo>
                    <a:cubicBezTo>
                      <a:pt x="1661449" y="107391"/>
                      <a:pt x="1658262" y="91097"/>
                      <a:pt x="1652055" y="76128"/>
                    </a:cubicBezTo>
                    <a:cubicBezTo>
                      <a:pt x="1645848" y="61138"/>
                      <a:pt x="1636703" y="47494"/>
                      <a:pt x="1625344" y="36107"/>
                    </a:cubicBezTo>
                    <a:close/>
                    <a:moveTo>
                      <a:pt x="356427" y="1721623"/>
                    </a:moveTo>
                    <a:cubicBezTo>
                      <a:pt x="356427" y="1741830"/>
                      <a:pt x="339999" y="1758269"/>
                      <a:pt x="319805" y="1758269"/>
                    </a:cubicBezTo>
                    <a:lnTo>
                      <a:pt x="220886" y="1758269"/>
                    </a:lnTo>
                    <a:cubicBezTo>
                      <a:pt x="200693" y="1758269"/>
                      <a:pt x="184265" y="1741830"/>
                      <a:pt x="184265" y="1721623"/>
                    </a:cubicBezTo>
                    <a:lnTo>
                      <a:pt x="184265" y="1703673"/>
                    </a:lnTo>
                    <a:lnTo>
                      <a:pt x="356406" y="1703673"/>
                    </a:lnTo>
                    <a:lnTo>
                      <a:pt x="356406" y="1721623"/>
                    </a:lnTo>
                    <a:close/>
                    <a:moveTo>
                      <a:pt x="1214089" y="1721623"/>
                    </a:moveTo>
                    <a:cubicBezTo>
                      <a:pt x="1214089" y="1741830"/>
                      <a:pt x="1197661" y="1758269"/>
                      <a:pt x="1177468" y="1758269"/>
                    </a:cubicBezTo>
                    <a:lnTo>
                      <a:pt x="1078549" y="1758269"/>
                    </a:lnTo>
                    <a:cubicBezTo>
                      <a:pt x="1058356" y="1758269"/>
                      <a:pt x="1041928" y="1741830"/>
                      <a:pt x="1041928" y="1721623"/>
                    </a:cubicBezTo>
                    <a:lnTo>
                      <a:pt x="1041928" y="1703673"/>
                    </a:lnTo>
                    <a:lnTo>
                      <a:pt x="1213924" y="1703673"/>
                    </a:lnTo>
                    <a:cubicBezTo>
                      <a:pt x="1213924" y="1703673"/>
                      <a:pt x="1214027" y="1703673"/>
                      <a:pt x="1214089" y="1703673"/>
                    </a:cubicBezTo>
                    <a:lnTo>
                      <a:pt x="1214089" y="1721623"/>
                    </a:lnTo>
                    <a:close/>
                    <a:moveTo>
                      <a:pt x="1354057" y="1461045"/>
                    </a:moveTo>
                    <a:lnTo>
                      <a:pt x="1354016" y="1523509"/>
                    </a:lnTo>
                    <a:cubicBezTo>
                      <a:pt x="1353705" y="1547691"/>
                      <a:pt x="1346940" y="1571893"/>
                      <a:pt x="1334547" y="1592721"/>
                    </a:cubicBezTo>
                    <a:cubicBezTo>
                      <a:pt x="1322195" y="1613570"/>
                      <a:pt x="1304463" y="1631148"/>
                      <a:pt x="1283380" y="1643114"/>
                    </a:cubicBezTo>
                    <a:cubicBezTo>
                      <a:pt x="1272890" y="1649181"/>
                      <a:pt x="1261552" y="1653736"/>
                      <a:pt x="1249842" y="1656882"/>
                    </a:cubicBezTo>
                    <a:cubicBezTo>
                      <a:pt x="1238131" y="1659988"/>
                      <a:pt x="1226007" y="1661479"/>
                      <a:pt x="1213924" y="1661562"/>
                    </a:cubicBezTo>
                    <a:lnTo>
                      <a:pt x="185320" y="1661562"/>
                    </a:lnTo>
                    <a:cubicBezTo>
                      <a:pt x="184038" y="1661562"/>
                      <a:pt x="182796" y="1661562"/>
                      <a:pt x="181182" y="1661520"/>
                    </a:cubicBezTo>
                    <a:cubicBezTo>
                      <a:pt x="178162" y="1661458"/>
                      <a:pt x="175141" y="1661396"/>
                      <a:pt x="172141" y="1661106"/>
                    </a:cubicBezTo>
                    <a:cubicBezTo>
                      <a:pt x="166120" y="1660713"/>
                      <a:pt x="160120" y="1659760"/>
                      <a:pt x="154182" y="1658601"/>
                    </a:cubicBezTo>
                    <a:cubicBezTo>
                      <a:pt x="130471" y="1653632"/>
                      <a:pt x="108064" y="1642514"/>
                      <a:pt x="89960" y="1626469"/>
                    </a:cubicBezTo>
                    <a:cubicBezTo>
                      <a:pt x="80815" y="1618539"/>
                      <a:pt x="72891" y="1609284"/>
                      <a:pt x="66042" y="1599326"/>
                    </a:cubicBezTo>
                    <a:cubicBezTo>
                      <a:pt x="59360" y="1589243"/>
                      <a:pt x="53753" y="1578394"/>
                      <a:pt x="49863" y="1566904"/>
                    </a:cubicBezTo>
                    <a:cubicBezTo>
                      <a:pt x="45870" y="1555455"/>
                      <a:pt x="43366" y="1543488"/>
                      <a:pt x="42497" y="1531438"/>
                    </a:cubicBezTo>
                    <a:cubicBezTo>
                      <a:pt x="42208" y="1528415"/>
                      <a:pt x="42146" y="1525413"/>
                      <a:pt x="42083" y="1522391"/>
                    </a:cubicBezTo>
                    <a:cubicBezTo>
                      <a:pt x="42042" y="1520797"/>
                      <a:pt x="42042" y="1519534"/>
                      <a:pt x="42042" y="1518250"/>
                    </a:cubicBezTo>
                    <a:lnTo>
                      <a:pt x="42042" y="768442"/>
                    </a:lnTo>
                    <a:cubicBezTo>
                      <a:pt x="42166" y="762458"/>
                      <a:pt x="42477" y="756475"/>
                      <a:pt x="43283" y="750533"/>
                    </a:cubicBezTo>
                    <a:cubicBezTo>
                      <a:pt x="46242" y="726724"/>
                      <a:pt x="55201" y="703680"/>
                      <a:pt x="68939" y="684053"/>
                    </a:cubicBezTo>
                    <a:cubicBezTo>
                      <a:pt x="82636" y="664384"/>
                      <a:pt x="101091" y="648111"/>
                      <a:pt x="122361" y="637014"/>
                    </a:cubicBezTo>
                    <a:cubicBezTo>
                      <a:pt x="143568" y="625813"/>
                      <a:pt x="167610" y="620058"/>
                      <a:pt x="191507" y="620016"/>
                    </a:cubicBezTo>
                    <a:lnTo>
                      <a:pt x="253618" y="620016"/>
                    </a:lnTo>
                    <a:cubicBezTo>
                      <a:pt x="253618" y="620016"/>
                      <a:pt x="502043" y="620016"/>
                      <a:pt x="502043" y="620016"/>
                    </a:cubicBezTo>
                    <a:lnTo>
                      <a:pt x="936781" y="620016"/>
                    </a:lnTo>
                    <a:cubicBezTo>
                      <a:pt x="956995" y="619913"/>
                      <a:pt x="979403" y="620016"/>
                      <a:pt x="1001003" y="622397"/>
                    </a:cubicBezTo>
                    <a:cubicBezTo>
                      <a:pt x="1022707" y="624654"/>
                      <a:pt x="1044183" y="629022"/>
                      <a:pt x="1065204" y="634861"/>
                    </a:cubicBezTo>
                    <a:cubicBezTo>
                      <a:pt x="1086204" y="640782"/>
                      <a:pt x="1106812" y="648256"/>
                      <a:pt x="1126508" y="657697"/>
                    </a:cubicBezTo>
                    <a:cubicBezTo>
                      <a:pt x="1165902" y="676455"/>
                      <a:pt x="1202461" y="701361"/>
                      <a:pt x="1233641" y="731941"/>
                    </a:cubicBezTo>
                    <a:cubicBezTo>
                      <a:pt x="1249283" y="747158"/>
                      <a:pt x="1263683" y="763618"/>
                      <a:pt x="1276697" y="781154"/>
                    </a:cubicBezTo>
                    <a:cubicBezTo>
                      <a:pt x="1289753" y="798649"/>
                      <a:pt x="1301091" y="817406"/>
                      <a:pt x="1311022" y="836847"/>
                    </a:cubicBezTo>
                    <a:cubicBezTo>
                      <a:pt x="1320891" y="856309"/>
                      <a:pt x="1329291" y="876557"/>
                      <a:pt x="1335850" y="897406"/>
                    </a:cubicBezTo>
                    <a:cubicBezTo>
                      <a:pt x="1342326" y="918275"/>
                      <a:pt x="1347105" y="939641"/>
                      <a:pt x="1350167" y="961277"/>
                    </a:cubicBezTo>
                    <a:cubicBezTo>
                      <a:pt x="1350830" y="966701"/>
                      <a:pt x="1351616" y="972105"/>
                      <a:pt x="1352154" y="977529"/>
                    </a:cubicBezTo>
                    <a:lnTo>
                      <a:pt x="1353395" y="993844"/>
                    </a:lnTo>
                    <a:cubicBezTo>
                      <a:pt x="1353767" y="999289"/>
                      <a:pt x="1353747" y="1004755"/>
                      <a:pt x="1353933" y="1010200"/>
                    </a:cubicBezTo>
                    <a:cubicBezTo>
                      <a:pt x="1353974" y="1012891"/>
                      <a:pt x="1354119" y="1015748"/>
                      <a:pt x="1354078" y="1018274"/>
                    </a:cubicBezTo>
                    <a:lnTo>
                      <a:pt x="1354078" y="1461066"/>
                    </a:lnTo>
                    <a:close/>
                    <a:moveTo>
                      <a:pt x="1613179" y="154492"/>
                    </a:moveTo>
                    <a:cubicBezTo>
                      <a:pt x="1609103" y="164347"/>
                      <a:pt x="1603082" y="173332"/>
                      <a:pt x="1595571" y="180848"/>
                    </a:cubicBezTo>
                    <a:cubicBezTo>
                      <a:pt x="1588061" y="188363"/>
                      <a:pt x="1579061" y="194388"/>
                      <a:pt x="1569233" y="198466"/>
                    </a:cubicBezTo>
                    <a:cubicBezTo>
                      <a:pt x="1559405" y="202566"/>
                      <a:pt x="1548729" y="204657"/>
                      <a:pt x="1538136" y="204657"/>
                    </a:cubicBezTo>
                    <a:cubicBezTo>
                      <a:pt x="1527563" y="204657"/>
                      <a:pt x="1516887" y="202545"/>
                      <a:pt x="1507039" y="198466"/>
                    </a:cubicBezTo>
                    <a:cubicBezTo>
                      <a:pt x="1497191" y="194388"/>
                      <a:pt x="1488211" y="188363"/>
                      <a:pt x="1480701" y="180848"/>
                    </a:cubicBezTo>
                    <a:cubicBezTo>
                      <a:pt x="1473190" y="173332"/>
                      <a:pt x="1467169" y="164326"/>
                      <a:pt x="1463093" y="154492"/>
                    </a:cubicBezTo>
                    <a:cubicBezTo>
                      <a:pt x="1458997" y="144657"/>
                      <a:pt x="1456907" y="133974"/>
                      <a:pt x="1456907" y="123374"/>
                    </a:cubicBezTo>
                    <a:cubicBezTo>
                      <a:pt x="1456907" y="112794"/>
                      <a:pt x="1459017" y="102111"/>
                      <a:pt x="1463093" y="92256"/>
                    </a:cubicBezTo>
                    <a:cubicBezTo>
                      <a:pt x="1467169" y="82401"/>
                      <a:pt x="1473190" y="73416"/>
                      <a:pt x="1480701" y="65900"/>
                    </a:cubicBezTo>
                    <a:cubicBezTo>
                      <a:pt x="1488211" y="58385"/>
                      <a:pt x="1497211" y="52360"/>
                      <a:pt x="1507039" y="48281"/>
                    </a:cubicBezTo>
                    <a:cubicBezTo>
                      <a:pt x="1516867" y="44182"/>
                      <a:pt x="1527543" y="42091"/>
                      <a:pt x="1538136" y="42091"/>
                    </a:cubicBezTo>
                    <a:cubicBezTo>
                      <a:pt x="1548709" y="42091"/>
                      <a:pt x="1559385" y="44203"/>
                      <a:pt x="1569233" y="48281"/>
                    </a:cubicBezTo>
                    <a:cubicBezTo>
                      <a:pt x="1579081" y="52360"/>
                      <a:pt x="1588061" y="58385"/>
                      <a:pt x="1595571" y="65900"/>
                    </a:cubicBezTo>
                    <a:cubicBezTo>
                      <a:pt x="1603082" y="73416"/>
                      <a:pt x="1609103" y="82422"/>
                      <a:pt x="1613179" y="92256"/>
                    </a:cubicBezTo>
                    <a:cubicBezTo>
                      <a:pt x="1617275" y="102090"/>
                      <a:pt x="1619365" y="112774"/>
                      <a:pt x="1619365" y="123374"/>
                    </a:cubicBezTo>
                    <a:cubicBezTo>
                      <a:pt x="1619365" y="133954"/>
                      <a:pt x="1617255" y="144637"/>
                      <a:pt x="1613179" y="154492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25" name="Freeform 14">
                <a:extLst>
                  <a:ext uri="{FF2B5EF4-FFF2-40B4-BE49-F238E27FC236}">
                    <a16:creationId xmlns:a16="http://schemas.microsoft.com/office/drawing/2014/main" id="{3F280DE0-3FAF-951B-8874-A02BF1F0D7DF}"/>
                  </a:ext>
                </a:extLst>
              </p:cNvPr>
              <p:cNvSpPr/>
              <p:nvPr/>
            </p:nvSpPr>
            <p:spPr>
              <a:xfrm>
                <a:off x="3775054" y="3065766"/>
                <a:ext cx="81104" cy="81159"/>
              </a:xfrm>
              <a:custGeom>
                <a:avLst/>
                <a:gdLst>
                  <a:gd name="connsiteX0" fmla="*/ 40552 w 81104"/>
                  <a:gd name="connsiteY0" fmla="*/ 0 h 81159"/>
                  <a:gd name="connsiteX1" fmla="*/ 11876 w 81104"/>
                  <a:gd name="connsiteY1" fmla="*/ 11884 h 81159"/>
                  <a:gd name="connsiteX2" fmla="*/ 0 w 81104"/>
                  <a:gd name="connsiteY2" fmla="*/ 40580 h 81159"/>
                  <a:gd name="connsiteX3" fmla="*/ 11876 w 81104"/>
                  <a:gd name="connsiteY3" fmla="*/ 69275 h 81159"/>
                  <a:gd name="connsiteX4" fmla="*/ 40552 w 81104"/>
                  <a:gd name="connsiteY4" fmla="*/ 81159 h 81159"/>
                  <a:gd name="connsiteX5" fmla="*/ 69229 w 81104"/>
                  <a:gd name="connsiteY5" fmla="*/ 69275 h 81159"/>
                  <a:gd name="connsiteX6" fmla="*/ 81105 w 81104"/>
                  <a:gd name="connsiteY6" fmla="*/ 40580 h 81159"/>
                  <a:gd name="connsiteX7" fmla="*/ 69229 w 81104"/>
                  <a:gd name="connsiteY7" fmla="*/ 11884 h 81159"/>
                  <a:gd name="connsiteX8" fmla="*/ 40552 w 81104"/>
                  <a:gd name="connsiteY8" fmla="*/ 0 h 8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1104" h="81159">
                    <a:moveTo>
                      <a:pt x="40552" y="0"/>
                    </a:moveTo>
                    <a:cubicBezTo>
                      <a:pt x="29856" y="0"/>
                      <a:pt x="19449" y="4306"/>
                      <a:pt x="11876" y="11884"/>
                    </a:cubicBezTo>
                    <a:cubicBezTo>
                      <a:pt x="4304" y="19441"/>
                      <a:pt x="-21" y="29876"/>
                      <a:pt x="0" y="40580"/>
                    </a:cubicBezTo>
                    <a:cubicBezTo>
                      <a:pt x="0" y="51283"/>
                      <a:pt x="4304" y="61697"/>
                      <a:pt x="11876" y="69275"/>
                    </a:cubicBezTo>
                    <a:cubicBezTo>
                      <a:pt x="19428" y="76853"/>
                      <a:pt x="29856" y="81180"/>
                      <a:pt x="40552" y="81159"/>
                    </a:cubicBezTo>
                    <a:cubicBezTo>
                      <a:pt x="51249" y="81159"/>
                      <a:pt x="61656" y="76853"/>
                      <a:pt x="69229" y="69275"/>
                    </a:cubicBezTo>
                    <a:cubicBezTo>
                      <a:pt x="76801" y="61718"/>
                      <a:pt x="81125" y="51283"/>
                      <a:pt x="81105" y="40580"/>
                    </a:cubicBezTo>
                    <a:cubicBezTo>
                      <a:pt x="81105" y="29876"/>
                      <a:pt x="76801" y="19462"/>
                      <a:pt x="69229" y="11884"/>
                    </a:cubicBezTo>
                    <a:cubicBezTo>
                      <a:pt x="61677" y="4306"/>
                      <a:pt x="51249" y="-21"/>
                      <a:pt x="40552" y="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</p:grpSp>
        <p:sp>
          <p:nvSpPr>
            <p:cNvPr id="94" name="Freeform 29">
              <a:extLst>
                <a:ext uri="{FF2B5EF4-FFF2-40B4-BE49-F238E27FC236}">
                  <a16:creationId xmlns:a16="http://schemas.microsoft.com/office/drawing/2014/main" id="{D7738E63-078D-D851-092F-706C0E676A42}"/>
                </a:ext>
              </a:extLst>
            </p:cNvPr>
            <p:cNvSpPr/>
            <p:nvPr/>
          </p:nvSpPr>
          <p:spPr>
            <a:xfrm>
              <a:off x="804826" y="2844149"/>
              <a:ext cx="67407" cy="136175"/>
            </a:xfrm>
            <a:custGeom>
              <a:avLst/>
              <a:gdLst>
                <a:gd name="connsiteX0" fmla="*/ 292409 w 298651"/>
                <a:gd name="connsiteY0" fmla="*/ 569248 h 603334"/>
                <a:gd name="connsiteX1" fmla="*/ 43112 w 298651"/>
                <a:gd name="connsiteY1" fmla="*/ 68840 h 603334"/>
                <a:gd name="connsiteX2" fmla="*/ 39352 w 298651"/>
                <a:gd name="connsiteY2" fmla="*/ 18803 h 603334"/>
                <a:gd name="connsiteX3" fmla="*/ 18801 w 298651"/>
                <a:gd name="connsiteY3" fmla="*/ 18 h 603334"/>
                <a:gd name="connsiteX4" fmla="*/ 21 w 298651"/>
                <a:gd name="connsiteY4" fmla="*/ 20576 h 603334"/>
                <a:gd name="connsiteX5" fmla="*/ 3958 w 298651"/>
                <a:gd name="connsiteY5" fmla="*/ 72995 h 603334"/>
                <a:gd name="connsiteX6" fmla="*/ 265539 w 298651"/>
                <a:gd name="connsiteY6" fmla="*/ 598038 h 603334"/>
                <a:gd name="connsiteX7" fmla="*/ 278964 w 298651"/>
                <a:gd name="connsiteY7" fmla="*/ 603335 h 603334"/>
                <a:gd name="connsiteX8" fmla="*/ 293354 w 298651"/>
                <a:gd name="connsiteY8" fmla="*/ 597093 h 603334"/>
                <a:gd name="connsiteX9" fmla="*/ 292409 w 298651"/>
                <a:gd name="connsiteY9" fmla="*/ 569268 h 603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8651" h="603334">
                  <a:moveTo>
                    <a:pt x="292409" y="569248"/>
                  </a:moveTo>
                  <a:cubicBezTo>
                    <a:pt x="151914" y="438003"/>
                    <a:pt x="63388" y="260304"/>
                    <a:pt x="43112" y="68840"/>
                  </a:cubicBezTo>
                  <a:cubicBezTo>
                    <a:pt x="41380" y="52378"/>
                    <a:pt x="40100" y="35542"/>
                    <a:pt x="39352" y="18803"/>
                  </a:cubicBezTo>
                  <a:cubicBezTo>
                    <a:pt x="38860" y="7934"/>
                    <a:pt x="29647" y="-435"/>
                    <a:pt x="18801" y="18"/>
                  </a:cubicBezTo>
                  <a:cubicBezTo>
                    <a:pt x="7934" y="510"/>
                    <a:pt x="-472" y="9706"/>
                    <a:pt x="21" y="20576"/>
                  </a:cubicBezTo>
                  <a:cubicBezTo>
                    <a:pt x="808" y="38101"/>
                    <a:pt x="2127" y="55745"/>
                    <a:pt x="3958" y="72995"/>
                  </a:cubicBezTo>
                  <a:cubicBezTo>
                    <a:pt x="25238" y="273871"/>
                    <a:pt x="118134" y="460333"/>
                    <a:pt x="265539" y="598038"/>
                  </a:cubicBezTo>
                  <a:cubicBezTo>
                    <a:pt x="269338" y="601582"/>
                    <a:pt x="274161" y="603335"/>
                    <a:pt x="278964" y="603335"/>
                  </a:cubicBezTo>
                  <a:cubicBezTo>
                    <a:pt x="284220" y="603335"/>
                    <a:pt x="289476" y="601228"/>
                    <a:pt x="293354" y="597093"/>
                  </a:cubicBezTo>
                  <a:cubicBezTo>
                    <a:pt x="300776" y="589137"/>
                    <a:pt x="300343" y="576692"/>
                    <a:pt x="292409" y="569268"/>
                  </a:cubicBezTo>
                  <a:close/>
                </a:path>
              </a:pathLst>
            </a:custGeom>
            <a:solidFill>
              <a:schemeClr val="accent1"/>
            </a:solidFill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95" name="Freeform 30">
              <a:extLst>
                <a:ext uri="{FF2B5EF4-FFF2-40B4-BE49-F238E27FC236}">
                  <a16:creationId xmlns:a16="http://schemas.microsoft.com/office/drawing/2014/main" id="{335F9046-1865-0D06-5DA8-5450DC9C8D4B}"/>
                </a:ext>
              </a:extLst>
            </p:cNvPr>
            <p:cNvSpPr/>
            <p:nvPr/>
          </p:nvSpPr>
          <p:spPr>
            <a:xfrm>
              <a:off x="1120401" y="2894297"/>
              <a:ext cx="63868" cy="95845"/>
            </a:xfrm>
            <a:custGeom>
              <a:avLst/>
              <a:gdLst>
                <a:gd name="connsiteX0" fmla="*/ 268792 w 282974"/>
                <a:gd name="connsiteY0" fmla="*/ 785 h 424650"/>
                <a:gd name="connsiteX1" fmla="*/ 244401 w 282974"/>
                <a:gd name="connsiteY1" fmla="*/ 14234 h 424650"/>
                <a:gd name="connsiteX2" fmla="*/ 6620 w 282974"/>
                <a:gd name="connsiteY2" fmla="*/ 390229 h 424650"/>
                <a:gd name="connsiteX3" fmla="*/ 4966 w 282974"/>
                <a:gd name="connsiteY3" fmla="*/ 418034 h 424650"/>
                <a:gd name="connsiteX4" fmla="*/ 19691 w 282974"/>
                <a:gd name="connsiteY4" fmla="*/ 424651 h 424650"/>
                <a:gd name="connsiteX5" fmla="*/ 32743 w 282974"/>
                <a:gd name="connsiteY5" fmla="*/ 419688 h 424650"/>
                <a:gd name="connsiteX6" fmla="*/ 282197 w 282974"/>
                <a:gd name="connsiteY6" fmla="*/ 25183 h 424650"/>
                <a:gd name="connsiteX7" fmla="*/ 268752 w 282974"/>
                <a:gd name="connsiteY7" fmla="*/ 785 h 42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2974" h="424650">
                  <a:moveTo>
                    <a:pt x="268792" y="785"/>
                  </a:moveTo>
                  <a:cubicBezTo>
                    <a:pt x="258358" y="-2248"/>
                    <a:pt x="247433" y="3778"/>
                    <a:pt x="244401" y="14234"/>
                  </a:cubicBezTo>
                  <a:cubicBezTo>
                    <a:pt x="202432" y="159343"/>
                    <a:pt x="120205" y="289368"/>
                    <a:pt x="6620" y="390229"/>
                  </a:cubicBezTo>
                  <a:cubicBezTo>
                    <a:pt x="-1510" y="397456"/>
                    <a:pt x="-2258" y="409902"/>
                    <a:pt x="4966" y="418034"/>
                  </a:cubicBezTo>
                  <a:cubicBezTo>
                    <a:pt x="8864" y="422426"/>
                    <a:pt x="14258" y="424651"/>
                    <a:pt x="19691" y="424651"/>
                  </a:cubicBezTo>
                  <a:cubicBezTo>
                    <a:pt x="24337" y="424651"/>
                    <a:pt x="29002" y="423016"/>
                    <a:pt x="32743" y="419688"/>
                  </a:cubicBezTo>
                  <a:cubicBezTo>
                    <a:pt x="151899" y="313884"/>
                    <a:pt x="238161" y="177459"/>
                    <a:pt x="282197" y="25183"/>
                  </a:cubicBezTo>
                  <a:cubicBezTo>
                    <a:pt x="285209" y="14726"/>
                    <a:pt x="279205" y="3817"/>
                    <a:pt x="268752" y="785"/>
                  </a:cubicBezTo>
                  <a:close/>
                </a:path>
              </a:pathLst>
            </a:custGeom>
            <a:solidFill>
              <a:schemeClr val="accent1"/>
            </a:solidFill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96" name="Freeform 31">
              <a:extLst>
                <a:ext uri="{FF2B5EF4-FFF2-40B4-BE49-F238E27FC236}">
                  <a16:creationId xmlns:a16="http://schemas.microsoft.com/office/drawing/2014/main" id="{7A48C9E5-B13B-EAEF-F965-17180805725A}"/>
                </a:ext>
              </a:extLst>
            </p:cNvPr>
            <p:cNvSpPr/>
            <p:nvPr/>
          </p:nvSpPr>
          <p:spPr>
            <a:xfrm>
              <a:off x="899767" y="2661073"/>
              <a:ext cx="188765" cy="34059"/>
            </a:xfrm>
            <a:custGeom>
              <a:avLst/>
              <a:gdLst>
                <a:gd name="connsiteX0" fmla="*/ 19704 w 836339"/>
                <a:gd name="connsiteY0" fmla="*/ 150902 h 150902"/>
                <a:gd name="connsiteX1" fmla="*/ 29606 w 836339"/>
                <a:gd name="connsiteY1" fmla="*/ 148205 h 150902"/>
                <a:gd name="connsiteX2" fmla="*/ 494951 w 836339"/>
                <a:gd name="connsiteY2" fmla="*/ 41869 h 150902"/>
                <a:gd name="connsiteX3" fmla="*/ 807420 w 836339"/>
                <a:gd name="connsiteY3" fmla="*/ 132510 h 150902"/>
                <a:gd name="connsiteX4" fmla="*/ 834034 w 836339"/>
                <a:gd name="connsiteY4" fmla="*/ 124358 h 150902"/>
                <a:gd name="connsiteX5" fmla="*/ 825885 w 836339"/>
                <a:gd name="connsiteY5" fmla="*/ 97734 h 150902"/>
                <a:gd name="connsiteX6" fmla="*/ 498022 w 836339"/>
                <a:gd name="connsiteY6" fmla="*/ 2603 h 150902"/>
                <a:gd name="connsiteX7" fmla="*/ 9763 w 836339"/>
                <a:gd name="connsiteY7" fmla="*/ 114197 h 150902"/>
                <a:gd name="connsiteX8" fmla="*/ 2695 w 836339"/>
                <a:gd name="connsiteY8" fmla="*/ 141135 h 150902"/>
                <a:gd name="connsiteX9" fmla="*/ 19704 w 836339"/>
                <a:gd name="connsiteY9" fmla="*/ 150902 h 15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36339" h="150902">
                  <a:moveTo>
                    <a:pt x="19704" y="150902"/>
                  </a:moveTo>
                  <a:cubicBezTo>
                    <a:pt x="23070" y="150902"/>
                    <a:pt x="26495" y="150036"/>
                    <a:pt x="29606" y="148205"/>
                  </a:cubicBezTo>
                  <a:cubicBezTo>
                    <a:pt x="170574" y="65834"/>
                    <a:pt x="331483" y="29069"/>
                    <a:pt x="494951" y="41869"/>
                  </a:cubicBezTo>
                  <a:cubicBezTo>
                    <a:pt x="605348" y="50513"/>
                    <a:pt x="710488" y="80996"/>
                    <a:pt x="807420" y="132510"/>
                  </a:cubicBezTo>
                  <a:cubicBezTo>
                    <a:pt x="817026" y="137610"/>
                    <a:pt x="828936" y="133967"/>
                    <a:pt x="834034" y="124358"/>
                  </a:cubicBezTo>
                  <a:cubicBezTo>
                    <a:pt x="839133" y="114748"/>
                    <a:pt x="835491" y="102835"/>
                    <a:pt x="825885" y="97734"/>
                  </a:cubicBezTo>
                  <a:cubicBezTo>
                    <a:pt x="724150" y="43680"/>
                    <a:pt x="613832" y="11662"/>
                    <a:pt x="498022" y="2603"/>
                  </a:cubicBezTo>
                  <a:cubicBezTo>
                    <a:pt x="326542" y="-10807"/>
                    <a:pt x="157699" y="27769"/>
                    <a:pt x="9763" y="114197"/>
                  </a:cubicBezTo>
                  <a:cubicBezTo>
                    <a:pt x="373" y="119691"/>
                    <a:pt x="-2797" y="131742"/>
                    <a:pt x="2695" y="141135"/>
                  </a:cubicBezTo>
                  <a:cubicBezTo>
                    <a:pt x="6357" y="147397"/>
                    <a:pt x="12952" y="150902"/>
                    <a:pt x="19704" y="150902"/>
                  </a:cubicBezTo>
                  <a:close/>
                </a:path>
              </a:pathLst>
            </a:custGeom>
            <a:solidFill>
              <a:schemeClr val="accent1"/>
            </a:solidFill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060FDDD0-446C-A1CC-DDB8-A2972EC938A1}"/>
                </a:ext>
              </a:extLst>
            </p:cNvPr>
            <p:cNvGrpSpPr/>
            <p:nvPr/>
          </p:nvGrpSpPr>
          <p:grpSpPr>
            <a:xfrm>
              <a:off x="895593" y="2873634"/>
              <a:ext cx="206250" cy="205910"/>
              <a:chOff x="2277470" y="2714301"/>
              <a:chExt cx="2071711" cy="2068305"/>
            </a:xfrm>
            <a:solidFill>
              <a:schemeClr val="accent1"/>
            </a:solidFill>
          </p:grpSpPr>
          <p:sp>
            <p:nvSpPr>
              <p:cNvPr id="108" name="Freeform 4">
                <a:extLst>
                  <a:ext uri="{FF2B5EF4-FFF2-40B4-BE49-F238E27FC236}">
                    <a16:creationId xmlns:a16="http://schemas.microsoft.com/office/drawing/2014/main" id="{EE15CE0D-A8F2-A38E-2196-805BE417E2FE}"/>
                  </a:ext>
                </a:extLst>
              </p:cNvPr>
              <p:cNvSpPr/>
              <p:nvPr/>
            </p:nvSpPr>
            <p:spPr>
              <a:xfrm>
                <a:off x="2360210" y="3643646"/>
                <a:ext cx="1230643" cy="960141"/>
              </a:xfrm>
              <a:custGeom>
                <a:avLst/>
                <a:gdLst>
                  <a:gd name="connsiteX0" fmla="*/ 1230021 w 1230643"/>
                  <a:gd name="connsiteY0" fmla="*/ 335426 h 960141"/>
                  <a:gd name="connsiteX1" fmla="*/ 1228903 w 1230643"/>
                  <a:gd name="connsiteY1" fmla="*/ 320767 h 960141"/>
                  <a:gd name="connsiteX2" fmla="*/ 1227124 w 1230643"/>
                  <a:gd name="connsiteY2" fmla="*/ 306171 h 960141"/>
                  <a:gd name="connsiteX3" fmla="*/ 1214296 w 1230643"/>
                  <a:gd name="connsiteY3" fmla="*/ 248904 h 960141"/>
                  <a:gd name="connsiteX4" fmla="*/ 1192034 w 1230643"/>
                  <a:gd name="connsiteY4" fmla="*/ 194598 h 960141"/>
                  <a:gd name="connsiteX5" fmla="*/ 1161226 w 1230643"/>
                  <a:gd name="connsiteY5" fmla="*/ 144640 h 960141"/>
                  <a:gd name="connsiteX6" fmla="*/ 1122557 w 1230643"/>
                  <a:gd name="connsiteY6" fmla="*/ 100458 h 960141"/>
                  <a:gd name="connsiteX7" fmla="*/ 1026410 w 1230643"/>
                  <a:gd name="connsiteY7" fmla="*/ 33813 h 960141"/>
                  <a:gd name="connsiteX8" fmla="*/ 971458 w 1230643"/>
                  <a:gd name="connsiteY8" fmla="*/ 13337 h 960141"/>
                  <a:gd name="connsiteX9" fmla="*/ 913877 w 1230643"/>
                  <a:gd name="connsiteY9" fmla="*/ 2157 h 960141"/>
                  <a:gd name="connsiteX10" fmla="*/ 854042 w 1230643"/>
                  <a:gd name="connsiteY10" fmla="*/ 24 h 960141"/>
                  <a:gd name="connsiteX11" fmla="*/ 108788 w 1230643"/>
                  <a:gd name="connsiteY11" fmla="*/ 24 h 960141"/>
                  <a:gd name="connsiteX12" fmla="*/ 58491 w 1230643"/>
                  <a:gd name="connsiteY12" fmla="*/ 12384 h 960141"/>
                  <a:gd name="connsiteX13" fmla="*/ 19573 w 1230643"/>
                  <a:gd name="connsiteY13" fmla="*/ 46670 h 960141"/>
                  <a:gd name="connsiteX14" fmla="*/ 7304 w 1230643"/>
                  <a:gd name="connsiteY14" fmla="*/ 69713 h 960141"/>
                  <a:gd name="connsiteX15" fmla="*/ 910 w 1230643"/>
                  <a:gd name="connsiteY15" fmla="*/ 94992 h 960141"/>
                  <a:gd name="connsiteX16" fmla="*/ 21 w 1230643"/>
                  <a:gd name="connsiteY16" fmla="*/ 108057 h 960141"/>
                  <a:gd name="connsiteX17" fmla="*/ 21 w 1230643"/>
                  <a:gd name="connsiteY17" fmla="*/ 123439 h 960141"/>
                  <a:gd name="connsiteX18" fmla="*/ 0 w 1230643"/>
                  <a:gd name="connsiteY18" fmla="*/ 154516 h 960141"/>
                  <a:gd name="connsiteX19" fmla="*/ 0 w 1230643"/>
                  <a:gd name="connsiteY19" fmla="*/ 857554 h 960141"/>
                  <a:gd name="connsiteX20" fmla="*/ 41 w 1230643"/>
                  <a:gd name="connsiteY20" fmla="*/ 861177 h 960141"/>
                  <a:gd name="connsiteX21" fmla="*/ 331 w 1230643"/>
                  <a:gd name="connsiteY21" fmla="*/ 867637 h 960141"/>
                  <a:gd name="connsiteX22" fmla="*/ 5566 w 1230643"/>
                  <a:gd name="connsiteY22" fmla="*/ 892833 h 960141"/>
                  <a:gd name="connsiteX23" fmla="*/ 17049 w 1230643"/>
                  <a:gd name="connsiteY23" fmla="*/ 915856 h 960141"/>
                  <a:gd name="connsiteX24" fmla="*/ 34097 w 1230643"/>
                  <a:gd name="connsiteY24" fmla="*/ 935193 h 960141"/>
                  <a:gd name="connsiteX25" fmla="*/ 79719 w 1230643"/>
                  <a:gd name="connsiteY25" fmla="*/ 958050 h 960141"/>
                  <a:gd name="connsiteX26" fmla="*/ 92484 w 1230643"/>
                  <a:gd name="connsiteY26" fmla="*/ 959810 h 960141"/>
                  <a:gd name="connsiteX27" fmla="*/ 98940 w 1230643"/>
                  <a:gd name="connsiteY27" fmla="*/ 960100 h 960141"/>
                  <a:gd name="connsiteX28" fmla="*/ 102581 w 1230643"/>
                  <a:gd name="connsiteY28" fmla="*/ 960142 h 960141"/>
                  <a:gd name="connsiteX29" fmla="*/ 1131184 w 1230643"/>
                  <a:gd name="connsiteY29" fmla="*/ 960142 h 960141"/>
                  <a:gd name="connsiteX30" fmla="*/ 1156695 w 1230643"/>
                  <a:gd name="connsiteY30" fmla="*/ 956829 h 960141"/>
                  <a:gd name="connsiteX31" fmla="*/ 1180447 w 1230643"/>
                  <a:gd name="connsiteY31" fmla="*/ 947057 h 960141"/>
                  <a:gd name="connsiteX32" fmla="*/ 1216800 w 1230643"/>
                  <a:gd name="connsiteY32" fmla="*/ 911239 h 960141"/>
                  <a:gd name="connsiteX33" fmla="*/ 1230600 w 1230643"/>
                  <a:gd name="connsiteY33" fmla="*/ 862171 h 960141"/>
                  <a:gd name="connsiteX34" fmla="*/ 1230641 w 1230643"/>
                  <a:gd name="connsiteY34" fmla="*/ 800329 h 960141"/>
                  <a:gd name="connsiteX35" fmla="*/ 1230641 w 1230643"/>
                  <a:gd name="connsiteY35" fmla="*/ 357537 h 960141"/>
                  <a:gd name="connsiteX36" fmla="*/ 1230496 w 1230643"/>
                  <a:gd name="connsiteY36" fmla="*/ 350084 h 960141"/>
                  <a:gd name="connsiteX37" fmla="*/ 1230021 w 1230643"/>
                  <a:gd name="connsiteY37" fmla="*/ 335384 h 960141"/>
                  <a:gd name="connsiteX38" fmla="*/ 1188558 w 1230643"/>
                  <a:gd name="connsiteY38" fmla="*/ 800370 h 960141"/>
                  <a:gd name="connsiteX39" fmla="*/ 1188516 w 1230643"/>
                  <a:gd name="connsiteY39" fmla="*/ 861571 h 960141"/>
                  <a:gd name="connsiteX40" fmla="*/ 1186385 w 1230643"/>
                  <a:gd name="connsiteY40" fmla="*/ 876270 h 960141"/>
                  <a:gd name="connsiteX41" fmla="*/ 1180592 w 1230643"/>
                  <a:gd name="connsiteY41" fmla="*/ 889831 h 960141"/>
                  <a:gd name="connsiteX42" fmla="*/ 1159550 w 1230643"/>
                  <a:gd name="connsiteY42" fmla="*/ 910556 h 960141"/>
                  <a:gd name="connsiteX43" fmla="*/ 1131184 w 1230643"/>
                  <a:gd name="connsiteY43" fmla="*/ 918092 h 960141"/>
                  <a:gd name="connsiteX44" fmla="*/ 100181 w 1230643"/>
                  <a:gd name="connsiteY44" fmla="*/ 918092 h 960141"/>
                  <a:gd name="connsiteX45" fmla="*/ 99953 w 1230643"/>
                  <a:gd name="connsiteY45" fmla="*/ 918092 h 960141"/>
                  <a:gd name="connsiteX46" fmla="*/ 99478 w 1230643"/>
                  <a:gd name="connsiteY46" fmla="*/ 918092 h 960141"/>
                  <a:gd name="connsiteX47" fmla="*/ 95691 w 1230643"/>
                  <a:gd name="connsiteY47" fmla="*/ 917906 h 960141"/>
                  <a:gd name="connsiteX48" fmla="*/ 88284 w 1230643"/>
                  <a:gd name="connsiteY48" fmla="*/ 916891 h 960141"/>
                  <a:gd name="connsiteX49" fmla="*/ 61904 w 1230643"/>
                  <a:gd name="connsiteY49" fmla="*/ 903641 h 960141"/>
                  <a:gd name="connsiteX50" fmla="*/ 51973 w 1230643"/>
                  <a:gd name="connsiteY50" fmla="*/ 892378 h 960141"/>
                  <a:gd name="connsiteX51" fmla="*/ 45332 w 1230643"/>
                  <a:gd name="connsiteY51" fmla="*/ 879065 h 960141"/>
                  <a:gd name="connsiteX52" fmla="*/ 42311 w 1230643"/>
                  <a:gd name="connsiteY52" fmla="*/ 864511 h 960141"/>
                  <a:gd name="connsiteX53" fmla="*/ 42125 w 1230643"/>
                  <a:gd name="connsiteY53" fmla="*/ 860722 h 960141"/>
                  <a:gd name="connsiteX54" fmla="*/ 42125 w 1230643"/>
                  <a:gd name="connsiteY54" fmla="*/ 860246 h 960141"/>
                  <a:gd name="connsiteX55" fmla="*/ 42083 w 1230643"/>
                  <a:gd name="connsiteY55" fmla="*/ 860018 h 960141"/>
                  <a:gd name="connsiteX56" fmla="*/ 42083 w 1230643"/>
                  <a:gd name="connsiteY56" fmla="*/ 859562 h 960141"/>
                  <a:gd name="connsiteX57" fmla="*/ 42083 w 1230643"/>
                  <a:gd name="connsiteY57" fmla="*/ 857616 h 960141"/>
                  <a:gd name="connsiteX58" fmla="*/ 42083 w 1230643"/>
                  <a:gd name="connsiteY58" fmla="*/ 108408 h 960141"/>
                  <a:gd name="connsiteX59" fmla="*/ 42663 w 1230643"/>
                  <a:gd name="connsiteY59" fmla="*/ 100334 h 960141"/>
                  <a:gd name="connsiteX60" fmla="*/ 46553 w 1230643"/>
                  <a:gd name="connsiteY60" fmla="*/ 84889 h 960141"/>
                  <a:gd name="connsiteX61" fmla="*/ 54063 w 1230643"/>
                  <a:gd name="connsiteY61" fmla="*/ 70790 h 960141"/>
                  <a:gd name="connsiteX62" fmla="*/ 77981 w 1230643"/>
                  <a:gd name="connsiteY62" fmla="*/ 49713 h 960141"/>
                  <a:gd name="connsiteX63" fmla="*/ 108788 w 1230643"/>
                  <a:gd name="connsiteY63" fmla="*/ 42156 h 960141"/>
                  <a:gd name="connsiteX64" fmla="*/ 170879 w 1230643"/>
                  <a:gd name="connsiteY64" fmla="*/ 42156 h 960141"/>
                  <a:gd name="connsiteX65" fmla="*/ 419304 w 1230643"/>
                  <a:gd name="connsiteY65" fmla="*/ 42156 h 960141"/>
                  <a:gd name="connsiteX66" fmla="*/ 875353 w 1230643"/>
                  <a:gd name="connsiteY66" fmla="*/ 42156 h 960141"/>
                  <a:gd name="connsiteX67" fmla="*/ 876966 w 1230643"/>
                  <a:gd name="connsiteY67" fmla="*/ 42218 h 960141"/>
                  <a:gd name="connsiteX68" fmla="*/ 883463 w 1230643"/>
                  <a:gd name="connsiteY68" fmla="*/ 42405 h 960141"/>
                  <a:gd name="connsiteX69" fmla="*/ 889960 w 1230643"/>
                  <a:gd name="connsiteY69" fmla="*/ 42550 h 960141"/>
                  <a:gd name="connsiteX70" fmla="*/ 896436 w 1230643"/>
                  <a:gd name="connsiteY70" fmla="*/ 42985 h 960141"/>
                  <a:gd name="connsiteX71" fmla="*/ 902891 w 1230643"/>
                  <a:gd name="connsiteY71" fmla="*/ 43481 h 960141"/>
                  <a:gd name="connsiteX72" fmla="*/ 909346 w 1230643"/>
                  <a:gd name="connsiteY72" fmla="*/ 44082 h 960141"/>
                  <a:gd name="connsiteX73" fmla="*/ 960078 w 1230643"/>
                  <a:gd name="connsiteY73" fmla="*/ 53937 h 960141"/>
                  <a:gd name="connsiteX74" fmla="*/ 1008493 w 1230643"/>
                  <a:gd name="connsiteY74" fmla="*/ 71949 h 960141"/>
                  <a:gd name="connsiteX75" fmla="*/ 1093280 w 1230643"/>
                  <a:gd name="connsiteY75" fmla="*/ 130727 h 960141"/>
                  <a:gd name="connsiteX76" fmla="*/ 1127398 w 1230643"/>
                  <a:gd name="connsiteY76" fmla="*/ 169692 h 960141"/>
                  <a:gd name="connsiteX77" fmla="*/ 1154543 w 1230643"/>
                  <a:gd name="connsiteY77" fmla="*/ 213749 h 960141"/>
                  <a:gd name="connsiteX78" fmla="*/ 1174158 w 1230643"/>
                  <a:gd name="connsiteY78" fmla="*/ 261575 h 960141"/>
                  <a:gd name="connsiteX79" fmla="*/ 1185454 w 1230643"/>
                  <a:gd name="connsiteY79" fmla="*/ 312030 h 960141"/>
                  <a:gd name="connsiteX80" fmla="*/ 1187027 w 1230643"/>
                  <a:gd name="connsiteY80" fmla="*/ 324887 h 960141"/>
                  <a:gd name="connsiteX81" fmla="*/ 1187999 w 1230643"/>
                  <a:gd name="connsiteY81" fmla="*/ 337827 h 960141"/>
                  <a:gd name="connsiteX82" fmla="*/ 1188413 w 1230643"/>
                  <a:gd name="connsiteY82" fmla="*/ 350808 h 960141"/>
                  <a:gd name="connsiteX83" fmla="*/ 1188496 w 1230643"/>
                  <a:gd name="connsiteY83" fmla="*/ 354059 h 960141"/>
                  <a:gd name="connsiteX84" fmla="*/ 1188537 w 1230643"/>
                  <a:gd name="connsiteY84" fmla="*/ 355674 h 960141"/>
                  <a:gd name="connsiteX85" fmla="*/ 1188537 w 1230643"/>
                  <a:gd name="connsiteY85" fmla="*/ 357599 h 960141"/>
                  <a:gd name="connsiteX86" fmla="*/ 1188537 w 1230643"/>
                  <a:gd name="connsiteY86" fmla="*/ 365363 h 960141"/>
                  <a:gd name="connsiteX87" fmla="*/ 1188537 w 1230643"/>
                  <a:gd name="connsiteY87" fmla="*/ 800391 h 960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1230643" h="960141">
                    <a:moveTo>
                      <a:pt x="1230021" y="335426"/>
                    </a:moveTo>
                    <a:lnTo>
                      <a:pt x="1228903" y="320767"/>
                    </a:lnTo>
                    <a:cubicBezTo>
                      <a:pt x="1228427" y="315902"/>
                      <a:pt x="1227703" y="311036"/>
                      <a:pt x="1227124" y="306171"/>
                    </a:cubicBezTo>
                    <a:cubicBezTo>
                      <a:pt x="1224372" y="286772"/>
                      <a:pt x="1220089" y="267600"/>
                      <a:pt x="1214296" y="248904"/>
                    </a:cubicBezTo>
                    <a:cubicBezTo>
                      <a:pt x="1208420" y="230209"/>
                      <a:pt x="1200889" y="212072"/>
                      <a:pt x="1192034" y="194598"/>
                    </a:cubicBezTo>
                    <a:cubicBezTo>
                      <a:pt x="1183116" y="177166"/>
                      <a:pt x="1172958" y="160334"/>
                      <a:pt x="1161226" y="144640"/>
                    </a:cubicBezTo>
                    <a:cubicBezTo>
                      <a:pt x="1149536" y="128905"/>
                      <a:pt x="1136605" y="114123"/>
                      <a:pt x="1122557" y="100458"/>
                    </a:cubicBezTo>
                    <a:cubicBezTo>
                      <a:pt x="1094584" y="72984"/>
                      <a:pt x="1061728" y="50666"/>
                      <a:pt x="1026410" y="33813"/>
                    </a:cubicBezTo>
                    <a:cubicBezTo>
                      <a:pt x="1008762" y="25324"/>
                      <a:pt x="990265" y="18658"/>
                      <a:pt x="971458" y="13337"/>
                    </a:cubicBezTo>
                    <a:cubicBezTo>
                      <a:pt x="952609" y="8119"/>
                      <a:pt x="933367" y="4165"/>
                      <a:pt x="913877" y="2157"/>
                    </a:cubicBezTo>
                    <a:cubicBezTo>
                      <a:pt x="894284" y="66"/>
                      <a:pt x="875228" y="-79"/>
                      <a:pt x="854042" y="24"/>
                    </a:cubicBezTo>
                    <a:lnTo>
                      <a:pt x="108788" y="24"/>
                    </a:lnTo>
                    <a:cubicBezTo>
                      <a:pt x="91284" y="86"/>
                      <a:pt x="73925" y="4248"/>
                      <a:pt x="58491" y="12384"/>
                    </a:cubicBezTo>
                    <a:cubicBezTo>
                      <a:pt x="43035" y="20438"/>
                      <a:pt x="29545" y="32343"/>
                      <a:pt x="19573" y="46670"/>
                    </a:cubicBezTo>
                    <a:cubicBezTo>
                      <a:pt x="14524" y="53792"/>
                      <a:pt x="10469" y="61597"/>
                      <a:pt x="7304" y="69713"/>
                    </a:cubicBezTo>
                    <a:cubicBezTo>
                      <a:pt x="4117" y="77829"/>
                      <a:pt x="2007" y="86338"/>
                      <a:pt x="910" y="94992"/>
                    </a:cubicBezTo>
                    <a:cubicBezTo>
                      <a:pt x="290" y="99320"/>
                      <a:pt x="103" y="103688"/>
                      <a:pt x="21" y="108057"/>
                    </a:cubicBezTo>
                    <a:lnTo>
                      <a:pt x="21" y="123439"/>
                    </a:lnTo>
                    <a:cubicBezTo>
                      <a:pt x="21" y="123439"/>
                      <a:pt x="0" y="154516"/>
                      <a:pt x="0" y="154516"/>
                    </a:cubicBezTo>
                    <a:lnTo>
                      <a:pt x="0" y="857554"/>
                    </a:lnTo>
                    <a:cubicBezTo>
                      <a:pt x="0" y="858859"/>
                      <a:pt x="0" y="860184"/>
                      <a:pt x="41" y="861177"/>
                    </a:cubicBezTo>
                    <a:cubicBezTo>
                      <a:pt x="103" y="863331"/>
                      <a:pt x="124" y="865504"/>
                      <a:pt x="331" y="867637"/>
                    </a:cubicBezTo>
                    <a:cubicBezTo>
                      <a:pt x="931" y="876250"/>
                      <a:pt x="2731" y="884718"/>
                      <a:pt x="5566" y="892833"/>
                    </a:cubicBezTo>
                    <a:cubicBezTo>
                      <a:pt x="8317" y="900991"/>
                      <a:pt x="12331" y="908672"/>
                      <a:pt x="17049" y="915856"/>
                    </a:cubicBezTo>
                    <a:cubicBezTo>
                      <a:pt x="21931" y="922937"/>
                      <a:pt x="27559" y="929562"/>
                      <a:pt x="34097" y="935193"/>
                    </a:cubicBezTo>
                    <a:cubicBezTo>
                      <a:pt x="46987" y="946663"/>
                      <a:pt x="62918" y="954489"/>
                      <a:pt x="79719" y="958050"/>
                    </a:cubicBezTo>
                    <a:cubicBezTo>
                      <a:pt x="83939" y="958837"/>
                      <a:pt x="88181" y="959562"/>
                      <a:pt x="92484" y="959810"/>
                    </a:cubicBezTo>
                    <a:cubicBezTo>
                      <a:pt x="94636" y="960017"/>
                      <a:pt x="96788" y="960059"/>
                      <a:pt x="98940" y="960100"/>
                    </a:cubicBezTo>
                    <a:cubicBezTo>
                      <a:pt x="99933" y="960142"/>
                      <a:pt x="101278" y="960142"/>
                      <a:pt x="102581" y="960142"/>
                    </a:cubicBezTo>
                    <a:lnTo>
                      <a:pt x="1131184" y="960142"/>
                    </a:lnTo>
                    <a:cubicBezTo>
                      <a:pt x="1139812" y="960079"/>
                      <a:pt x="1148398" y="959024"/>
                      <a:pt x="1156695" y="956829"/>
                    </a:cubicBezTo>
                    <a:cubicBezTo>
                      <a:pt x="1164971" y="954572"/>
                      <a:pt x="1173020" y="951384"/>
                      <a:pt x="1180447" y="947057"/>
                    </a:cubicBezTo>
                    <a:cubicBezTo>
                      <a:pt x="1195406" y="938589"/>
                      <a:pt x="1208048" y="926022"/>
                      <a:pt x="1216800" y="911239"/>
                    </a:cubicBezTo>
                    <a:cubicBezTo>
                      <a:pt x="1225593" y="896457"/>
                      <a:pt x="1230372" y="879417"/>
                      <a:pt x="1230600" y="862171"/>
                    </a:cubicBezTo>
                    <a:lnTo>
                      <a:pt x="1230641" y="800329"/>
                    </a:lnTo>
                    <a:lnTo>
                      <a:pt x="1230641" y="357537"/>
                    </a:lnTo>
                    <a:cubicBezTo>
                      <a:pt x="1230662" y="354887"/>
                      <a:pt x="1230538" y="352589"/>
                      <a:pt x="1230496" y="350084"/>
                    </a:cubicBezTo>
                    <a:cubicBezTo>
                      <a:pt x="1230331" y="345177"/>
                      <a:pt x="1230352" y="340270"/>
                      <a:pt x="1230021" y="335384"/>
                    </a:cubicBezTo>
                    <a:close/>
                    <a:moveTo>
                      <a:pt x="1188558" y="800370"/>
                    </a:moveTo>
                    <a:lnTo>
                      <a:pt x="1188516" y="861571"/>
                    </a:lnTo>
                    <a:cubicBezTo>
                      <a:pt x="1188413" y="866623"/>
                      <a:pt x="1187772" y="871550"/>
                      <a:pt x="1186385" y="876270"/>
                    </a:cubicBezTo>
                    <a:cubicBezTo>
                      <a:pt x="1185103" y="881012"/>
                      <a:pt x="1183096" y="885546"/>
                      <a:pt x="1180592" y="889831"/>
                    </a:cubicBezTo>
                    <a:cubicBezTo>
                      <a:pt x="1175544" y="898341"/>
                      <a:pt x="1168178" y="905691"/>
                      <a:pt x="1159550" y="910556"/>
                    </a:cubicBezTo>
                    <a:cubicBezTo>
                      <a:pt x="1150943" y="915525"/>
                      <a:pt x="1141281" y="918009"/>
                      <a:pt x="1131184" y="918092"/>
                    </a:cubicBezTo>
                    <a:lnTo>
                      <a:pt x="100181" y="918092"/>
                    </a:lnTo>
                    <a:cubicBezTo>
                      <a:pt x="100181" y="918092"/>
                      <a:pt x="99953" y="918092"/>
                      <a:pt x="99953" y="918092"/>
                    </a:cubicBezTo>
                    <a:lnTo>
                      <a:pt x="99478" y="918092"/>
                    </a:lnTo>
                    <a:cubicBezTo>
                      <a:pt x="98215" y="918030"/>
                      <a:pt x="96933" y="918051"/>
                      <a:pt x="95691" y="917906"/>
                    </a:cubicBezTo>
                    <a:cubicBezTo>
                      <a:pt x="93167" y="917782"/>
                      <a:pt x="90726" y="917326"/>
                      <a:pt x="88284" y="916891"/>
                    </a:cubicBezTo>
                    <a:cubicBezTo>
                      <a:pt x="78622" y="914821"/>
                      <a:pt x="69415" y="910370"/>
                      <a:pt x="61904" y="903641"/>
                    </a:cubicBezTo>
                    <a:cubicBezTo>
                      <a:pt x="58077" y="900390"/>
                      <a:pt x="54829" y="896477"/>
                      <a:pt x="51973" y="892378"/>
                    </a:cubicBezTo>
                    <a:cubicBezTo>
                      <a:pt x="49263" y="888175"/>
                      <a:pt x="46884" y="883765"/>
                      <a:pt x="45332" y="879065"/>
                    </a:cubicBezTo>
                    <a:cubicBezTo>
                      <a:pt x="43697" y="874386"/>
                      <a:pt x="42663" y="869521"/>
                      <a:pt x="42311" y="864511"/>
                    </a:cubicBezTo>
                    <a:cubicBezTo>
                      <a:pt x="42166" y="863269"/>
                      <a:pt x="42166" y="861985"/>
                      <a:pt x="42125" y="860722"/>
                    </a:cubicBezTo>
                    <a:lnTo>
                      <a:pt x="42125" y="860246"/>
                    </a:lnTo>
                    <a:cubicBezTo>
                      <a:pt x="42125" y="860246"/>
                      <a:pt x="42083" y="860018"/>
                      <a:pt x="42083" y="860018"/>
                    </a:cubicBezTo>
                    <a:lnTo>
                      <a:pt x="42083" y="859562"/>
                    </a:lnTo>
                    <a:cubicBezTo>
                      <a:pt x="42083" y="859562"/>
                      <a:pt x="42083" y="857616"/>
                      <a:pt x="42083" y="857616"/>
                    </a:cubicBezTo>
                    <a:lnTo>
                      <a:pt x="42083" y="108408"/>
                    </a:lnTo>
                    <a:cubicBezTo>
                      <a:pt x="42187" y="105696"/>
                      <a:pt x="42270" y="102984"/>
                      <a:pt x="42663" y="100334"/>
                    </a:cubicBezTo>
                    <a:cubicBezTo>
                      <a:pt x="43325" y="95034"/>
                      <a:pt x="44587" y="89837"/>
                      <a:pt x="46553" y="84889"/>
                    </a:cubicBezTo>
                    <a:cubicBezTo>
                      <a:pt x="48497" y="79941"/>
                      <a:pt x="50939" y="75158"/>
                      <a:pt x="54063" y="70790"/>
                    </a:cubicBezTo>
                    <a:cubicBezTo>
                      <a:pt x="60187" y="61991"/>
                      <a:pt x="68525" y="54620"/>
                      <a:pt x="77981" y="49713"/>
                    </a:cubicBezTo>
                    <a:cubicBezTo>
                      <a:pt x="87436" y="44724"/>
                      <a:pt x="97926" y="42239"/>
                      <a:pt x="108788" y="42156"/>
                    </a:cubicBezTo>
                    <a:lnTo>
                      <a:pt x="170879" y="42156"/>
                    </a:lnTo>
                    <a:cubicBezTo>
                      <a:pt x="170879" y="42156"/>
                      <a:pt x="419304" y="42156"/>
                      <a:pt x="419304" y="42156"/>
                    </a:cubicBezTo>
                    <a:lnTo>
                      <a:pt x="875353" y="42156"/>
                    </a:lnTo>
                    <a:cubicBezTo>
                      <a:pt x="875353" y="42156"/>
                      <a:pt x="876966" y="42218"/>
                      <a:pt x="876966" y="42218"/>
                    </a:cubicBezTo>
                    <a:lnTo>
                      <a:pt x="883463" y="42405"/>
                    </a:lnTo>
                    <a:lnTo>
                      <a:pt x="889960" y="42550"/>
                    </a:lnTo>
                    <a:cubicBezTo>
                      <a:pt x="892132" y="42550"/>
                      <a:pt x="894263" y="42860"/>
                      <a:pt x="896436" y="42985"/>
                    </a:cubicBezTo>
                    <a:lnTo>
                      <a:pt x="902891" y="43481"/>
                    </a:lnTo>
                    <a:cubicBezTo>
                      <a:pt x="905043" y="43668"/>
                      <a:pt x="907215" y="43730"/>
                      <a:pt x="909346" y="44082"/>
                    </a:cubicBezTo>
                    <a:cubicBezTo>
                      <a:pt x="926540" y="45842"/>
                      <a:pt x="943485" y="49341"/>
                      <a:pt x="960078" y="53937"/>
                    </a:cubicBezTo>
                    <a:cubicBezTo>
                      <a:pt x="976651" y="58616"/>
                      <a:pt x="992934" y="64475"/>
                      <a:pt x="1008493" y="71949"/>
                    </a:cubicBezTo>
                    <a:cubicBezTo>
                      <a:pt x="1039590" y="86794"/>
                      <a:pt x="1068597" y="106462"/>
                      <a:pt x="1093280" y="130727"/>
                    </a:cubicBezTo>
                    <a:cubicBezTo>
                      <a:pt x="1105674" y="142777"/>
                      <a:pt x="1117095" y="155841"/>
                      <a:pt x="1127398" y="169692"/>
                    </a:cubicBezTo>
                    <a:cubicBezTo>
                      <a:pt x="1137764" y="183543"/>
                      <a:pt x="1146702" y="198387"/>
                      <a:pt x="1154543" y="213749"/>
                    </a:cubicBezTo>
                    <a:cubicBezTo>
                      <a:pt x="1162344" y="229132"/>
                      <a:pt x="1169006" y="245116"/>
                      <a:pt x="1174158" y="261575"/>
                    </a:cubicBezTo>
                    <a:cubicBezTo>
                      <a:pt x="1179247" y="278055"/>
                      <a:pt x="1183013" y="294929"/>
                      <a:pt x="1185454" y="312030"/>
                    </a:cubicBezTo>
                    <a:cubicBezTo>
                      <a:pt x="1185951" y="316316"/>
                      <a:pt x="1186613" y="320581"/>
                      <a:pt x="1187027" y="324887"/>
                    </a:cubicBezTo>
                    <a:lnTo>
                      <a:pt x="1187999" y="337827"/>
                    </a:lnTo>
                    <a:cubicBezTo>
                      <a:pt x="1188310" y="342134"/>
                      <a:pt x="1188247" y="346481"/>
                      <a:pt x="1188413" y="350808"/>
                    </a:cubicBezTo>
                    <a:lnTo>
                      <a:pt x="1188496" y="354059"/>
                    </a:lnTo>
                    <a:lnTo>
                      <a:pt x="1188537" y="355674"/>
                    </a:lnTo>
                    <a:lnTo>
                      <a:pt x="1188537" y="357599"/>
                    </a:lnTo>
                    <a:cubicBezTo>
                      <a:pt x="1188537" y="357599"/>
                      <a:pt x="1188537" y="365363"/>
                      <a:pt x="1188537" y="365363"/>
                    </a:cubicBezTo>
                    <a:lnTo>
                      <a:pt x="1188537" y="800391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09" name="Freeform 5">
                <a:extLst>
                  <a:ext uri="{FF2B5EF4-FFF2-40B4-BE49-F238E27FC236}">
                    <a16:creationId xmlns:a16="http://schemas.microsoft.com/office/drawing/2014/main" id="{391AE0C9-BEA4-C08D-2CEF-80133E958D39}"/>
                  </a:ext>
                </a:extLst>
              </p:cNvPr>
              <p:cNvSpPr/>
              <p:nvPr/>
            </p:nvSpPr>
            <p:spPr>
              <a:xfrm>
                <a:off x="4135960" y="2714301"/>
                <a:ext cx="213221" cy="789101"/>
              </a:xfrm>
              <a:custGeom>
                <a:avLst/>
                <a:gdLst>
                  <a:gd name="connsiteX0" fmla="*/ 35018 w 213221"/>
                  <a:gd name="connsiteY0" fmla="*/ 5028 h 789101"/>
                  <a:gd name="connsiteX1" fmla="*/ 5845 w 213221"/>
                  <a:gd name="connsiteY1" fmla="*/ 7181 h 789101"/>
                  <a:gd name="connsiteX2" fmla="*/ 7997 w 213221"/>
                  <a:gd name="connsiteY2" fmla="*/ 36374 h 789101"/>
                  <a:gd name="connsiteX3" fmla="*/ 171841 w 213221"/>
                  <a:gd name="connsiteY3" fmla="*/ 394197 h 789101"/>
                  <a:gd name="connsiteX4" fmla="*/ 7211 w 213221"/>
                  <a:gd name="connsiteY4" fmla="*/ 752704 h 789101"/>
                  <a:gd name="connsiteX5" fmla="*/ 4997 w 213221"/>
                  <a:gd name="connsiteY5" fmla="*/ 781896 h 789101"/>
                  <a:gd name="connsiteX6" fmla="*/ 20701 w 213221"/>
                  <a:gd name="connsiteY6" fmla="*/ 789101 h 789101"/>
                  <a:gd name="connsiteX7" fmla="*/ 34170 w 213221"/>
                  <a:gd name="connsiteY7" fmla="*/ 784091 h 789101"/>
                  <a:gd name="connsiteX8" fmla="*/ 213221 w 213221"/>
                  <a:gd name="connsiteY8" fmla="*/ 394177 h 789101"/>
                  <a:gd name="connsiteX9" fmla="*/ 35018 w 213221"/>
                  <a:gd name="connsiteY9" fmla="*/ 5028 h 789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21" h="789101">
                    <a:moveTo>
                      <a:pt x="35018" y="5028"/>
                    </a:moveTo>
                    <a:cubicBezTo>
                      <a:pt x="26370" y="-2446"/>
                      <a:pt x="13294" y="-1473"/>
                      <a:pt x="5845" y="7181"/>
                    </a:cubicBezTo>
                    <a:cubicBezTo>
                      <a:pt x="-1624" y="15836"/>
                      <a:pt x="-651" y="28920"/>
                      <a:pt x="7997" y="36374"/>
                    </a:cubicBezTo>
                    <a:cubicBezTo>
                      <a:pt x="112130" y="126290"/>
                      <a:pt x="171841" y="256724"/>
                      <a:pt x="171841" y="394197"/>
                    </a:cubicBezTo>
                    <a:cubicBezTo>
                      <a:pt x="171841" y="531670"/>
                      <a:pt x="111840" y="662767"/>
                      <a:pt x="7211" y="752704"/>
                    </a:cubicBezTo>
                    <a:cubicBezTo>
                      <a:pt x="-1458" y="760157"/>
                      <a:pt x="-2451" y="773221"/>
                      <a:pt x="4997" y="781896"/>
                    </a:cubicBezTo>
                    <a:cubicBezTo>
                      <a:pt x="9093" y="786658"/>
                      <a:pt x="14887" y="789101"/>
                      <a:pt x="20701" y="789101"/>
                    </a:cubicBezTo>
                    <a:cubicBezTo>
                      <a:pt x="25480" y="789101"/>
                      <a:pt x="30259" y="787466"/>
                      <a:pt x="34170" y="784091"/>
                    </a:cubicBezTo>
                    <a:cubicBezTo>
                      <a:pt x="147965" y="686266"/>
                      <a:pt x="213221" y="544155"/>
                      <a:pt x="213221" y="394177"/>
                    </a:cubicBezTo>
                    <a:cubicBezTo>
                      <a:pt x="213221" y="244198"/>
                      <a:pt x="148254" y="102833"/>
                      <a:pt x="35018" y="5028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10" name="Freeform 6">
                <a:extLst>
                  <a:ext uri="{FF2B5EF4-FFF2-40B4-BE49-F238E27FC236}">
                    <a16:creationId xmlns:a16="http://schemas.microsoft.com/office/drawing/2014/main" id="{050EA8A3-74AB-EEEA-AD79-40CC65CBEA64}"/>
                  </a:ext>
                </a:extLst>
              </p:cNvPr>
              <p:cNvSpPr/>
              <p:nvPr/>
            </p:nvSpPr>
            <p:spPr>
              <a:xfrm>
                <a:off x="4048441" y="2816267"/>
                <a:ext cx="166378" cy="585168"/>
              </a:xfrm>
              <a:custGeom>
                <a:avLst/>
                <a:gdLst>
                  <a:gd name="connsiteX0" fmla="*/ 34770 w 166378"/>
                  <a:gd name="connsiteY0" fmla="*/ 5028 h 585168"/>
                  <a:gd name="connsiteX1" fmla="*/ 5597 w 166378"/>
                  <a:gd name="connsiteY1" fmla="*/ 7181 h 585168"/>
                  <a:gd name="connsiteX2" fmla="*/ 7749 w 166378"/>
                  <a:gd name="connsiteY2" fmla="*/ 36374 h 585168"/>
                  <a:gd name="connsiteX3" fmla="*/ 124978 w 166378"/>
                  <a:gd name="connsiteY3" fmla="*/ 292335 h 585168"/>
                  <a:gd name="connsiteX4" fmla="*/ 7211 w 166378"/>
                  <a:gd name="connsiteY4" fmla="*/ 548772 h 585168"/>
                  <a:gd name="connsiteX5" fmla="*/ 4997 w 166378"/>
                  <a:gd name="connsiteY5" fmla="*/ 577964 h 585168"/>
                  <a:gd name="connsiteX6" fmla="*/ 20700 w 166378"/>
                  <a:gd name="connsiteY6" fmla="*/ 585169 h 585168"/>
                  <a:gd name="connsiteX7" fmla="*/ 34170 w 166378"/>
                  <a:gd name="connsiteY7" fmla="*/ 580179 h 585168"/>
                  <a:gd name="connsiteX8" fmla="*/ 166379 w 166378"/>
                  <a:gd name="connsiteY8" fmla="*/ 292314 h 585168"/>
                  <a:gd name="connsiteX9" fmla="*/ 34811 w 166378"/>
                  <a:gd name="connsiteY9" fmla="*/ 4987 h 585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378" h="585168">
                    <a:moveTo>
                      <a:pt x="34770" y="5028"/>
                    </a:moveTo>
                    <a:cubicBezTo>
                      <a:pt x="26121" y="-2446"/>
                      <a:pt x="13045" y="-1473"/>
                      <a:pt x="5597" y="7181"/>
                    </a:cubicBezTo>
                    <a:cubicBezTo>
                      <a:pt x="-1872" y="15836"/>
                      <a:pt x="-900" y="28920"/>
                      <a:pt x="7749" y="36374"/>
                    </a:cubicBezTo>
                    <a:cubicBezTo>
                      <a:pt x="82253" y="100680"/>
                      <a:pt x="124978" y="193971"/>
                      <a:pt x="124978" y="292335"/>
                    </a:cubicBezTo>
                    <a:cubicBezTo>
                      <a:pt x="124978" y="390698"/>
                      <a:pt x="82046" y="484466"/>
                      <a:pt x="7211" y="548772"/>
                    </a:cubicBezTo>
                    <a:cubicBezTo>
                      <a:pt x="-1458" y="556225"/>
                      <a:pt x="-2451" y="569289"/>
                      <a:pt x="4997" y="577964"/>
                    </a:cubicBezTo>
                    <a:cubicBezTo>
                      <a:pt x="9093" y="582726"/>
                      <a:pt x="14887" y="585169"/>
                      <a:pt x="20700" y="585169"/>
                    </a:cubicBezTo>
                    <a:cubicBezTo>
                      <a:pt x="25480" y="585169"/>
                      <a:pt x="30259" y="583533"/>
                      <a:pt x="34170" y="580179"/>
                    </a:cubicBezTo>
                    <a:cubicBezTo>
                      <a:pt x="118192" y="507985"/>
                      <a:pt x="166379" y="403058"/>
                      <a:pt x="166379" y="292314"/>
                    </a:cubicBezTo>
                    <a:cubicBezTo>
                      <a:pt x="166379" y="181569"/>
                      <a:pt x="118419" y="77181"/>
                      <a:pt x="34811" y="4987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11" name="Freeform 7">
                <a:extLst>
                  <a:ext uri="{FF2B5EF4-FFF2-40B4-BE49-F238E27FC236}">
                    <a16:creationId xmlns:a16="http://schemas.microsoft.com/office/drawing/2014/main" id="{8A1EB51B-6EE8-C58E-616E-4E26CD788658}"/>
                  </a:ext>
                </a:extLst>
              </p:cNvPr>
              <p:cNvSpPr/>
              <p:nvPr/>
            </p:nvSpPr>
            <p:spPr>
              <a:xfrm>
                <a:off x="3962666" y="2916160"/>
                <a:ext cx="114689" cy="385381"/>
              </a:xfrm>
              <a:custGeom>
                <a:avLst/>
                <a:gdLst>
                  <a:gd name="connsiteX0" fmla="*/ 35384 w 114689"/>
                  <a:gd name="connsiteY0" fmla="*/ 5798 h 385381"/>
                  <a:gd name="connsiteX1" fmla="*/ 6129 w 114689"/>
                  <a:gd name="connsiteY1" fmla="*/ 6336 h 385381"/>
                  <a:gd name="connsiteX2" fmla="*/ 6667 w 114689"/>
                  <a:gd name="connsiteY2" fmla="*/ 35611 h 385381"/>
                  <a:gd name="connsiteX3" fmla="*/ 73330 w 114689"/>
                  <a:gd name="connsiteY3" fmla="*/ 192525 h 385381"/>
                  <a:gd name="connsiteX4" fmla="*/ 6356 w 114689"/>
                  <a:gd name="connsiteY4" fmla="*/ 349750 h 385381"/>
                  <a:gd name="connsiteX5" fmla="*/ 5756 w 114689"/>
                  <a:gd name="connsiteY5" fmla="*/ 379025 h 385381"/>
                  <a:gd name="connsiteX6" fmla="*/ 20674 w 114689"/>
                  <a:gd name="connsiteY6" fmla="*/ 385381 h 385381"/>
                  <a:gd name="connsiteX7" fmla="*/ 34991 w 114689"/>
                  <a:gd name="connsiteY7" fmla="*/ 379605 h 385381"/>
                  <a:gd name="connsiteX8" fmla="*/ 114689 w 114689"/>
                  <a:gd name="connsiteY8" fmla="*/ 192505 h 385381"/>
                  <a:gd name="connsiteX9" fmla="*/ 35364 w 114689"/>
                  <a:gd name="connsiteY9" fmla="*/ 5777 h 385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4689" h="385381">
                    <a:moveTo>
                      <a:pt x="35384" y="5798"/>
                    </a:moveTo>
                    <a:cubicBezTo>
                      <a:pt x="27150" y="-2132"/>
                      <a:pt x="14053" y="-1904"/>
                      <a:pt x="6129" y="6336"/>
                    </a:cubicBezTo>
                    <a:cubicBezTo>
                      <a:pt x="-1796" y="14576"/>
                      <a:pt x="-1568" y="27682"/>
                      <a:pt x="6667" y="35611"/>
                    </a:cubicBezTo>
                    <a:cubicBezTo>
                      <a:pt x="49660" y="77060"/>
                      <a:pt x="73330" y="132795"/>
                      <a:pt x="73330" y="192525"/>
                    </a:cubicBezTo>
                    <a:cubicBezTo>
                      <a:pt x="73330" y="252256"/>
                      <a:pt x="49536" y="308280"/>
                      <a:pt x="6356" y="349750"/>
                    </a:cubicBezTo>
                    <a:cubicBezTo>
                      <a:pt x="-1878" y="357659"/>
                      <a:pt x="-2147" y="370764"/>
                      <a:pt x="5756" y="379025"/>
                    </a:cubicBezTo>
                    <a:cubicBezTo>
                      <a:pt x="9811" y="383269"/>
                      <a:pt x="15253" y="385381"/>
                      <a:pt x="20674" y="385381"/>
                    </a:cubicBezTo>
                    <a:cubicBezTo>
                      <a:pt x="25826" y="385381"/>
                      <a:pt x="30998" y="383476"/>
                      <a:pt x="34991" y="379605"/>
                    </a:cubicBezTo>
                    <a:cubicBezTo>
                      <a:pt x="86385" y="330226"/>
                      <a:pt x="114689" y="263788"/>
                      <a:pt x="114689" y="192505"/>
                    </a:cubicBezTo>
                    <a:cubicBezTo>
                      <a:pt x="114689" y="121221"/>
                      <a:pt x="86509" y="55114"/>
                      <a:pt x="35364" y="5777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12" name="Freeform 9">
                <a:extLst>
                  <a:ext uri="{FF2B5EF4-FFF2-40B4-BE49-F238E27FC236}">
                    <a16:creationId xmlns:a16="http://schemas.microsoft.com/office/drawing/2014/main" id="{3584B679-019A-0EE7-BBB0-D4E4B99C7DBF}"/>
                  </a:ext>
                </a:extLst>
              </p:cNvPr>
              <p:cNvSpPr/>
              <p:nvPr/>
            </p:nvSpPr>
            <p:spPr>
              <a:xfrm>
                <a:off x="3291487" y="2714309"/>
                <a:ext cx="213221" cy="789114"/>
              </a:xfrm>
              <a:custGeom>
                <a:avLst/>
                <a:gdLst>
                  <a:gd name="connsiteX0" fmla="*/ 178182 w 213221"/>
                  <a:gd name="connsiteY0" fmla="*/ 784084 h 789114"/>
                  <a:gd name="connsiteX1" fmla="*/ 191693 w 213221"/>
                  <a:gd name="connsiteY1" fmla="*/ 789115 h 789114"/>
                  <a:gd name="connsiteX2" fmla="*/ 207376 w 213221"/>
                  <a:gd name="connsiteY2" fmla="*/ 781930 h 789114"/>
                  <a:gd name="connsiteX3" fmla="*/ 205224 w 213221"/>
                  <a:gd name="connsiteY3" fmla="*/ 752738 h 789114"/>
                  <a:gd name="connsiteX4" fmla="*/ 41380 w 213221"/>
                  <a:gd name="connsiteY4" fmla="*/ 394915 h 789114"/>
                  <a:gd name="connsiteX5" fmla="*/ 206010 w 213221"/>
                  <a:gd name="connsiteY5" fmla="*/ 36408 h 789114"/>
                  <a:gd name="connsiteX6" fmla="*/ 208224 w 213221"/>
                  <a:gd name="connsiteY6" fmla="*/ 7216 h 789114"/>
                  <a:gd name="connsiteX7" fmla="*/ 179051 w 213221"/>
                  <a:gd name="connsiteY7" fmla="*/ 5000 h 789114"/>
                  <a:gd name="connsiteX8" fmla="*/ 0 w 213221"/>
                  <a:gd name="connsiteY8" fmla="*/ 394915 h 789114"/>
                  <a:gd name="connsiteX9" fmla="*/ 178182 w 213221"/>
                  <a:gd name="connsiteY9" fmla="*/ 784104 h 789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21" h="789114">
                    <a:moveTo>
                      <a:pt x="178182" y="784084"/>
                    </a:moveTo>
                    <a:cubicBezTo>
                      <a:pt x="182093" y="787458"/>
                      <a:pt x="186893" y="789115"/>
                      <a:pt x="191693" y="789115"/>
                    </a:cubicBezTo>
                    <a:cubicBezTo>
                      <a:pt x="197507" y="789115"/>
                      <a:pt x="203279" y="786692"/>
                      <a:pt x="207376" y="781930"/>
                    </a:cubicBezTo>
                    <a:cubicBezTo>
                      <a:pt x="214845" y="773276"/>
                      <a:pt x="213873" y="760191"/>
                      <a:pt x="205224" y="752738"/>
                    </a:cubicBezTo>
                    <a:cubicBezTo>
                      <a:pt x="101091" y="662822"/>
                      <a:pt x="41380" y="532388"/>
                      <a:pt x="41380" y="394915"/>
                    </a:cubicBezTo>
                    <a:cubicBezTo>
                      <a:pt x="41380" y="257441"/>
                      <a:pt x="101381" y="126345"/>
                      <a:pt x="206010" y="36408"/>
                    </a:cubicBezTo>
                    <a:cubicBezTo>
                      <a:pt x="214679" y="28954"/>
                      <a:pt x="215673" y="15890"/>
                      <a:pt x="208224" y="7216"/>
                    </a:cubicBezTo>
                    <a:cubicBezTo>
                      <a:pt x="200776" y="-1459"/>
                      <a:pt x="187720" y="-2453"/>
                      <a:pt x="179051" y="5000"/>
                    </a:cubicBezTo>
                    <a:cubicBezTo>
                      <a:pt x="65256" y="102826"/>
                      <a:pt x="0" y="244936"/>
                      <a:pt x="0" y="394915"/>
                    </a:cubicBezTo>
                    <a:cubicBezTo>
                      <a:pt x="0" y="544893"/>
                      <a:pt x="64946" y="686300"/>
                      <a:pt x="178182" y="78410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13" name="Freeform 10">
                <a:extLst>
                  <a:ext uri="{FF2B5EF4-FFF2-40B4-BE49-F238E27FC236}">
                    <a16:creationId xmlns:a16="http://schemas.microsoft.com/office/drawing/2014/main" id="{CF50B18A-808E-BB9E-7E61-566B23A65B21}"/>
                  </a:ext>
                </a:extLst>
              </p:cNvPr>
              <p:cNvSpPr/>
              <p:nvPr/>
            </p:nvSpPr>
            <p:spPr>
              <a:xfrm>
                <a:off x="3425848" y="2816275"/>
                <a:ext cx="166378" cy="585203"/>
              </a:xfrm>
              <a:custGeom>
                <a:avLst/>
                <a:gdLst>
                  <a:gd name="connsiteX0" fmla="*/ 131588 w 166378"/>
                  <a:gd name="connsiteY0" fmla="*/ 580172 h 585203"/>
                  <a:gd name="connsiteX1" fmla="*/ 145099 w 166378"/>
                  <a:gd name="connsiteY1" fmla="*/ 585203 h 585203"/>
                  <a:gd name="connsiteX2" fmla="*/ 160782 w 166378"/>
                  <a:gd name="connsiteY2" fmla="*/ 578019 h 585203"/>
                  <a:gd name="connsiteX3" fmla="*/ 158630 w 166378"/>
                  <a:gd name="connsiteY3" fmla="*/ 548827 h 585203"/>
                  <a:gd name="connsiteX4" fmla="*/ 41401 w 166378"/>
                  <a:gd name="connsiteY4" fmla="*/ 292866 h 585203"/>
                  <a:gd name="connsiteX5" fmla="*/ 159168 w 166378"/>
                  <a:gd name="connsiteY5" fmla="*/ 36408 h 585203"/>
                  <a:gd name="connsiteX6" fmla="*/ 161382 w 166378"/>
                  <a:gd name="connsiteY6" fmla="*/ 7216 h 585203"/>
                  <a:gd name="connsiteX7" fmla="*/ 132209 w 166378"/>
                  <a:gd name="connsiteY7" fmla="*/ 5000 h 585203"/>
                  <a:gd name="connsiteX8" fmla="*/ 0 w 166378"/>
                  <a:gd name="connsiteY8" fmla="*/ 292866 h 585203"/>
                  <a:gd name="connsiteX9" fmla="*/ 131568 w 166378"/>
                  <a:gd name="connsiteY9" fmla="*/ 580193 h 585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378" h="585203">
                    <a:moveTo>
                      <a:pt x="131588" y="580172"/>
                    </a:moveTo>
                    <a:cubicBezTo>
                      <a:pt x="135499" y="583547"/>
                      <a:pt x="140299" y="585203"/>
                      <a:pt x="145099" y="585203"/>
                    </a:cubicBezTo>
                    <a:cubicBezTo>
                      <a:pt x="150913" y="585203"/>
                      <a:pt x="156685" y="582760"/>
                      <a:pt x="160782" y="578019"/>
                    </a:cubicBezTo>
                    <a:cubicBezTo>
                      <a:pt x="168251" y="569365"/>
                      <a:pt x="167279" y="556280"/>
                      <a:pt x="158630" y="548827"/>
                    </a:cubicBezTo>
                    <a:cubicBezTo>
                      <a:pt x="84126" y="484521"/>
                      <a:pt x="41401" y="391229"/>
                      <a:pt x="41401" y="292866"/>
                    </a:cubicBezTo>
                    <a:cubicBezTo>
                      <a:pt x="41401" y="194502"/>
                      <a:pt x="84332" y="100735"/>
                      <a:pt x="159168" y="36408"/>
                    </a:cubicBezTo>
                    <a:cubicBezTo>
                      <a:pt x="167837" y="28954"/>
                      <a:pt x="168830" y="15890"/>
                      <a:pt x="161382" y="7216"/>
                    </a:cubicBezTo>
                    <a:cubicBezTo>
                      <a:pt x="153934" y="-1459"/>
                      <a:pt x="140878" y="-2453"/>
                      <a:pt x="132209" y="5000"/>
                    </a:cubicBezTo>
                    <a:cubicBezTo>
                      <a:pt x="48187" y="77194"/>
                      <a:pt x="0" y="182121"/>
                      <a:pt x="0" y="292866"/>
                    </a:cubicBezTo>
                    <a:cubicBezTo>
                      <a:pt x="0" y="403610"/>
                      <a:pt x="47959" y="507999"/>
                      <a:pt x="131568" y="580193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14" name="Freeform 12">
                <a:extLst>
                  <a:ext uri="{FF2B5EF4-FFF2-40B4-BE49-F238E27FC236}">
                    <a16:creationId xmlns:a16="http://schemas.microsoft.com/office/drawing/2014/main" id="{CA6B49A8-46E7-66A9-D779-7108A4CF288D}"/>
                  </a:ext>
                </a:extLst>
              </p:cNvPr>
              <p:cNvSpPr/>
              <p:nvPr/>
            </p:nvSpPr>
            <p:spPr>
              <a:xfrm>
                <a:off x="3563271" y="2916177"/>
                <a:ext cx="114709" cy="385384"/>
              </a:xfrm>
              <a:custGeom>
                <a:avLst/>
                <a:gdLst>
                  <a:gd name="connsiteX0" fmla="*/ 79326 w 114709"/>
                  <a:gd name="connsiteY0" fmla="*/ 379588 h 385384"/>
                  <a:gd name="connsiteX1" fmla="*/ 93684 w 114709"/>
                  <a:gd name="connsiteY1" fmla="*/ 385385 h 385384"/>
                  <a:gd name="connsiteX2" fmla="*/ 108581 w 114709"/>
                  <a:gd name="connsiteY2" fmla="*/ 379049 h 385384"/>
                  <a:gd name="connsiteX3" fmla="*/ 108043 w 114709"/>
                  <a:gd name="connsiteY3" fmla="*/ 349774 h 385384"/>
                  <a:gd name="connsiteX4" fmla="*/ 41380 w 114709"/>
                  <a:gd name="connsiteY4" fmla="*/ 192860 h 385384"/>
                  <a:gd name="connsiteX5" fmla="*/ 108354 w 114709"/>
                  <a:gd name="connsiteY5" fmla="*/ 35636 h 385384"/>
                  <a:gd name="connsiteX6" fmla="*/ 108954 w 114709"/>
                  <a:gd name="connsiteY6" fmla="*/ 6360 h 385384"/>
                  <a:gd name="connsiteX7" fmla="*/ 79698 w 114709"/>
                  <a:gd name="connsiteY7" fmla="*/ 5760 h 385384"/>
                  <a:gd name="connsiteX8" fmla="*/ 0 w 114709"/>
                  <a:gd name="connsiteY8" fmla="*/ 192860 h 385384"/>
                  <a:gd name="connsiteX9" fmla="*/ 79326 w 114709"/>
                  <a:gd name="connsiteY9" fmla="*/ 379588 h 38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4709" h="385384">
                    <a:moveTo>
                      <a:pt x="79326" y="379588"/>
                    </a:moveTo>
                    <a:cubicBezTo>
                      <a:pt x="83339" y="383459"/>
                      <a:pt x="88512" y="385385"/>
                      <a:pt x="93684" y="385385"/>
                    </a:cubicBezTo>
                    <a:cubicBezTo>
                      <a:pt x="99105" y="385385"/>
                      <a:pt x="104526" y="383273"/>
                      <a:pt x="108581" y="379049"/>
                    </a:cubicBezTo>
                    <a:cubicBezTo>
                      <a:pt x="116506" y="370809"/>
                      <a:pt x="116278" y="357704"/>
                      <a:pt x="108043" y="349774"/>
                    </a:cubicBezTo>
                    <a:cubicBezTo>
                      <a:pt x="65049" y="308325"/>
                      <a:pt x="41380" y="252591"/>
                      <a:pt x="41380" y="192860"/>
                    </a:cubicBezTo>
                    <a:cubicBezTo>
                      <a:pt x="41380" y="133130"/>
                      <a:pt x="65174" y="77105"/>
                      <a:pt x="108354" y="35636"/>
                    </a:cubicBezTo>
                    <a:cubicBezTo>
                      <a:pt x="116588" y="27727"/>
                      <a:pt x="116857" y="14601"/>
                      <a:pt x="108954" y="6360"/>
                    </a:cubicBezTo>
                    <a:cubicBezTo>
                      <a:pt x="101029" y="-1880"/>
                      <a:pt x="87933" y="-2149"/>
                      <a:pt x="79698" y="5760"/>
                    </a:cubicBezTo>
                    <a:cubicBezTo>
                      <a:pt x="28304" y="55118"/>
                      <a:pt x="0" y="121577"/>
                      <a:pt x="0" y="192860"/>
                    </a:cubicBezTo>
                    <a:cubicBezTo>
                      <a:pt x="0" y="264143"/>
                      <a:pt x="28180" y="330250"/>
                      <a:pt x="79326" y="379588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15" name="Freeform 13">
                <a:extLst>
                  <a:ext uri="{FF2B5EF4-FFF2-40B4-BE49-F238E27FC236}">
                    <a16:creationId xmlns:a16="http://schemas.microsoft.com/office/drawing/2014/main" id="{956253B8-A020-5ADF-FA80-93479302D76F}"/>
                  </a:ext>
                </a:extLst>
              </p:cNvPr>
              <p:cNvSpPr/>
              <p:nvPr/>
            </p:nvSpPr>
            <p:spPr>
              <a:xfrm>
                <a:off x="2277470" y="2982951"/>
                <a:ext cx="1661448" cy="1799655"/>
              </a:xfrm>
              <a:custGeom>
                <a:avLst/>
                <a:gdLst>
                  <a:gd name="connsiteX0" fmla="*/ 1625344 w 1661448"/>
                  <a:gd name="connsiteY0" fmla="*/ 36128 h 1799655"/>
                  <a:gd name="connsiteX1" fmla="*/ 1585371 w 1661448"/>
                  <a:gd name="connsiteY1" fmla="*/ 9400 h 1799655"/>
                  <a:gd name="connsiteX2" fmla="*/ 1538157 w 1661448"/>
                  <a:gd name="connsiteY2" fmla="*/ 0 h 1799655"/>
                  <a:gd name="connsiteX3" fmla="*/ 1490942 w 1661448"/>
                  <a:gd name="connsiteY3" fmla="*/ 9400 h 1799655"/>
                  <a:gd name="connsiteX4" fmla="*/ 1450969 w 1661448"/>
                  <a:gd name="connsiteY4" fmla="*/ 36128 h 1799655"/>
                  <a:gd name="connsiteX5" fmla="*/ 1424258 w 1661448"/>
                  <a:gd name="connsiteY5" fmla="*/ 76149 h 1799655"/>
                  <a:gd name="connsiteX6" fmla="*/ 1414865 w 1661448"/>
                  <a:gd name="connsiteY6" fmla="*/ 123395 h 1799655"/>
                  <a:gd name="connsiteX7" fmla="*/ 1424258 w 1661448"/>
                  <a:gd name="connsiteY7" fmla="*/ 170641 h 1799655"/>
                  <a:gd name="connsiteX8" fmla="*/ 1450969 w 1661448"/>
                  <a:gd name="connsiteY8" fmla="*/ 210661 h 1799655"/>
                  <a:gd name="connsiteX9" fmla="*/ 1490942 w 1661448"/>
                  <a:gd name="connsiteY9" fmla="*/ 237390 h 1799655"/>
                  <a:gd name="connsiteX10" fmla="*/ 1517529 w 1661448"/>
                  <a:gd name="connsiteY10" fmla="*/ 245009 h 1799655"/>
                  <a:gd name="connsiteX11" fmla="*/ 1517529 w 1661448"/>
                  <a:gd name="connsiteY11" fmla="*/ 846557 h 1799655"/>
                  <a:gd name="connsiteX12" fmla="*/ 1446417 w 1661448"/>
                  <a:gd name="connsiteY12" fmla="*/ 917716 h 1799655"/>
                  <a:gd name="connsiteX13" fmla="*/ 1384844 w 1661448"/>
                  <a:gd name="connsiteY13" fmla="*/ 917716 h 1799655"/>
                  <a:gd name="connsiteX14" fmla="*/ 1375989 w 1661448"/>
                  <a:gd name="connsiteY14" fmla="*/ 884755 h 1799655"/>
                  <a:gd name="connsiteX15" fmla="*/ 1348533 w 1661448"/>
                  <a:gd name="connsiteY15" fmla="*/ 817717 h 1799655"/>
                  <a:gd name="connsiteX16" fmla="*/ 1310546 w 1661448"/>
                  <a:gd name="connsiteY16" fmla="*/ 756123 h 1799655"/>
                  <a:gd name="connsiteX17" fmla="*/ 1262938 w 1661448"/>
                  <a:gd name="connsiteY17" fmla="*/ 701713 h 1799655"/>
                  <a:gd name="connsiteX18" fmla="*/ 1144447 w 1661448"/>
                  <a:gd name="connsiteY18" fmla="*/ 619602 h 1799655"/>
                  <a:gd name="connsiteX19" fmla="*/ 1076604 w 1661448"/>
                  <a:gd name="connsiteY19" fmla="*/ 594323 h 1799655"/>
                  <a:gd name="connsiteX20" fmla="*/ 1005555 w 1661448"/>
                  <a:gd name="connsiteY20" fmla="*/ 580534 h 1799655"/>
                  <a:gd name="connsiteX21" fmla="*/ 996555 w 1661448"/>
                  <a:gd name="connsiteY21" fmla="*/ 579685 h 1799655"/>
                  <a:gd name="connsiteX22" fmla="*/ 987534 w 1661448"/>
                  <a:gd name="connsiteY22" fmla="*/ 579002 h 1799655"/>
                  <a:gd name="connsiteX23" fmla="*/ 978513 w 1661448"/>
                  <a:gd name="connsiteY23" fmla="*/ 578422 h 1799655"/>
                  <a:gd name="connsiteX24" fmla="*/ 969492 w 1661448"/>
                  <a:gd name="connsiteY24" fmla="*/ 578174 h 1799655"/>
                  <a:gd name="connsiteX25" fmla="*/ 960471 w 1661448"/>
                  <a:gd name="connsiteY25" fmla="*/ 577967 h 1799655"/>
                  <a:gd name="connsiteX26" fmla="*/ 958216 w 1661448"/>
                  <a:gd name="connsiteY26" fmla="*/ 577925 h 1799655"/>
                  <a:gd name="connsiteX27" fmla="*/ 956230 w 1661448"/>
                  <a:gd name="connsiteY27" fmla="*/ 577925 h 1799655"/>
                  <a:gd name="connsiteX28" fmla="*/ 952340 w 1661448"/>
                  <a:gd name="connsiteY28" fmla="*/ 577925 h 1799655"/>
                  <a:gd name="connsiteX29" fmla="*/ 191507 w 1661448"/>
                  <a:gd name="connsiteY29" fmla="*/ 577925 h 1799655"/>
                  <a:gd name="connsiteX30" fmla="*/ 145947 w 1661448"/>
                  <a:gd name="connsiteY30" fmla="*/ 583433 h 1799655"/>
                  <a:gd name="connsiteX31" fmla="*/ 102871 w 1661448"/>
                  <a:gd name="connsiteY31" fmla="*/ 599706 h 1799655"/>
                  <a:gd name="connsiteX32" fmla="*/ 34470 w 1661448"/>
                  <a:gd name="connsiteY32" fmla="*/ 659954 h 1799655"/>
                  <a:gd name="connsiteX33" fmla="*/ 1572 w 1661448"/>
                  <a:gd name="connsiteY33" fmla="*/ 745212 h 1799655"/>
                  <a:gd name="connsiteX34" fmla="*/ 21 w 1661448"/>
                  <a:gd name="connsiteY34" fmla="*/ 768110 h 1799655"/>
                  <a:gd name="connsiteX35" fmla="*/ 21 w 1661448"/>
                  <a:gd name="connsiteY35" fmla="*/ 784135 h 1799655"/>
                  <a:gd name="connsiteX36" fmla="*/ 0 w 1661448"/>
                  <a:gd name="connsiteY36" fmla="*/ 815212 h 1799655"/>
                  <a:gd name="connsiteX37" fmla="*/ 0 w 1661448"/>
                  <a:gd name="connsiteY37" fmla="*/ 1520175 h 1799655"/>
                  <a:gd name="connsiteX38" fmla="*/ 41 w 1661448"/>
                  <a:gd name="connsiteY38" fmla="*/ 1522888 h 1799655"/>
                  <a:gd name="connsiteX39" fmla="*/ 579 w 1661448"/>
                  <a:gd name="connsiteY39" fmla="*/ 1534606 h 1799655"/>
                  <a:gd name="connsiteX40" fmla="*/ 3848 w 1661448"/>
                  <a:gd name="connsiteY40" fmla="*/ 1557939 h 1799655"/>
                  <a:gd name="connsiteX41" fmla="*/ 10159 w 1661448"/>
                  <a:gd name="connsiteY41" fmla="*/ 1580713 h 1799655"/>
                  <a:gd name="connsiteX42" fmla="*/ 31201 w 1661448"/>
                  <a:gd name="connsiteY42" fmla="*/ 1622845 h 1799655"/>
                  <a:gd name="connsiteX43" fmla="*/ 62215 w 1661448"/>
                  <a:gd name="connsiteY43" fmla="*/ 1658083 h 1799655"/>
                  <a:gd name="connsiteX44" fmla="*/ 142927 w 1661448"/>
                  <a:gd name="connsiteY44" fmla="*/ 1699201 h 1799655"/>
                  <a:gd name="connsiteX45" fmla="*/ 142927 w 1661448"/>
                  <a:gd name="connsiteY45" fmla="*/ 1721602 h 1799655"/>
                  <a:gd name="connsiteX46" fmla="*/ 220928 w 1661448"/>
                  <a:gd name="connsiteY46" fmla="*/ 1799656 h 1799655"/>
                  <a:gd name="connsiteX47" fmla="*/ 319847 w 1661448"/>
                  <a:gd name="connsiteY47" fmla="*/ 1799656 h 1799655"/>
                  <a:gd name="connsiteX48" fmla="*/ 397848 w 1661448"/>
                  <a:gd name="connsiteY48" fmla="*/ 1721602 h 1799655"/>
                  <a:gd name="connsiteX49" fmla="*/ 397848 w 1661448"/>
                  <a:gd name="connsiteY49" fmla="*/ 1703652 h 1799655"/>
                  <a:gd name="connsiteX50" fmla="*/ 1000568 w 1661448"/>
                  <a:gd name="connsiteY50" fmla="*/ 1703652 h 1799655"/>
                  <a:gd name="connsiteX51" fmla="*/ 1000568 w 1661448"/>
                  <a:gd name="connsiteY51" fmla="*/ 1721602 h 1799655"/>
                  <a:gd name="connsiteX52" fmla="*/ 1078570 w 1661448"/>
                  <a:gd name="connsiteY52" fmla="*/ 1799656 h 1799655"/>
                  <a:gd name="connsiteX53" fmla="*/ 1177489 w 1661448"/>
                  <a:gd name="connsiteY53" fmla="*/ 1799656 h 1799655"/>
                  <a:gd name="connsiteX54" fmla="*/ 1255490 w 1661448"/>
                  <a:gd name="connsiteY54" fmla="*/ 1721602 h 1799655"/>
                  <a:gd name="connsiteX55" fmla="*/ 1255490 w 1661448"/>
                  <a:gd name="connsiteY55" fmla="*/ 1698849 h 1799655"/>
                  <a:gd name="connsiteX56" fmla="*/ 1260621 w 1661448"/>
                  <a:gd name="connsiteY56" fmla="*/ 1697586 h 1799655"/>
                  <a:gd name="connsiteX57" fmla="*/ 1304277 w 1661448"/>
                  <a:gd name="connsiteY57" fmla="*/ 1679657 h 1799655"/>
                  <a:gd name="connsiteX58" fmla="*/ 1370754 w 1661448"/>
                  <a:gd name="connsiteY58" fmla="*/ 1614150 h 1799655"/>
                  <a:gd name="connsiteX59" fmla="*/ 1396099 w 1661448"/>
                  <a:gd name="connsiteY59" fmla="*/ 1524130 h 1799655"/>
                  <a:gd name="connsiteX60" fmla="*/ 1396161 w 1661448"/>
                  <a:gd name="connsiteY60" fmla="*/ 1461025 h 1799655"/>
                  <a:gd name="connsiteX61" fmla="*/ 1396161 w 1661448"/>
                  <a:gd name="connsiteY61" fmla="*/ 1016266 h 1799655"/>
                  <a:gd name="connsiteX62" fmla="*/ 1396099 w 1661448"/>
                  <a:gd name="connsiteY62" fmla="*/ 1014009 h 1799655"/>
                  <a:gd name="connsiteX63" fmla="*/ 1395996 w 1661448"/>
                  <a:gd name="connsiteY63" fmla="*/ 1009496 h 1799655"/>
                  <a:gd name="connsiteX64" fmla="*/ 1395396 w 1661448"/>
                  <a:gd name="connsiteY64" fmla="*/ 991421 h 1799655"/>
                  <a:gd name="connsiteX65" fmla="*/ 1394030 w 1661448"/>
                  <a:gd name="connsiteY65" fmla="*/ 973368 h 1799655"/>
                  <a:gd name="connsiteX66" fmla="*/ 1392313 w 1661448"/>
                  <a:gd name="connsiteY66" fmla="*/ 959061 h 1799655"/>
                  <a:gd name="connsiteX67" fmla="*/ 1446417 w 1661448"/>
                  <a:gd name="connsiteY67" fmla="*/ 959061 h 1799655"/>
                  <a:gd name="connsiteX68" fmla="*/ 1558909 w 1661448"/>
                  <a:gd name="connsiteY68" fmla="*/ 846495 h 1799655"/>
                  <a:gd name="connsiteX69" fmla="*/ 1558909 w 1661448"/>
                  <a:gd name="connsiteY69" fmla="*/ 244967 h 1799655"/>
                  <a:gd name="connsiteX70" fmla="*/ 1585371 w 1661448"/>
                  <a:gd name="connsiteY70" fmla="*/ 237369 h 1799655"/>
                  <a:gd name="connsiteX71" fmla="*/ 1625344 w 1661448"/>
                  <a:gd name="connsiteY71" fmla="*/ 210640 h 1799655"/>
                  <a:gd name="connsiteX72" fmla="*/ 1652055 w 1661448"/>
                  <a:gd name="connsiteY72" fmla="*/ 170620 h 1799655"/>
                  <a:gd name="connsiteX73" fmla="*/ 1661449 w 1661448"/>
                  <a:gd name="connsiteY73" fmla="*/ 123374 h 1799655"/>
                  <a:gd name="connsiteX74" fmla="*/ 1652055 w 1661448"/>
                  <a:gd name="connsiteY74" fmla="*/ 76128 h 1799655"/>
                  <a:gd name="connsiteX75" fmla="*/ 1625344 w 1661448"/>
                  <a:gd name="connsiteY75" fmla="*/ 36107 h 1799655"/>
                  <a:gd name="connsiteX76" fmla="*/ 356427 w 1661448"/>
                  <a:gd name="connsiteY76" fmla="*/ 1721623 h 1799655"/>
                  <a:gd name="connsiteX77" fmla="*/ 319805 w 1661448"/>
                  <a:gd name="connsiteY77" fmla="*/ 1758269 h 1799655"/>
                  <a:gd name="connsiteX78" fmla="*/ 220886 w 1661448"/>
                  <a:gd name="connsiteY78" fmla="*/ 1758269 h 1799655"/>
                  <a:gd name="connsiteX79" fmla="*/ 184265 w 1661448"/>
                  <a:gd name="connsiteY79" fmla="*/ 1721623 h 1799655"/>
                  <a:gd name="connsiteX80" fmla="*/ 184265 w 1661448"/>
                  <a:gd name="connsiteY80" fmla="*/ 1703673 h 1799655"/>
                  <a:gd name="connsiteX81" fmla="*/ 356406 w 1661448"/>
                  <a:gd name="connsiteY81" fmla="*/ 1703673 h 1799655"/>
                  <a:gd name="connsiteX82" fmla="*/ 356406 w 1661448"/>
                  <a:gd name="connsiteY82" fmla="*/ 1721623 h 1799655"/>
                  <a:gd name="connsiteX83" fmla="*/ 1214089 w 1661448"/>
                  <a:gd name="connsiteY83" fmla="*/ 1721623 h 1799655"/>
                  <a:gd name="connsiteX84" fmla="*/ 1177468 w 1661448"/>
                  <a:gd name="connsiteY84" fmla="*/ 1758269 h 1799655"/>
                  <a:gd name="connsiteX85" fmla="*/ 1078549 w 1661448"/>
                  <a:gd name="connsiteY85" fmla="*/ 1758269 h 1799655"/>
                  <a:gd name="connsiteX86" fmla="*/ 1041928 w 1661448"/>
                  <a:gd name="connsiteY86" fmla="*/ 1721623 h 1799655"/>
                  <a:gd name="connsiteX87" fmla="*/ 1041928 w 1661448"/>
                  <a:gd name="connsiteY87" fmla="*/ 1703673 h 1799655"/>
                  <a:gd name="connsiteX88" fmla="*/ 1213924 w 1661448"/>
                  <a:gd name="connsiteY88" fmla="*/ 1703673 h 1799655"/>
                  <a:gd name="connsiteX89" fmla="*/ 1214089 w 1661448"/>
                  <a:gd name="connsiteY89" fmla="*/ 1703673 h 1799655"/>
                  <a:gd name="connsiteX90" fmla="*/ 1214089 w 1661448"/>
                  <a:gd name="connsiteY90" fmla="*/ 1721623 h 1799655"/>
                  <a:gd name="connsiteX91" fmla="*/ 1354057 w 1661448"/>
                  <a:gd name="connsiteY91" fmla="*/ 1461045 h 1799655"/>
                  <a:gd name="connsiteX92" fmla="*/ 1354016 w 1661448"/>
                  <a:gd name="connsiteY92" fmla="*/ 1523509 h 1799655"/>
                  <a:gd name="connsiteX93" fmla="*/ 1334547 w 1661448"/>
                  <a:gd name="connsiteY93" fmla="*/ 1592721 h 1799655"/>
                  <a:gd name="connsiteX94" fmla="*/ 1283380 w 1661448"/>
                  <a:gd name="connsiteY94" fmla="*/ 1643114 h 1799655"/>
                  <a:gd name="connsiteX95" fmla="*/ 1249842 w 1661448"/>
                  <a:gd name="connsiteY95" fmla="*/ 1656882 h 1799655"/>
                  <a:gd name="connsiteX96" fmla="*/ 1213924 w 1661448"/>
                  <a:gd name="connsiteY96" fmla="*/ 1661562 h 1799655"/>
                  <a:gd name="connsiteX97" fmla="*/ 185320 w 1661448"/>
                  <a:gd name="connsiteY97" fmla="*/ 1661562 h 1799655"/>
                  <a:gd name="connsiteX98" fmla="*/ 181182 w 1661448"/>
                  <a:gd name="connsiteY98" fmla="*/ 1661520 h 1799655"/>
                  <a:gd name="connsiteX99" fmla="*/ 172141 w 1661448"/>
                  <a:gd name="connsiteY99" fmla="*/ 1661106 h 1799655"/>
                  <a:gd name="connsiteX100" fmla="*/ 154182 w 1661448"/>
                  <a:gd name="connsiteY100" fmla="*/ 1658601 h 1799655"/>
                  <a:gd name="connsiteX101" fmla="*/ 89960 w 1661448"/>
                  <a:gd name="connsiteY101" fmla="*/ 1626469 h 1799655"/>
                  <a:gd name="connsiteX102" fmla="*/ 66042 w 1661448"/>
                  <a:gd name="connsiteY102" fmla="*/ 1599326 h 1799655"/>
                  <a:gd name="connsiteX103" fmla="*/ 49863 w 1661448"/>
                  <a:gd name="connsiteY103" fmla="*/ 1566904 h 1799655"/>
                  <a:gd name="connsiteX104" fmla="*/ 42497 w 1661448"/>
                  <a:gd name="connsiteY104" fmla="*/ 1531438 h 1799655"/>
                  <a:gd name="connsiteX105" fmla="*/ 42083 w 1661448"/>
                  <a:gd name="connsiteY105" fmla="*/ 1522391 h 1799655"/>
                  <a:gd name="connsiteX106" fmla="*/ 42042 w 1661448"/>
                  <a:gd name="connsiteY106" fmla="*/ 1518250 h 1799655"/>
                  <a:gd name="connsiteX107" fmla="*/ 42042 w 1661448"/>
                  <a:gd name="connsiteY107" fmla="*/ 768442 h 1799655"/>
                  <a:gd name="connsiteX108" fmla="*/ 43283 w 1661448"/>
                  <a:gd name="connsiteY108" fmla="*/ 750533 h 1799655"/>
                  <a:gd name="connsiteX109" fmla="*/ 68939 w 1661448"/>
                  <a:gd name="connsiteY109" fmla="*/ 684053 h 1799655"/>
                  <a:gd name="connsiteX110" fmla="*/ 122361 w 1661448"/>
                  <a:gd name="connsiteY110" fmla="*/ 637014 h 1799655"/>
                  <a:gd name="connsiteX111" fmla="*/ 191507 w 1661448"/>
                  <a:gd name="connsiteY111" fmla="*/ 620016 h 1799655"/>
                  <a:gd name="connsiteX112" fmla="*/ 253618 w 1661448"/>
                  <a:gd name="connsiteY112" fmla="*/ 620016 h 1799655"/>
                  <a:gd name="connsiteX113" fmla="*/ 502043 w 1661448"/>
                  <a:gd name="connsiteY113" fmla="*/ 620016 h 1799655"/>
                  <a:gd name="connsiteX114" fmla="*/ 936781 w 1661448"/>
                  <a:gd name="connsiteY114" fmla="*/ 620016 h 1799655"/>
                  <a:gd name="connsiteX115" fmla="*/ 1001003 w 1661448"/>
                  <a:gd name="connsiteY115" fmla="*/ 622397 h 1799655"/>
                  <a:gd name="connsiteX116" fmla="*/ 1065204 w 1661448"/>
                  <a:gd name="connsiteY116" fmla="*/ 634861 h 1799655"/>
                  <a:gd name="connsiteX117" fmla="*/ 1126508 w 1661448"/>
                  <a:gd name="connsiteY117" fmla="*/ 657697 h 1799655"/>
                  <a:gd name="connsiteX118" fmla="*/ 1233641 w 1661448"/>
                  <a:gd name="connsiteY118" fmla="*/ 731941 h 1799655"/>
                  <a:gd name="connsiteX119" fmla="*/ 1276697 w 1661448"/>
                  <a:gd name="connsiteY119" fmla="*/ 781154 h 1799655"/>
                  <a:gd name="connsiteX120" fmla="*/ 1311022 w 1661448"/>
                  <a:gd name="connsiteY120" fmla="*/ 836847 h 1799655"/>
                  <a:gd name="connsiteX121" fmla="*/ 1335850 w 1661448"/>
                  <a:gd name="connsiteY121" fmla="*/ 897406 h 1799655"/>
                  <a:gd name="connsiteX122" fmla="*/ 1350167 w 1661448"/>
                  <a:gd name="connsiteY122" fmla="*/ 961277 h 1799655"/>
                  <a:gd name="connsiteX123" fmla="*/ 1352154 w 1661448"/>
                  <a:gd name="connsiteY123" fmla="*/ 977529 h 1799655"/>
                  <a:gd name="connsiteX124" fmla="*/ 1353395 w 1661448"/>
                  <a:gd name="connsiteY124" fmla="*/ 993844 h 1799655"/>
                  <a:gd name="connsiteX125" fmla="*/ 1353933 w 1661448"/>
                  <a:gd name="connsiteY125" fmla="*/ 1010200 h 1799655"/>
                  <a:gd name="connsiteX126" fmla="*/ 1354078 w 1661448"/>
                  <a:gd name="connsiteY126" fmla="*/ 1018274 h 1799655"/>
                  <a:gd name="connsiteX127" fmla="*/ 1354078 w 1661448"/>
                  <a:gd name="connsiteY127" fmla="*/ 1461066 h 1799655"/>
                  <a:gd name="connsiteX128" fmla="*/ 1613179 w 1661448"/>
                  <a:gd name="connsiteY128" fmla="*/ 154492 h 1799655"/>
                  <a:gd name="connsiteX129" fmla="*/ 1595571 w 1661448"/>
                  <a:gd name="connsiteY129" fmla="*/ 180848 h 1799655"/>
                  <a:gd name="connsiteX130" fmla="*/ 1569233 w 1661448"/>
                  <a:gd name="connsiteY130" fmla="*/ 198466 h 1799655"/>
                  <a:gd name="connsiteX131" fmla="*/ 1538136 w 1661448"/>
                  <a:gd name="connsiteY131" fmla="*/ 204657 h 1799655"/>
                  <a:gd name="connsiteX132" fmla="*/ 1507039 w 1661448"/>
                  <a:gd name="connsiteY132" fmla="*/ 198466 h 1799655"/>
                  <a:gd name="connsiteX133" fmla="*/ 1480701 w 1661448"/>
                  <a:gd name="connsiteY133" fmla="*/ 180848 h 1799655"/>
                  <a:gd name="connsiteX134" fmla="*/ 1463093 w 1661448"/>
                  <a:gd name="connsiteY134" fmla="*/ 154492 h 1799655"/>
                  <a:gd name="connsiteX135" fmla="*/ 1456907 w 1661448"/>
                  <a:gd name="connsiteY135" fmla="*/ 123374 h 1799655"/>
                  <a:gd name="connsiteX136" fmla="*/ 1463093 w 1661448"/>
                  <a:gd name="connsiteY136" fmla="*/ 92256 h 1799655"/>
                  <a:gd name="connsiteX137" fmla="*/ 1480701 w 1661448"/>
                  <a:gd name="connsiteY137" fmla="*/ 65900 h 1799655"/>
                  <a:gd name="connsiteX138" fmla="*/ 1507039 w 1661448"/>
                  <a:gd name="connsiteY138" fmla="*/ 48281 h 1799655"/>
                  <a:gd name="connsiteX139" fmla="*/ 1538136 w 1661448"/>
                  <a:gd name="connsiteY139" fmla="*/ 42091 h 1799655"/>
                  <a:gd name="connsiteX140" fmla="*/ 1569233 w 1661448"/>
                  <a:gd name="connsiteY140" fmla="*/ 48281 h 1799655"/>
                  <a:gd name="connsiteX141" fmla="*/ 1595571 w 1661448"/>
                  <a:gd name="connsiteY141" fmla="*/ 65900 h 1799655"/>
                  <a:gd name="connsiteX142" fmla="*/ 1613179 w 1661448"/>
                  <a:gd name="connsiteY142" fmla="*/ 92256 h 1799655"/>
                  <a:gd name="connsiteX143" fmla="*/ 1619365 w 1661448"/>
                  <a:gd name="connsiteY143" fmla="*/ 123374 h 1799655"/>
                  <a:gd name="connsiteX144" fmla="*/ 1613179 w 1661448"/>
                  <a:gd name="connsiteY144" fmla="*/ 154492 h 1799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1661448" h="1799655">
                    <a:moveTo>
                      <a:pt x="1625344" y="36128"/>
                    </a:moveTo>
                    <a:cubicBezTo>
                      <a:pt x="1613965" y="24741"/>
                      <a:pt x="1600330" y="15590"/>
                      <a:pt x="1585371" y="9400"/>
                    </a:cubicBezTo>
                    <a:cubicBezTo>
                      <a:pt x="1570433" y="3168"/>
                      <a:pt x="1554150" y="0"/>
                      <a:pt x="1538157" y="0"/>
                    </a:cubicBezTo>
                    <a:cubicBezTo>
                      <a:pt x="1522184" y="0"/>
                      <a:pt x="1505901" y="3188"/>
                      <a:pt x="1490942" y="9400"/>
                    </a:cubicBezTo>
                    <a:cubicBezTo>
                      <a:pt x="1475963" y="15611"/>
                      <a:pt x="1462328" y="24762"/>
                      <a:pt x="1450969" y="36128"/>
                    </a:cubicBezTo>
                    <a:cubicBezTo>
                      <a:pt x="1439590" y="47515"/>
                      <a:pt x="1430445" y="61159"/>
                      <a:pt x="1424258" y="76149"/>
                    </a:cubicBezTo>
                    <a:cubicBezTo>
                      <a:pt x="1418031" y="91097"/>
                      <a:pt x="1414865" y="107391"/>
                      <a:pt x="1414865" y="123395"/>
                    </a:cubicBezTo>
                    <a:cubicBezTo>
                      <a:pt x="1414865" y="139378"/>
                      <a:pt x="1418051" y="155672"/>
                      <a:pt x="1424258" y="170641"/>
                    </a:cubicBezTo>
                    <a:cubicBezTo>
                      <a:pt x="1430465" y="185630"/>
                      <a:pt x="1439610" y="199274"/>
                      <a:pt x="1450969" y="210661"/>
                    </a:cubicBezTo>
                    <a:cubicBezTo>
                      <a:pt x="1462349" y="222048"/>
                      <a:pt x="1475983" y="231199"/>
                      <a:pt x="1490942" y="237390"/>
                    </a:cubicBezTo>
                    <a:cubicBezTo>
                      <a:pt x="1499466" y="240930"/>
                      <a:pt x="1508425" y="243456"/>
                      <a:pt x="1517529" y="245009"/>
                    </a:cubicBezTo>
                    <a:lnTo>
                      <a:pt x="1517529" y="846557"/>
                    </a:lnTo>
                    <a:cubicBezTo>
                      <a:pt x="1517529" y="885791"/>
                      <a:pt x="1485625" y="917716"/>
                      <a:pt x="1446417" y="917716"/>
                    </a:cubicBezTo>
                    <a:lnTo>
                      <a:pt x="1384844" y="917716"/>
                    </a:lnTo>
                    <a:cubicBezTo>
                      <a:pt x="1382299" y="906639"/>
                      <a:pt x="1379361" y="895625"/>
                      <a:pt x="1375989" y="884755"/>
                    </a:cubicBezTo>
                    <a:cubicBezTo>
                      <a:pt x="1368747" y="861671"/>
                      <a:pt x="1359457" y="839269"/>
                      <a:pt x="1348533" y="817717"/>
                    </a:cubicBezTo>
                    <a:cubicBezTo>
                      <a:pt x="1337546" y="796205"/>
                      <a:pt x="1324988" y="775481"/>
                      <a:pt x="1310546" y="756123"/>
                    </a:cubicBezTo>
                    <a:cubicBezTo>
                      <a:pt x="1296166" y="736744"/>
                      <a:pt x="1280215" y="718525"/>
                      <a:pt x="1262938" y="701713"/>
                    </a:cubicBezTo>
                    <a:cubicBezTo>
                      <a:pt x="1228448" y="667925"/>
                      <a:pt x="1188061" y="640347"/>
                      <a:pt x="1144447" y="619602"/>
                    </a:cubicBezTo>
                    <a:cubicBezTo>
                      <a:pt x="1122660" y="609167"/>
                      <a:pt x="1099839" y="600886"/>
                      <a:pt x="1076604" y="594323"/>
                    </a:cubicBezTo>
                    <a:cubicBezTo>
                      <a:pt x="1053328" y="587843"/>
                      <a:pt x="1029555" y="583039"/>
                      <a:pt x="1005555" y="580534"/>
                    </a:cubicBezTo>
                    <a:cubicBezTo>
                      <a:pt x="1002575" y="580099"/>
                      <a:pt x="999555" y="579954"/>
                      <a:pt x="996555" y="579685"/>
                    </a:cubicBezTo>
                    <a:lnTo>
                      <a:pt x="987534" y="579002"/>
                    </a:lnTo>
                    <a:cubicBezTo>
                      <a:pt x="984534" y="578816"/>
                      <a:pt x="981513" y="578484"/>
                      <a:pt x="978513" y="578422"/>
                    </a:cubicBezTo>
                    <a:lnTo>
                      <a:pt x="969492" y="578174"/>
                    </a:lnTo>
                    <a:lnTo>
                      <a:pt x="960471" y="577967"/>
                    </a:lnTo>
                    <a:lnTo>
                      <a:pt x="958216" y="577925"/>
                    </a:lnTo>
                    <a:lnTo>
                      <a:pt x="956230" y="577925"/>
                    </a:lnTo>
                    <a:cubicBezTo>
                      <a:pt x="956230" y="577925"/>
                      <a:pt x="952340" y="577925"/>
                      <a:pt x="952340" y="577925"/>
                    </a:cubicBezTo>
                    <a:lnTo>
                      <a:pt x="191507" y="577925"/>
                    </a:lnTo>
                    <a:cubicBezTo>
                      <a:pt x="176258" y="577967"/>
                      <a:pt x="160885" y="579810"/>
                      <a:pt x="145947" y="583433"/>
                    </a:cubicBezTo>
                    <a:cubicBezTo>
                      <a:pt x="130968" y="587014"/>
                      <a:pt x="116505" y="592625"/>
                      <a:pt x="102871" y="599706"/>
                    </a:cubicBezTo>
                    <a:cubicBezTo>
                      <a:pt x="75622" y="613929"/>
                      <a:pt x="52015" y="634757"/>
                      <a:pt x="34470" y="659954"/>
                    </a:cubicBezTo>
                    <a:cubicBezTo>
                      <a:pt x="16883" y="685068"/>
                      <a:pt x="5379" y="714715"/>
                      <a:pt x="1572" y="745212"/>
                    </a:cubicBezTo>
                    <a:cubicBezTo>
                      <a:pt x="538" y="752831"/>
                      <a:pt x="124" y="760491"/>
                      <a:pt x="21" y="768110"/>
                    </a:cubicBezTo>
                    <a:lnTo>
                      <a:pt x="21" y="784135"/>
                    </a:lnTo>
                    <a:cubicBezTo>
                      <a:pt x="21" y="784135"/>
                      <a:pt x="0" y="815212"/>
                      <a:pt x="0" y="815212"/>
                    </a:cubicBezTo>
                    <a:lnTo>
                      <a:pt x="0" y="1520175"/>
                    </a:lnTo>
                    <a:lnTo>
                      <a:pt x="41" y="1522888"/>
                    </a:lnTo>
                    <a:cubicBezTo>
                      <a:pt x="124" y="1526801"/>
                      <a:pt x="228" y="1530693"/>
                      <a:pt x="579" y="1534606"/>
                    </a:cubicBezTo>
                    <a:cubicBezTo>
                      <a:pt x="1117" y="1542432"/>
                      <a:pt x="2317" y="1550217"/>
                      <a:pt x="3848" y="1557939"/>
                    </a:cubicBezTo>
                    <a:cubicBezTo>
                      <a:pt x="5524" y="1565641"/>
                      <a:pt x="7510" y="1573281"/>
                      <a:pt x="10159" y="1580713"/>
                    </a:cubicBezTo>
                    <a:cubicBezTo>
                      <a:pt x="15249" y="1595641"/>
                      <a:pt x="22511" y="1609761"/>
                      <a:pt x="31201" y="1622845"/>
                    </a:cubicBezTo>
                    <a:cubicBezTo>
                      <a:pt x="40056" y="1635806"/>
                      <a:pt x="50380" y="1647773"/>
                      <a:pt x="62215" y="1658083"/>
                    </a:cubicBezTo>
                    <a:cubicBezTo>
                      <a:pt x="84995" y="1678269"/>
                      <a:pt x="113112" y="1692493"/>
                      <a:pt x="142927" y="1699201"/>
                    </a:cubicBezTo>
                    <a:lnTo>
                      <a:pt x="142927" y="1721602"/>
                    </a:lnTo>
                    <a:cubicBezTo>
                      <a:pt x="142927" y="1764646"/>
                      <a:pt x="177913" y="1799656"/>
                      <a:pt x="220928" y="1799656"/>
                    </a:cubicBezTo>
                    <a:lnTo>
                      <a:pt x="319847" y="1799656"/>
                    </a:lnTo>
                    <a:cubicBezTo>
                      <a:pt x="362861" y="1799656"/>
                      <a:pt x="397848" y="1764646"/>
                      <a:pt x="397848" y="1721602"/>
                    </a:cubicBezTo>
                    <a:lnTo>
                      <a:pt x="397848" y="1703652"/>
                    </a:lnTo>
                    <a:lnTo>
                      <a:pt x="1000568" y="1703652"/>
                    </a:lnTo>
                    <a:lnTo>
                      <a:pt x="1000568" y="1721602"/>
                    </a:lnTo>
                    <a:cubicBezTo>
                      <a:pt x="1000568" y="1764646"/>
                      <a:pt x="1035555" y="1799656"/>
                      <a:pt x="1078570" y="1799656"/>
                    </a:cubicBezTo>
                    <a:lnTo>
                      <a:pt x="1177489" y="1799656"/>
                    </a:lnTo>
                    <a:cubicBezTo>
                      <a:pt x="1220503" y="1799656"/>
                      <a:pt x="1255490" y="1764646"/>
                      <a:pt x="1255490" y="1721602"/>
                    </a:cubicBezTo>
                    <a:lnTo>
                      <a:pt x="1255490" y="1698849"/>
                    </a:lnTo>
                    <a:cubicBezTo>
                      <a:pt x="1257207" y="1698456"/>
                      <a:pt x="1258924" y="1698042"/>
                      <a:pt x="1260621" y="1697586"/>
                    </a:cubicBezTo>
                    <a:cubicBezTo>
                      <a:pt x="1275870" y="1693487"/>
                      <a:pt x="1290642" y="1687545"/>
                      <a:pt x="1304277" y="1679657"/>
                    </a:cubicBezTo>
                    <a:cubicBezTo>
                      <a:pt x="1331671" y="1664067"/>
                      <a:pt x="1354699" y="1641272"/>
                      <a:pt x="1370754" y="1614150"/>
                    </a:cubicBezTo>
                    <a:cubicBezTo>
                      <a:pt x="1386871" y="1587090"/>
                      <a:pt x="1395706" y="1555455"/>
                      <a:pt x="1396099" y="1524130"/>
                    </a:cubicBezTo>
                    <a:lnTo>
                      <a:pt x="1396161" y="1461025"/>
                    </a:lnTo>
                    <a:lnTo>
                      <a:pt x="1396161" y="1016266"/>
                    </a:lnTo>
                    <a:cubicBezTo>
                      <a:pt x="1396161" y="1016266"/>
                      <a:pt x="1396099" y="1014009"/>
                      <a:pt x="1396099" y="1014009"/>
                    </a:cubicBezTo>
                    <a:lnTo>
                      <a:pt x="1395996" y="1009496"/>
                    </a:lnTo>
                    <a:cubicBezTo>
                      <a:pt x="1395810" y="1003471"/>
                      <a:pt x="1395810" y="997446"/>
                      <a:pt x="1395396" y="991421"/>
                    </a:cubicBezTo>
                    <a:lnTo>
                      <a:pt x="1394030" y="973368"/>
                    </a:lnTo>
                    <a:cubicBezTo>
                      <a:pt x="1393554" y="968585"/>
                      <a:pt x="1392934" y="963823"/>
                      <a:pt x="1392313" y="959061"/>
                    </a:cubicBezTo>
                    <a:lnTo>
                      <a:pt x="1446417" y="959061"/>
                    </a:lnTo>
                    <a:cubicBezTo>
                      <a:pt x="1508446" y="959061"/>
                      <a:pt x="1558909" y="908565"/>
                      <a:pt x="1558909" y="846495"/>
                    </a:cubicBezTo>
                    <a:lnTo>
                      <a:pt x="1558909" y="244967"/>
                    </a:lnTo>
                    <a:cubicBezTo>
                      <a:pt x="1567950" y="243414"/>
                      <a:pt x="1576888" y="240909"/>
                      <a:pt x="1585371" y="237369"/>
                    </a:cubicBezTo>
                    <a:cubicBezTo>
                      <a:pt x="1600351" y="231158"/>
                      <a:pt x="1613986" y="222007"/>
                      <a:pt x="1625344" y="210640"/>
                    </a:cubicBezTo>
                    <a:cubicBezTo>
                      <a:pt x="1636724" y="199253"/>
                      <a:pt x="1645869" y="185609"/>
                      <a:pt x="1652055" y="170620"/>
                    </a:cubicBezTo>
                    <a:cubicBezTo>
                      <a:pt x="1658283" y="155672"/>
                      <a:pt x="1661449" y="139378"/>
                      <a:pt x="1661449" y="123374"/>
                    </a:cubicBezTo>
                    <a:cubicBezTo>
                      <a:pt x="1661449" y="107391"/>
                      <a:pt x="1658262" y="91097"/>
                      <a:pt x="1652055" y="76128"/>
                    </a:cubicBezTo>
                    <a:cubicBezTo>
                      <a:pt x="1645848" y="61138"/>
                      <a:pt x="1636703" y="47494"/>
                      <a:pt x="1625344" y="36107"/>
                    </a:cubicBezTo>
                    <a:close/>
                    <a:moveTo>
                      <a:pt x="356427" y="1721623"/>
                    </a:moveTo>
                    <a:cubicBezTo>
                      <a:pt x="356427" y="1741830"/>
                      <a:pt x="339999" y="1758269"/>
                      <a:pt x="319805" y="1758269"/>
                    </a:cubicBezTo>
                    <a:lnTo>
                      <a:pt x="220886" y="1758269"/>
                    </a:lnTo>
                    <a:cubicBezTo>
                      <a:pt x="200693" y="1758269"/>
                      <a:pt x="184265" y="1741830"/>
                      <a:pt x="184265" y="1721623"/>
                    </a:cubicBezTo>
                    <a:lnTo>
                      <a:pt x="184265" y="1703673"/>
                    </a:lnTo>
                    <a:lnTo>
                      <a:pt x="356406" y="1703673"/>
                    </a:lnTo>
                    <a:lnTo>
                      <a:pt x="356406" y="1721623"/>
                    </a:lnTo>
                    <a:close/>
                    <a:moveTo>
                      <a:pt x="1214089" y="1721623"/>
                    </a:moveTo>
                    <a:cubicBezTo>
                      <a:pt x="1214089" y="1741830"/>
                      <a:pt x="1197661" y="1758269"/>
                      <a:pt x="1177468" y="1758269"/>
                    </a:cubicBezTo>
                    <a:lnTo>
                      <a:pt x="1078549" y="1758269"/>
                    </a:lnTo>
                    <a:cubicBezTo>
                      <a:pt x="1058356" y="1758269"/>
                      <a:pt x="1041928" y="1741830"/>
                      <a:pt x="1041928" y="1721623"/>
                    </a:cubicBezTo>
                    <a:lnTo>
                      <a:pt x="1041928" y="1703673"/>
                    </a:lnTo>
                    <a:lnTo>
                      <a:pt x="1213924" y="1703673"/>
                    </a:lnTo>
                    <a:cubicBezTo>
                      <a:pt x="1213924" y="1703673"/>
                      <a:pt x="1214027" y="1703673"/>
                      <a:pt x="1214089" y="1703673"/>
                    </a:cubicBezTo>
                    <a:lnTo>
                      <a:pt x="1214089" y="1721623"/>
                    </a:lnTo>
                    <a:close/>
                    <a:moveTo>
                      <a:pt x="1354057" y="1461045"/>
                    </a:moveTo>
                    <a:lnTo>
                      <a:pt x="1354016" y="1523509"/>
                    </a:lnTo>
                    <a:cubicBezTo>
                      <a:pt x="1353705" y="1547691"/>
                      <a:pt x="1346940" y="1571893"/>
                      <a:pt x="1334547" y="1592721"/>
                    </a:cubicBezTo>
                    <a:cubicBezTo>
                      <a:pt x="1322195" y="1613570"/>
                      <a:pt x="1304463" y="1631148"/>
                      <a:pt x="1283380" y="1643114"/>
                    </a:cubicBezTo>
                    <a:cubicBezTo>
                      <a:pt x="1272890" y="1649181"/>
                      <a:pt x="1261552" y="1653736"/>
                      <a:pt x="1249842" y="1656882"/>
                    </a:cubicBezTo>
                    <a:cubicBezTo>
                      <a:pt x="1238131" y="1659988"/>
                      <a:pt x="1226007" y="1661479"/>
                      <a:pt x="1213924" y="1661562"/>
                    </a:cubicBezTo>
                    <a:lnTo>
                      <a:pt x="185320" y="1661562"/>
                    </a:lnTo>
                    <a:cubicBezTo>
                      <a:pt x="184038" y="1661562"/>
                      <a:pt x="182796" y="1661562"/>
                      <a:pt x="181182" y="1661520"/>
                    </a:cubicBezTo>
                    <a:cubicBezTo>
                      <a:pt x="178162" y="1661458"/>
                      <a:pt x="175141" y="1661396"/>
                      <a:pt x="172141" y="1661106"/>
                    </a:cubicBezTo>
                    <a:cubicBezTo>
                      <a:pt x="166120" y="1660713"/>
                      <a:pt x="160120" y="1659760"/>
                      <a:pt x="154182" y="1658601"/>
                    </a:cubicBezTo>
                    <a:cubicBezTo>
                      <a:pt x="130471" y="1653632"/>
                      <a:pt x="108064" y="1642514"/>
                      <a:pt x="89960" y="1626469"/>
                    </a:cubicBezTo>
                    <a:cubicBezTo>
                      <a:pt x="80815" y="1618539"/>
                      <a:pt x="72891" y="1609284"/>
                      <a:pt x="66042" y="1599326"/>
                    </a:cubicBezTo>
                    <a:cubicBezTo>
                      <a:pt x="59360" y="1589243"/>
                      <a:pt x="53753" y="1578394"/>
                      <a:pt x="49863" y="1566904"/>
                    </a:cubicBezTo>
                    <a:cubicBezTo>
                      <a:pt x="45870" y="1555455"/>
                      <a:pt x="43366" y="1543488"/>
                      <a:pt x="42497" y="1531438"/>
                    </a:cubicBezTo>
                    <a:cubicBezTo>
                      <a:pt x="42208" y="1528415"/>
                      <a:pt x="42146" y="1525413"/>
                      <a:pt x="42083" y="1522391"/>
                    </a:cubicBezTo>
                    <a:cubicBezTo>
                      <a:pt x="42042" y="1520797"/>
                      <a:pt x="42042" y="1519534"/>
                      <a:pt x="42042" y="1518250"/>
                    </a:cubicBezTo>
                    <a:lnTo>
                      <a:pt x="42042" y="768442"/>
                    </a:lnTo>
                    <a:cubicBezTo>
                      <a:pt x="42166" y="762458"/>
                      <a:pt x="42477" y="756475"/>
                      <a:pt x="43283" y="750533"/>
                    </a:cubicBezTo>
                    <a:cubicBezTo>
                      <a:pt x="46242" y="726724"/>
                      <a:pt x="55201" y="703680"/>
                      <a:pt x="68939" y="684053"/>
                    </a:cubicBezTo>
                    <a:cubicBezTo>
                      <a:pt x="82636" y="664384"/>
                      <a:pt x="101091" y="648111"/>
                      <a:pt x="122361" y="637014"/>
                    </a:cubicBezTo>
                    <a:cubicBezTo>
                      <a:pt x="143568" y="625813"/>
                      <a:pt x="167610" y="620058"/>
                      <a:pt x="191507" y="620016"/>
                    </a:cubicBezTo>
                    <a:lnTo>
                      <a:pt x="253618" y="620016"/>
                    </a:lnTo>
                    <a:cubicBezTo>
                      <a:pt x="253618" y="620016"/>
                      <a:pt x="502043" y="620016"/>
                      <a:pt x="502043" y="620016"/>
                    </a:cubicBezTo>
                    <a:lnTo>
                      <a:pt x="936781" y="620016"/>
                    </a:lnTo>
                    <a:cubicBezTo>
                      <a:pt x="956995" y="619913"/>
                      <a:pt x="979403" y="620016"/>
                      <a:pt x="1001003" y="622397"/>
                    </a:cubicBezTo>
                    <a:cubicBezTo>
                      <a:pt x="1022707" y="624654"/>
                      <a:pt x="1044183" y="629022"/>
                      <a:pt x="1065204" y="634861"/>
                    </a:cubicBezTo>
                    <a:cubicBezTo>
                      <a:pt x="1086204" y="640782"/>
                      <a:pt x="1106812" y="648256"/>
                      <a:pt x="1126508" y="657697"/>
                    </a:cubicBezTo>
                    <a:cubicBezTo>
                      <a:pt x="1165902" y="676455"/>
                      <a:pt x="1202461" y="701361"/>
                      <a:pt x="1233641" y="731941"/>
                    </a:cubicBezTo>
                    <a:cubicBezTo>
                      <a:pt x="1249283" y="747158"/>
                      <a:pt x="1263683" y="763618"/>
                      <a:pt x="1276697" y="781154"/>
                    </a:cubicBezTo>
                    <a:cubicBezTo>
                      <a:pt x="1289753" y="798649"/>
                      <a:pt x="1301091" y="817406"/>
                      <a:pt x="1311022" y="836847"/>
                    </a:cubicBezTo>
                    <a:cubicBezTo>
                      <a:pt x="1320891" y="856309"/>
                      <a:pt x="1329291" y="876557"/>
                      <a:pt x="1335850" y="897406"/>
                    </a:cubicBezTo>
                    <a:cubicBezTo>
                      <a:pt x="1342326" y="918275"/>
                      <a:pt x="1347105" y="939641"/>
                      <a:pt x="1350167" y="961277"/>
                    </a:cubicBezTo>
                    <a:cubicBezTo>
                      <a:pt x="1350830" y="966701"/>
                      <a:pt x="1351616" y="972105"/>
                      <a:pt x="1352154" y="977529"/>
                    </a:cubicBezTo>
                    <a:lnTo>
                      <a:pt x="1353395" y="993844"/>
                    </a:lnTo>
                    <a:cubicBezTo>
                      <a:pt x="1353767" y="999289"/>
                      <a:pt x="1353747" y="1004755"/>
                      <a:pt x="1353933" y="1010200"/>
                    </a:cubicBezTo>
                    <a:cubicBezTo>
                      <a:pt x="1353974" y="1012891"/>
                      <a:pt x="1354119" y="1015748"/>
                      <a:pt x="1354078" y="1018274"/>
                    </a:cubicBezTo>
                    <a:lnTo>
                      <a:pt x="1354078" y="1461066"/>
                    </a:lnTo>
                    <a:close/>
                    <a:moveTo>
                      <a:pt x="1613179" y="154492"/>
                    </a:moveTo>
                    <a:cubicBezTo>
                      <a:pt x="1609103" y="164347"/>
                      <a:pt x="1603082" y="173332"/>
                      <a:pt x="1595571" y="180848"/>
                    </a:cubicBezTo>
                    <a:cubicBezTo>
                      <a:pt x="1588061" y="188363"/>
                      <a:pt x="1579061" y="194388"/>
                      <a:pt x="1569233" y="198466"/>
                    </a:cubicBezTo>
                    <a:cubicBezTo>
                      <a:pt x="1559405" y="202566"/>
                      <a:pt x="1548729" y="204657"/>
                      <a:pt x="1538136" y="204657"/>
                    </a:cubicBezTo>
                    <a:cubicBezTo>
                      <a:pt x="1527563" y="204657"/>
                      <a:pt x="1516887" y="202545"/>
                      <a:pt x="1507039" y="198466"/>
                    </a:cubicBezTo>
                    <a:cubicBezTo>
                      <a:pt x="1497191" y="194388"/>
                      <a:pt x="1488211" y="188363"/>
                      <a:pt x="1480701" y="180848"/>
                    </a:cubicBezTo>
                    <a:cubicBezTo>
                      <a:pt x="1473190" y="173332"/>
                      <a:pt x="1467169" y="164326"/>
                      <a:pt x="1463093" y="154492"/>
                    </a:cubicBezTo>
                    <a:cubicBezTo>
                      <a:pt x="1458997" y="144657"/>
                      <a:pt x="1456907" y="133974"/>
                      <a:pt x="1456907" y="123374"/>
                    </a:cubicBezTo>
                    <a:cubicBezTo>
                      <a:pt x="1456907" y="112794"/>
                      <a:pt x="1459017" y="102111"/>
                      <a:pt x="1463093" y="92256"/>
                    </a:cubicBezTo>
                    <a:cubicBezTo>
                      <a:pt x="1467169" y="82401"/>
                      <a:pt x="1473190" y="73416"/>
                      <a:pt x="1480701" y="65900"/>
                    </a:cubicBezTo>
                    <a:cubicBezTo>
                      <a:pt x="1488211" y="58385"/>
                      <a:pt x="1497211" y="52360"/>
                      <a:pt x="1507039" y="48281"/>
                    </a:cubicBezTo>
                    <a:cubicBezTo>
                      <a:pt x="1516867" y="44182"/>
                      <a:pt x="1527543" y="42091"/>
                      <a:pt x="1538136" y="42091"/>
                    </a:cubicBezTo>
                    <a:cubicBezTo>
                      <a:pt x="1548709" y="42091"/>
                      <a:pt x="1559385" y="44203"/>
                      <a:pt x="1569233" y="48281"/>
                    </a:cubicBezTo>
                    <a:cubicBezTo>
                      <a:pt x="1579081" y="52360"/>
                      <a:pt x="1588061" y="58385"/>
                      <a:pt x="1595571" y="65900"/>
                    </a:cubicBezTo>
                    <a:cubicBezTo>
                      <a:pt x="1603082" y="73416"/>
                      <a:pt x="1609103" y="82422"/>
                      <a:pt x="1613179" y="92256"/>
                    </a:cubicBezTo>
                    <a:cubicBezTo>
                      <a:pt x="1617275" y="102090"/>
                      <a:pt x="1619365" y="112774"/>
                      <a:pt x="1619365" y="123374"/>
                    </a:cubicBezTo>
                    <a:cubicBezTo>
                      <a:pt x="1619365" y="133954"/>
                      <a:pt x="1617255" y="144637"/>
                      <a:pt x="1613179" y="154492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16" name="Freeform 14">
                <a:extLst>
                  <a:ext uri="{FF2B5EF4-FFF2-40B4-BE49-F238E27FC236}">
                    <a16:creationId xmlns:a16="http://schemas.microsoft.com/office/drawing/2014/main" id="{60325099-C097-5C8D-A765-10E1CC6DAA47}"/>
                  </a:ext>
                </a:extLst>
              </p:cNvPr>
              <p:cNvSpPr/>
              <p:nvPr/>
            </p:nvSpPr>
            <p:spPr>
              <a:xfrm>
                <a:off x="3775054" y="3065766"/>
                <a:ext cx="81104" cy="81159"/>
              </a:xfrm>
              <a:custGeom>
                <a:avLst/>
                <a:gdLst>
                  <a:gd name="connsiteX0" fmla="*/ 40552 w 81104"/>
                  <a:gd name="connsiteY0" fmla="*/ 0 h 81159"/>
                  <a:gd name="connsiteX1" fmla="*/ 11876 w 81104"/>
                  <a:gd name="connsiteY1" fmla="*/ 11884 h 81159"/>
                  <a:gd name="connsiteX2" fmla="*/ 0 w 81104"/>
                  <a:gd name="connsiteY2" fmla="*/ 40580 h 81159"/>
                  <a:gd name="connsiteX3" fmla="*/ 11876 w 81104"/>
                  <a:gd name="connsiteY3" fmla="*/ 69275 h 81159"/>
                  <a:gd name="connsiteX4" fmla="*/ 40552 w 81104"/>
                  <a:gd name="connsiteY4" fmla="*/ 81159 h 81159"/>
                  <a:gd name="connsiteX5" fmla="*/ 69229 w 81104"/>
                  <a:gd name="connsiteY5" fmla="*/ 69275 h 81159"/>
                  <a:gd name="connsiteX6" fmla="*/ 81105 w 81104"/>
                  <a:gd name="connsiteY6" fmla="*/ 40580 h 81159"/>
                  <a:gd name="connsiteX7" fmla="*/ 69229 w 81104"/>
                  <a:gd name="connsiteY7" fmla="*/ 11884 h 81159"/>
                  <a:gd name="connsiteX8" fmla="*/ 40552 w 81104"/>
                  <a:gd name="connsiteY8" fmla="*/ 0 h 8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1104" h="81159">
                    <a:moveTo>
                      <a:pt x="40552" y="0"/>
                    </a:moveTo>
                    <a:cubicBezTo>
                      <a:pt x="29856" y="0"/>
                      <a:pt x="19449" y="4306"/>
                      <a:pt x="11876" y="11884"/>
                    </a:cubicBezTo>
                    <a:cubicBezTo>
                      <a:pt x="4304" y="19441"/>
                      <a:pt x="-21" y="29876"/>
                      <a:pt x="0" y="40580"/>
                    </a:cubicBezTo>
                    <a:cubicBezTo>
                      <a:pt x="0" y="51283"/>
                      <a:pt x="4304" y="61697"/>
                      <a:pt x="11876" y="69275"/>
                    </a:cubicBezTo>
                    <a:cubicBezTo>
                      <a:pt x="19428" y="76853"/>
                      <a:pt x="29856" y="81180"/>
                      <a:pt x="40552" y="81159"/>
                    </a:cubicBezTo>
                    <a:cubicBezTo>
                      <a:pt x="51249" y="81159"/>
                      <a:pt x="61656" y="76853"/>
                      <a:pt x="69229" y="69275"/>
                    </a:cubicBezTo>
                    <a:cubicBezTo>
                      <a:pt x="76801" y="61718"/>
                      <a:pt x="81125" y="51283"/>
                      <a:pt x="81105" y="40580"/>
                    </a:cubicBezTo>
                    <a:cubicBezTo>
                      <a:pt x="81105" y="29876"/>
                      <a:pt x="76801" y="19462"/>
                      <a:pt x="69229" y="11884"/>
                    </a:cubicBezTo>
                    <a:cubicBezTo>
                      <a:pt x="61677" y="4306"/>
                      <a:pt x="51249" y="-21"/>
                      <a:pt x="40552" y="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9CA9B816-EAD3-D421-03A5-1463C3866D23}"/>
                </a:ext>
              </a:extLst>
            </p:cNvPr>
            <p:cNvGrpSpPr/>
            <p:nvPr/>
          </p:nvGrpSpPr>
          <p:grpSpPr>
            <a:xfrm>
              <a:off x="704806" y="2606347"/>
              <a:ext cx="206250" cy="205910"/>
              <a:chOff x="2277470" y="2714301"/>
              <a:chExt cx="2071711" cy="2068305"/>
            </a:xfrm>
            <a:solidFill>
              <a:schemeClr val="accent1"/>
            </a:solidFill>
          </p:grpSpPr>
          <p:sp>
            <p:nvSpPr>
              <p:cNvPr id="99" name="Freeform 4">
                <a:extLst>
                  <a:ext uri="{FF2B5EF4-FFF2-40B4-BE49-F238E27FC236}">
                    <a16:creationId xmlns:a16="http://schemas.microsoft.com/office/drawing/2014/main" id="{6F19FDC3-E0CA-7396-C543-B69893731BA2}"/>
                  </a:ext>
                </a:extLst>
              </p:cNvPr>
              <p:cNvSpPr/>
              <p:nvPr/>
            </p:nvSpPr>
            <p:spPr>
              <a:xfrm>
                <a:off x="2360210" y="3643646"/>
                <a:ext cx="1230643" cy="960141"/>
              </a:xfrm>
              <a:custGeom>
                <a:avLst/>
                <a:gdLst>
                  <a:gd name="connsiteX0" fmla="*/ 1230021 w 1230643"/>
                  <a:gd name="connsiteY0" fmla="*/ 335426 h 960141"/>
                  <a:gd name="connsiteX1" fmla="*/ 1228903 w 1230643"/>
                  <a:gd name="connsiteY1" fmla="*/ 320767 h 960141"/>
                  <a:gd name="connsiteX2" fmla="*/ 1227124 w 1230643"/>
                  <a:gd name="connsiteY2" fmla="*/ 306171 h 960141"/>
                  <a:gd name="connsiteX3" fmla="*/ 1214296 w 1230643"/>
                  <a:gd name="connsiteY3" fmla="*/ 248904 h 960141"/>
                  <a:gd name="connsiteX4" fmla="*/ 1192034 w 1230643"/>
                  <a:gd name="connsiteY4" fmla="*/ 194598 h 960141"/>
                  <a:gd name="connsiteX5" fmla="*/ 1161226 w 1230643"/>
                  <a:gd name="connsiteY5" fmla="*/ 144640 h 960141"/>
                  <a:gd name="connsiteX6" fmla="*/ 1122557 w 1230643"/>
                  <a:gd name="connsiteY6" fmla="*/ 100458 h 960141"/>
                  <a:gd name="connsiteX7" fmla="*/ 1026410 w 1230643"/>
                  <a:gd name="connsiteY7" fmla="*/ 33813 h 960141"/>
                  <a:gd name="connsiteX8" fmla="*/ 971458 w 1230643"/>
                  <a:gd name="connsiteY8" fmla="*/ 13337 h 960141"/>
                  <a:gd name="connsiteX9" fmla="*/ 913877 w 1230643"/>
                  <a:gd name="connsiteY9" fmla="*/ 2157 h 960141"/>
                  <a:gd name="connsiteX10" fmla="*/ 854042 w 1230643"/>
                  <a:gd name="connsiteY10" fmla="*/ 24 h 960141"/>
                  <a:gd name="connsiteX11" fmla="*/ 108788 w 1230643"/>
                  <a:gd name="connsiteY11" fmla="*/ 24 h 960141"/>
                  <a:gd name="connsiteX12" fmla="*/ 58491 w 1230643"/>
                  <a:gd name="connsiteY12" fmla="*/ 12384 h 960141"/>
                  <a:gd name="connsiteX13" fmla="*/ 19573 w 1230643"/>
                  <a:gd name="connsiteY13" fmla="*/ 46670 h 960141"/>
                  <a:gd name="connsiteX14" fmla="*/ 7304 w 1230643"/>
                  <a:gd name="connsiteY14" fmla="*/ 69713 h 960141"/>
                  <a:gd name="connsiteX15" fmla="*/ 910 w 1230643"/>
                  <a:gd name="connsiteY15" fmla="*/ 94992 h 960141"/>
                  <a:gd name="connsiteX16" fmla="*/ 21 w 1230643"/>
                  <a:gd name="connsiteY16" fmla="*/ 108057 h 960141"/>
                  <a:gd name="connsiteX17" fmla="*/ 21 w 1230643"/>
                  <a:gd name="connsiteY17" fmla="*/ 123439 h 960141"/>
                  <a:gd name="connsiteX18" fmla="*/ 0 w 1230643"/>
                  <a:gd name="connsiteY18" fmla="*/ 154516 h 960141"/>
                  <a:gd name="connsiteX19" fmla="*/ 0 w 1230643"/>
                  <a:gd name="connsiteY19" fmla="*/ 857554 h 960141"/>
                  <a:gd name="connsiteX20" fmla="*/ 41 w 1230643"/>
                  <a:gd name="connsiteY20" fmla="*/ 861177 h 960141"/>
                  <a:gd name="connsiteX21" fmla="*/ 331 w 1230643"/>
                  <a:gd name="connsiteY21" fmla="*/ 867637 h 960141"/>
                  <a:gd name="connsiteX22" fmla="*/ 5566 w 1230643"/>
                  <a:gd name="connsiteY22" fmla="*/ 892833 h 960141"/>
                  <a:gd name="connsiteX23" fmla="*/ 17049 w 1230643"/>
                  <a:gd name="connsiteY23" fmla="*/ 915856 h 960141"/>
                  <a:gd name="connsiteX24" fmla="*/ 34097 w 1230643"/>
                  <a:gd name="connsiteY24" fmla="*/ 935193 h 960141"/>
                  <a:gd name="connsiteX25" fmla="*/ 79719 w 1230643"/>
                  <a:gd name="connsiteY25" fmla="*/ 958050 h 960141"/>
                  <a:gd name="connsiteX26" fmla="*/ 92484 w 1230643"/>
                  <a:gd name="connsiteY26" fmla="*/ 959810 h 960141"/>
                  <a:gd name="connsiteX27" fmla="*/ 98940 w 1230643"/>
                  <a:gd name="connsiteY27" fmla="*/ 960100 h 960141"/>
                  <a:gd name="connsiteX28" fmla="*/ 102581 w 1230643"/>
                  <a:gd name="connsiteY28" fmla="*/ 960142 h 960141"/>
                  <a:gd name="connsiteX29" fmla="*/ 1131184 w 1230643"/>
                  <a:gd name="connsiteY29" fmla="*/ 960142 h 960141"/>
                  <a:gd name="connsiteX30" fmla="*/ 1156695 w 1230643"/>
                  <a:gd name="connsiteY30" fmla="*/ 956829 h 960141"/>
                  <a:gd name="connsiteX31" fmla="*/ 1180447 w 1230643"/>
                  <a:gd name="connsiteY31" fmla="*/ 947057 h 960141"/>
                  <a:gd name="connsiteX32" fmla="*/ 1216800 w 1230643"/>
                  <a:gd name="connsiteY32" fmla="*/ 911239 h 960141"/>
                  <a:gd name="connsiteX33" fmla="*/ 1230600 w 1230643"/>
                  <a:gd name="connsiteY33" fmla="*/ 862171 h 960141"/>
                  <a:gd name="connsiteX34" fmla="*/ 1230641 w 1230643"/>
                  <a:gd name="connsiteY34" fmla="*/ 800329 h 960141"/>
                  <a:gd name="connsiteX35" fmla="*/ 1230641 w 1230643"/>
                  <a:gd name="connsiteY35" fmla="*/ 357537 h 960141"/>
                  <a:gd name="connsiteX36" fmla="*/ 1230496 w 1230643"/>
                  <a:gd name="connsiteY36" fmla="*/ 350084 h 960141"/>
                  <a:gd name="connsiteX37" fmla="*/ 1230021 w 1230643"/>
                  <a:gd name="connsiteY37" fmla="*/ 335384 h 960141"/>
                  <a:gd name="connsiteX38" fmla="*/ 1188558 w 1230643"/>
                  <a:gd name="connsiteY38" fmla="*/ 800370 h 960141"/>
                  <a:gd name="connsiteX39" fmla="*/ 1188516 w 1230643"/>
                  <a:gd name="connsiteY39" fmla="*/ 861571 h 960141"/>
                  <a:gd name="connsiteX40" fmla="*/ 1186385 w 1230643"/>
                  <a:gd name="connsiteY40" fmla="*/ 876270 h 960141"/>
                  <a:gd name="connsiteX41" fmla="*/ 1180592 w 1230643"/>
                  <a:gd name="connsiteY41" fmla="*/ 889831 h 960141"/>
                  <a:gd name="connsiteX42" fmla="*/ 1159550 w 1230643"/>
                  <a:gd name="connsiteY42" fmla="*/ 910556 h 960141"/>
                  <a:gd name="connsiteX43" fmla="*/ 1131184 w 1230643"/>
                  <a:gd name="connsiteY43" fmla="*/ 918092 h 960141"/>
                  <a:gd name="connsiteX44" fmla="*/ 100181 w 1230643"/>
                  <a:gd name="connsiteY44" fmla="*/ 918092 h 960141"/>
                  <a:gd name="connsiteX45" fmla="*/ 99953 w 1230643"/>
                  <a:gd name="connsiteY45" fmla="*/ 918092 h 960141"/>
                  <a:gd name="connsiteX46" fmla="*/ 99478 w 1230643"/>
                  <a:gd name="connsiteY46" fmla="*/ 918092 h 960141"/>
                  <a:gd name="connsiteX47" fmla="*/ 95691 w 1230643"/>
                  <a:gd name="connsiteY47" fmla="*/ 917906 h 960141"/>
                  <a:gd name="connsiteX48" fmla="*/ 88284 w 1230643"/>
                  <a:gd name="connsiteY48" fmla="*/ 916891 h 960141"/>
                  <a:gd name="connsiteX49" fmla="*/ 61904 w 1230643"/>
                  <a:gd name="connsiteY49" fmla="*/ 903641 h 960141"/>
                  <a:gd name="connsiteX50" fmla="*/ 51973 w 1230643"/>
                  <a:gd name="connsiteY50" fmla="*/ 892378 h 960141"/>
                  <a:gd name="connsiteX51" fmla="*/ 45332 w 1230643"/>
                  <a:gd name="connsiteY51" fmla="*/ 879065 h 960141"/>
                  <a:gd name="connsiteX52" fmla="*/ 42311 w 1230643"/>
                  <a:gd name="connsiteY52" fmla="*/ 864511 h 960141"/>
                  <a:gd name="connsiteX53" fmla="*/ 42125 w 1230643"/>
                  <a:gd name="connsiteY53" fmla="*/ 860722 h 960141"/>
                  <a:gd name="connsiteX54" fmla="*/ 42125 w 1230643"/>
                  <a:gd name="connsiteY54" fmla="*/ 860246 h 960141"/>
                  <a:gd name="connsiteX55" fmla="*/ 42083 w 1230643"/>
                  <a:gd name="connsiteY55" fmla="*/ 860018 h 960141"/>
                  <a:gd name="connsiteX56" fmla="*/ 42083 w 1230643"/>
                  <a:gd name="connsiteY56" fmla="*/ 859562 h 960141"/>
                  <a:gd name="connsiteX57" fmla="*/ 42083 w 1230643"/>
                  <a:gd name="connsiteY57" fmla="*/ 857616 h 960141"/>
                  <a:gd name="connsiteX58" fmla="*/ 42083 w 1230643"/>
                  <a:gd name="connsiteY58" fmla="*/ 108408 h 960141"/>
                  <a:gd name="connsiteX59" fmla="*/ 42663 w 1230643"/>
                  <a:gd name="connsiteY59" fmla="*/ 100334 h 960141"/>
                  <a:gd name="connsiteX60" fmla="*/ 46553 w 1230643"/>
                  <a:gd name="connsiteY60" fmla="*/ 84889 h 960141"/>
                  <a:gd name="connsiteX61" fmla="*/ 54063 w 1230643"/>
                  <a:gd name="connsiteY61" fmla="*/ 70790 h 960141"/>
                  <a:gd name="connsiteX62" fmla="*/ 77981 w 1230643"/>
                  <a:gd name="connsiteY62" fmla="*/ 49713 h 960141"/>
                  <a:gd name="connsiteX63" fmla="*/ 108788 w 1230643"/>
                  <a:gd name="connsiteY63" fmla="*/ 42156 h 960141"/>
                  <a:gd name="connsiteX64" fmla="*/ 170879 w 1230643"/>
                  <a:gd name="connsiteY64" fmla="*/ 42156 h 960141"/>
                  <a:gd name="connsiteX65" fmla="*/ 419304 w 1230643"/>
                  <a:gd name="connsiteY65" fmla="*/ 42156 h 960141"/>
                  <a:gd name="connsiteX66" fmla="*/ 875353 w 1230643"/>
                  <a:gd name="connsiteY66" fmla="*/ 42156 h 960141"/>
                  <a:gd name="connsiteX67" fmla="*/ 876966 w 1230643"/>
                  <a:gd name="connsiteY67" fmla="*/ 42218 h 960141"/>
                  <a:gd name="connsiteX68" fmla="*/ 883463 w 1230643"/>
                  <a:gd name="connsiteY68" fmla="*/ 42405 h 960141"/>
                  <a:gd name="connsiteX69" fmla="*/ 889960 w 1230643"/>
                  <a:gd name="connsiteY69" fmla="*/ 42550 h 960141"/>
                  <a:gd name="connsiteX70" fmla="*/ 896436 w 1230643"/>
                  <a:gd name="connsiteY70" fmla="*/ 42985 h 960141"/>
                  <a:gd name="connsiteX71" fmla="*/ 902891 w 1230643"/>
                  <a:gd name="connsiteY71" fmla="*/ 43481 h 960141"/>
                  <a:gd name="connsiteX72" fmla="*/ 909346 w 1230643"/>
                  <a:gd name="connsiteY72" fmla="*/ 44082 h 960141"/>
                  <a:gd name="connsiteX73" fmla="*/ 960078 w 1230643"/>
                  <a:gd name="connsiteY73" fmla="*/ 53937 h 960141"/>
                  <a:gd name="connsiteX74" fmla="*/ 1008493 w 1230643"/>
                  <a:gd name="connsiteY74" fmla="*/ 71949 h 960141"/>
                  <a:gd name="connsiteX75" fmla="*/ 1093280 w 1230643"/>
                  <a:gd name="connsiteY75" fmla="*/ 130727 h 960141"/>
                  <a:gd name="connsiteX76" fmla="*/ 1127398 w 1230643"/>
                  <a:gd name="connsiteY76" fmla="*/ 169692 h 960141"/>
                  <a:gd name="connsiteX77" fmla="*/ 1154543 w 1230643"/>
                  <a:gd name="connsiteY77" fmla="*/ 213749 h 960141"/>
                  <a:gd name="connsiteX78" fmla="*/ 1174158 w 1230643"/>
                  <a:gd name="connsiteY78" fmla="*/ 261575 h 960141"/>
                  <a:gd name="connsiteX79" fmla="*/ 1185454 w 1230643"/>
                  <a:gd name="connsiteY79" fmla="*/ 312030 h 960141"/>
                  <a:gd name="connsiteX80" fmla="*/ 1187027 w 1230643"/>
                  <a:gd name="connsiteY80" fmla="*/ 324887 h 960141"/>
                  <a:gd name="connsiteX81" fmla="*/ 1187999 w 1230643"/>
                  <a:gd name="connsiteY81" fmla="*/ 337827 h 960141"/>
                  <a:gd name="connsiteX82" fmla="*/ 1188413 w 1230643"/>
                  <a:gd name="connsiteY82" fmla="*/ 350808 h 960141"/>
                  <a:gd name="connsiteX83" fmla="*/ 1188496 w 1230643"/>
                  <a:gd name="connsiteY83" fmla="*/ 354059 h 960141"/>
                  <a:gd name="connsiteX84" fmla="*/ 1188537 w 1230643"/>
                  <a:gd name="connsiteY84" fmla="*/ 355674 h 960141"/>
                  <a:gd name="connsiteX85" fmla="*/ 1188537 w 1230643"/>
                  <a:gd name="connsiteY85" fmla="*/ 357599 h 960141"/>
                  <a:gd name="connsiteX86" fmla="*/ 1188537 w 1230643"/>
                  <a:gd name="connsiteY86" fmla="*/ 365363 h 960141"/>
                  <a:gd name="connsiteX87" fmla="*/ 1188537 w 1230643"/>
                  <a:gd name="connsiteY87" fmla="*/ 800391 h 960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1230643" h="960141">
                    <a:moveTo>
                      <a:pt x="1230021" y="335426"/>
                    </a:moveTo>
                    <a:lnTo>
                      <a:pt x="1228903" y="320767"/>
                    </a:lnTo>
                    <a:cubicBezTo>
                      <a:pt x="1228427" y="315902"/>
                      <a:pt x="1227703" y="311036"/>
                      <a:pt x="1227124" y="306171"/>
                    </a:cubicBezTo>
                    <a:cubicBezTo>
                      <a:pt x="1224372" y="286772"/>
                      <a:pt x="1220089" y="267600"/>
                      <a:pt x="1214296" y="248904"/>
                    </a:cubicBezTo>
                    <a:cubicBezTo>
                      <a:pt x="1208420" y="230209"/>
                      <a:pt x="1200889" y="212072"/>
                      <a:pt x="1192034" y="194598"/>
                    </a:cubicBezTo>
                    <a:cubicBezTo>
                      <a:pt x="1183116" y="177166"/>
                      <a:pt x="1172958" y="160334"/>
                      <a:pt x="1161226" y="144640"/>
                    </a:cubicBezTo>
                    <a:cubicBezTo>
                      <a:pt x="1149536" y="128905"/>
                      <a:pt x="1136605" y="114123"/>
                      <a:pt x="1122557" y="100458"/>
                    </a:cubicBezTo>
                    <a:cubicBezTo>
                      <a:pt x="1094584" y="72984"/>
                      <a:pt x="1061728" y="50666"/>
                      <a:pt x="1026410" y="33813"/>
                    </a:cubicBezTo>
                    <a:cubicBezTo>
                      <a:pt x="1008762" y="25324"/>
                      <a:pt x="990265" y="18658"/>
                      <a:pt x="971458" y="13337"/>
                    </a:cubicBezTo>
                    <a:cubicBezTo>
                      <a:pt x="952609" y="8119"/>
                      <a:pt x="933367" y="4165"/>
                      <a:pt x="913877" y="2157"/>
                    </a:cubicBezTo>
                    <a:cubicBezTo>
                      <a:pt x="894284" y="66"/>
                      <a:pt x="875228" y="-79"/>
                      <a:pt x="854042" y="24"/>
                    </a:cubicBezTo>
                    <a:lnTo>
                      <a:pt x="108788" y="24"/>
                    </a:lnTo>
                    <a:cubicBezTo>
                      <a:pt x="91284" y="86"/>
                      <a:pt x="73925" y="4248"/>
                      <a:pt x="58491" y="12384"/>
                    </a:cubicBezTo>
                    <a:cubicBezTo>
                      <a:pt x="43035" y="20438"/>
                      <a:pt x="29545" y="32343"/>
                      <a:pt x="19573" y="46670"/>
                    </a:cubicBezTo>
                    <a:cubicBezTo>
                      <a:pt x="14524" y="53792"/>
                      <a:pt x="10469" y="61597"/>
                      <a:pt x="7304" y="69713"/>
                    </a:cubicBezTo>
                    <a:cubicBezTo>
                      <a:pt x="4117" y="77829"/>
                      <a:pt x="2007" y="86338"/>
                      <a:pt x="910" y="94992"/>
                    </a:cubicBezTo>
                    <a:cubicBezTo>
                      <a:pt x="290" y="99320"/>
                      <a:pt x="103" y="103688"/>
                      <a:pt x="21" y="108057"/>
                    </a:cubicBezTo>
                    <a:lnTo>
                      <a:pt x="21" y="123439"/>
                    </a:lnTo>
                    <a:cubicBezTo>
                      <a:pt x="21" y="123439"/>
                      <a:pt x="0" y="154516"/>
                      <a:pt x="0" y="154516"/>
                    </a:cubicBezTo>
                    <a:lnTo>
                      <a:pt x="0" y="857554"/>
                    </a:lnTo>
                    <a:cubicBezTo>
                      <a:pt x="0" y="858859"/>
                      <a:pt x="0" y="860184"/>
                      <a:pt x="41" y="861177"/>
                    </a:cubicBezTo>
                    <a:cubicBezTo>
                      <a:pt x="103" y="863331"/>
                      <a:pt x="124" y="865504"/>
                      <a:pt x="331" y="867637"/>
                    </a:cubicBezTo>
                    <a:cubicBezTo>
                      <a:pt x="931" y="876250"/>
                      <a:pt x="2731" y="884718"/>
                      <a:pt x="5566" y="892833"/>
                    </a:cubicBezTo>
                    <a:cubicBezTo>
                      <a:pt x="8317" y="900991"/>
                      <a:pt x="12331" y="908672"/>
                      <a:pt x="17049" y="915856"/>
                    </a:cubicBezTo>
                    <a:cubicBezTo>
                      <a:pt x="21931" y="922937"/>
                      <a:pt x="27559" y="929562"/>
                      <a:pt x="34097" y="935193"/>
                    </a:cubicBezTo>
                    <a:cubicBezTo>
                      <a:pt x="46987" y="946663"/>
                      <a:pt x="62918" y="954489"/>
                      <a:pt x="79719" y="958050"/>
                    </a:cubicBezTo>
                    <a:cubicBezTo>
                      <a:pt x="83939" y="958837"/>
                      <a:pt x="88181" y="959562"/>
                      <a:pt x="92484" y="959810"/>
                    </a:cubicBezTo>
                    <a:cubicBezTo>
                      <a:pt x="94636" y="960017"/>
                      <a:pt x="96788" y="960059"/>
                      <a:pt x="98940" y="960100"/>
                    </a:cubicBezTo>
                    <a:cubicBezTo>
                      <a:pt x="99933" y="960142"/>
                      <a:pt x="101278" y="960142"/>
                      <a:pt x="102581" y="960142"/>
                    </a:cubicBezTo>
                    <a:lnTo>
                      <a:pt x="1131184" y="960142"/>
                    </a:lnTo>
                    <a:cubicBezTo>
                      <a:pt x="1139812" y="960079"/>
                      <a:pt x="1148398" y="959024"/>
                      <a:pt x="1156695" y="956829"/>
                    </a:cubicBezTo>
                    <a:cubicBezTo>
                      <a:pt x="1164971" y="954572"/>
                      <a:pt x="1173020" y="951384"/>
                      <a:pt x="1180447" y="947057"/>
                    </a:cubicBezTo>
                    <a:cubicBezTo>
                      <a:pt x="1195406" y="938589"/>
                      <a:pt x="1208048" y="926022"/>
                      <a:pt x="1216800" y="911239"/>
                    </a:cubicBezTo>
                    <a:cubicBezTo>
                      <a:pt x="1225593" y="896457"/>
                      <a:pt x="1230372" y="879417"/>
                      <a:pt x="1230600" y="862171"/>
                    </a:cubicBezTo>
                    <a:lnTo>
                      <a:pt x="1230641" y="800329"/>
                    </a:lnTo>
                    <a:lnTo>
                      <a:pt x="1230641" y="357537"/>
                    </a:lnTo>
                    <a:cubicBezTo>
                      <a:pt x="1230662" y="354887"/>
                      <a:pt x="1230538" y="352589"/>
                      <a:pt x="1230496" y="350084"/>
                    </a:cubicBezTo>
                    <a:cubicBezTo>
                      <a:pt x="1230331" y="345177"/>
                      <a:pt x="1230352" y="340270"/>
                      <a:pt x="1230021" y="335384"/>
                    </a:cubicBezTo>
                    <a:close/>
                    <a:moveTo>
                      <a:pt x="1188558" y="800370"/>
                    </a:moveTo>
                    <a:lnTo>
                      <a:pt x="1188516" y="861571"/>
                    </a:lnTo>
                    <a:cubicBezTo>
                      <a:pt x="1188413" y="866623"/>
                      <a:pt x="1187772" y="871550"/>
                      <a:pt x="1186385" y="876270"/>
                    </a:cubicBezTo>
                    <a:cubicBezTo>
                      <a:pt x="1185103" y="881012"/>
                      <a:pt x="1183096" y="885546"/>
                      <a:pt x="1180592" y="889831"/>
                    </a:cubicBezTo>
                    <a:cubicBezTo>
                      <a:pt x="1175544" y="898341"/>
                      <a:pt x="1168178" y="905691"/>
                      <a:pt x="1159550" y="910556"/>
                    </a:cubicBezTo>
                    <a:cubicBezTo>
                      <a:pt x="1150943" y="915525"/>
                      <a:pt x="1141281" y="918009"/>
                      <a:pt x="1131184" y="918092"/>
                    </a:cubicBezTo>
                    <a:lnTo>
                      <a:pt x="100181" y="918092"/>
                    </a:lnTo>
                    <a:cubicBezTo>
                      <a:pt x="100181" y="918092"/>
                      <a:pt x="99953" y="918092"/>
                      <a:pt x="99953" y="918092"/>
                    </a:cubicBezTo>
                    <a:lnTo>
                      <a:pt x="99478" y="918092"/>
                    </a:lnTo>
                    <a:cubicBezTo>
                      <a:pt x="98215" y="918030"/>
                      <a:pt x="96933" y="918051"/>
                      <a:pt x="95691" y="917906"/>
                    </a:cubicBezTo>
                    <a:cubicBezTo>
                      <a:pt x="93167" y="917782"/>
                      <a:pt x="90726" y="917326"/>
                      <a:pt x="88284" y="916891"/>
                    </a:cubicBezTo>
                    <a:cubicBezTo>
                      <a:pt x="78622" y="914821"/>
                      <a:pt x="69415" y="910370"/>
                      <a:pt x="61904" y="903641"/>
                    </a:cubicBezTo>
                    <a:cubicBezTo>
                      <a:pt x="58077" y="900390"/>
                      <a:pt x="54829" y="896477"/>
                      <a:pt x="51973" y="892378"/>
                    </a:cubicBezTo>
                    <a:cubicBezTo>
                      <a:pt x="49263" y="888175"/>
                      <a:pt x="46884" y="883765"/>
                      <a:pt x="45332" y="879065"/>
                    </a:cubicBezTo>
                    <a:cubicBezTo>
                      <a:pt x="43697" y="874386"/>
                      <a:pt x="42663" y="869521"/>
                      <a:pt x="42311" y="864511"/>
                    </a:cubicBezTo>
                    <a:cubicBezTo>
                      <a:pt x="42166" y="863269"/>
                      <a:pt x="42166" y="861985"/>
                      <a:pt x="42125" y="860722"/>
                    </a:cubicBezTo>
                    <a:lnTo>
                      <a:pt x="42125" y="860246"/>
                    </a:lnTo>
                    <a:cubicBezTo>
                      <a:pt x="42125" y="860246"/>
                      <a:pt x="42083" y="860018"/>
                      <a:pt x="42083" y="860018"/>
                    </a:cubicBezTo>
                    <a:lnTo>
                      <a:pt x="42083" y="859562"/>
                    </a:lnTo>
                    <a:cubicBezTo>
                      <a:pt x="42083" y="859562"/>
                      <a:pt x="42083" y="857616"/>
                      <a:pt x="42083" y="857616"/>
                    </a:cubicBezTo>
                    <a:lnTo>
                      <a:pt x="42083" y="108408"/>
                    </a:lnTo>
                    <a:cubicBezTo>
                      <a:pt x="42187" y="105696"/>
                      <a:pt x="42270" y="102984"/>
                      <a:pt x="42663" y="100334"/>
                    </a:cubicBezTo>
                    <a:cubicBezTo>
                      <a:pt x="43325" y="95034"/>
                      <a:pt x="44587" y="89837"/>
                      <a:pt x="46553" y="84889"/>
                    </a:cubicBezTo>
                    <a:cubicBezTo>
                      <a:pt x="48497" y="79941"/>
                      <a:pt x="50939" y="75158"/>
                      <a:pt x="54063" y="70790"/>
                    </a:cubicBezTo>
                    <a:cubicBezTo>
                      <a:pt x="60187" y="61991"/>
                      <a:pt x="68525" y="54620"/>
                      <a:pt x="77981" y="49713"/>
                    </a:cubicBezTo>
                    <a:cubicBezTo>
                      <a:pt x="87436" y="44724"/>
                      <a:pt x="97926" y="42239"/>
                      <a:pt x="108788" y="42156"/>
                    </a:cubicBezTo>
                    <a:lnTo>
                      <a:pt x="170879" y="42156"/>
                    </a:lnTo>
                    <a:cubicBezTo>
                      <a:pt x="170879" y="42156"/>
                      <a:pt x="419304" y="42156"/>
                      <a:pt x="419304" y="42156"/>
                    </a:cubicBezTo>
                    <a:lnTo>
                      <a:pt x="875353" y="42156"/>
                    </a:lnTo>
                    <a:cubicBezTo>
                      <a:pt x="875353" y="42156"/>
                      <a:pt x="876966" y="42218"/>
                      <a:pt x="876966" y="42218"/>
                    </a:cubicBezTo>
                    <a:lnTo>
                      <a:pt x="883463" y="42405"/>
                    </a:lnTo>
                    <a:lnTo>
                      <a:pt x="889960" y="42550"/>
                    </a:lnTo>
                    <a:cubicBezTo>
                      <a:pt x="892132" y="42550"/>
                      <a:pt x="894263" y="42860"/>
                      <a:pt x="896436" y="42985"/>
                    </a:cubicBezTo>
                    <a:lnTo>
                      <a:pt x="902891" y="43481"/>
                    </a:lnTo>
                    <a:cubicBezTo>
                      <a:pt x="905043" y="43668"/>
                      <a:pt x="907215" y="43730"/>
                      <a:pt x="909346" y="44082"/>
                    </a:cubicBezTo>
                    <a:cubicBezTo>
                      <a:pt x="926540" y="45842"/>
                      <a:pt x="943485" y="49341"/>
                      <a:pt x="960078" y="53937"/>
                    </a:cubicBezTo>
                    <a:cubicBezTo>
                      <a:pt x="976651" y="58616"/>
                      <a:pt x="992934" y="64475"/>
                      <a:pt x="1008493" y="71949"/>
                    </a:cubicBezTo>
                    <a:cubicBezTo>
                      <a:pt x="1039590" y="86794"/>
                      <a:pt x="1068597" y="106462"/>
                      <a:pt x="1093280" y="130727"/>
                    </a:cubicBezTo>
                    <a:cubicBezTo>
                      <a:pt x="1105674" y="142777"/>
                      <a:pt x="1117095" y="155841"/>
                      <a:pt x="1127398" y="169692"/>
                    </a:cubicBezTo>
                    <a:cubicBezTo>
                      <a:pt x="1137764" y="183543"/>
                      <a:pt x="1146702" y="198387"/>
                      <a:pt x="1154543" y="213749"/>
                    </a:cubicBezTo>
                    <a:cubicBezTo>
                      <a:pt x="1162344" y="229132"/>
                      <a:pt x="1169006" y="245116"/>
                      <a:pt x="1174158" y="261575"/>
                    </a:cubicBezTo>
                    <a:cubicBezTo>
                      <a:pt x="1179247" y="278055"/>
                      <a:pt x="1183013" y="294929"/>
                      <a:pt x="1185454" y="312030"/>
                    </a:cubicBezTo>
                    <a:cubicBezTo>
                      <a:pt x="1185951" y="316316"/>
                      <a:pt x="1186613" y="320581"/>
                      <a:pt x="1187027" y="324887"/>
                    </a:cubicBezTo>
                    <a:lnTo>
                      <a:pt x="1187999" y="337827"/>
                    </a:lnTo>
                    <a:cubicBezTo>
                      <a:pt x="1188310" y="342134"/>
                      <a:pt x="1188247" y="346481"/>
                      <a:pt x="1188413" y="350808"/>
                    </a:cubicBezTo>
                    <a:lnTo>
                      <a:pt x="1188496" y="354059"/>
                    </a:lnTo>
                    <a:lnTo>
                      <a:pt x="1188537" y="355674"/>
                    </a:lnTo>
                    <a:lnTo>
                      <a:pt x="1188537" y="357599"/>
                    </a:lnTo>
                    <a:cubicBezTo>
                      <a:pt x="1188537" y="357599"/>
                      <a:pt x="1188537" y="365363"/>
                      <a:pt x="1188537" y="365363"/>
                    </a:cubicBezTo>
                    <a:lnTo>
                      <a:pt x="1188537" y="800391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00" name="Freeform 5">
                <a:extLst>
                  <a:ext uri="{FF2B5EF4-FFF2-40B4-BE49-F238E27FC236}">
                    <a16:creationId xmlns:a16="http://schemas.microsoft.com/office/drawing/2014/main" id="{F7DE1885-B6B1-DF19-E5E0-58B649E93048}"/>
                  </a:ext>
                </a:extLst>
              </p:cNvPr>
              <p:cNvSpPr/>
              <p:nvPr/>
            </p:nvSpPr>
            <p:spPr>
              <a:xfrm>
                <a:off x="4135960" y="2714301"/>
                <a:ext cx="213221" cy="789101"/>
              </a:xfrm>
              <a:custGeom>
                <a:avLst/>
                <a:gdLst>
                  <a:gd name="connsiteX0" fmla="*/ 35018 w 213221"/>
                  <a:gd name="connsiteY0" fmla="*/ 5028 h 789101"/>
                  <a:gd name="connsiteX1" fmla="*/ 5845 w 213221"/>
                  <a:gd name="connsiteY1" fmla="*/ 7181 h 789101"/>
                  <a:gd name="connsiteX2" fmla="*/ 7997 w 213221"/>
                  <a:gd name="connsiteY2" fmla="*/ 36374 h 789101"/>
                  <a:gd name="connsiteX3" fmla="*/ 171841 w 213221"/>
                  <a:gd name="connsiteY3" fmla="*/ 394197 h 789101"/>
                  <a:gd name="connsiteX4" fmla="*/ 7211 w 213221"/>
                  <a:gd name="connsiteY4" fmla="*/ 752704 h 789101"/>
                  <a:gd name="connsiteX5" fmla="*/ 4997 w 213221"/>
                  <a:gd name="connsiteY5" fmla="*/ 781896 h 789101"/>
                  <a:gd name="connsiteX6" fmla="*/ 20701 w 213221"/>
                  <a:gd name="connsiteY6" fmla="*/ 789101 h 789101"/>
                  <a:gd name="connsiteX7" fmla="*/ 34170 w 213221"/>
                  <a:gd name="connsiteY7" fmla="*/ 784091 h 789101"/>
                  <a:gd name="connsiteX8" fmla="*/ 213221 w 213221"/>
                  <a:gd name="connsiteY8" fmla="*/ 394177 h 789101"/>
                  <a:gd name="connsiteX9" fmla="*/ 35018 w 213221"/>
                  <a:gd name="connsiteY9" fmla="*/ 5028 h 789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21" h="789101">
                    <a:moveTo>
                      <a:pt x="35018" y="5028"/>
                    </a:moveTo>
                    <a:cubicBezTo>
                      <a:pt x="26370" y="-2446"/>
                      <a:pt x="13294" y="-1473"/>
                      <a:pt x="5845" y="7181"/>
                    </a:cubicBezTo>
                    <a:cubicBezTo>
                      <a:pt x="-1624" y="15836"/>
                      <a:pt x="-651" y="28920"/>
                      <a:pt x="7997" y="36374"/>
                    </a:cubicBezTo>
                    <a:cubicBezTo>
                      <a:pt x="112130" y="126290"/>
                      <a:pt x="171841" y="256724"/>
                      <a:pt x="171841" y="394197"/>
                    </a:cubicBezTo>
                    <a:cubicBezTo>
                      <a:pt x="171841" y="531670"/>
                      <a:pt x="111840" y="662767"/>
                      <a:pt x="7211" y="752704"/>
                    </a:cubicBezTo>
                    <a:cubicBezTo>
                      <a:pt x="-1458" y="760157"/>
                      <a:pt x="-2451" y="773221"/>
                      <a:pt x="4997" y="781896"/>
                    </a:cubicBezTo>
                    <a:cubicBezTo>
                      <a:pt x="9093" y="786658"/>
                      <a:pt x="14887" y="789101"/>
                      <a:pt x="20701" y="789101"/>
                    </a:cubicBezTo>
                    <a:cubicBezTo>
                      <a:pt x="25480" y="789101"/>
                      <a:pt x="30259" y="787466"/>
                      <a:pt x="34170" y="784091"/>
                    </a:cubicBezTo>
                    <a:cubicBezTo>
                      <a:pt x="147965" y="686266"/>
                      <a:pt x="213221" y="544155"/>
                      <a:pt x="213221" y="394177"/>
                    </a:cubicBezTo>
                    <a:cubicBezTo>
                      <a:pt x="213221" y="244198"/>
                      <a:pt x="148254" y="102833"/>
                      <a:pt x="35018" y="5028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01" name="Freeform 6">
                <a:extLst>
                  <a:ext uri="{FF2B5EF4-FFF2-40B4-BE49-F238E27FC236}">
                    <a16:creationId xmlns:a16="http://schemas.microsoft.com/office/drawing/2014/main" id="{1DEB45ED-965D-45BA-0E41-03747F8BB730}"/>
                  </a:ext>
                </a:extLst>
              </p:cNvPr>
              <p:cNvSpPr/>
              <p:nvPr/>
            </p:nvSpPr>
            <p:spPr>
              <a:xfrm>
                <a:off x="4048441" y="2816267"/>
                <a:ext cx="166378" cy="585168"/>
              </a:xfrm>
              <a:custGeom>
                <a:avLst/>
                <a:gdLst>
                  <a:gd name="connsiteX0" fmla="*/ 34770 w 166378"/>
                  <a:gd name="connsiteY0" fmla="*/ 5028 h 585168"/>
                  <a:gd name="connsiteX1" fmla="*/ 5597 w 166378"/>
                  <a:gd name="connsiteY1" fmla="*/ 7181 h 585168"/>
                  <a:gd name="connsiteX2" fmla="*/ 7749 w 166378"/>
                  <a:gd name="connsiteY2" fmla="*/ 36374 h 585168"/>
                  <a:gd name="connsiteX3" fmla="*/ 124978 w 166378"/>
                  <a:gd name="connsiteY3" fmla="*/ 292335 h 585168"/>
                  <a:gd name="connsiteX4" fmla="*/ 7211 w 166378"/>
                  <a:gd name="connsiteY4" fmla="*/ 548772 h 585168"/>
                  <a:gd name="connsiteX5" fmla="*/ 4997 w 166378"/>
                  <a:gd name="connsiteY5" fmla="*/ 577964 h 585168"/>
                  <a:gd name="connsiteX6" fmla="*/ 20700 w 166378"/>
                  <a:gd name="connsiteY6" fmla="*/ 585169 h 585168"/>
                  <a:gd name="connsiteX7" fmla="*/ 34170 w 166378"/>
                  <a:gd name="connsiteY7" fmla="*/ 580179 h 585168"/>
                  <a:gd name="connsiteX8" fmla="*/ 166379 w 166378"/>
                  <a:gd name="connsiteY8" fmla="*/ 292314 h 585168"/>
                  <a:gd name="connsiteX9" fmla="*/ 34811 w 166378"/>
                  <a:gd name="connsiteY9" fmla="*/ 4987 h 585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378" h="585168">
                    <a:moveTo>
                      <a:pt x="34770" y="5028"/>
                    </a:moveTo>
                    <a:cubicBezTo>
                      <a:pt x="26121" y="-2446"/>
                      <a:pt x="13045" y="-1473"/>
                      <a:pt x="5597" y="7181"/>
                    </a:cubicBezTo>
                    <a:cubicBezTo>
                      <a:pt x="-1872" y="15836"/>
                      <a:pt x="-900" y="28920"/>
                      <a:pt x="7749" y="36374"/>
                    </a:cubicBezTo>
                    <a:cubicBezTo>
                      <a:pt x="82253" y="100680"/>
                      <a:pt x="124978" y="193971"/>
                      <a:pt x="124978" y="292335"/>
                    </a:cubicBezTo>
                    <a:cubicBezTo>
                      <a:pt x="124978" y="390698"/>
                      <a:pt x="82046" y="484466"/>
                      <a:pt x="7211" y="548772"/>
                    </a:cubicBezTo>
                    <a:cubicBezTo>
                      <a:pt x="-1458" y="556225"/>
                      <a:pt x="-2451" y="569289"/>
                      <a:pt x="4997" y="577964"/>
                    </a:cubicBezTo>
                    <a:cubicBezTo>
                      <a:pt x="9093" y="582726"/>
                      <a:pt x="14887" y="585169"/>
                      <a:pt x="20700" y="585169"/>
                    </a:cubicBezTo>
                    <a:cubicBezTo>
                      <a:pt x="25480" y="585169"/>
                      <a:pt x="30259" y="583533"/>
                      <a:pt x="34170" y="580179"/>
                    </a:cubicBezTo>
                    <a:cubicBezTo>
                      <a:pt x="118192" y="507985"/>
                      <a:pt x="166379" y="403058"/>
                      <a:pt x="166379" y="292314"/>
                    </a:cubicBezTo>
                    <a:cubicBezTo>
                      <a:pt x="166379" y="181569"/>
                      <a:pt x="118419" y="77181"/>
                      <a:pt x="34811" y="4987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02" name="Freeform 7">
                <a:extLst>
                  <a:ext uri="{FF2B5EF4-FFF2-40B4-BE49-F238E27FC236}">
                    <a16:creationId xmlns:a16="http://schemas.microsoft.com/office/drawing/2014/main" id="{7BDA2351-403B-843F-E35F-81E88E3F6065}"/>
                  </a:ext>
                </a:extLst>
              </p:cNvPr>
              <p:cNvSpPr/>
              <p:nvPr/>
            </p:nvSpPr>
            <p:spPr>
              <a:xfrm>
                <a:off x="3962666" y="2916160"/>
                <a:ext cx="114689" cy="385381"/>
              </a:xfrm>
              <a:custGeom>
                <a:avLst/>
                <a:gdLst>
                  <a:gd name="connsiteX0" fmla="*/ 35384 w 114689"/>
                  <a:gd name="connsiteY0" fmla="*/ 5798 h 385381"/>
                  <a:gd name="connsiteX1" fmla="*/ 6129 w 114689"/>
                  <a:gd name="connsiteY1" fmla="*/ 6336 h 385381"/>
                  <a:gd name="connsiteX2" fmla="*/ 6667 w 114689"/>
                  <a:gd name="connsiteY2" fmla="*/ 35611 h 385381"/>
                  <a:gd name="connsiteX3" fmla="*/ 73330 w 114689"/>
                  <a:gd name="connsiteY3" fmla="*/ 192525 h 385381"/>
                  <a:gd name="connsiteX4" fmla="*/ 6356 w 114689"/>
                  <a:gd name="connsiteY4" fmla="*/ 349750 h 385381"/>
                  <a:gd name="connsiteX5" fmla="*/ 5756 w 114689"/>
                  <a:gd name="connsiteY5" fmla="*/ 379025 h 385381"/>
                  <a:gd name="connsiteX6" fmla="*/ 20674 w 114689"/>
                  <a:gd name="connsiteY6" fmla="*/ 385381 h 385381"/>
                  <a:gd name="connsiteX7" fmla="*/ 34991 w 114689"/>
                  <a:gd name="connsiteY7" fmla="*/ 379605 h 385381"/>
                  <a:gd name="connsiteX8" fmla="*/ 114689 w 114689"/>
                  <a:gd name="connsiteY8" fmla="*/ 192505 h 385381"/>
                  <a:gd name="connsiteX9" fmla="*/ 35364 w 114689"/>
                  <a:gd name="connsiteY9" fmla="*/ 5777 h 385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4689" h="385381">
                    <a:moveTo>
                      <a:pt x="35384" y="5798"/>
                    </a:moveTo>
                    <a:cubicBezTo>
                      <a:pt x="27150" y="-2132"/>
                      <a:pt x="14053" y="-1904"/>
                      <a:pt x="6129" y="6336"/>
                    </a:cubicBezTo>
                    <a:cubicBezTo>
                      <a:pt x="-1796" y="14576"/>
                      <a:pt x="-1568" y="27682"/>
                      <a:pt x="6667" y="35611"/>
                    </a:cubicBezTo>
                    <a:cubicBezTo>
                      <a:pt x="49660" y="77060"/>
                      <a:pt x="73330" y="132795"/>
                      <a:pt x="73330" y="192525"/>
                    </a:cubicBezTo>
                    <a:cubicBezTo>
                      <a:pt x="73330" y="252256"/>
                      <a:pt x="49536" y="308280"/>
                      <a:pt x="6356" y="349750"/>
                    </a:cubicBezTo>
                    <a:cubicBezTo>
                      <a:pt x="-1878" y="357659"/>
                      <a:pt x="-2147" y="370764"/>
                      <a:pt x="5756" y="379025"/>
                    </a:cubicBezTo>
                    <a:cubicBezTo>
                      <a:pt x="9811" y="383269"/>
                      <a:pt x="15253" y="385381"/>
                      <a:pt x="20674" y="385381"/>
                    </a:cubicBezTo>
                    <a:cubicBezTo>
                      <a:pt x="25826" y="385381"/>
                      <a:pt x="30998" y="383476"/>
                      <a:pt x="34991" y="379605"/>
                    </a:cubicBezTo>
                    <a:cubicBezTo>
                      <a:pt x="86385" y="330226"/>
                      <a:pt x="114689" y="263788"/>
                      <a:pt x="114689" y="192505"/>
                    </a:cubicBezTo>
                    <a:cubicBezTo>
                      <a:pt x="114689" y="121221"/>
                      <a:pt x="86509" y="55114"/>
                      <a:pt x="35364" y="5777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03" name="Freeform 9">
                <a:extLst>
                  <a:ext uri="{FF2B5EF4-FFF2-40B4-BE49-F238E27FC236}">
                    <a16:creationId xmlns:a16="http://schemas.microsoft.com/office/drawing/2014/main" id="{08CA9AD5-2220-EF60-EDB4-322E80E6F7EC}"/>
                  </a:ext>
                </a:extLst>
              </p:cNvPr>
              <p:cNvSpPr/>
              <p:nvPr/>
            </p:nvSpPr>
            <p:spPr>
              <a:xfrm>
                <a:off x="3291487" y="2714309"/>
                <a:ext cx="213221" cy="789114"/>
              </a:xfrm>
              <a:custGeom>
                <a:avLst/>
                <a:gdLst>
                  <a:gd name="connsiteX0" fmla="*/ 178182 w 213221"/>
                  <a:gd name="connsiteY0" fmla="*/ 784084 h 789114"/>
                  <a:gd name="connsiteX1" fmla="*/ 191693 w 213221"/>
                  <a:gd name="connsiteY1" fmla="*/ 789115 h 789114"/>
                  <a:gd name="connsiteX2" fmla="*/ 207376 w 213221"/>
                  <a:gd name="connsiteY2" fmla="*/ 781930 h 789114"/>
                  <a:gd name="connsiteX3" fmla="*/ 205224 w 213221"/>
                  <a:gd name="connsiteY3" fmla="*/ 752738 h 789114"/>
                  <a:gd name="connsiteX4" fmla="*/ 41380 w 213221"/>
                  <a:gd name="connsiteY4" fmla="*/ 394915 h 789114"/>
                  <a:gd name="connsiteX5" fmla="*/ 206010 w 213221"/>
                  <a:gd name="connsiteY5" fmla="*/ 36408 h 789114"/>
                  <a:gd name="connsiteX6" fmla="*/ 208224 w 213221"/>
                  <a:gd name="connsiteY6" fmla="*/ 7216 h 789114"/>
                  <a:gd name="connsiteX7" fmla="*/ 179051 w 213221"/>
                  <a:gd name="connsiteY7" fmla="*/ 5000 h 789114"/>
                  <a:gd name="connsiteX8" fmla="*/ 0 w 213221"/>
                  <a:gd name="connsiteY8" fmla="*/ 394915 h 789114"/>
                  <a:gd name="connsiteX9" fmla="*/ 178182 w 213221"/>
                  <a:gd name="connsiteY9" fmla="*/ 784104 h 789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221" h="789114">
                    <a:moveTo>
                      <a:pt x="178182" y="784084"/>
                    </a:moveTo>
                    <a:cubicBezTo>
                      <a:pt x="182093" y="787458"/>
                      <a:pt x="186893" y="789115"/>
                      <a:pt x="191693" y="789115"/>
                    </a:cubicBezTo>
                    <a:cubicBezTo>
                      <a:pt x="197507" y="789115"/>
                      <a:pt x="203279" y="786692"/>
                      <a:pt x="207376" y="781930"/>
                    </a:cubicBezTo>
                    <a:cubicBezTo>
                      <a:pt x="214845" y="773276"/>
                      <a:pt x="213873" y="760191"/>
                      <a:pt x="205224" y="752738"/>
                    </a:cubicBezTo>
                    <a:cubicBezTo>
                      <a:pt x="101091" y="662822"/>
                      <a:pt x="41380" y="532388"/>
                      <a:pt x="41380" y="394915"/>
                    </a:cubicBezTo>
                    <a:cubicBezTo>
                      <a:pt x="41380" y="257441"/>
                      <a:pt x="101381" y="126345"/>
                      <a:pt x="206010" y="36408"/>
                    </a:cubicBezTo>
                    <a:cubicBezTo>
                      <a:pt x="214679" y="28954"/>
                      <a:pt x="215673" y="15890"/>
                      <a:pt x="208224" y="7216"/>
                    </a:cubicBezTo>
                    <a:cubicBezTo>
                      <a:pt x="200776" y="-1459"/>
                      <a:pt x="187720" y="-2453"/>
                      <a:pt x="179051" y="5000"/>
                    </a:cubicBezTo>
                    <a:cubicBezTo>
                      <a:pt x="65256" y="102826"/>
                      <a:pt x="0" y="244936"/>
                      <a:pt x="0" y="394915"/>
                    </a:cubicBezTo>
                    <a:cubicBezTo>
                      <a:pt x="0" y="544893"/>
                      <a:pt x="64946" y="686300"/>
                      <a:pt x="178182" y="78410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04" name="Freeform 10">
                <a:extLst>
                  <a:ext uri="{FF2B5EF4-FFF2-40B4-BE49-F238E27FC236}">
                    <a16:creationId xmlns:a16="http://schemas.microsoft.com/office/drawing/2014/main" id="{5D35CEDD-9487-A65A-7002-B9DBFA894EA1}"/>
                  </a:ext>
                </a:extLst>
              </p:cNvPr>
              <p:cNvSpPr/>
              <p:nvPr/>
            </p:nvSpPr>
            <p:spPr>
              <a:xfrm>
                <a:off x="3425848" y="2816275"/>
                <a:ext cx="166378" cy="585203"/>
              </a:xfrm>
              <a:custGeom>
                <a:avLst/>
                <a:gdLst>
                  <a:gd name="connsiteX0" fmla="*/ 131588 w 166378"/>
                  <a:gd name="connsiteY0" fmla="*/ 580172 h 585203"/>
                  <a:gd name="connsiteX1" fmla="*/ 145099 w 166378"/>
                  <a:gd name="connsiteY1" fmla="*/ 585203 h 585203"/>
                  <a:gd name="connsiteX2" fmla="*/ 160782 w 166378"/>
                  <a:gd name="connsiteY2" fmla="*/ 578019 h 585203"/>
                  <a:gd name="connsiteX3" fmla="*/ 158630 w 166378"/>
                  <a:gd name="connsiteY3" fmla="*/ 548827 h 585203"/>
                  <a:gd name="connsiteX4" fmla="*/ 41401 w 166378"/>
                  <a:gd name="connsiteY4" fmla="*/ 292866 h 585203"/>
                  <a:gd name="connsiteX5" fmla="*/ 159168 w 166378"/>
                  <a:gd name="connsiteY5" fmla="*/ 36408 h 585203"/>
                  <a:gd name="connsiteX6" fmla="*/ 161382 w 166378"/>
                  <a:gd name="connsiteY6" fmla="*/ 7216 h 585203"/>
                  <a:gd name="connsiteX7" fmla="*/ 132209 w 166378"/>
                  <a:gd name="connsiteY7" fmla="*/ 5000 h 585203"/>
                  <a:gd name="connsiteX8" fmla="*/ 0 w 166378"/>
                  <a:gd name="connsiteY8" fmla="*/ 292866 h 585203"/>
                  <a:gd name="connsiteX9" fmla="*/ 131568 w 166378"/>
                  <a:gd name="connsiteY9" fmla="*/ 580193 h 585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378" h="585203">
                    <a:moveTo>
                      <a:pt x="131588" y="580172"/>
                    </a:moveTo>
                    <a:cubicBezTo>
                      <a:pt x="135499" y="583547"/>
                      <a:pt x="140299" y="585203"/>
                      <a:pt x="145099" y="585203"/>
                    </a:cubicBezTo>
                    <a:cubicBezTo>
                      <a:pt x="150913" y="585203"/>
                      <a:pt x="156685" y="582760"/>
                      <a:pt x="160782" y="578019"/>
                    </a:cubicBezTo>
                    <a:cubicBezTo>
                      <a:pt x="168251" y="569365"/>
                      <a:pt x="167279" y="556280"/>
                      <a:pt x="158630" y="548827"/>
                    </a:cubicBezTo>
                    <a:cubicBezTo>
                      <a:pt x="84126" y="484521"/>
                      <a:pt x="41401" y="391229"/>
                      <a:pt x="41401" y="292866"/>
                    </a:cubicBezTo>
                    <a:cubicBezTo>
                      <a:pt x="41401" y="194502"/>
                      <a:pt x="84332" y="100735"/>
                      <a:pt x="159168" y="36408"/>
                    </a:cubicBezTo>
                    <a:cubicBezTo>
                      <a:pt x="167837" y="28954"/>
                      <a:pt x="168830" y="15890"/>
                      <a:pt x="161382" y="7216"/>
                    </a:cubicBezTo>
                    <a:cubicBezTo>
                      <a:pt x="153934" y="-1459"/>
                      <a:pt x="140878" y="-2453"/>
                      <a:pt x="132209" y="5000"/>
                    </a:cubicBezTo>
                    <a:cubicBezTo>
                      <a:pt x="48187" y="77194"/>
                      <a:pt x="0" y="182121"/>
                      <a:pt x="0" y="292866"/>
                    </a:cubicBezTo>
                    <a:cubicBezTo>
                      <a:pt x="0" y="403610"/>
                      <a:pt x="47959" y="507999"/>
                      <a:pt x="131568" y="580193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05" name="Freeform 12">
                <a:extLst>
                  <a:ext uri="{FF2B5EF4-FFF2-40B4-BE49-F238E27FC236}">
                    <a16:creationId xmlns:a16="http://schemas.microsoft.com/office/drawing/2014/main" id="{4F16AF32-7581-5A97-6EE4-79A07C2AA9C8}"/>
                  </a:ext>
                </a:extLst>
              </p:cNvPr>
              <p:cNvSpPr/>
              <p:nvPr/>
            </p:nvSpPr>
            <p:spPr>
              <a:xfrm>
                <a:off x="3563271" y="2916177"/>
                <a:ext cx="114709" cy="385384"/>
              </a:xfrm>
              <a:custGeom>
                <a:avLst/>
                <a:gdLst>
                  <a:gd name="connsiteX0" fmla="*/ 79326 w 114709"/>
                  <a:gd name="connsiteY0" fmla="*/ 379588 h 385384"/>
                  <a:gd name="connsiteX1" fmla="*/ 93684 w 114709"/>
                  <a:gd name="connsiteY1" fmla="*/ 385385 h 385384"/>
                  <a:gd name="connsiteX2" fmla="*/ 108581 w 114709"/>
                  <a:gd name="connsiteY2" fmla="*/ 379049 h 385384"/>
                  <a:gd name="connsiteX3" fmla="*/ 108043 w 114709"/>
                  <a:gd name="connsiteY3" fmla="*/ 349774 h 385384"/>
                  <a:gd name="connsiteX4" fmla="*/ 41380 w 114709"/>
                  <a:gd name="connsiteY4" fmla="*/ 192860 h 385384"/>
                  <a:gd name="connsiteX5" fmla="*/ 108354 w 114709"/>
                  <a:gd name="connsiteY5" fmla="*/ 35636 h 385384"/>
                  <a:gd name="connsiteX6" fmla="*/ 108954 w 114709"/>
                  <a:gd name="connsiteY6" fmla="*/ 6360 h 385384"/>
                  <a:gd name="connsiteX7" fmla="*/ 79698 w 114709"/>
                  <a:gd name="connsiteY7" fmla="*/ 5760 h 385384"/>
                  <a:gd name="connsiteX8" fmla="*/ 0 w 114709"/>
                  <a:gd name="connsiteY8" fmla="*/ 192860 h 385384"/>
                  <a:gd name="connsiteX9" fmla="*/ 79326 w 114709"/>
                  <a:gd name="connsiteY9" fmla="*/ 379588 h 385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4709" h="385384">
                    <a:moveTo>
                      <a:pt x="79326" y="379588"/>
                    </a:moveTo>
                    <a:cubicBezTo>
                      <a:pt x="83339" y="383459"/>
                      <a:pt x="88512" y="385385"/>
                      <a:pt x="93684" y="385385"/>
                    </a:cubicBezTo>
                    <a:cubicBezTo>
                      <a:pt x="99105" y="385385"/>
                      <a:pt x="104526" y="383273"/>
                      <a:pt x="108581" y="379049"/>
                    </a:cubicBezTo>
                    <a:cubicBezTo>
                      <a:pt x="116506" y="370809"/>
                      <a:pt x="116278" y="357704"/>
                      <a:pt x="108043" y="349774"/>
                    </a:cubicBezTo>
                    <a:cubicBezTo>
                      <a:pt x="65049" y="308325"/>
                      <a:pt x="41380" y="252591"/>
                      <a:pt x="41380" y="192860"/>
                    </a:cubicBezTo>
                    <a:cubicBezTo>
                      <a:pt x="41380" y="133130"/>
                      <a:pt x="65174" y="77105"/>
                      <a:pt x="108354" y="35636"/>
                    </a:cubicBezTo>
                    <a:cubicBezTo>
                      <a:pt x="116588" y="27727"/>
                      <a:pt x="116857" y="14601"/>
                      <a:pt x="108954" y="6360"/>
                    </a:cubicBezTo>
                    <a:cubicBezTo>
                      <a:pt x="101029" y="-1880"/>
                      <a:pt x="87933" y="-2149"/>
                      <a:pt x="79698" y="5760"/>
                    </a:cubicBezTo>
                    <a:cubicBezTo>
                      <a:pt x="28304" y="55118"/>
                      <a:pt x="0" y="121577"/>
                      <a:pt x="0" y="192860"/>
                    </a:cubicBezTo>
                    <a:cubicBezTo>
                      <a:pt x="0" y="264143"/>
                      <a:pt x="28180" y="330250"/>
                      <a:pt x="79326" y="379588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06" name="Freeform 13">
                <a:extLst>
                  <a:ext uri="{FF2B5EF4-FFF2-40B4-BE49-F238E27FC236}">
                    <a16:creationId xmlns:a16="http://schemas.microsoft.com/office/drawing/2014/main" id="{BBC0816A-B23D-F496-CBB9-99509F73901F}"/>
                  </a:ext>
                </a:extLst>
              </p:cNvPr>
              <p:cNvSpPr/>
              <p:nvPr/>
            </p:nvSpPr>
            <p:spPr>
              <a:xfrm>
                <a:off x="2277470" y="2982951"/>
                <a:ext cx="1661448" cy="1799655"/>
              </a:xfrm>
              <a:custGeom>
                <a:avLst/>
                <a:gdLst>
                  <a:gd name="connsiteX0" fmla="*/ 1625344 w 1661448"/>
                  <a:gd name="connsiteY0" fmla="*/ 36128 h 1799655"/>
                  <a:gd name="connsiteX1" fmla="*/ 1585371 w 1661448"/>
                  <a:gd name="connsiteY1" fmla="*/ 9400 h 1799655"/>
                  <a:gd name="connsiteX2" fmla="*/ 1538157 w 1661448"/>
                  <a:gd name="connsiteY2" fmla="*/ 0 h 1799655"/>
                  <a:gd name="connsiteX3" fmla="*/ 1490942 w 1661448"/>
                  <a:gd name="connsiteY3" fmla="*/ 9400 h 1799655"/>
                  <a:gd name="connsiteX4" fmla="*/ 1450969 w 1661448"/>
                  <a:gd name="connsiteY4" fmla="*/ 36128 h 1799655"/>
                  <a:gd name="connsiteX5" fmla="*/ 1424258 w 1661448"/>
                  <a:gd name="connsiteY5" fmla="*/ 76149 h 1799655"/>
                  <a:gd name="connsiteX6" fmla="*/ 1414865 w 1661448"/>
                  <a:gd name="connsiteY6" fmla="*/ 123395 h 1799655"/>
                  <a:gd name="connsiteX7" fmla="*/ 1424258 w 1661448"/>
                  <a:gd name="connsiteY7" fmla="*/ 170641 h 1799655"/>
                  <a:gd name="connsiteX8" fmla="*/ 1450969 w 1661448"/>
                  <a:gd name="connsiteY8" fmla="*/ 210661 h 1799655"/>
                  <a:gd name="connsiteX9" fmla="*/ 1490942 w 1661448"/>
                  <a:gd name="connsiteY9" fmla="*/ 237390 h 1799655"/>
                  <a:gd name="connsiteX10" fmla="*/ 1517529 w 1661448"/>
                  <a:gd name="connsiteY10" fmla="*/ 245009 h 1799655"/>
                  <a:gd name="connsiteX11" fmla="*/ 1517529 w 1661448"/>
                  <a:gd name="connsiteY11" fmla="*/ 846557 h 1799655"/>
                  <a:gd name="connsiteX12" fmla="*/ 1446417 w 1661448"/>
                  <a:gd name="connsiteY12" fmla="*/ 917716 h 1799655"/>
                  <a:gd name="connsiteX13" fmla="*/ 1384844 w 1661448"/>
                  <a:gd name="connsiteY13" fmla="*/ 917716 h 1799655"/>
                  <a:gd name="connsiteX14" fmla="*/ 1375989 w 1661448"/>
                  <a:gd name="connsiteY14" fmla="*/ 884755 h 1799655"/>
                  <a:gd name="connsiteX15" fmla="*/ 1348533 w 1661448"/>
                  <a:gd name="connsiteY15" fmla="*/ 817717 h 1799655"/>
                  <a:gd name="connsiteX16" fmla="*/ 1310546 w 1661448"/>
                  <a:gd name="connsiteY16" fmla="*/ 756123 h 1799655"/>
                  <a:gd name="connsiteX17" fmla="*/ 1262938 w 1661448"/>
                  <a:gd name="connsiteY17" fmla="*/ 701713 h 1799655"/>
                  <a:gd name="connsiteX18" fmla="*/ 1144447 w 1661448"/>
                  <a:gd name="connsiteY18" fmla="*/ 619602 h 1799655"/>
                  <a:gd name="connsiteX19" fmla="*/ 1076604 w 1661448"/>
                  <a:gd name="connsiteY19" fmla="*/ 594323 h 1799655"/>
                  <a:gd name="connsiteX20" fmla="*/ 1005555 w 1661448"/>
                  <a:gd name="connsiteY20" fmla="*/ 580534 h 1799655"/>
                  <a:gd name="connsiteX21" fmla="*/ 996555 w 1661448"/>
                  <a:gd name="connsiteY21" fmla="*/ 579685 h 1799655"/>
                  <a:gd name="connsiteX22" fmla="*/ 987534 w 1661448"/>
                  <a:gd name="connsiteY22" fmla="*/ 579002 h 1799655"/>
                  <a:gd name="connsiteX23" fmla="*/ 978513 w 1661448"/>
                  <a:gd name="connsiteY23" fmla="*/ 578422 h 1799655"/>
                  <a:gd name="connsiteX24" fmla="*/ 969492 w 1661448"/>
                  <a:gd name="connsiteY24" fmla="*/ 578174 h 1799655"/>
                  <a:gd name="connsiteX25" fmla="*/ 960471 w 1661448"/>
                  <a:gd name="connsiteY25" fmla="*/ 577967 h 1799655"/>
                  <a:gd name="connsiteX26" fmla="*/ 958216 w 1661448"/>
                  <a:gd name="connsiteY26" fmla="*/ 577925 h 1799655"/>
                  <a:gd name="connsiteX27" fmla="*/ 956230 w 1661448"/>
                  <a:gd name="connsiteY27" fmla="*/ 577925 h 1799655"/>
                  <a:gd name="connsiteX28" fmla="*/ 952340 w 1661448"/>
                  <a:gd name="connsiteY28" fmla="*/ 577925 h 1799655"/>
                  <a:gd name="connsiteX29" fmla="*/ 191507 w 1661448"/>
                  <a:gd name="connsiteY29" fmla="*/ 577925 h 1799655"/>
                  <a:gd name="connsiteX30" fmla="*/ 145947 w 1661448"/>
                  <a:gd name="connsiteY30" fmla="*/ 583433 h 1799655"/>
                  <a:gd name="connsiteX31" fmla="*/ 102871 w 1661448"/>
                  <a:gd name="connsiteY31" fmla="*/ 599706 h 1799655"/>
                  <a:gd name="connsiteX32" fmla="*/ 34470 w 1661448"/>
                  <a:gd name="connsiteY32" fmla="*/ 659954 h 1799655"/>
                  <a:gd name="connsiteX33" fmla="*/ 1572 w 1661448"/>
                  <a:gd name="connsiteY33" fmla="*/ 745212 h 1799655"/>
                  <a:gd name="connsiteX34" fmla="*/ 21 w 1661448"/>
                  <a:gd name="connsiteY34" fmla="*/ 768110 h 1799655"/>
                  <a:gd name="connsiteX35" fmla="*/ 21 w 1661448"/>
                  <a:gd name="connsiteY35" fmla="*/ 784135 h 1799655"/>
                  <a:gd name="connsiteX36" fmla="*/ 0 w 1661448"/>
                  <a:gd name="connsiteY36" fmla="*/ 815212 h 1799655"/>
                  <a:gd name="connsiteX37" fmla="*/ 0 w 1661448"/>
                  <a:gd name="connsiteY37" fmla="*/ 1520175 h 1799655"/>
                  <a:gd name="connsiteX38" fmla="*/ 41 w 1661448"/>
                  <a:gd name="connsiteY38" fmla="*/ 1522888 h 1799655"/>
                  <a:gd name="connsiteX39" fmla="*/ 579 w 1661448"/>
                  <a:gd name="connsiteY39" fmla="*/ 1534606 h 1799655"/>
                  <a:gd name="connsiteX40" fmla="*/ 3848 w 1661448"/>
                  <a:gd name="connsiteY40" fmla="*/ 1557939 h 1799655"/>
                  <a:gd name="connsiteX41" fmla="*/ 10159 w 1661448"/>
                  <a:gd name="connsiteY41" fmla="*/ 1580713 h 1799655"/>
                  <a:gd name="connsiteX42" fmla="*/ 31201 w 1661448"/>
                  <a:gd name="connsiteY42" fmla="*/ 1622845 h 1799655"/>
                  <a:gd name="connsiteX43" fmla="*/ 62215 w 1661448"/>
                  <a:gd name="connsiteY43" fmla="*/ 1658083 h 1799655"/>
                  <a:gd name="connsiteX44" fmla="*/ 142927 w 1661448"/>
                  <a:gd name="connsiteY44" fmla="*/ 1699201 h 1799655"/>
                  <a:gd name="connsiteX45" fmla="*/ 142927 w 1661448"/>
                  <a:gd name="connsiteY45" fmla="*/ 1721602 h 1799655"/>
                  <a:gd name="connsiteX46" fmla="*/ 220928 w 1661448"/>
                  <a:gd name="connsiteY46" fmla="*/ 1799656 h 1799655"/>
                  <a:gd name="connsiteX47" fmla="*/ 319847 w 1661448"/>
                  <a:gd name="connsiteY47" fmla="*/ 1799656 h 1799655"/>
                  <a:gd name="connsiteX48" fmla="*/ 397848 w 1661448"/>
                  <a:gd name="connsiteY48" fmla="*/ 1721602 h 1799655"/>
                  <a:gd name="connsiteX49" fmla="*/ 397848 w 1661448"/>
                  <a:gd name="connsiteY49" fmla="*/ 1703652 h 1799655"/>
                  <a:gd name="connsiteX50" fmla="*/ 1000568 w 1661448"/>
                  <a:gd name="connsiteY50" fmla="*/ 1703652 h 1799655"/>
                  <a:gd name="connsiteX51" fmla="*/ 1000568 w 1661448"/>
                  <a:gd name="connsiteY51" fmla="*/ 1721602 h 1799655"/>
                  <a:gd name="connsiteX52" fmla="*/ 1078570 w 1661448"/>
                  <a:gd name="connsiteY52" fmla="*/ 1799656 h 1799655"/>
                  <a:gd name="connsiteX53" fmla="*/ 1177489 w 1661448"/>
                  <a:gd name="connsiteY53" fmla="*/ 1799656 h 1799655"/>
                  <a:gd name="connsiteX54" fmla="*/ 1255490 w 1661448"/>
                  <a:gd name="connsiteY54" fmla="*/ 1721602 h 1799655"/>
                  <a:gd name="connsiteX55" fmla="*/ 1255490 w 1661448"/>
                  <a:gd name="connsiteY55" fmla="*/ 1698849 h 1799655"/>
                  <a:gd name="connsiteX56" fmla="*/ 1260621 w 1661448"/>
                  <a:gd name="connsiteY56" fmla="*/ 1697586 h 1799655"/>
                  <a:gd name="connsiteX57" fmla="*/ 1304277 w 1661448"/>
                  <a:gd name="connsiteY57" fmla="*/ 1679657 h 1799655"/>
                  <a:gd name="connsiteX58" fmla="*/ 1370754 w 1661448"/>
                  <a:gd name="connsiteY58" fmla="*/ 1614150 h 1799655"/>
                  <a:gd name="connsiteX59" fmla="*/ 1396099 w 1661448"/>
                  <a:gd name="connsiteY59" fmla="*/ 1524130 h 1799655"/>
                  <a:gd name="connsiteX60" fmla="*/ 1396161 w 1661448"/>
                  <a:gd name="connsiteY60" fmla="*/ 1461025 h 1799655"/>
                  <a:gd name="connsiteX61" fmla="*/ 1396161 w 1661448"/>
                  <a:gd name="connsiteY61" fmla="*/ 1016266 h 1799655"/>
                  <a:gd name="connsiteX62" fmla="*/ 1396099 w 1661448"/>
                  <a:gd name="connsiteY62" fmla="*/ 1014009 h 1799655"/>
                  <a:gd name="connsiteX63" fmla="*/ 1395996 w 1661448"/>
                  <a:gd name="connsiteY63" fmla="*/ 1009496 h 1799655"/>
                  <a:gd name="connsiteX64" fmla="*/ 1395396 w 1661448"/>
                  <a:gd name="connsiteY64" fmla="*/ 991421 h 1799655"/>
                  <a:gd name="connsiteX65" fmla="*/ 1394030 w 1661448"/>
                  <a:gd name="connsiteY65" fmla="*/ 973368 h 1799655"/>
                  <a:gd name="connsiteX66" fmla="*/ 1392313 w 1661448"/>
                  <a:gd name="connsiteY66" fmla="*/ 959061 h 1799655"/>
                  <a:gd name="connsiteX67" fmla="*/ 1446417 w 1661448"/>
                  <a:gd name="connsiteY67" fmla="*/ 959061 h 1799655"/>
                  <a:gd name="connsiteX68" fmla="*/ 1558909 w 1661448"/>
                  <a:gd name="connsiteY68" fmla="*/ 846495 h 1799655"/>
                  <a:gd name="connsiteX69" fmla="*/ 1558909 w 1661448"/>
                  <a:gd name="connsiteY69" fmla="*/ 244967 h 1799655"/>
                  <a:gd name="connsiteX70" fmla="*/ 1585371 w 1661448"/>
                  <a:gd name="connsiteY70" fmla="*/ 237369 h 1799655"/>
                  <a:gd name="connsiteX71" fmla="*/ 1625344 w 1661448"/>
                  <a:gd name="connsiteY71" fmla="*/ 210640 h 1799655"/>
                  <a:gd name="connsiteX72" fmla="*/ 1652055 w 1661448"/>
                  <a:gd name="connsiteY72" fmla="*/ 170620 h 1799655"/>
                  <a:gd name="connsiteX73" fmla="*/ 1661449 w 1661448"/>
                  <a:gd name="connsiteY73" fmla="*/ 123374 h 1799655"/>
                  <a:gd name="connsiteX74" fmla="*/ 1652055 w 1661448"/>
                  <a:gd name="connsiteY74" fmla="*/ 76128 h 1799655"/>
                  <a:gd name="connsiteX75" fmla="*/ 1625344 w 1661448"/>
                  <a:gd name="connsiteY75" fmla="*/ 36107 h 1799655"/>
                  <a:gd name="connsiteX76" fmla="*/ 356427 w 1661448"/>
                  <a:gd name="connsiteY76" fmla="*/ 1721623 h 1799655"/>
                  <a:gd name="connsiteX77" fmla="*/ 319805 w 1661448"/>
                  <a:gd name="connsiteY77" fmla="*/ 1758269 h 1799655"/>
                  <a:gd name="connsiteX78" fmla="*/ 220886 w 1661448"/>
                  <a:gd name="connsiteY78" fmla="*/ 1758269 h 1799655"/>
                  <a:gd name="connsiteX79" fmla="*/ 184265 w 1661448"/>
                  <a:gd name="connsiteY79" fmla="*/ 1721623 h 1799655"/>
                  <a:gd name="connsiteX80" fmla="*/ 184265 w 1661448"/>
                  <a:gd name="connsiteY80" fmla="*/ 1703673 h 1799655"/>
                  <a:gd name="connsiteX81" fmla="*/ 356406 w 1661448"/>
                  <a:gd name="connsiteY81" fmla="*/ 1703673 h 1799655"/>
                  <a:gd name="connsiteX82" fmla="*/ 356406 w 1661448"/>
                  <a:gd name="connsiteY82" fmla="*/ 1721623 h 1799655"/>
                  <a:gd name="connsiteX83" fmla="*/ 1214089 w 1661448"/>
                  <a:gd name="connsiteY83" fmla="*/ 1721623 h 1799655"/>
                  <a:gd name="connsiteX84" fmla="*/ 1177468 w 1661448"/>
                  <a:gd name="connsiteY84" fmla="*/ 1758269 h 1799655"/>
                  <a:gd name="connsiteX85" fmla="*/ 1078549 w 1661448"/>
                  <a:gd name="connsiteY85" fmla="*/ 1758269 h 1799655"/>
                  <a:gd name="connsiteX86" fmla="*/ 1041928 w 1661448"/>
                  <a:gd name="connsiteY86" fmla="*/ 1721623 h 1799655"/>
                  <a:gd name="connsiteX87" fmla="*/ 1041928 w 1661448"/>
                  <a:gd name="connsiteY87" fmla="*/ 1703673 h 1799655"/>
                  <a:gd name="connsiteX88" fmla="*/ 1213924 w 1661448"/>
                  <a:gd name="connsiteY88" fmla="*/ 1703673 h 1799655"/>
                  <a:gd name="connsiteX89" fmla="*/ 1214089 w 1661448"/>
                  <a:gd name="connsiteY89" fmla="*/ 1703673 h 1799655"/>
                  <a:gd name="connsiteX90" fmla="*/ 1214089 w 1661448"/>
                  <a:gd name="connsiteY90" fmla="*/ 1721623 h 1799655"/>
                  <a:gd name="connsiteX91" fmla="*/ 1354057 w 1661448"/>
                  <a:gd name="connsiteY91" fmla="*/ 1461045 h 1799655"/>
                  <a:gd name="connsiteX92" fmla="*/ 1354016 w 1661448"/>
                  <a:gd name="connsiteY92" fmla="*/ 1523509 h 1799655"/>
                  <a:gd name="connsiteX93" fmla="*/ 1334547 w 1661448"/>
                  <a:gd name="connsiteY93" fmla="*/ 1592721 h 1799655"/>
                  <a:gd name="connsiteX94" fmla="*/ 1283380 w 1661448"/>
                  <a:gd name="connsiteY94" fmla="*/ 1643114 h 1799655"/>
                  <a:gd name="connsiteX95" fmla="*/ 1249842 w 1661448"/>
                  <a:gd name="connsiteY95" fmla="*/ 1656882 h 1799655"/>
                  <a:gd name="connsiteX96" fmla="*/ 1213924 w 1661448"/>
                  <a:gd name="connsiteY96" fmla="*/ 1661562 h 1799655"/>
                  <a:gd name="connsiteX97" fmla="*/ 185320 w 1661448"/>
                  <a:gd name="connsiteY97" fmla="*/ 1661562 h 1799655"/>
                  <a:gd name="connsiteX98" fmla="*/ 181182 w 1661448"/>
                  <a:gd name="connsiteY98" fmla="*/ 1661520 h 1799655"/>
                  <a:gd name="connsiteX99" fmla="*/ 172141 w 1661448"/>
                  <a:gd name="connsiteY99" fmla="*/ 1661106 h 1799655"/>
                  <a:gd name="connsiteX100" fmla="*/ 154182 w 1661448"/>
                  <a:gd name="connsiteY100" fmla="*/ 1658601 h 1799655"/>
                  <a:gd name="connsiteX101" fmla="*/ 89960 w 1661448"/>
                  <a:gd name="connsiteY101" fmla="*/ 1626469 h 1799655"/>
                  <a:gd name="connsiteX102" fmla="*/ 66042 w 1661448"/>
                  <a:gd name="connsiteY102" fmla="*/ 1599326 h 1799655"/>
                  <a:gd name="connsiteX103" fmla="*/ 49863 w 1661448"/>
                  <a:gd name="connsiteY103" fmla="*/ 1566904 h 1799655"/>
                  <a:gd name="connsiteX104" fmla="*/ 42497 w 1661448"/>
                  <a:gd name="connsiteY104" fmla="*/ 1531438 h 1799655"/>
                  <a:gd name="connsiteX105" fmla="*/ 42083 w 1661448"/>
                  <a:gd name="connsiteY105" fmla="*/ 1522391 h 1799655"/>
                  <a:gd name="connsiteX106" fmla="*/ 42042 w 1661448"/>
                  <a:gd name="connsiteY106" fmla="*/ 1518250 h 1799655"/>
                  <a:gd name="connsiteX107" fmla="*/ 42042 w 1661448"/>
                  <a:gd name="connsiteY107" fmla="*/ 768442 h 1799655"/>
                  <a:gd name="connsiteX108" fmla="*/ 43283 w 1661448"/>
                  <a:gd name="connsiteY108" fmla="*/ 750533 h 1799655"/>
                  <a:gd name="connsiteX109" fmla="*/ 68939 w 1661448"/>
                  <a:gd name="connsiteY109" fmla="*/ 684053 h 1799655"/>
                  <a:gd name="connsiteX110" fmla="*/ 122361 w 1661448"/>
                  <a:gd name="connsiteY110" fmla="*/ 637014 h 1799655"/>
                  <a:gd name="connsiteX111" fmla="*/ 191507 w 1661448"/>
                  <a:gd name="connsiteY111" fmla="*/ 620016 h 1799655"/>
                  <a:gd name="connsiteX112" fmla="*/ 253618 w 1661448"/>
                  <a:gd name="connsiteY112" fmla="*/ 620016 h 1799655"/>
                  <a:gd name="connsiteX113" fmla="*/ 502043 w 1661448"/>
                  <a:gd name="connsiteY113" fmla="*/ 620016 h 1799655"/>
                  <a:gd name="connsiteX114" fmla="*/ 936781 w 1661448"/>
                  <a:gd name="connsiteY114" fmla="*/ 620016 h 1799655"/>
                  <a:gd name="connsiteX115" fmla="*/ 1001003 w 1661448"/>
                  <a:gd name="connsiteY115" fmla="*/ 622397 h 1799655"/>
                  <a:gd name="connsiteX116" fmla="*/ 1065204 w 1661448"/>
                  <a:gd name="connsiteY116" fmla="*/ 634861 h 1799655"/>
                  <a:gd name="connsiteX117" fmla="*/ 1126508 w 1661448"/>
                  <a:gd name="connsiteY117" fmla="*/ 657697 h 1799655"/>
                  <a:gd name="connsiteX118" fmla="*/ 1233641 w 1661448"/>
                  <a:gd name="connsiteY118" fmla="*/ 731941 h 1799655"/>
                  <a:gd name="connsiteX119" fmla="*/ 1276697 w 1661448"/>
                  <a:gd name="connsiteY119" fmla="*/ 781154 h 1799655"/>
                  <a:gd name="connsiteX120" fmla="*/ 1311022 w 1661448"/>
                  <a:gd name="connsiteY120" fmla="*/ 836847 h 1799655"/>
                  <a:gd name="connsiteX121" fmla="*/ 1335850 w 1661448"/>
                  <a:gd name="connsiteY121" fmla="*/ 897406 h 1799655"/>
                  <a:gd name="connsiteX122" fmla="*/ 1350167 w 1661448"/>
                  <a:gd name="connsiteY122" fmla="*/ 961277 h 1799655"/>
                  <a:gd name="connsiteX123" fmla="*/ 1352154 w 1661448"/>
                  <a:gd name="connsiteY123" fmla="*/ 977529 h 1799655"/>
                  <a:gd name="connsiteX124" fmla="*/ 1353395 w 1661448"/>
                  <a:gd name="connsiteY124" fmla="*/ 993844 h 1799655"/>
                  <a:gd name="connsiteX125" fmla="*/ 1353933 w 1661448"/>
                  <a:gd name="connsiteY125" fmla="*/ 1010200 h 1799655"/>
                  <a:gd name="connsiteX126" fmla="*/ 1354078 w 1661448"/>
                  <a:gd name="connsiteY126" fmla="*/ 1018274 h 1799655"/>
                  <a:gd name="connsiteX127" fmla="*/ 1354078 w 1661448"/>
                  <a:gd name="connsiteY127" fmla="*/ 1461066 h 1799655"/>
                  <a:gd name="connsiteX128" fmla="*/ 1613179 w 1661448"/>
                  <a:gd name="connsiteY128" fmla="*/ 154492 h 1799655"/>
                  <a:gd name="connsiteX129" fmla="*/ 1595571 w 1661448"/>
                  <a:gd name="connsiteY129" fmla="*/ 180848 h 1799655"/>
                  <a:gd name="connsiteX130" fmla="*/ 1569233 w 1661448"/>
                  <a:gd name="connsiteY130" fmla="*/ 198466 h 1799655"/>
                  <a:gd name="connsiteX131" fmla="*/ 1538136 w 1661448"/>
                  <a:gd name="connsiteY131" fmla="*/ 204657 h 1799655"/>
                  <a:gd name="connsiteX132" fmla="*/ 1507039 w 1661448"/>
                  <a:gd name="connsiteY132" fmla="*/ 198466 h 1799655"/>
                  <a:gd name="connsiteX133" fmla="*/ 1480701 w 1661448"/>
                  <a:gd name="connsiteY133" fmla="*/ 180848 h 1799655"/>
                  <a:gd name="connsiteX134" fmla="*/ 1463093 w 1661448"/>
                  <a:gd name="connsiteY134" fmla="*/ 154492 h 1799655"/>
                  <a:gd name="connsiteX135" fmla="*/ 1456907 w 1661448"/>
                  <a:gd name="connsiteY135" fmla="*/ 123374 h 1799655"/>
                  <a:gd name="connsiteX136" fmla="*/ 1463093 w 1661448"/>
                  <a:gd name="connsiteY136" fmla="*/ 92256 h 1799655"/>
                  <a:gd name="connsiteX137" fmla="*/ 1480701 w 1661448"/>
                  <a:gd name="connsiteY137" fmla="*/ 65900 h 1799655"/>
                  <a:gd name="connsiteX138" fmla="*/ 1507039 w 1661448"/>
                  <a:gd name="connsiteY138" fmla="*/ 48281 h 1799655"/>
                  <a:gd name="connsiteX139" fmla="*/ 1538136 w 1661448"/>
                  <a:gd name="connsiteY139" fmla="*/ 42091 h 1799655"/>
                  <a:gd name="connsiteX140" fmla="*/ 1569233 w 1661448"/>
                  <a:gd name="connsiteY140" fmla="*/ 48281 h 1799655"/>
                  <a:gd name="connsiteX141" fmla="*/ 1595571 w 1661448"/>
                  <a:gd name="connsiteY141" fmla="*/ 65900 h 1799655"/>
                  <a:gd name="connsiteX142" fmla="*/ 1613179 w 1661448"/>
                  <a:gd name="connsiteY142" fmla="*/ 92256 h 1799655"/>
                  <a:gd name="connsiteX143" fmla="*/ 1619365 w 1661448"/>
                  <a:gd name="connsiteY143" fmla="*/ 123374 h 1799655"/>
                  <a:gd name="connsiteX144" fmla="*/ 1613179 w 1661448"/>
                  <a:gd name="connsiteY144" fmla="*/ 154492 h 1799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1661448" h="1799655">
                    <a:moveTo>
                      <a:pt x="1625344" y="36128"/>
                    </a:moveTo>
                    <a:cubicBezTo>
                      <a:pt x="1613965" y="24741"/>
                      <a:pt x="1600330" y="15590"/>
                      <a:pt x="1585371" y="9400"/>
                    </a:cubicBezTo>
                    <a:cubicBezTo>
                      <a:pt x="1570433" y="3168"/>
                      <a:pt x="1554150" y="0"/>
                      <a:pt x="1538157" y="0"/>
                    </a:cubicBezTo>
                    <a:cubicBezTo>
                      <a:pt x="1522184" y="0"/>
                      <a:pt x="1505901" y="3188"/>
                      <a:pt x="1490942" y="9400"/>
                    </a:cubicBezTo>
                    <a:cubicBezTo>
                      <a:pt x="1475963" y="15611"/>
                      <a:pt x="1462328" y="24762"/>
                      <a:pt x="1450969" y="36128"/>
                    </a:cubicBezTo>
                    <a:cubicBezTo>
                      <a:pt x="1439590" y="47515"/>
                      <a:pt x="1430445" y="61159"/>
                      <a:pt x="1424258" y="76149"/>
                    </a:cubicBezTo>
                    <a:cubicBezTo>
                      <a:pt x="1418031" y="91097"/>
                      <a:pt x="1414865" y="107391"/>
                      <a:pt x="1414865" y="123395"/>
                    </a:cubicBezTo>
                    <a:cubicBezTo>
                      <a:pt x="1414865" y="139378"/>
                      <a:pt x="1418051" y="155672"/>
                      <a:pt x="1424258" y="170641"/>
                    </a:cubicBezTo>
                    <a:cubicBezTo>
                      <a:pt x="1430465" y="185630"/>
                      <a:pt x="1439610" y="199274"/>
                      <a:pt x="1450969" y="210661"/>
                    </a:cubicBezTo>
                    <a:cubicBezTo>
                      <a:pt x="1462349" y="222048"/>
                      <a:pt x="1475983" y="231199"/>
                      <a:pt x="1490942" y="237390"/>
                    </a:cubicBezTo>
                    <a:cubicBezTo>
                      <a:pt x="1499466" y="240930"/>
                      <a:pt x="1508425" y="243456"/>
                      <a:pt x="1517529" y="245009"/>
                    </a:cubicBezTo>
                    <a:lnTo>
                      <a:pt x="1517529" y="846557"/>
                    </a:lnTo>
                    <a:cubicBezTo>
                      <a:pt x="1517529" y="885791"/>
                      <a:pt x="1485625" y="917716"/>
                      <a:pt x="1446417" y="917716"/>
                    </a:cubicBezTo>
                    <a:lnTo>
                      <a:pt x="1384844" y="917716"/>
                    </a:lnTo>
                    <a:cubicBezTo>
                      <a:pt x="1382299" y="906639"/>
                      <a:pt x="1379361" y="895625"/>
                      <a:pt x="1375989" y="884755"/>
                    </a:cubicBezTo>
                    <a:cubicBezTo>
                      <a:pt x="1368747" y="861671"/>
                      <a:pt x="1359457" y="839269"/>
                      <a:pt x="1348533" y="817717"/>
                    </a:cubicBezTo>
                    <a:cubicBezTo>
                      <a:pt x="1337546" y="796205"/>
                      <a:pt x="1324988" y="775481"/>
                      <a:pt x="1310546" y="756123"/>
                    </a:cubicBezTo>
                    <a:cubicBezTo>
                      <a:pt x="1296166" y="736744"/>
                      <a:pt x="1280215" y="718525"/>
                      <a:pt x="1262938" y="701713"/>
                    </a:cubicBezTo>
                    <a:cubicBezTo>
                      <a:pt x="1228448" y="667925"/>
                      <a:pt x="1188061" y="640347"/>
                      <a:pt x="1144447" y="619602"/>
                    </a:cubicBezTo>
                    <a:cubicBezTo>
                      <a:pt x="1122660" y="609167"/>
                      <a:pt x="1099839" y="600886"/>
                      <a:pt x="1076604" y="594323"/>
                    </a:cubicBezTo>
                    <a:cubicBezTo>
                      <a:pt x="1053328" y="587843"/>
                      <a:pt x="1029555" y="583039"/>
                      <a:pt x="1005555" y="580534"/>
                    </a:cubicBezTo>
                    <a:cubicBezTo>
                      <a:pt x="1002575" y="580099"/>
                      <a:pt x="999555" y="579954"/>
                      <a:pt x="996555" y="579685"/>
                    </a:cubicBezTo>
                    <a:lnTo>
                      <a:pt x="987534" y="579002"/>
                    </a:lnTo>
                    <a:cubicBezTo>
                      <a:pt x="984534" y="578816"/>
                      <a:pt x="981513" y="578484"/>
                      <a:pt x="978513" y="578422"/>
                    </a:cubicBezTo>
                    <a:lnTo>
                      <a:pt x="969492" y="578174"/>
                    </a:lnTo>
                    <a:lnTo>
                      <a:pt x="960471" y="577967"/>
                    </a:lnTo>
                    <a:lnTo>
                      <a:pt x="958216" y="577925"/>
                    </a:lnTo>
                    <a:lnTo>
                      <a:pt x="956230" y="577925"/>
                    </a:lnTo>
                    <a:cubicBezTo>
                      <a:pt x="956230" y="577925"/>
                      <a:pt x="952340" y="577925"/>
                      <a:pt x="952340" y="577925"/>
                    </a:cubicBezTo>
                    <a:lnTo>
                      <a:pt x="191507" y="577925"/>
                    </a:lnTo>
                    <a:cubicBezTo>
                      <a:pt x="176258" y="577967"/>
                      <a:pt x="160885" y="579810"/>
                      <a:pt x="145947" y="583433"/>
                    </a:cubicBezTo>
                    <a:cubicBezTo>
                      <a:pt x="130968" y="587014"/>
                      <a:pt x="116505" y="592625"/>
                      <a:pt x="102871" y="599706"/>
                    </a:cubicBezTo>
                    <a:cubicBezTo>
                      <a:pt x="75622" y="613929"/>
                      <a:pt x="52015" y="634757"/>
                      <a:pt x="34470" y="659954"/>
                    </a:cubicBezTo>
                    <a:cubicBezTo>
                      <a:pt x="16883" y="685068"/>
                      <a:pt x="5379" y="714715"/>
                      <a:pt x="1572" y="745212"/>
                    </a:cubicBezTo>
                    <a:cubicBezTo>
                      <a:pt x="538" y="752831"/>
                      <a:pt x="124" y="760491"/>
                      <a:pt x="21" y="768110"/>
                    </a:cubicBezTo>
                    <a:lnTo>
                      <a:pt x="21" y="784135"/>
                    </a:lnTo>
                    <a:cubicBezTo>
                      <a:pt x="21" y="784135"/>
                      <a:pt x="0" y="815212"/>
                      <a:pt x="0" y="815212"/>
                    </a:cubicBezTo>
                    <a:lnTo>
                      <a:pt x="0" y="1520175"/>
                    </a:lnTo>
                    <a:lnTo>
                      <a:pt x="41" y="1522888"/>
                    </a:lnTo>
                    <a:cubicBezTo>
                      <a:pt x="124" y="1526801"/>
                      <a:pt x="228" y="1530693"/>
                      <a:pt x="579" y="1534606"/>
                    </a:cubicBezTo>
                    <a:cubicBezTo>
                      <a:pt x="1117" y="1542432"/>
                      <a:pt x="2317" y="1550217"/>
                      <a:pt x="3848" y="1557939"/>
                    </a:cubicBezTo>
                    <a:cubicBezTo>
                      <a:pt x="5524" y="1565641"/>
                      <a:pt x="7510" y="1573281"/>
                      <a:pt x="10159" y="1580713"/>
                    </a:cubicBezTo>
                    <a:cubicBezTo>
                      <a:pt x="15249" y="1595641"/>
                      <a:pt x="22511" y="1609761"/>
                      <a:pt x="31201" y="1622845"/>
                    </a:cubicBezTo>
                    <a:cubicBezTo>
                      <a:pt x="40056" y="1635806"/>
                      <a:pt x="50380" y="1647773"/>
                      <a:pt x="62215" y="1658083"/>
                    </a:cubicBezTo>
                    <a:cubicBezTo>
                      <a:pt x="84995" y="1678269"/>
                      <a:pt x="113112" y="1692493"/>
                      <a:pt x="142927" y="1699201"/>
                    </a:cubicBezTo>
                    <a:lnTo>
                      <a:pt x="142927" y="1721602"/>
                    </a:lnTo>
                    <a:cubicBezTo>
                      <a:pt x="142927" y="1764646"/>
                      <a:pt x="177913" y="1799656"/>
                      <a:pt x="220928" y="1799656"/>
                    </a:cubicBezTo>
                    <a:lnTo>
                      <a:pt x="319847" y="1799656"/>
                    </a:lnTo>
                    <a:cubicBezTo>
                      <a:pt x="362861" y="1799656"/>
                      <a:pt x="397848" y="1764646"/>
                      <a:pt x="397848" y="1721602"/>
                    </a:cubicBezTo>
                    <a:lnTo>
                      <a:pt x="397848" y="1703652"/>
                    </a:lnTo>
                    <a:lnTo>
                      <a:pt x="1000568" y="1703652"/>
                    </a:lnTo>
                    <a:lnTo>
                      <a:pt x="1000568" y="1721602"/>
                    </a:lnTo>
                    <a:cubicBezTo>
                      <a:pt x="1000568" y="1764646"/>
                      <a:pt x="1035555" y="1799656"/>
                      <a:pt x="1078570" y="1799656"/>
                    </a:cubicBezTo>
                    <a:lnTo>
                      <a:pt x="1177489" y="1799656"/>
                    </a:lnTo>
                    <a:cubicBezTo>
                      <a:pt x="1220503" y="1799656"/>
                      <a:pt x="1255490" y="1764646"/>
                      <a:pt x="1255490" y="1721602"/>
                    </a:cubicBezTo>
                    <a:lnTo>
                      <a:pt x="1255490" y="1698849"/>
                    </a:lnTo>
                    <a:cubicBezTo>
                      <a:pt x="1257207" y="1698456"/>
                      <a:pt x="1258924" y="1698042"/>
                      <a:pt x="1260621" y="1697586"/>
                    </a:cubicBezTo>
                    <a:cubicBezTo>
                      <a:pt x="1275870" y="1693487"/>
                      <a:pt x="1290642" y="1687545"/>
                      <a:pt x="1304277" y="1679657"/>
                    </a:cubicBezTo>
                    <a:cubicBezTo>
                      <a:pt x="1331671" y="1664067"/>
                      <a:pt x="1354699" y="1641272"/>
                      <a:pt x="1370754" y="1614150"/>
                    </a:cubicBezTo>
                    <a:cubicBezTo>
                      <a:pt x="1386871" y="1587090"/>
                      <a:pt x="1395706" y="1555455"/>
                      <a:pt x="1396099" y="1524130"/>
                    </a:cubicBezTo>
                    <a:lnTo>
                      <a:pt x="1396161" y="1461025"/>
                    </a:lnTo>
                    <a:lnTo>
                      <a:pt x="1396161" y="1016266"/>
                    </a:lnTo>
                    <a:cubicBezTo>
                      <a:pt x="1396161" y="1016266"/>
                      <a:pt x="1396099" y="1014009"/>
                      <a:pt x="1396099" y="1014009"/>
                    </a:cubicBezTo>
                    <a:lnTo>
                      <a:pt x="1395996" y="1009496"/>
                    </a:lnTo>
                    <a:cubicBezTo>
                      <a:pt x="1395810" y="1003471"/>
                      <a:pt x="1395810" y="997446"/>
                      <a:pt x="1395396" y="991421"/>
                    </a:cubicBezTo>
                    <a:lnTo>
                      <a:pt x="1394030" y="973368"/>
                    </a:lnTo>
                    <a:cubicBezTo>
                      <a:pt x="1393554" y="968585"/>
                      <a:pt x="1392934" y="963823"/>
                      <a:pt x="1392313" y="959061"/>
                    </a:cubicBezTo>
                    <a:lnTo>
                      <a:pt x="1446417" y="959061"/>
                    </a:lnTo>
                    <a:cubicBezTo>
                      <a:pt x="1508446" y="959061"/>
                      <a:pt x="1558909" y="908565"/>
                      <a:pt x="1558909" y="846495"/>
                    </a:cubicBezTo>
                    <a:lnTo>
                      <a:pt x="1558909" y="244967"/>
                    </a:lnTo>
                    <a:cubicBezTo>
                      <a:pt x="1567950" y="243414"/>
                      <a:pt x="1576888" y="240909"/>
                      <a:pt x="1585371" y="237369"/>
                    </a:cubicBezTo>
                    <a:cubicBezTo>
                      <a:pt x="1600351" y="231158"/>
                      <a:pt x="1613986" y="222007"/>
                      <a:pt x="1625344" y="210640"/>
                    </a:cubicBezTo>
                    <a:cubicBezTo>
                      <a:pt x="1636724" y="199253"/>
                      <a:pt x="1645869" y="185609"/>
                      <a:pt x="1652055" y="170620"/>
                    </a:cubicBezTo>
                    <a:cubicBezTo>
                      <a:pt x="1658283" y="155672"/>
                      <a:pt x="1661449" y="139378"/>
                      <a:pt x="1661449" y="123374"/>
                    </a:cubicBezTo>
                    <a:cubicBezTo>
                      <a:pt x="1661449" y="107391"/>
                      <a:pt x="1658262" y="91097"/>
                      <a:pt x="1652055" y="76128"/>
                    </a:cubicBezTo>
                    <a:cubicBezTo>
                      <a:pt x="1645848" y="61138"/>
                      <a:pt x="1636703" y="47494"/>
                      <a:pt x="1625344" y="36107"/>
                    </a:cubicBezTo>
                    <a:close/>
                    <a:moveTo>
                      <a:pt x="356427" y="1721623"/>
                    </a:moveTo>
                    <a:cubicBezTo>
                      <a:pt x="356427" y="1741830"/>
                      <a:pt x="339999" y="1758269"/>
                      <a:pt x="319805" y="1758269"/>
                    </a:cubicBezTo>
                    <a:lnTo>
                      <a:pt x="220886" y="1758269"/>
                    </a:lnTo>
                    <a:cubicBezTo>
                      <a:pt x="200693" y="1758269"/>
                      <a:pt x="184265" y="1741830"/>
                      <a:pt x="184265" y="1721623"/>
                    </a:cubicBezTo>
                    <a:lnTo>
                      <a:pt x="184265" y="1703673"/>
                    </a:lnTo>
                    <a:lnTo>
                      <a:pt x="356406" y="1703673"/>
                    </a:lnTo>
                    <a:lnTo>
                      <a:pt x="356406" y="1721623"/>
                    </a:lnTo>
                    <a:close/>
                    <a:moveTo>
                      <a:pt x="1214089" y="1721623"/>
                    </a:moveTo>
                    <a:cubicBezTo>
                      <a:pt x="1214089" y="1741830"/>
                      <a:pt x="1197661" y="1758269"/>
                      <a:pt x="1177468" y="1758269"/>
                    </a:cubicBezTo>
                    <a:lnTo>
                      <a:pt x="1078549" y="1758269"/>
                    </a:lnTo>
                    <a:cubicBezTo>
                      <a:pt x="1058356" y="1758269"/>
                      <a:pt x="1041928" y="1741830"/>
                      <a:pt x="1041928" y="1721623"/>
                    </a:cubicBezTo>
                    <a:lnTo>
                      <a:pt x="1041928" y="1703673"/>
                    </a:lnTo>
                    <a:lnTo>
                      <a:pt x="1213924" y="1703673"/>
                    </a:lnTo>
                    <a:cubicBezTo>
                      <a:pt x="1213924" y="1703673"/>
                      <a:pt x="1214027" y="1703673"/>
                      <a:pt x="1214089" y="1703673"/>
                    </a:cubicBezTo>
                    <a:lnTo>
                      <a:pt x="1214089" y="1721623"/>
                    </a:lnTo>
                    <a:close/>
                    <a:moveTo>
                      <a:pt x="1354057" y="1461045"/>
                    </a:moveTo>
                    <a:lnTo>
                      <a:pt x="1354016" y="1523509"/>
                    </a:lnTo>
                    <a:cubicBezTo>
                      <a:pt x="1353705" y="1547691"/>
                      <a:pt x="1346940" y="1571893"/>
                      <a:pt x="1334547" y="1592721"/>
                    </a:cubicBezTo>
                    <a:cubicBezTo>
                      <a:pt x="1322195" y="1613570"/>
                      <a:pt x="1304463" y="1631148"/>
                      <a:pt x="1283380" y="1643114"/>
                    </a:cubicBezTo>
                    <a:cubicBezTo>
                      <a:pt x="1272890" y="1649181"/>
                      <a:pt x="1261552" y="1653736"/>
                      <a:pt x="1249842" y="1656882"/>
                    </a:cubicBezTo>
                    <a:cubicBezTo>
                      <a:pt x="1238131" y="1659988"/>
                      <a:pt x="1226007" y="1661479"/>
                      <a:pt x="1213924" y="1661562"/>
                    </a:cubicBezTo>
                    <a:lnTo>
                      <a:pt x="185320" y="1661562"/>
                    </a:lnTo>
                    <a:cubicBezTo>
                      <a:pt x="184038" y="1661562"/>
                      <a:pt x="182796" y="1661562"/>
                      <a:pt x="181182" y="1661520"/>
                    </a:cubicBezTo>
                    <a:cubicBezTo>
                      <a:pt x="178162" y="1661458"/>
                      <a:pt x="175141" y="1661396"/>
                      <a:pt x="172141" y="1661106"/>
                    </a:cubicBezTo>
                    <a:cubicBezTo>
                      <a:pt x="166120" y="1660713"/>
                      <a:pt x="160120" y="1659760"/>
                      <a:pt x="154182" y="1658601"/>
                    </a:cubicBezTo>
                    <a:cubicBezTo>
                      <a:pt x="130471" y="1653632"/>
                      <a:pt x="108064" y="1642514"/>
                      <a:pt x="89960" y="1626469"/>
                    </a:cubicBezTo>
                    <a:cubicBezTo>
                      <a:pt x="80815" y="1618539"/>
                      <a:pt x="72891" y="1609284"/>
                      <a:pt x="66042" y="1599326"/>
                    </a:cubicBezTo>
                    <a:cubicBezTo>
                      <a:pt x="59360" y="1589243"/>
                      <a:pt x="53753" y="1578394"/>
                      <a:pt x="49863" y="1566904"/>
                    </a:cubicBezTo>
                    <a:cubicBezTo>
                      <a:pt x="45870" y="1555455"/>
                      <a:pt x="43366" y="1543488"/>
                      <a:pt x="42497" y="1531438"/>
                    </a:cubicBezTo>
                    <a:cubicBezTo>
                      <a:pt x="42208" y="1528415"/>
                      <a:pt x="42146" y="1525413"/>
                      <a:pt x="42083" y="1522391"/>
                    </a:cubicBezTo>
                    <a:cubicBezTo>
                      <a:pt x="42042" y="1520797"/>
                      <a:pt x="42042" y="1519534"/>
                      <a:pt x="42042" y="1518250"/>
                    </a:cubicBezTo>
                    <a:lnTo>
                      <a:pt x="42042" y="768442"/>
                    </a:lnTo>
                    <a:cubicBezTo>
                      <a:pt x="42166" y="762458"/>
                      <a:pt x="42477" y="756475"/>
                      <a:pt x="43283" y="750533"/>
                    </a:cubicBezTo>
                    <a:cubicBezTo>
                      <a:pt x="46242" y="726724"/>
                      <a:pt x="55201" y="703680"/>
                      <a:pt x="68939" y="684053"/>
                    </a:cubicBezTo>
                    <a:cubicBezTo>
                      <a:pt x="82636" y="664384"/>
                      <a:pt x="101091" y="648111"/>
                      <a:pt x="122361" y="637014"/>
                    </a:cubicBezTo>
                    <a:cubicBezTo>
                      <a:pt x="143568" y="625813"/>
                      <a:pt x="167610" y="620058"/>
                      <a:pt x="191507" y="620016"/>
                    </a:cubicBezTo>
                    <a:lnTo>
                      <a:pt x="253618" y="620016"/>
                    </a:lnTo>
                    <a:cubicBezTo>
                      <a:pt x="253618" y="620016"/>
                      <a:pt x="502043" y="620016"/>
                      <a:pt x="502043" y="620016"/>
                    </a:cubicBezTo>
                    <a:lnTo>
                      <a:pt x="936781" y="620016"/>
                    </a:lnTo>
                    <a:cubicBezTo>
                      <a:pt x="956995" y="619913"/>
                      <a:pt x="979403" y="620016"/>
                      <a:pt x="1001003" y="622397"/>
                    </a:cubicBezTo>
                    <a:cubicBezTo>
                      <a:pt x="1022707" y="624654"/>
                      <a:pt x="1044183" y="629022"/>
                      <a:pt x="1065204" y="634861"/>
                    </a:cubicBezTo>
                    <a:cubicBezTo>
                      <a:pt x="1086204" y="640782"/>
                      <a:pt x="1106812" y="648256"/>
                      <a:pt x="1126508" y="657697"/>
                    </a:cubicBezTo>
                    <a:cubicBezTo>
                      <a:pt x="1165902" y="676455"/>
                      <a:pt x="1202461" y="701361"/>
                      <a:pt x="1233641" y="731941"/>
                    </a:cubicBezTo>
                    <a:cubicBezTo>
                      <a:pt x="1249283" y="747158"/>
                      <a:pt x="1263683" y="763618"/>
                      <a:pt x="1276697" y="781154"/>
                    </a:cubicBezTo>
                    <a:cubicBezTo>
                      <a:pt x="1289753" y="798649"/>
                      <a:pt x="1301091" y="817406"/>
                      <a:pt x="1311022" y="836847"/>
                    </a:cubicBezTo>
                    <a:cubicBezTo>
                      <a:pt x="1320891" y="856309"/>
                      <a:pt x="1329291" y="876557"/>
                      <a:pt x="1335850" y="897406"/>
                    </a:cubicBezTo>
                    <a:cubicBezTo>
                      <a:pt x="1342326" y="918275"/>
                      <a:pt x="1347105" y="939641"/>
                      <a:pt x="1350167" y="961277"/>
                    </a:cubicBezTo>
                    <a:cubicBezTo>
                      <a:pt x="1350830" y="966701"/>
                      <a:pt x="1351616" y="972105"/>
                      <a:pt x="1352154" y="977529"/>
                    </a:cubicBezTo>
                    <a:lnTo>
                      <a:pt x="1353395" y="993844"/>
                    </a:lnTo>
                    <a:cubicBezTo>
                      <a:pt x="1353767" y="999289"/>
                      <a:pt x="1353747" y="1004755"/>
                      <a:pt x="1353933" y="1010200"/>
                    </a:cubicBezTo>
                    <a:cubicBezTo>
                      <a:pt x="1353974" y="1012891"/>
                      <a:pt x="1354119" y="1015748"/>
                      <a:pt x="1354078" y="1018274"/>
                    </a:cubicBezTo>
                    <a:lnTo>
                      <a:pt x="1354078" y="1461066"/>
                    </a:lnTo>
                    <a:close/>
                    <a:moveTo>
                      <a:pt x="1613179" y="154492"/>
                    </a:moveTo>
                    <a:cubicBezTo>
                      <a:pt x="1609103" y="164347"/>
                      <a:pt x="1603082" y="173332"/>
                      <a:pt x="1595571" y="180848"/>
                    </a:cubicBezTo>
                    <a:cubicBezTo>
                      <a:pt x="1588061" y="188363"/>
                      <a:pt x="1579061" y="194388"/>
                      <a:pt x="1569233" y="198466"/>
                    </a:cubicBezTo>
                    <a:cubicBezTo>
                      <a:pt x="1559405" y="202566"/>
                      <a:pt x="1548729" y="204657"/>
                      <a:pt x="1538136" y="204657"/>
                    </a:cubicBezTo>
                    <a:cubicBezTo>
                      <a:pt x="1527563" y="204657"/>
                      <a:pt x="1516887" y="202545"/>
                      <a:pt x="1507039" y="198466"/>
                    </a:cubicBezTo>
                    <a:cubicBezTo>
                      <a:pt x="1497191" y="194388"/>
                      <a:pt x="1488211" y="188363"/>
                      <a:pt x="1480701" y="180848"/>
                    </a:cubicBezTo>
                    <a:cubicBezTo>
                      <a:pt x="1473190" y="173332"/>
                      <a:pt x="1467169" y="164326"/>
                      <a:pt x="1463093" y="154492"/>
                    </a:cubicBezTo>
                    <a:cubicBezTo>
                      <a:pt x="1458997" y="144657"/>
                      <a:pt x="1456907" y="133974"/>
                      <a:pt x="1456907" y="123374"/>
                    </a:cubicBezTo>
                    <a:cubicBezTo>
                      <a:pt x="1456907" y="112794"/>
                      <a:pt x="1459017" y="102111"/>
                      <a:pt x="1463093" y="92256"/>
                    </a:cubicBezTo>
                    <a:cubicBezTo>
                      <a:pt x="1467169" y="82401"/>
                      <a:pt x="1473190" y="73416"/>
                      <a:pt x="1480701" y="65900"/>
                    </a:cubicBezTo>
                    <a:cubicBezTo>
                      <a:pt x="1488211" y="58385"/>
                      <a:pt x="1497211" y="52360"/>
                      <a:pt x="1507039" y="48281"/>
                    </a:cubicBezTo>
                    <a:cubicBezTo>
                      <a:pt x="1516867" y="44182"/>
                      <a:pt x="1527543" y="42091"/>
                      <a:pt x="1538136" y="42091"/>
                    </a:cubicBezTo>
                    <a:cubicBezTo>
                      <a:pt x="1548709" y="42091"/>
                      <a:pt x="1559385" y="44203"/>
                      <a:pt x="1569233" y="48281"/>
                    </a:cubicBezTo>
                    <a:cubicBezTo>
                      <a:pt x="1579081" y="52360"/>
                      <a:pt x="1588061" y="58385"/>
                      <a:pt x="1595571" y="65900"/>
                    </a:cubicBezTo>
                    <a:cubicBezTo>
                      <a:pt x="1603082" y="73416"/>
                      <a:pt x="1609103" y="82422"/>
                      <a:pt x="1613179" y="92256"/>
                    </a:cubicBezTo>
                    <a:cubicBezTo>
                      <a:pt x="1617275" y="102090"/>
                      <a:pt x="1619365" y="112774"/>
                      <a:pt x="1619365" y="123374"/>
                    </a:cubicBezTo>
                    <a:cubicBezTo>
                      <a:pt x="1619365" y="133954"/>
                      <a:pt x="1617255" y="144637"/>
                      <a:pt x="1613179" y="154492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107" name="Freeform 14">
                <a:extLst>
                  <a:ext uri="{FF2B5EF4-FFF2-40B4-BE49-F238E27FC236}">
                    <a16:creationId xmlns:a16="http://schemas.microsoft.com/office/drawing/2014/main" id="{3E267EAE-BCA4-B254-CE2C-86CEE8D148AA}"/>
                  </a:ext>
                </a:extLst>
              </p:cNvPr>
              <p:cNvSpPr/>
              <p:nvPr/>
            </p:nvSpPr>
            <p:spPr>
              <a:xfrm>
                <a:off x="3775054" y="3065766"/>
                <a:ext cx="81104" cy="81159"/>
              </a:xfrm>
              <a:custGeom>
                <a:avLst/>
                <a:gdLst>
                  <a:gd name="connsiteX0" fmla="*/ 40552 w 81104"/>
                  <a:gd name="connsiteY0" fmla="*/ 0 h 81159"/>
                  <a:gd name="connsiteX1" fmla="*/ 11876 w 81104"/>
                  <a:gd name="connsiteY1" fmla="*/ 11884 h 81159"/>
                  <a:gd name="connsiteX2" fmla="*/ 0 w 81104"/>
                  <a:gd name="connsiteY2" fmla="*/ 40580 h 81159"/>
                  <a:gd name="connsiteX3" fmla="*/ 11876 w 81104"/>
                  <a:gd name="connsiteY3" fmla="*/ 69275 h 81159"/>
                  <a:gd name="connsiteX4" fmla="*/ 40552 w 81104"/>
                  <a:gd name="connsiteY4" fmla="*/ 81159 h 81159"/>
                  <a:gd name="connsiteX5" fmla="*/ 69229 w 81104"/>
                  <a:gd name="connsiteY5" fmla="*/ 69275 h 81159"/>
                  <a:gd name="connsiteX6" fmla="*/ 81105 w 81104"/>
                  <a:gd name="connsiteY6" fmla="*/ 40580 h 81159"/>
                  <a:gd name="connsiteX7" fmla="*/ 69229 w 81104"/>
                  <a:gd name="connsiteY7" fmla="*/ 11884 h 81159"/>
                  <a:gd name="connsiteX8" fmla="*/ 40552 w 81104"/>
                  <a:gd name="connsiteY8" fmla="*/ 0 h 81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1104" h="81159">
                    <a:moveTo>
                      <a:pt x="40552" y="0"/>
                    </a:moveTo>
                    <a:cubicBezTo>
                      <a:pt x="29856" y="0"/>
                      <a:pt x="19449" y="4306"/>
                      <a:pt x="11876" y="11884"/>
                    </a:cubicBezTo>
                    <a:cubicBezTo>
                      <a:pt x="4304" y="19441"/>
                      <a:pt x="-21" y="29876"/>
                      <a:pt x="0" y="40580"/>
                    </a:cubicBezTo>
                    <a:cubicBezTo>
                      <a:pt x="0" y="51283"/>
                      <a:pt x="4304" y="61697"/>
                      <a:pt x="11876" y="69275"/>
                    </a:cubicBezTo>
                    <a:cubicBezTo>
                      <a:pt x="19428" y="76853"/>
                      <a:pt x="29856" y="81180"/>
                      <a:pt x="40552" y="81159"/>
                    </a:cubicBezTo>
                    <a:cubicBezTo>
                      <a:pt x="51249" y="81159"/>
                      <a:pt x="61656" y="76853"/>
                      <a:pt x="69229" y="69275"/>
                    </a:cubicBezTo>
                    <a:cubicBezTo>
                      <a:pt x="76801" y="61718"/>
                      <a:pt x="81125" y="51283"/>
                      <a:pt x="81105" y="40580"/>
                    </a:cubicBezTo>
                    <a:cubicBezTo>
                      <a:pt x="81105" y="29876"/>
                      <a:pt x="76801" y="19462"/>
                      <a:pt x="69229" y="11884"/>
                    </a:cubicBezTo>
                    <a:cubicBezTo>
                      <a:pt x="61677" y="4306"/>
                      <a:pt x="51249" y="-21"/>
                      <a:pt x="40552" y="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</p:grpSp>
      </p:grpSp>
      <p:sp>
        <p:nvSpPr>
          <p:cNvPr id="126" name="TextBox 125">
            <a:extLst>
              <a:ext uri="{FF2B5EF4-FFF2-40B4-BE49-F238E27FC236}">
                <a16:creationId xmlns:a16="http://schemas.microsoft.com/office/drawing/2014/main" id="{85B687CE-6108-AD79-08A7-4A670DA390B9}"/>
              </a:ext>
            </a:extLst>
          </p:cNvPr>
          <p:cNvSpPr txBox="1"/>
          <p:nvPr/>
        </p:nvSpPr>
        <p:spPr>
          <a:xfrm>
            <a:off x="3335170" y="2415044"/>
            <a:ext cx="980472" cy="13516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743407">
              <a:lnSpc>
                <a:spcPct val="90000"/>
              </a:lnSpc>
              <a:defRPr/>
            </a:pPr>
            <a:r>
              <a:rPr lang="en-US" sz="976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 MIMO </a:t>
            </a:r>
          </a:p>
        </p:txBody>
      </p: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83DC8F7B-7E34-165B-0848-50B4DB89F6DC}"/>
              </a:ext>
            </a:extLst>
          </p:cNvPr>
          <p:cNvGrpSpPr/>
          <p:nvPr/>
        </p:nvGrpSpPr>
        <p:grpSpPr>
          <a:xfrm>
            <a:off x="3637406" y="1955378"/>
            <a:ext cx="376000" cy="410439"/>
            <a:chOff x="4473820" y="1616522"/>
            <a:chExt cx="462460" cy="504818"/>
          </a:xfrm>
        </p:grpSpPr>
        <p:sp>
          <p:nvSpPr>
            <p:cNvPr id="128" name="Freeform 3">
              <a:extLst>
                <a:ext uri="{FF2B5EF4-FFF2-40B4-BE49-F238E27FC236}">
                  <a16:creationId xmlns:a16="http://schemas.microsoft.com/office/drawing/2014/main" id="{9DC6C968-6362-5C3D-E350-AA9F37251381}"/>
                </a:ext>
              </a:extLst>
            </p:cNvPr>
            <p:cNvSpPr/>
            <p:nvPr/>
          </p:nvSpPr>
          <p:spPr>
            <a:xfrm>
              <a:off x="4679833" y="1916394"/>
              <a:ext cx="12337" cy="15244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29" name="Freeform 4">
              <a:extLst>
                <a:ext uri="{FF2B5EF4-FFF2-40B4-BE49-F238E27FC236}">
                  <a16:creationId xmlns:a16="http://schemas.microsoft.com/office/drawing/2014/main" id="{F529EB82-7336-2B33-32E7-813B2CE85B91}"/>
                </a:ext>
              </a:extLst>
            </p:cNvPr>
            <p:cNvSpPr/>
            <p:nvPr/>
          </p:nvSpPr>
          <p:spPr>
            <a:xfrm>
              <a:off x="4679833" y="1892143"/>
              <a:ext cx="12337" cy="15244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30" name="Freeform 5">
              <a:extLst>
                <a:ext uri="{FF2B5EF4-FFF2-40B4-BE49-F238E27FC236}">
                  <a16:creationId xmlns:a16="http://schemas.microsoft.com/office/drawing/2014/main" id="{E605A150-8215-9DD9-8BB8-9E89D25BF4D2}"/>
                </a:ext>
              </a:extLst>
            </p:cNvPr>
            <p:cNvSpPr/>
            <p:nvPr/>
          </p:nvSpPr>
          <p:spPr>
            <a:xfrm>
              <a:off x="4679833" y="1867887"/>
              <a:ext cx="12337" cy="15239"/>
            </a:xfrm>
            <a:custGeom>
              <a:avLst/>
              <a:gdLst>
                <a:gd name="connsiteX0" fmla="*/ 0 w 50505"/>
                <a:gd name="connsiteY0" fmla="*/ 51301 h 62387"/>
                <a:gd name="connsiteX1" fmla="*/ 9382 w 50505"/>
                <a:gd name="connsiteY1" fmla="*/ 62387 h 62387"/>
                <a:gd name="connsiteX2" fmla="*/ 41123 w 50505"/>
                <a:gd name="connsiteY2" fmla="*/ 62387 h 62387"/>
                <a:gd name="connsiteX3" fmla="*/ 50505 w 50505"/>
                <a:gd name="connsiteY3" fmla="*/ 51301 h 62387"/>
                <a:gd name="connsiteX4" fmla="*/ 50505 w 50505"/>
                <a:gd name="connsiteY4" fmla="*/ 11107 h 62387"/>
                <a:gd name="connsiteX5" fmla="*/ 41123 w 50505"/>
                <a:gd name="connsiteY5" fmla="*/ 0 h 62387"/>
                <a:gd name="connsiteX6" fmla="*/ 9382 w 50505"/>
                <a:gd name="connsiteY6" fmla="*/ 0 h 62387"/>
                <a:gd name="connsiteX7" fmla="*/ 0 w 50505"/>
                <a:gd name="connsiteY7" fmla="*/ 11107 h 62387"/>
                <a:gd name="connsiteX8" fmla="*/ 0 w 50505"/>
                <a:gd name="connsiteY8" fmla="*/ 51301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387">
                  <a:moveTo>
                    <a:pt x="0" y="51301"/>
                  </a:moveTo>
                  <a:cubicBezTo>
                    <a:pt x="0" y="57412"/>
                    <a:pt x="4195" y="62387"/>
                    <a:pt x="9382" y="62387"/>
                  </a:cubicBezTo>
                  <a:lnTo>
                    <a:pt x="41123" y="62387"/>
                  </a:lnTo>
                  <a:cubicBezTo>
                    <a:pt x="46310" y="62387"/>
                    <a:pt x="50505" y="57412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31" name="Freeform 6">
              <a:extLst>
                <a:ext uri="{FF2B5EF4-FFF2-40B4-BE49-F238E27FC236}">
                  <a16:creationId xmlns:a16="http://schemas.microsoft.com/office/drawing/2014/main" id="{DB669138-365B-DBE6-DE32-36E78319C338}"/>
                </a:ext>
              </a:extLst>
            </p:cNvPr>
            <p:cNvSpPr/>
            <p:nvPr/>
          </p:nvSpPr>
          <p:spPr>
            <a:xfrm>
              <a:off x="4679833" y="1843636"/>
              <a:ext cx="12337" cy="15239"/>
            </a:xfrm>
            <a:custGeom>
              <a:avLst/>
              <a:gdLst>
                <a:gd name="connsiteX0" fmla="*/ 0 w 50505"/>
                <a:gd name="connsiteY0" fmla="*/ 51301 h 62387"/>
                <a:gd name="connsiteX1" fmla="*/ 9382 w 50505"/>
                <a:gd name="connsiteY1" fmla="*/ 62387 h 62387"/>
                <a:gd name="connsiteX2" fmla="*/ 41123 w 50505"/>
                <a:gd name="connsiteY2" fmla="*/ 62387 h 62387"/>
                <a:gd name="connsiteX3" fmla="*/ 50505 w 50505"/>
                <a:gd name="connsiteY3" fmla="*/ 51301 h 62387"/>
                <a:gd name="connsiteX4" fmla="*/ 50505 w 50505"/>
                <a:gd name="connsiteY4" fmla="*/ 11086 h 62387"/>
                <a:gd name="connsiteX5" fmla="*/ 41123 w 50505"/>
                <a:gd name="connsiteY5" fmla="*/ 0 h 62387"/>
                <a:gd name="connsiteX6" fmla="*/ 9382 w 50505"/>
                <a:gd name="connsiteY6" fmla="*/ 0 h 62387"/>
                <a:gd name="connsiteX7" fmla="*/ 0 w 50505"/>
                <a:gd name="connsiteY7" fmla="*/ 11086 h 62387"/>
                <a:gd name="connsiteX8" fmla="*/ 0 w 50505"/>
                <a:gd name="connsiteY8" fmla="*/ 51301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387">
                  <a:moveTo>
                    <a:pt x="0" y="51301"/>
                  </a:moveTo>
                  <a:cubicBezTo>
                    <a:pt x="0" y="57412"/>
                    <a:pt x="4195" y="62387"/>
                    <a:pt x="9382" y="62387"/>
                  </a:cubicBezTo>
                  <a:lnTo>
                    <a:pt x="41123" y="62387"/>
                  </a:lnTo>
                  <a:cubicBezTo>
                    <a:pt x="46310" y="62387"/>
                    <a:pt x="50505" y="57412"/>
                    <a:pt x="50505" y="51301"/>
                  </a:cubicBezTo>
                  <a:lnTo>
                    <a:pt x="50505" y="11086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086"/>
                  </a:cubicBezTo>
                  <a:lnTo>
                    <a:pt x="0" y="51301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32" name="Freeform 7">
              <a:extLst>
                <a:ext uri="{FF2B5EF4-FFF2-40B4-BE49-F238E27FC236}">
                  <a16:creationId xmlns:a16="http://schemas.microsoft.com/office/drawing/2014/main" id="{71002B13-057F-DDA0-CDDE-923E78A0CEE4}"/>
                </a:ext>
              </a:extLst>
            </p:cNvPr>
            <p:cNvSpPr/>
            <p:nvPr/>
          </p:nvSpPr>
          <p:spPr>
            <a:xfrm>
              <a:off x="4679833" y="1819375"/>
              <a:ext cx="12337" cy="15244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33" name="Freeform 8">
              <a:extLst>
                <a:ext uri="{FF2B5EF4-FFF2-40B4-BE49-F238E27FC236}">
                  <a16:creationId xmlns:a16="http://schemas.microsoft.com/office/drawing/2014/main" id="{906DF939-DBC6-E062-D4B5-730A0CD0A870}"/>
                </a:ext>
              </a:extLst>
            </p:cNvPr>
            <p:cNvSpPr/>
            <p:nvPr/>
          </p:nvSpPr>
          <p:spPr>
            <a:xfrm>
              <a:off x="4679833" y="1795124"/>
              <a:ext cx="12337" cy="15244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34" name="Freeform 10">
              <a:extLst>
                <a:ext uri="{FF2B5EF4-FFF2-40B4-BE49-F238E27FC236}">
                  <a16:creationId xmlns:a16="http://schemas.microsoft.com/office/drawing/2014/main" id="{6E9ACA2B-5855-D52B-32F3-6026AA0F9452}"/>
                </a:ext>
              </a:extLst>
            </p:cNvPr>
            <p:cNvSpPr/>
            <p:nvPr/>
          </p:nvSpPr>
          <p:spPr>
            <a:xfrm>
              <a:off x="4679833" y="1770868"/>
              <a:ext cx="12337" cy="15244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12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12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35" name="Freeform 11">
              <a:extLst>
                <a:ext uri="{FF2B5EF4-FFF2-40B4-BE49-F238E27FC236}">
                  <a16:creationId xmlns:a16="http://schemas.microsoft.com/office/drawing/2014/main" id="{B6A964E4-4EB4-DA86-1B8A-C14CD316C75B}"/>
                </a:ext>
              </a:extLst>
            </p:cNvPr>
            <p:cNvSpPr/>
            <p:nvPr/>
          </p:nvSpPr>
          <p:spPr>
            <a:xfrm>
              <a:off x="4679833" y="1746612"/>
              <a:ext cx="12337" cy="15239"/>
            </a:xfrm>
            <a:custGeom>
              <a:avLst/>
              <a:gdLst>
                <a:gd name="connsiteX0" fmla="*/ 0 w 50505"/>
                <a:gd name="connsiteY0" fmla="*/ 51301 h 62387"/>
                <a:gd name="connsiteX1" fmla="*/ 9382 w 50505"/>
                <a:gd name="connsiteY1" fmla="*/ 62387 h 62387"/>
                <a:gd name="connsiteX2" fmla="*/ 41123 w 50505"/>
                <a:gd name="connsiteY2" fmla="*/ 62387 h 62387"/>
                <a:gd name="connsiteX3" fmla="*/ 50505 w 50505"/>
                <a:gd name="connsiteY3" fmla="*/ 51301 h 62387"/>
                <a:gd name="connsiteX4" fmla="*/ 50505 w 50505"/>
                <a:gd name="connsiteY4" fmla="*/ 11086 h 62387"/>
                <a:gd name="connsiteX5" fmla="*/ 41123 w 50505"/>
                <a:gd name="connsiteY5" fmla="*/ 0 h 62387"/>
                <a:gd name="connsiteX6" fmla="*/ 9382 w 50505"/>
                <a:gd name="connsiteY6" fmla="*/ 0 h 62387"/>
                <a:gd name="connsiteX7" fmla="*/ 0 w 50505"/>
                <a:gd name="connsiteY7" fmla="*/ 11086 h 62387"/>
                <a:gd name="connsiteX8" fmla="*/ 0 w 50505"/>
                <a:gd name="connsiteY8" fmla="*/ 51301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387">
                  <a:moveTo>
                    <a:pt x="0" y="51301"/>
                  </a:moveTo>
                  <a:cubicBezTo>
                    <a:pt x="0" y="57412"/>
                    <a:pt x="4195" y="62387"/>
                    <a:pt x="9382" y="62387"/>
                  </a:cubicBezTo>
                  <a:lnTo>
                    <a:pt x="41123" y="62387"/>
                  </a:lnTo>
                  <a:cubicBezTo>
                    <a:pt x="46310" y="62387"/>
                    <a:pt x="50505" y="57412"/>
                    <a:pt x="50505" y="51301"/>
                  </a:cubicBezTo>
                  <a:lnTo>
                    <a:pt x="50505" y="11086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086"/>
                  </a:cubicBezTo>
                  <a:lnTo>
                    <a:pt x="0" y="51301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36" name="Freeform 14">
              <a:extLst>
                <a:ext uri="{FF2B5EF4-FFF2-40B4-BE49-F238E27FC236}">
                  <a16:creationId xmlns:a16="http://schemas.microsoft.com/office/drawing/2014/main" id="{E934AF79-3406-E49E-637D-6E0A74A778D0}"/>
                </a:ext>
              </a:extLst>
            </p:cNvPr>
            <p:cNvSpPr/>
            <p:nvPr/>
          </p:nvSpPr>
          <p:spPr>
            <a:xfrm>
              <a:off x="4679833" y="1722356"/>
              <a:ext cx="12337" cy="15244"/>
            </a:xfrm>
            <a:custGeom>
              <a:avLst/>
              <a:gdLst>
                <a:gd name="connsiteX0" fmla="*/ 9382 w 50505"/>
                <a:gd name="connsiteY0" fmla="*/ 62408 h 62408"/>
                <a:gd name="connsiteX1" fmla="*/ 41123 w 50505"/>
                <a:gd name="connsiteY1" fmla="*/ 62408 h 62408"/>
                <a:gd name="connsiteX2" fmla="*/ 50505 w 50505"/>
                <a:gd name="connsiteY2" fmla="*/ 51301 h 62408"/>
                <a:gd name="connsiteX3" fmla="*/ 50505 w 50505"/>
                <a:gd name="connsiteY3" fmla="*/ 11107 h 62408"/>
                <a:gd name="connsiteX4" fmla="*/ 41123 w 50505"/>
                <a:gd name="connsiteY4" fmla="*/ 0 h 62408"/>
                <a:gd name="connsiteX5" fmla="*/ 9382 w 50505"/>
                <a:gd name="connsiteY5" fmla="*/ 0 h 62408"/>
                <a:gd name="connsiteX6" fmla="*/ 0 w 50505"/>
                <a:gd name="connsiteY6" fmla="*/ 11107 h 62408"/>
                <a:gd name="connsiteX7" fmla="*/ 0 w 50505"/>
                <a:gd name="connsiteY7" fmla="*/ 51301 h 62408"/>
                <a:gd name="connsiteX8" fmla="*/ 9382 w 50505"/>
                <a:gd name="connsiteY8" fmla="*/ 62408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9382" y="62408"/>
                  </a:move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96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96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37" name="Freeform 15">
              <a:extLst>
                <a:ext uri="{FF2B5EF4-FFF2-40B4-BE49-F238E27FC236}">
                  <a16:creationId xmlns:a16="http://schemas.microsoft.com/office/drawing/2014/main" id="{1E9B3D51-19F2-16B9-596E-A03BBC89BB35}"/>
                </a:ext>
              </a:extLst>
            </p:cNvPr>
            <p:cNvSpPr/>
            <p:nvPr/>
          </p:nvSpPr>
          <p:spPr>
            <a:xfrm>
              <a:off x="4699354" y="1916394"/>
              <a:ext cx="12337" cy="15244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38" name="Freeform 16">
              <a:extLst>
                <a:ext uri="{FF2B5EF4-FFF2-40B4-BE49-F238E27FC236}">
                  <a16:creationId xmlns:a16="http://schemas.microsoft.com/office/drawing/2014/main" id="{D86AA02E-87BD-044A-2C03-2F7942E1067C}"/>
                </a:ext>
              </a:extLst>
            </p:cNvPr>
            <p:cNvSpPr/>
            <p:nvPr/>
          </p:nvSpPr>
          <p:spPr>
            <a:xfrm>
              <a:off x="4699354" y="1892143"/>
              <a:ext cx="12337" cy="15244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39" name="Freeform 17">
              <a:extLst>
                <a:ext uri="{FF2B5EF4-FFF2-40B4-BE49-F238E27FC236}">
                  <a16:creationId xmlns:a16="http://schemas.microsoft.com/office/drawing/2014/main" id="{5D8B2D77-3CFC-7C30-6B1F-875BD25DB1D3}"/>
                </a:ext>
              </a:extLst>
            </p:cNvPr>
            <p:cNvSpPr/>
            <p:nvPr/>
          </p:nvSpPr>
          <p:spPr>
            <a:xfrm>
              <a:off x="4699354" y="1867887"/>
              <a:ext cx="12337" cy="15244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40" name="Freeform 18">
              <a:extLst>
                <a:ext uri="{FF2B5EF4-FFF2-40B4-BE49-F238E27FC236}">
                  <a16:creationId xmlns:a16="http://schemas.microsoft.com/office/drawing/2014/main" id="{83E06933-B2B7-AEC3-D62C-459631309A61}"/>
                </a:ext>
              </a:extLst>
            </p:cNvPr>
            <p:cNvSpPr/>
            <p:nvPr/>
          </p:nvSpPr>
          <p:spPr>
            <a:xfrm>
              <a:off x="4699354" y="1843631"/>
              <a:ext cx="12337" cy="15244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41" name="Freeform 19">
              <a:extLst>
                <a:ext uri="{FF2B5EF4-FFF2-40B4-BE49-F238E27FC236}">
                  <a16:creationId xmlns:a16="http://schemas.microsoft.com/office/drawing/2014/main" id="{12939E0C-753D-EC40-C1D6-806DF8F4E94D}"/>
                </a:ext>
              </a:extLst>
            </p:cNvPr>
            <p:cNvSpPr/>
            <p:nvPr/>
          </p:nvSpPr>
          <p:spPr>
            <a:xfrm>
              <a:off x="4699354" y="1819375"/>
              <a:ext cx="12337" cy="15244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42" name="Freeform 20">
              <a:extLst>
                <a:ext uri="{FF2B5EF4-FFF2-40B4-BE49-F238E27FC236}">
                  <a16:creationId xmlns:a16="http://schemas.microsoft.com/office/drawing/2014/main" id="{00D928BB-FC19-A540-D68A-F739696CDEE4}"/>
                </a:ext>
              </a:extLst>
            </p:cNvPr>
            <p:cNvSpPr/>
            <p:nvPr/>
          </p:nvSpPr>
          <p:spPr>
            <a:xfrm>
              <a:off x="4699354" y="1795124"/>
              <a:ext cx="12337" cy="15244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43" name="Freeform 21">
              <a:extLst>
                <a:ext uri="{FF2B5EF4-FFF2-40B4-BE49-F238E27FC236}">
                  <a16:creationId xmlns:a16="http://schemas.microsoft.com/office/drawing/2014/main" id="{3BC1A7A2-2560-F4B7-4CD4-69EAC0932387}"/>
                </a:ext>
              </a:extLst>
            </p:cNvPr>
            <p:cNvSpPr/>
            <p:nvPr/>
          </p:nvSpPr>
          <p:spPr>
            <a:xfrm>
              <a:off x="4699354" y="1770868"/>
              <a:ext cx="12337" cy="15244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44" name="Freeform 22">
              <a:extLst>
                <a:ext uri="{FF2B5EF4-FFF2-40B4-BE49-F238E27FC236}">
                  <a16:creationId xmlns:a16="http://schemas.microsoft.com/office/drawing/2014/main" id="{C3291E5C-BA43-D581-A2C9-EEDD7A2F0861}"/>
                </a:ext>
              </a:extLst>
            </p:cNvPr>
            <p:cNvSpPr/>
            <p:nvPr/>
          </p:nvSpPr>
          <p:spPr>
            <a:xfrm>
              <a:off x="4699354" y="1746612"/>
              <a:ext cx="12337" cy="15244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45" name="Freeform 23">
              <a:extLst>
                <a:ext uri="{FF2B5EF4-FFF2-40B4-BE49-F238E27FC236}">
                  <a16:creationId xmlns:a16="http://schemas.microsoft.com/office/drawing/2014/main" id="{E2A3BCD9-7FCD-298B-6070-8D0796D950FB}"/>
                </a:ext>
              </a:extLst>
            </p:cNvPr>
            <p:cNvSpPr/>
            <p:nvPr/>
          </p:nvSpPr>
          <p:spPr>
            <a:xfrm>
              <a:off x="4699354" y="1722356"/>
              <a:ext cx="12337" cy="15244"/>
            </a:xfrm>
            <a:custGeom>
              <a:avLst/>
              <a:gdLst>
                <a:gd name="connsiteX0" fmla="*/ 9382 w 50505"/>
                <a:gd name="connsiteY0" fmla="*/ 62408 h 62408"/>
                <a:gd name="connsiteX1" fmla="*/ 41123 w 50505"/>
                <a:gd name="connsiteY1" fmla="*/ 62408 h 62408"/>
                <a:gd name="connsiteX2" fmla="*/ 50505 w 50505"/>
                <a:gd name="connsiteY2" fmla="*/ 51301 h 62408"/>
                <a:gd name="connsiteX3" fmla="*/ 50505 w 50505"/>
                <a:gd name="connsiteY3" fmla="*/ 11107 h 62408"/>
                <a:gd name="connsiteX4" fmla="*/ 41123 w 50505"/>
                <a:gd name="connsiteY4" fmla="*/ 0 h 62408"/>
                <a:gd name="connsiteX5" fmla="*/ 9382 w 50505"/>
                <a:gd name="connsiteY5" fmla="*/ 0 h 62408"/>
                <a:gd name="connsiteX6" fmla="*/ 0 w 50505"/>
                <a:gd name="connsiteY6" fmla="*/ 11107 h 62408"/>
                <a:gd name="connsiteX7" fmla="*/ 0 w 50505"/>
                <a:gd name="connsiteY7" fmla="*/ 51301 h 62408"/>
                <a:gd name="connsiteX8" fmla="*/ 9382 w 50505"/>
                <a:gd name="connsiteY8" fmla="*/ 62408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9382" y="62408"/>
                  </a:move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46" name="Freeform 24">
              <a:extLst>
                <a:ext uri="{FF2B5EF4-FFF2-40B4-BE49-F238E27FC236}">
                  <a16:creationId xmlns:a16="http://schemas.microsoft.com/office/drawing/2014/main" id="{D5E9D75F-D3B1-17B9-0F56-FDAEA6BCE945}"/>
                </a:ext>
              </a:extLst>
            </p:cNvPr>
            <p:cNvSpPr/>
            <p:nvPr/>
          </p:nvSpPr>
          <p:spPr>
            <a:xfrm>
              <a:off x="4718874" y="1916394"/>
              <a:ext cx="12332" cy="15244"/>
            </a:xfrm>
            <a:custGeom>
              <a:avLst/>
              <a:gdLst>
                <a:gd name="connsiteX0" fmla="*/ 0 w 50484"/>
                <a:gd name="connsiteY0" fmla="*/ 51301 h 62408"/>
                <a:gd name="connsiteX1" fmla="*/ 9361 w 50484"/>
                <a:gd name="connsiteY1" fmla="*/ 62408 h 62408"/>
                <a:gd name="connsiteX2" fmla="*/ 41103 w 50484"/>
                <a:gd name="connsiteY2" fmla="*/ 62408 h 62408"/>
                <a:gd name="connsiteX3" fmla="*/ 50485 w 50484"/>
                <a:gd name="connsiteY3" fmla="*/ 51301 h 62408"/>
                <a:gd name="connsiteX4" fmla="*/ 50485 w 50484"/>
                <a:gd name="connsiteY4" fmla="*/ 11107 h 62408"/>
                <a:gd name="connsiteX5" fmla="*/ 41103 w 50484"/>
                <a:gd name="connsiteY5" fmla="*/ 0 h 62408"/>
                <a:gd name="connsiteX6" fmla="*/ 9361 w 50484"/>
                <a:gd name="connsiteY6" fmla="*/ 0 h 62408"/>
                <a:gd name="connsiteX7" fmla="*/ 0 w 50484"/>
                <a:gd name="connsiteY7" fmla="*/ 11107 h 62408"/>
                <a:gd name="connsiteX8" fmla="*/ 0 w 50484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0" y="51301"/>
                  </a:move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47" name="Freeform 25">
              <a:extLst>
                <a:ext uri="{FF2B5EF4-FFF2-40B4-BE49-F238E27FC236}">
                  <a16:creationId xmlns:a16="http://schemas.microsoft.com/office/drawing/2014/main" id="{64830CDC-1EF3-7C88-C34C-232EECCA6EDE}"/>
                </a:ext>
              </a:extLst>
            </p:cNvPr>
            <p:cNvSpPr/>
            <p:nvPr/>
          </p:nvSpPr>
          <p:spPr>
            <a:xfrm>
              <a:off x="4718874" y="1892143"/>
              <a:ext cx="12332" cy="15244"/>
            </a:xfrm>
            <a:custGeom>
              <a:avLst/>
              <a:gdLst>
                <a:gd name="connsiteX0" fmla="*/ 0 w 50484"/>
                <a:gd name="connsiteY0" fmla="*/ 51301 h 62408"/>
                <a:gd name="connsiteX1" fmla="*/ 9361 w 50484"/>
                <a:gd name="connsiteY1" fmla="*/ 62408 h 62408"/>
                <a:gd name="connsiteX2" fmla="*/ 41103 w 50484"/>
                <a:gd name="connsiteY2" fmla="*/ 62408 h 62408"/>
                <a:gd name="connsiteX3" fmla="*/ 50485 w 50484"/>
                <a:gd name="connsiteY3" fmla="*/ 51301 h 62408"/>
                <a:gd name="connsiteX4" fmla="*/ 50485 w 50484"/>
                <a:gd name="connsiteY4" fmla="*/ 11107 h 62408"/>
                <a:gd name="connsiteX5" fmla="*/ 41103 w 50484"/>
                <a:gd name="connsiteY5" fmla="*/ 0 h 62408"/>
                <a:gd name="connsiteX6" fmla="*/ 9361 w 50484"/>
                <a:gd name="connsiteY6" fmla="*/ 0 h 62408"/>
                <a:gd name="connsiteX7" fmla="*/ 0 w 50484"/>
                <a:gd name="connsiteY7" fmla="*/ 11107 h 62408"/>
                <a:gd name="connsiteX8" fmla="*/ 0 w 50484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0" y="51301"/>
                  </a:move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48" name="Freeform 26">
              <a:extLst>
                <a:ext uri="{FF2B5EF4-FFF2-40B4-BE49-F238E27FC236}">
                  <a16:creationId xmlns:a16="http://schemas.microsoft.com/office/drawing/2014/main" id="{AB05FB5D-FB32-E09D-413B-70D6C47B89D0}"/>
                </a:ext>
              </a:extLst>
            </p:cNvPr>
            <p:cNvSpPr/>
            <p:nvPr/>
          </p:nvSpPr>
          <p:spPr>
            <a:xfrm>
              <a:off x="4718874" y="1867887"/>
              <a:ext cx="12332" cy="15239"/>
            </a:xfrm>
            <a:custGeom>
              <a:avLst/>
              <a:gdLst>
                <a:gd name="connsiteX0" fmla="*/ 0 w 50484"/>
                <a:gd name="connsiteY0" fmla="*/ 51301 h 62387"/>
                <a:gd name="connsiteX1" fmla="*/ 9361 w 50484"/>
                <a:gd name="connsiteY1" fmla="*/ 62387 h 62387"/>
                <a:gd name="connsiteX2" fmla="*/ 41103 w 50484"/>
                <a:gd name="connsiteY2" fmla="*/ 62387 h 62387"/>
                <a:gd name="connsiteX3" fmla="*/ 50485 w 50484"/>
                <a:gd name="connsiteY3" fmla="*/ 51301 h 62387"/>
                <a:gd name="connsiteX4" fmla="*/ 50485 w 50484"/>
                <a:gd name="connsiteY4" fmla="*/ 11107 h 62387"/>
                <a:gd name="connsiteX5" fmla="*/ 41103 w 50484"/>
                <a:gd name="connsiteY5" fmla="*/ 0 h 62387"/>
                <a:gd name="connsiteX6" fmla="*/ 9361 w 50484"/>
                <a:gd name="connsiteY6" fmla="*/ 0 h 62387"/>
                <a:gd name="connsiteX7" fmla="*/ 0 w 50484"/>
                <a:gd name="connsiteY7" fmla="*/ 11107 h 62387"/>
                <a:gd name="connsiteX8" fmla="*/ 0 w 50484"/>
                <a:gd name="connsiteY8" fmla="*/ 51301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387">
                  <a:moveTo>
                    <a:pt x="0" y="51301"/>
                  </a:moveTo>
                  <a:cubicBezTo>
                    <a:pt x="0" y="57412"/>
                    <a:pt x="4195" y="62387"/>
                    <a:pt x="9361" y="62387"/>
                  </a:cubicBezTo>
                  <a:lnTo>
                    <a:pt x="41103" y="62387"/>
                  </a:lnTo>
                  <a:cubicBezTo>
                    <a:pt x="46290" y="62387"/>
                    <a:pt x="50485" y="57412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49" name="Freeform 27">
              <a:extLst>
                <a:ext uri="{FF2B5EF4-FFF2-40B4-BE49-F238E27FC236}">
                  <a16:creationId xmlns:a16="http://schemas.microsoft.com/office/drawing/2014/main" id="{55FE7CF9-0D1B-B67F-B2FA-03F47C99D525}"/>
                </a:ext>
              </a:extLst>
            </p:cNvPr>
            <p:cNvSpPr/>
            <p:nvPr/>
          </p:nvSpPr>
          <p:spPr>
            <a:xfrm>
              <a:off x="4718874" y="1843636"/>
              <a:ext cx="12332" cy="15239"/>
            </a:xfrm>
            <a:custGeom>
              <a:avLst/>
              <a:gdLst>
                <a:gd name="connsiteX0" fmla="*/ 0 w 50484"/>
                <a:gd name="connsiteY0" fmla="*/ 51301 h 62387"/>
                <a:gd name="connsiteX1" fmla="*/ 9361 w 50484"/>
                <a:gd name="connsiteY1" fmla="*/ 62387 h 62387"/>
                <a:gd name="connsiteX2" fmla="*/ 41103 w 50484"/>
                <a:gd name="connsiteY2" fmla="*/ 62387 h 62387"/>
                <a:gd name="connsiteX3" fmla="*/ 50485 w 50484"/>
                <a:gd name="connsiteY3" fmla="*/ 51301 h 62387"/>
                <a:gd name="connsiteX4" fmla="*/ 50485 w 50484"/>
                <a:gd name="connsiteY4" fmla="*/ 11086 h 62387"/>
                <a:gd name="connsiteX5" fmla="*/ 41103 w 50484"/>
                <a:gd name="connsiteY5" fmla="*/ 0 h 62387"/>
                <a:gd name="connsiteX6" fmla="*/ 9361 w 50484"/>
                <a:gd name="connsiteY6" fmla="*/ 0 h 62387"/>
                <a:gd name="connsiteX7" fmla="*/ 0 w 50484"/>
                <a:gd name="connsiteY7" fmla="*/ 11086 h 62387"/>
                <a:gd name="connsiteX8" fmla="*/ 0 w 50484"/>
                <a:gd name="connsiteY8" fmla="*/ 51301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387">
                  <a:moveTo>
                    <a:pt x="0" y="51301"/>
                  </a:moveTo>
                  <a:cubicBezTo>
                    <a:pt x="0" y="57412"/>
                    <a:pt x="4195" y="62387"/>
                    <a:pt x="9361" y="62387"/>
                  </a:cubicBezTo>
                  <a:lnTo>
                    <a:pt x="41103" y="62387"/>
                  </a:lnTo>
                  <a:cubicBezTo>
                    <a:pt x="46290" y="62387"/>
                    <a:pt x="50485" y="57412"/>
                    <a:pt x="50485" y="51301"/>
                  </a:cubicBezTo>
                  <a:lnTo>
                    <a:pt x="50485" y="11086"/>
                  </a:lnTo>
                  <a:cubicBezTo>
                    <a:pt x="50485" y="4975"/>
                    <a:pt x="46290" y="0"/>
                    <a:pt x="41103" y="0"/>
                  </a:cubicBezTo>
                  <a:lnTo>
                    <a:pt x="9361" y="0"/>
                  </a:lnTo>
                  <a:cubicBezTo>
                    <a:pt x="4195" y="0"/>
                    <a:pt x="0" y="4975"/>
                    <a:pt x="0" y="11086"/>
                  </a:cubicBezTo>
                  <a:lnTo>
                    <a:pt x="0" y="51301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50" name="Freeform 28">
              <a:extLst>
                <a:ext uri="{FF2B5EF4-FFF2-40B4-BE49-F238E27FC236}">
                  <a16:creationId xmlns:a16="http://schemas.microsoft.com/office/drawing/2014/main" id="{1D2551BC-C846-5600-4C28-9AEE7A2653A3}"/>
                </a:ext>
              </a:extLst>
            </p:cNvPr>
            <p:cNvSpPr/>
            <p:nvPr/>
          </p:nvSpPr>
          <p:spPr>
            <a:xfrm>
              <a:off x="4718874" y="1819375"/>
              <a:ext cx="12332" cy="15244"/>
            </a:xfrm>
            <a:custGeom>
              <a:avLst/>
              <a:gdLst>
                <a:gd name="connsiteX0" fmla="*/ 0 w 50484"/>
                <a:gd name="connsiteY0" fmla="*/ 51301 h 62408"/>
                <a:gd name="connsiteX1" fmla="*/ 9361 w 50484"/>
                <a:gd name="connsiteY1" fmla="*/ 62408 h 62408"/>
                <a:gd name="connsiteX2" fmla="*/ 41103 w 50484"/>
                <a:gd name="connsiteY2" fmla="*/ 62408 h 62408"/>
                <a:gd name="connsiteX3" fmla="*/ 50485 w 50484"/>
                <a:gd name="connsiteY3" fmla="*/ 51301 h 62408"/>
                <a:gd name="connsiteX4" fmla="*/ 50485 w 50484"/>
                <a:gd name="connsiteY4" fmla="*/ 11107 h 62408"/>
                <a:gd name="connsiteX5" fmla="*/ 41103 w 50484"/>
                <a:gd name="connsiteY5" fmla="*/ 0 h 62408"/>
                <a:gd name="connsiteX6" fmla="*/ 9361 w 50484"/>
                <a:gd name="connsiteY6" fmla="*/ 0 h 62408"/>
                <a:gd name="connsiteX7" fmla="*/ 0 w 50484"/>
                <a:gd name="connsiteY7" fmla="*/ 11107 h 62408"/>
                <a:gd name="connsiteX8" fmla="*/ 0 w 50484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0" y="51301"/>
                  </a:move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51" name="Freeform 29">
              <a:extLst>
                <a:ext uri="{FF2B5EF4-FFF2-40B4-BE49-F238E27FC236}">
                  <a16:creationId xmlns:a16="http://schemas.microsoft.com/office/drawing/2014/main" id="{86F5EDBA-5547-E8A6-B2DC-E8F71823B64C}"/>
                </a:ext>
              </a:extLst>
            </p:cNvPr>
            <p:cNvSpPr/>
            <p:nvPr/>
          </p:nvSpPr>
          <p:spPr>
            <a:xfrm>
              <a:off x="4718874" y="1795124"/>
              <a:ext cx="12332" cy="15244"/>
            </a:xfrm>
            <a:custGeom>
              <a:avLst/>
              <a:gdLst>
                <a:gd name="connsiteX0" fmla="*/ 0 w 50484"/>
                <a:gd name="connsiteY0" fmla="*/ 51301 h 62408"/>
                <a:gd name="connsiteX1" fmla="*/ 9361 w 50484"/>
                <a:gd name="connsiteY1" fmla="*/ 62408 h 62408"/>
                <a:gd name="connsiteX2" fmla="*/ 41103 w 50484"/>
                <a:gd name="connsiteY2" fmla="*/ 62408 h 62408"/>
                <a:gd name="connsiteX3" fmla="*/ 50485 w 50484"/>
                <a:gd name="connsiteY3" fmla="*/ 51301 h 62408"/>
                <a:gd name="connsiteX4" fmla="*/ 50485 w 50484"/>
                <a:gd name="connsiteY4" fmla="*/ 11107 h 62408"/>
                <a:gd name="connsiteX5" fmla="*/ 41103 w 50484"/>
                <a:gd name="connsiteY5" fmla="*/ 0 h 62408"/>
                <a:gd name="connsiteX6" fmla="*/ 9361 w 50484"/>
                <a:gd name="connsiteY6" fmla="*/ 0 h 62408"/>
                <a:gd name="connsiteX7" fmla="*/ 0 w 50484"/>
                <a:gd name="connsiteY7" fmla="*/ 11107 h 62408"/>
                <a:gd name="connsiteX8" fmla="*/ 0 w 50484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0" y="51301"/>
                  </a:move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52" name="Freeform 30">
              <a:extLst>
                <a:ext uri="{FF2B5EF4-FFF2-40B4-BE49-F238E27FC236}">
                  <a16:creationId xmlns:a16="http://schemas.microsoft.com/office/drawing/2014/main" id="{57819AD2-5C8C-2983-A029-92E74BC69C6D}"/>
                </a:ext>
              </a:extLst>
            </p:cNvPr>
            <p:cNvSpPr/>
            <p:nvPr/>
          </p:nvSpPr>
          <p:spPr>
            <a:xfrm>
              <a:off x="4718874" y="1770868"/>
              <a:ext cx="12332" cy="15244"/>
            </a:xfrm>
            <a:custGeom>
              <a:avLst/>
              <a:gdLst>
                <a:gd name="connsiteX0" fmla="*/ 0 w 50484"/>
                <a:gd name="connsiteY0" fmla="*/ 51301 h 62408"/>
                <a:gd name="connsiteX1" fmla="*/ 9361 w 50484"/>
                <a:gd name="connsiteY1" fmla="*/ 62408 h 62408"/>
                <a:gd name="connsiteX2" fmla="*/ 41103 w 50484"/>
                <a:gd name="connsiteY2" fmla="*/ 62408 h 62408"/>
                <a:gd name="connsiteX3" fmla="*/ 50485 w 50484"/>
                <a:gd name="connsiteY3" fmla="*/ 51301 h 62408"/>
                <a:gd name="connsiteX4" fmla="*/ 50485 w 50484"/>
                <a:gd name="connsiteY4" fmla="*/ 11107 h 62408"/>
                <a:gd name="connsiteX5" fmla="*/ 41103 w 50484"/>
                <a:gd name="connsiteY5" fmla="*/ 0 h 62408"/>
                <a:gd name="connsiteX6" fmla="*/ 9361 w 50484"/>
                <a:gd name="connsiteY6" fmla="*/ 0 h 62408"/>
                <a:gd name="connsiteX7" fmla="*/ 0 w 50484"/>
                <a:gd name="connsiteY7" fmla="*/ 11107 h 62408"/>
                <a:gd name="connsiteX8" fmla="*/ 0 w 50484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0" y="51301"/>
                  </a:moveTo>
                  <a:cubicBezTo>
                    <a:pt x="0" y="57412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12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53" name="Freeform 31">
              <a:extLst>
                <a:ext uri="{FF2B5EF4-FFF2-40B4-BE49-F238E27FC236}">
                  <a16:creationId xmlns:a16="http://schemas.microsoft.com/office/drawing/2014/main" id="{0992C470-FD35-3263-44A5-7683E46B7461}"/>
                </a:ext>
              </a:extLst>
            </p:cNvPr>
            <p:cNvSpPr/>
            <p:nvPr/>
          </p:nvSpPr>
          <p:spPr>
            <a:xfrm>
              <a:off x="4718874" y="1746612"/>
              <a:ext cx="12332" cy="15239"/>
            </a:xfrm>
            <a:custGeom>
              <a:avLst/>
              <a:gdLst>
                <a:gd name="connsiteX0" fmla="*/ 0 w 50484"/>
                <a:gd name="connsiteY0" fmla="*/ 51301 h 62387"/>
                <a:gd name="connsiteX1" fmla="*/ 9361 w 50484"/>
                <a:gd name="connsiteY1" fmla="*/ 62387 h 62387"/>
                <a:gd name="connsiteX2" fmla="*/ 41103 w 50484"/>
                <a:gd name="connsiteY2" fmla="*/ 62387 h 62387"/>
                <a:gd name="connsiteX3" fmla="*/ 50485 w 50484"/>
                <a:gd name="connsiteY3" fmla="*/ 51301 h 62387"/>
                <a:gd name="connsiteX4" fmla="*/ 50485 w 50484"/>
                <a:gd name="connsiteY4" fmla="*/ 11086 h 62387"/>
                <a:gd name="connsiteX5" fmla="*/ 41103 w 50484"/>
                <a:gd name="connsiteY5" fmla="*/ 0 h 62387"/>
                <a:gd name="connsiteX6" fmla="*/ 9361 w 50484"/>
                <a:gd name="connsiteY6" fmla="*/ 0 h 62387"/>
                <a:gd name="connsiteX7" fmla="*/ 0 w 50484"/>
                <a:gd name="connsiteY7" fmla="*/ 11086 h 62387"/>
                <a:gd name="connsiteX8" fmla="*/ 0 w 50484"/>
                <a:gd name="connsiteY8" fmla="*/ 51301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387">
                  <a:moveTo>
                    <a:pt x="0" y="51301"/>
                  </a:moveTo>
                  <a:cubicBezTo>
                    <a:pt x="0" y="57412"/>
                    <a:pt x="4195" y="62387"/>
                    <a:pt x="9361" y="62387"/>
                  </a:cubicBezTo>
                  <a:lnTo>
                    <a:pt x="41103" y="62387"/>
                  </a:lnTo>
                  <a:cubicBezTo>
                    <a:pt x="46290" y="62387"/>
                    <a:pt x="50485" y="57412"/>
                    <a:pt x="50485" y="51301"/>
                  </a:cubicBezTo>
                  <a:lnTo>
                    <a:pt x="50485" y="11086"/>
                  </a:lnTo>
                  <a:cubicBezTo>
                    <a:pt x="50485" y="4975"/>
                    <a:pt x="46290" y="0"/>
                    <a:pt x="41103" y="0"/>
                  </a:cubicBezTo>
                  <a:lnTo>
                    <a:pt x="9361" y="0"/>
                  </a:lnTo>
                  <a:cubicBezTo>
                    <a:pt x="4195" y="0"/>
                    <a:pt x="0" y="4975"/>
                    <a:pt x="0" y="11086"/>
                  </a:cubicBezTo>
                  <a:lnTo>
                    <a:pt x="0" y="51301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54" name="Freeform 32">
              <a:extLst>
                <a:ext uri="{FF2B5EF4-FFF2-40B4-BE49-F238E27FC236}">
                  <a16:creationId xmlns:a16="http://schemas.microsoft.com/office/drawing/2014/main" id="{923AB214-D60A-137D-E9DC-9B7D9D0CEBBD}"/>
                </a:ext>
              </a:extLst>
            </p:cNvPr>
            <p:cNvSpPr/>
            <p:nvPr/>
          </p:nvSpPr>
          <p:spPr>
            <a:xfrm>
              <a:off x="4718879" y="1722356"/>
              <a:ext cx="12332" cy="15244"/>
            </a:xfrm>
            <a:custGeom>
              <a:avLst/>
              <a:gdLst>
                <a:gd name="connsiteX0" fmla="*/ 9361 w 50484"/>
                <a:gd name="connsiteY0" fmla="*/ 62408 h 62408"/>
                <a:gd name="connsiteX1" fmla="*/ 41103 w 50484"/>
                <a:gd name="connsiteY1" fmla="*/ 62408 h 62408"/>
                <a:gd name="connsiteX2" fmla="*/ 50485 w 50484"/>
                <a:gd name="connsiteY2" fmla="*/ 51301 h 62408"/>
                <a:gd name="connsiteX3" fmla="*/ 50485 w 50484"/>
                <a:gd name="connsiteY3" fmla="*/ 11107 h 62408"/>
                <a:gd name="connsiteX4" fmla="*/ 41103 w 50484"/>
                <a:gd name="connsiteY4" fmla="*/ 0 h 62408"/>
                <a:gd name="connsiteX5" fmla="*/ 9361 w 50484"/>
                <a:gd name="connsiteY5" fmla="*/ 0 h 62408"/>
                <a:gd name="connsiteX6" fmla="*/ 0 w 50484"/>
                <a:gd name="connsiteY6" fmla="*/ 11107 h 62408"/>
                <a:gd name="connsiteX7" fmla="*/ 0 w 50484"/>
                <a:gd name="connsiteY7" fmla="*/ 51301 h 62408"/>
                <a:gd name="connsiteX8" fmla="*/ 9361 w 50484"/>
                <a:gd name="connsiteY8" fmla="*/ 62408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9361" y="62408"/>
                  </a:move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96"/>
                    <a:pt x="46290" y="0"/>
                    <a:pt x="41103" y="0"/>
                  </a:cubicBezTo>
                  <a:lnTo>
                    <a:pt x="9361" y="0"/>
                  </a:lnTo>
                  <a:cubicBezTo>
                    <a:pt x="4195" y="0"/>
                    <a:pt x="0" y="4996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61" y="62408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55" name="Freeform 33">
              <a:extLst>
                <a:ext uri="{FF2B5EF4-FFF2-40B4-BE49-F238E27FC236}">
                  <a16:creationId xmlns:a16="http://schemas.microsoft.com/office/drawing/2014/main" id="{D4B22AA2-5493-4D97-0329-5A896D9B1144}"/>
                </a:ext>
              </a:extLst>
            </p:cNvPr>
            <p:cNvSpPr/>
            <p:nvPr/>
          </p:nvSpPr>
          <p:spPr>
            <a:xfrm>
              <a:off x="4515162" y="1864075"/>
              <a:ext cx="12337" cy="15244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56" name="Freeform 34">
              <a:extLst>
                <a:ext uri="{FF2B5EF4-FFF2-40B4-BE49-F238E27FC236}">
                  <a16:creationId xmlns:a16="http://schemas.microsoft.com/office/drawing/2014/main" id="{862ED559-5BF7-2805-6FDC-23B6D1C2CAB2}"/>
                </a:ext>
              </a:extLst>
            </p:cNvPr>
            <p:cNvSpPr/>
            <p:nvPr/>
          </p:nvSpPr>
          <p:spPr>
            <a:xfrm>
              <a:off x="4515162" y="1839824"/>
              <a:ext cx="12337" cy="15244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57" name="Freeform 35">
              <a:extLst>
                <a:ext uri="{FF2B5EF4-FFF2-40B4-BE49-F238E27FC236}">
                  <a16:creationId xmlns:a16="http://schemas.microsoft.com/office/drawing/2014/main" id="{038BD339-A8D6-EA22-B132-5CA0D85BB623}"/>
                </a:ext>
              </a:extLst>
            </p:cNvPr>
            <p:cNvSpPr/>
            <p:nvPr/>
          </p:nvSpPr>
          <p:spPr>
            <a:xfrm>
              <a:off x="4515162" y="1815568"/>
              <a:ext cx="12337" cy="15239"/>
            </a:xfrm>
            <a:custGeom>
              <a:avLst/>
              <a:gdLst>
                <a:gd name="connsiteX0" fmla="*/ 41123 w 50505"/>
                <a:gd name="connsiteY0" fmla="*/ 0 h 62387"/>
                <a:gd name="connsiteX1" fmla="*/ 9382 w 50505"/>
                <a:gd name="connsiteY1" fmla="*/ 0 h 62387"/>
                <a:gd name="connsiteX2" fmla="*/ 0 w 50505"/>
                <a:gd name="connsiteY2" fmla="*/ 11107 h 62387"/>
                <a:gd name="connsiteX3" fmla="*/ 0 w 50505"/>
                <a:gd name="connsiteY3" fmla="*/ 51301 h 62387"/>
                <a:gd name="connsiteX4" fmla="*/ 9382 w 50505"/>
                <a:gd name="connsiteY4" fmla="*/ 62387 h 62387"/>
                <a:gd name="connsiteX5" fmla="*/ 41123 w 50505"/>
                <a:gd name="connsiteY5" fmla="*/ 62387 h 62387"/>
                <a:gd name="connsiteX6" fmla="*/ 50505 w 50505"/>
                <a:gd name="connsiteY6" fmla="*/ 51301 h 62387"/>
                <a:gd name="connsiteX7" fmla="*/ 50505 w 50505"/>
                <a:gd name="connsiteY7" fmla="*/ 11107 h 62387"/>
                <a:gd name="connsiteX8" fmla="*/ 41123 w 50505"/>
                <a:gd name="connsiteY8" fmla="*/ 0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387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12"/>
                    <a:pt x="4195" y="62387"/>
                    <a:pt x="9382" y="62387"/>
                  </a:cubicBezTo>
                  <a:lnTo>
                    <a:pt x="41123" y="62387"/>
                  </a:lnTo>
                  <a:cubicBezTo>
                    <a:pt x="46310" y="62387"/>
                    <a:pt x="50505" y="57412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58" name="Freeform 36">
              <a:extLst>
                <a:ext uri="{FF2B5EF4-FFF2-40B4-BE49-F238E27FC236}">
                  <a16:creationId xmlns:a16="http://schemas.microsoft.com/office/drawing/2014/main" id="{16268ED2-AD30-DFB9-D487-B0E8F8DD04AE}"/>
                </a:ext>
              </a:extLst>
            </p:cNvPr>
            <p:cNvSpPr/>
            <p:nvPr/>
          </p:nvSpPr>
          <p:spPr>
            <a:xfrm>
              <a:off x="4515162" y="1791317"/>
              <a:ext cx="12337" cy="15239"/>
            </a:xfrm>
            <a:custGeom>
              <a:avLst/>
              <a:gdLst>
                <a:gd name="connsiteX0" fmla="*/ 41123 w 50505"/>
                <a:gd name="connsiteY0" fmla="*/ 0 h 62387"/>
                <a:gd name="connsiteX1" fmla="*/ 9382 w 50505"/>
                <a:gd name="connsiteY1" fmla="*/ 0 h 62387"/>
                <a:gd name="connsiteX2" fmla="*/ 0 w 50505"/>
                <a:gd name="connsiteY2" fmla="*/ 11086 h 62387"/>
                <a:gd name="connsiteX3" fmla="*/ 0 w 50505"/>
                <a:gd name="connsiteY3" fmla="*/ 51301 h 62387"/>
                <a:gd name="connsiteX4" fmla="*/ 9382 w 50505"/>
                <a:gd name="connsiteY4" fmla="*/ 62387 h 62387"/>
                <a:gd name="connsiteX5" fmla="*/ 41123 w 50505"/>
                <a:gd name="connsiteY5" fmla="*/ 62387 h 62387"/>
                <a:gd name="connsiteX6" fmla="*/ 50505 w 50505"/>
                <a:gd name="connsiteY6" fmla="*/ 51301 h 62387"/>
                <a:gd name="connsiteX7" fmla="*/ 50505 w 50505"/>
                <a:gd name="connsiteY7" fmla="*/ 11086 h 62387"/>
                <a:gd name="connsiteX8" fmla="*/ 41123 w 50505"/>
                <a:gd name="connsiteY8" fmla="*/ 0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387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086"/>
                  </a:cubicBezTo>
                  <a:lnTo>
                    <a:pt x="0" y="51301"/>
                  </a:lnTo>
                  <a:cubicBezTo>
                    <a:pt x="0" y="57412"/>
                    <a:pt x="4195" y="62387"/>
                    <a:pt x="9382" y="62387"/>
                  </a:cubicBezTo>
                  <a:lnTo>
                    <a:pt x="41123" y="62387"/>
                  </a:lnTo>
                  <a:cubicBezTo>
                    <a:pt x="46310" y="62387"/>
                    <a:pt x="50505" y="57412"/>
                    <a:pt x="50505" y="51301"/>
                  </a:cubicBezTo>
                  <a:lnTo>
                    <a:pt x="50505" y="11086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59" name="Freeform 37">
              <a:extLst>
                <a:ext uri="{FF2B5EF4-FFF2-40B4-BE49-F238E27FC236}">
                  <a16:creationId xmlns:a16="http://schemas.microsoft.com/office/drawing/2014/main" id="{6CF93248-1C45-53DC-EF4F-161A548C6AAB}"/>
                </a:ext>
              </a:extLst>
            </p:cNvPr>
            <p:cNvSpPr/>
            <p:nvPr/>
          </p:nvSpPr>
          <p:spPr>
            <a:xfrm>
              <a:off x="4515162" y="1767056"/>
              <a:ext cx="12337" cy="15244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60" name="Freeform 38">
              <a:extLst>
                <a:ext uri="{FF2B5EF4-FFF2-40B4-BE49-F238E27FC236}">
                  <a16:creationId xmlns:a16="http://schemas.microsoft.com/office/drawing/2014/main" id="{F2F81680-507C-2592-A1C1-C24D744D5678}"/>
                </a:ext>
              </a:extLst>
            </p:cNvPr>
            <p:cNvSpPr/>
            <p:nvPr/>
          </p:nvSpPr>
          <p:spPr>
            <a:xfrm>
              <a:off x="4515162" y="1742805"/>
              <a:ext cx="12337" cy="15244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61" name="Freeform 39">
              <a:extLst>
                <a:ext uri="{FF2B5EF4-FFF2-40B4-BE49-F238E27FC236}">
                  <a16:creationId xmlns:a16="http://schemas.microsoft.com/office/drawing/2014/main" id="{7F3454DF-63D4-CDC4-4033-10705EEF08D3}"/>
                </a:ext>
              </a:extLst>
            </p:cNvPr>
            <p:cNvSpPr/>
            <p:nvPr/>
          </p:nvSpPr>
          <p:spPr>
            <a:xfrm>
              <a:off x="4515162" y="1718549"/>
              <a:ext cx="12337" cy="15244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12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12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62" name="Freeform 40">
              <a:extLst>
                <a:ext uri="{FF2B5EF4-FFF2-40B4-BE49-F238E27FC236}">
                  <a16:creationId xmlns:a16="http://schemas.microsoft.com/office/drawing/2014/main" id="{73EE6AA0-2970-1E29-5B5F-157EDB8DA85C}"/>
                </a:ext>
              </a:extLst>
            </p:cNvPr>
            <p:cNvSpPr/>
            <p:nvPr/>
          </p:nvSpPr>
          <p:spPr>
            <a:xfrm>
              <a:off x="4515162" y="1694297"/>
              <a:ext cx="12337" cy="15239"/>
            </a:xfrm>
            <a:custGeom>
              <a:avLst/>
              <a:gdLst>
                <a:gd name="connsiteX0" fmla="*/ 41123 w 50505"/>
                <a:gd name="connsiteY0" fmla="*/ 0 h 62387"/>
                <a:gd name="connsiteX1" fmla="*/ 9382 w 50505"/>
                <a:gd name="connsiteY1" fmla="*/ 0 h 62387"/>
                <a:gd name="connsiteX2" fmla="*/ 0 w 50505"/>
                <a:gd name="connsiteY2" fmla="*/ 11086 h 62387"/>
                <a:gd name="connsiteX3" fmla="*/ 0 w 50505"/>
                <a:gd name="connsiteY3" fmla="*/ 51301 h 62387"/>
                <a:gd name="connsiteX4" fmla="*/ 9382 w 50505"/>
                <a:gd name="connsiteY4" fmla="*/ 62387 h 62387"/>
                <a:gd name="connsiteX5" fmla="*/ 41123 w 50505"/>
                <a:gd name="connsiteY5" fmla="*/ 62387 h 62387"/>
                <a:gd name="connsiteX6" fmla="*/ 50505 w 50505"/>
                <a:gd name="connsiteY6" fmla="*/ 51301 h 62387"/>
                <a:gd name="connsiteX7" fmla="*/ 50505 w 50505"/>
                <a:gd name="connsiteY7" fmla="*/ 11086 h 62387"/>
                <a:gd name="connsiteX8" fmla="*/ 41123 w 50505"/>
                <a:gd name="connsiteY8" fmla="*/ 0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387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086"/>
                  </a:cubicBezTo>
                  <a:lnTo>
                    <a:pt x="0" y="51301"/>
                  </a:lnTo>
                  <a:cubicBezTo>
                    <a:pt x="0" y="57412"/>
                    <a:pt x="4195" y="62387"/>
                    <a:pt x="9382" y="62387"/>
                  </a:cubicBezTo>
                  <a:lnTo>
                    <a:pt x="41123" y="62387"/>
                  </a:lnTo>
                  <a:cubicBezTo>
                    <a:pt x="46310" y="62387"/>
                    <a:pt x="50505" y="57412"/>
                    <a:pt x="50505" y="51301"/>
                  </a:cubicBezTo>
                  <a:lnTo>
                    <a:pt x="50505" y="11086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63" name="Freeform 41">
              <a:extLst>
                <a:ext uri="{FF2B5EF4-FFF2-40B4-BE49-F238E27FC236}">
                  <a16:creationId xmlns:a16="http://schemas.microsoft.com/office/drawing/2014/main" id="{96678D30-2FD9-5890-9967-8CB2D79F5D97}"/>
                </a:ext>
              </a:extLst>
            </p:cNvPr>
            <p:cNvSpPr/>
            <p:nvPr/>
          </p:nvSpPr>
          <p:spPr>
            <a:xfrm>
              <a:off x="4515162" y="1670036"/>
              <a:ext cx="12337" cy="15244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96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96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64" name="Freeform 42">
              <a:extLst>
                <a:ext uri="{FF2B5EF4-FFF2-40B4-BE49-F238E27FC236}">
                  <a16:creationId xmlns:a16="http://schemas.microsoft.com/office/drawing/2014/main" id="{9F92DE2C-0E3D-823C-569A-338DA0E35EC9}"/>
                </a:ext>
              </a:extLst>
            </p:cNvPr>
            <p:cNvSpPr/>
            <p:nvPr/>
          </p:nvSpPr>
          <p:spPr>
            <a:xfrm>
              <a:off x="4534682" y="1864080"/>
              <a:ext cx="12337" cy="15244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65" name="Freeform 43">
              <a:extLst>
                <a:ext uri="{FF2B5EF4-FFF2-40B4-BE49-F238E27FC236}">
                  <a16:creationId xmlns:a16="http://schemas.microsoft.com/office/drawing/2014/main" id="{ADCA0E46-5DCF-10DB-BE9E-8CF5B10CB404}"/>
                </a:ext>
              </a:extLst>
            </p:cNvPr>
            <p:cNvSpPr/>
            <p:nvPr/>
          </p:nvSpPr>
          <p:spPr>
            <a:xfrm>
              <a:off x="4534682" y="1839824"/>
              <a:ext cx="12337" cy="15244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66" name="Freeform 44">
              <a:extLst>
                <a:ext uri="{FF2B5EF4-FFF2-40B4-BE49-F238E27FC236}">
                  <a16:creationId xmlns:a16="http://schemas.microsoft.com/office/drawing/2014/main" id="{6A024D72-F0EA-4273-674A-56B317EE7250}"/>
                </a:ext>
              </a:extLst>
            </p:cNvPr>
            <p:cNvSpPr/>
            <p:nvPr/>
          </p:nvSpPr>
          <p:spPr>
            <a:xfrm>
              <a:off x="4534682" y="1815568"/>
              <a:ext cx="12337" cy="15244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67" name="Freeform 45">
              <a:extLst>
                <a:ext uri="{FF2B5EF4-FFF2-40B4-BE49-F238E27FC236}">
                  <a16:creationId xmlns:a16="http://schemas.microsoft.com/office/drawing/2014/main" id="{90F1CD5D-E49D-9F53-72B7-78A0B42B6A62}"/>
                </a:ext>
              </a:extLst>
            </p:cNvPr>
            <p:cNvSpPr/>
            <p:nvPr/>
          </p:nvSpPr>
          <p:spPr>
            <a:xfrm>
              <a:off x="4534682" y="1791312"/>
              <a:ext cx="12337" cy="15244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68" name="Freeform 46">
              <a:extLst>
                <a:ext uri="{FF2B5EF4-FFF2-40B4-BE49-F238E27FC236}">
                  <a16:creationId xmlns:a16="http://schemas.microsoft.com/office/drawing/2014/main" id="{8E5E2AAA-75EF-C7E7-E58D-0CC0950A35F8}"/>
                </a:ext>
              </a:extLst>
            </p:cNvPr>
            <p:cNvSpPr/>
            <p:nvPr/>
          </p:nvSpPr>
          <p:spPr>
            <a:xfrm>
              <a:off x="4534682" y="1767061"/>
              <a:ext cx="12337" cy="15244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69" name="Freeform 47">
              <a:extLst>
                <a:ext uri="{FF2B5EF4-FFF2-40B4-BE49-F238E27FC236}">
                  <a16:creationId xmlns:a16="http://schemas.microsoft.com/office/drawing/2014/main" id="{65AD7CFB-80DC-6E5B-A146-602A6532D410}"/>
                </a:ext>
              </a:extLst>
            </p:cNvPr>
            <p:cNvSpPr/>
            <p:nvPr/>
          </p:nvSpPr>
          <p:spPr>
            <a:xfrm>
              <a:off x="4534682" y="1742805"/>
              <a:ext cx="12337" cy="15244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70" name="Freeform 48">
              <a:extLst>
                <a:ext uri="{FF2B5EF4-FFF2-40B4-BE49-F238E27FC236}">
                  <a16:creationId xmlns:a16="http://schemas.microsoft.com/office/drawing/2014/main" id="{59D260A6-30C0-E1E0-B023-2E7FA1AEF233}"/>
                </a:ext>
              </a:extLst>
            </p:cNvPr>
            <p:cNvSpPr/>
            <p:nvPr/>
          </p:nvSpPr>
          <p:spPr>
            <a:xfrm>
              <a:off x="4534682" y="1718549"/>
              <a:ext cx="12337" cy="15244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71" name="Freeform 49">
              <a:extLst>
                <a:ext uri="{FF2B5EF4-FFF2-40B4-BE49-F238E27FC236}">
                  <a16:creationId xmlns:a16="http://schemas.microsoft.com/office/drawing/2014/main" id="{1C6AFA5F-6910-CC1E-8B37-6D90931E69C7}"/>
                </a:ext>
              </a:extLst>
            </p:cNvPr>
            <p:cNvSpPr/>
            <p:nvPr/>
          </p:nvSpPr>
          <p:spPr>
            <a:xfrm>
              <a:off x="4534682" y="1694293"/>
              <a:ext cx="12337" cy="15244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72" name="Freeform 50">
              <a:extLst>
                <a:ext uri="{FF2B5EF4-FFF2-40B4-BE49-F238E27FC236}">
                  <a16:creationId xmlns:a16="http://schemas.microsoft.com/office/drawing/2014/main" id="{52603AB4-B813-20AB-0801-8642ACB11CF6}"/>
                </a:ext>
              </a:extLst>
            </p:cNvPr>
            <p:cNvSpPr/>
            <p:nvPr/>
          </p:nvSpPr>
          <p:spPr>
            <a:xfrm>
              <a:off x="4534682" y="1670036"/>
              <a:ext cx="12337" cy="15244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73" name="Freeform 51">
              <a:extLst>
                <a:ext uri="{FF2B5EF4-FFF2-40B4-BE49-F238E27FC236}">
                  <a16:creationId xmlns:a16="http://schemas.microsoft.com/office/drawing/2014/main" id="{A48EA427-A071-947C-6D9E-152C7AFBDCDB}"/>
                </a:ext>
              </a:extLst>
            </p:cNvPr>
            <p:cNvSpPr/>
            <p:nvPr/>
          </p:nvSpPr>
          <p:spPr>
            <a:xfrm>
              <a:off x="4554202" y="1864075"/>
              <a:ext cx="12332" cy="15244"/>
            </a:xfrm>
            <a:custGeom>
              <a:avLst/>
              <a:gdLst>
                <a:gd name="connsiteX0" fmla="*/ 41103 w 50484"/>
                <a:gd name="connsiteY0" fmla="*/ 0 h 62408"/>
                <a:gd name="connsiteX1" fmla="*/ 9361 w 50484"/>
                <a:gd name="connsiteY1" fmla="*/ 0 h 62408"/>
                <a:gd name="connsiteX2" fmla="*/ 0 w 50484"/>
                <a:gd name="connsiteY2" fmla="*/ 11107 h 62408"/>
                <a:gd name="connsiteX3" fmla="*/ 0 w 50484"/>
                <a:gd name="connsiteY3" fmla="*/ 51301 h 62408"/>
                <a:gd name="connsiteX4" fmla="*/ 9361 w 50484"/>
                <a:gd name="connsiteY4" fmla="*/ 62408 h 62408"/>
                <a:gd name="connsiteX5" fmla="*/ 41103 w 50484"/>
                <a:gd name="connsiteY5" fmla="*/ 62408 h 62408"/>
                <a:gd name="connsiteX6" fmla="*/ 50485 w 50484"/>
                <a:gd name="connsiteY6" fmla="*/ 51301 h 62408"/>
                <a:gd name="connsiteX7" fmla="*/ 50485 w 50484"/>
                <a:gd name="connsiteY7" fmla="*/ 11107 h 62408"/>
                <a:gd name="connsiteX8" fmla="*/ 41103 w 50484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74" name="Freeform 52">
              <a:extLst>
                <a:ext uri="{FF2B5EF4-FFF2-40B4-BE49-F238E27FC236}">
                  <a16:creationId xmlns:a16="http://schemas.microsoft.com/office/drawing/2014/main" id="{E7CA4ED3-F170-6497-561D-D686C55FE07C}"/>
                </a:ext>
              </a:extLst>
            </p:cNvPr>
            <p:cNvSpPr/>
            <p:nvPr/>
          </p:nvSpPr>
          <p:spPr>
            <a:xfrm>
              <a:off x="4554202" y="1839824"/>
              <a:ext cx="12332" cy="15244"/>
            </a:xfrm>
            <a:custGeom>
              <a:avLst/>
              <a:gdLst>
                <a:gd name="connsiteX0" fmla="*/ 41103 w 50484"/>
                <a:gd name="connsiteY0" fmla="*/ 0 h 62408"/>
                <a:gd name="connsiteX1" fmla="*/ 9361 w 50484"/>
                <a:gd name="connsiteY1" fmla="*/ 0 h 62408"/>
                <a:gd name="connsiteX2" fmla="*/ 0 w 50484"/>
                <a:gd name="connsiteY2" fmla="*/ 11107 h 62408"/>
                <a:gd name="connsiteX3" fmla="*/ 0 w 50484"/>
                <a:gd name="connsiteY3" fmla="*/ 51301 h 62408"/>
                <a:gd name="connsiteX4" fmla="*/ 9361 w 50484"/>
                <a:gd name="connsiteY4" fmla="*/ 62408 h 62408"/>
                <a:gd name="connsiteX5" fmla="*/ 41103 w 50484"/>
                <a:gd name="connsiteY5" fmla="*/ 62408 h 62408"/>
                <a:gd name="connsiteX6" fmla="*/ 50485 w 50484"/>
                <a:gd name="connsiteY6" fmla="*/ 51301 h 62408"/>
                <a:gd name="connsiteX7" fmla="*/ 50485 w 50484"/>
                <a:gd name="connsiteY7" fmla="*/ 11107 h 62408"/>
                <a:gd name="connsiteX8" fmla="*/ 41103 w 50484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75" name="Freeform 53">
              <a:extLst>
                <a:ext uri="{FF2B5EF4-FFF2-40B4-BE49-F238E27FC236}">
                  <a16:creationId xmlns:a16="http://schemas.microsoft.com/office/drawing/2014/main" id="{A848B5E6-32ED-7036-CAB1-958F3D495423}"/>
                </a:ext>
              </a:extLst>
            </p:cNvPr>
            <p:cNvSpPr/>
            <p:nvPr/>
          </p:nvSpPr>
          <p:spPr>
            <a:xfrm>
              <a:off x="4554202" y="1815568"/>
              <a:ext cx="12332" cy="15239"/>
            </a:xfrm>
            <a:custGeom>
              <a:avLst/>
              <a:gdLst>
                <a:gd name="connsiteX0" fmla="*/ 41103 w 50484"/>
                <a:gd name="connsiteY0" fmla="*/ 0 h 62387"/>
                <a:gd name="connsiteX1" fmla="*/ 9361 w 50484"/>
                <a:gd name="connsiteY1" fmla="*/ 0 h 62387"/>
                <a:gd name="connsiteX2" fmla="*/ 0 w 50484"/>
                <a:gd name="connsiteY2" fmla="*/ 11107 h 62387"/>
                <a:gd name="connsiteX3" fmla="*/ 0 w 50484"/>
                <a:gd name="connsiteY3" fmla="*/ 51301 h 62387"/>
                <a:gd name="connsiteX4" fmla="*/ 9361 w 50484"/>
                <a:gd name="connsiteY4" fmla="*/ 62387 h 62387"/>
                <a:gd name="connsiteX5" fmla="*/ 41103 w 50484"/>
                <a:gd name="connsiteY5" fmla="*/ 62387 h 62387"/>
                <a:gd name="connsiteX6" fmla="*/ 50485 w 50484"/>
                <a:gd name="connsiteY6" fmla="*/ 51301 h 62387"/>
                <a:gd name="connsiteX7" fmla="*/ 50485 w 50484"/>
                <a:gd name="connsiteY7" fmla="*/ 11107 h 62387"/>
                <a:gd name="connsiteX8" fmla="*/ 41103 w 50484"/>
                <a:gd name="connsiteY8" fmla="*/ 0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387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12"/>
                    <a:pt x="4195" y="62387"/>
                    <a:pt x="9361" y="62387"/>
                  </a:cubicBezTo>
                  <a:lnTo>
                    <a:pt x="41103" y="62387"/>
                  </a:lnTo>
                  <a:cubicBezTo>
                    <a:pt x="46290" y="62387"/>
                    <a:pt x="50485" y="57412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76" name="Freeform 54">
              <a:extLst>
                <a:ext uri="{FF2B5EF4-FFF2-40B4-BE49-F238E27FC236}">
                  <a16:creationId xmlns:a16="http://schemas.microsoft.com/office/drawing/2014/main" id="{D7E52F37-B123-A8C0-05B7-BAA477F77ECD}"/>
                </a:ext>
              </a:extLst>
            </p:cNvPr>
            <p:cNvSpPr/>
            <p:nvPr/>
          </p:nvSpPr>
          <p:spPr>
            <a:xfrm>
              <a:off x="4554202" y="1791317"/>
              <a:ext cx="12332" cy="15239"/>
            </a:xfrm>
            <a:custGeom>
              <a:avLst/>
              <a:gdLst>
                <a:gd name="connsiteX0" fmla="*/ 41103 w 50484"/>
                <a:gd name="connsiteY0" fmla="*/ 0 h 62387"/>
                <a:gd name="connsiteX1" fmla="*/ 9361 w 50484"/>
                <a:gd name="connsiteY1" fmla="*/ 0 h 62387"/>
                <a:gd name="connsiteX2" fmla="*/ 0 w 50484"/>
                <a:gd name="connsiteY2" fmla="*/ 11086 h 62387"/>
                <a:gd name="connsiteX3" fmla="*/ 0 w 50484"/>
                <a:gd name="connsiteY3" fmla="*/ 51301 h 62387"/>
                <a:gd name="connsiteX4" fmla="*/ 9361 w 50484"/>
                <a:gd name="connsiteY4" fmla="*/ 62387 h 62387"/>
                <a:gd name="connsiteX5" fmla="*/ 41103 w 50484"/>
                <a:gd name="connsiteY5" fmla="*/ 62387 h 62387"/>
                <a:gd name="connsiteX6" fmla="*/ 50485 w 50484"/>
                <a:gd name="connsiteY6" fmla="*/ 51301 h 62387"/>
                <a:gd name="connsiteX7" fmla="*/ 50485 w 50484"/>
                <a:gd name="connsiteY7" fmla="*/ 11086 h 62387"/>
                <a:gd name="connsiteX8" fmla="*/ 41103 w 50484"/>
                <a:gd name="connsiteY8" fmla="*/ 0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387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086"/>
                  </a:cubicBezTo>
                  <a:lnTo>
                    <a:pt x="0" y="51301"/>
                  </a:lnTo>
                  <a:cubicBezTo>
                    <a:pt x="0" y="57412"/>
                    <a:pt x="4195" y="62387"/>
                    <a:pt x="9361" y="62387"/>
                  </a:cubicBezTo>
                  <a:lnTo>
                    <a:pt x="41103" y="62387"/>
                  </a:lnTo>
                  <a:cubicBezTo>
                    <a:pt x="46290" y="62387"/>
                    <a:pt x="50485" y="57412"/>
                    <a:pt x="50485" y="51301"/>
                  </a:cubicBezTo>
                  <a:lnTo>
                    <a:pt x="50485" y="11086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77" name="Freeform 55">
              <a:extLst>
                <a:ext uri="{FF2B5EF4-FFF2-40B4-BE49-F238E27FC236}">
                  <a16:creationId xmlns:a16="http://schemas.microsoft.com/office/drawing/2014/main" id="{E7548A47-5DFB-795F-21E0-1F4D032A0333}"/>
                </a:ext>
              </a:extLst>
            </p:cNvPr>
            <p:cNvSpPr/>
            <p:nvPr/>
          </p:nvSpPr>
          <p:spPr>
            <a:xfrm>
              <a:off x="4554202" y="1767056"/>
              <a:ext cx="12332" cy="15244"/>
            </a:xfrm>
            <a:custGeom>
              <a:avLst/>
              <a:gdLst>
                <a:gd name="connsiteX0" fmla="*/ 41103 w 50484"/>
                <a:gd name="connsiteY0" fmla="*/ 0 h 62408"/>
                <a:gd name="connsiteX1" fmla="*/ 9361 w 50484"/>
                <a:gd name="connsiteY1" fmla="*/ 0 h 62408"/>
                <a:gd name="connsiteX2" fmla="*/ 0 w 50484"/>
                <a:gd name="connsiteY2" fmla="*/ 11107 h 62408"/>
                <a:gd name="connsiteX3" fmla="*/ 0 w 50484"/>
                <a:gd name="connsiteY3" fmla="*/ 51301 h 62408"/>
                <a:gd name="connsiteX4" fmla="*/ 9361 w 50484"/>
                <a:gd name="connsiteY4" fmla="*/ 62408 h 62408"/>
                <a:gd name="connsiteX5" fmla="*/ 41103 w 50484"/>
                <a:gd name="connsiteY5" fmla="*/ 62408 h 62408"/>
                <a:gd name="connsiteX6" fmla="*/ 50485 w 50484"/>
                <a:gd name="connsiteY6" fmla="*/ 51301 h 62408"/>
                <a:gd name="connsiteX7" fmla="*/ 50485 w 50484"/>
                <a:gd name="connsiteY7" fmla="*/ 11107 h 62408"/>
                <a:gd name="connsiteX8" fmla="*/ 41103 w 50484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78" name="Freeform 56">
              <a:extLst>
                <a:ext uri="{FF2B5EF4-FFF2-40B4-BE49-F238E27FC236}">
                  <a16:creationId xmlns:a16="http://schemas.microsoft.com/office/drawing/2014/main" id="{5C745696-48E0-666D-14B8-53A349FB0926}"/>
                </a:ext>
              </a:extLst>
            </p:cNvPr>
            <p:cNvSpPr/>
            <p:nvPr/>
          </p:nvSpPr>
          <p:spPr>
            <a:xfrm>
              <a:off x="4554202" y="1742805"/>
              <a:ext cx="12332" cy="15244"/>
            </a:xfrm>
            <a:custGeom>
              <a:avLst/>
              <a:gdLst>
                <a:gd name="connsiteX0" fmla="*/ 41103 w 50484"/>
                <a:gd name="connsiteY0" fmla="*/ 0 h 62408"/>
                <a:gd name="connsiteX1" fmla="*/ 9361 w 50484"/>
                <a:gd name="connsiteY1" fmla="*/ 0 h 62408"/>
                <a:gd name="connsiteX2" fmla="*/ 0 w 50484"/>
                <a:gd name="connsiteY2" fmla="*/ 11107 h 62408"/>
                <a:gd name="connsiteX3" fmla="*/ 0 w 50484"/>
                <a:gd name="connsiteY3" fmla="*/ 51301 h 62408"/>
                <a:gd name="connsiteX4" fmla="*/ 9361 w 50484"/>
                <a:gd name="connsiteY4" fmla="*/ 62408 h 62408"/>
                <a:gd name="connsiteX5" fmla="*/ 41103 w 50484"/>
                <a:gd name="connsiteY5" fmla="*/ 62408 h 62408"/>
                <a:gd name="connsiteX6" fmla="*/ 50485 w 50484"/>
                <a:gd name="connsiteY6" fmla="*/ 51301 h 62408"/>
                <a:gd name="connsiteX7" fmla="*/ 50485 w 50484"/>
                <a:gd name="connsiteY7" fmla="*/ 11107 h 62408"/>
                <a:gd name="connsiteX8" fmla="*/ 41103 w 50484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79" name="Freeform 57">
              <a:extLst>
                <a:ext uri="{FF2B5EF4-FFF2-40B4-BE49-F238E27FC236}">
                  <a16:creationId xmlns:a16="http://schemas.microsoft.com/office/drawing/2014/main" id="{29F6C0C2-389A-75CC-6138-D7DF374F46D3}"/>
                </a:ext>
              </a:extLst>
            </p:cNvPr>
            <p:cNvSpPr/>
            <p:nvPr/>
          </p:nvSpPr>
          <p:spPr>
            <a:xfrm>
              <a:off x="4554202" y="1718549"/>
              <a:ext cx="12332" cy="15244"/>
            </a:xfrm>
            <a:custGeom>
              <a:avLst/>
              <a:gdLst>
                <a:gd name="connsiteX0" fmla="*/ 41103 w 50484"/>
                <a:gd name="connsiteY0" fmla="*/ 0 h 62408"/>
                <a:gd name="connsiteX1" fmla="*/ 9361 w 50484"/>
                <a:gd name="connsiteY1" fmla="*/ 0 h 62408"/>
                <a:gd name="connsiteX2" fmla="*/ 0 w 50484"/>
                <a:gd name="connsiteY2" fmla="*/ 11107 h 62408"/>
                <a:gd name="connsiteX3" fmla="*/ 0 w 50484"/>
                <a:gd name="connsiteY3" fmla="*/ 51301 h 62408"/>
                <a:gd name="connsiteX4" fmla="*/ 9361 w 50484"/>
                <a:gd name="connsiteY4" fmla="*/ 62408 h 62408"/>
                <a:gd name="connsiteX5" fmla="*/ 41103 w 50484"/>
                <a:gd name="connsiteY5" fmla="*/ 62408 h 62408"/>
                <a:gd name="connsiteX6" fmla="*/ 50485 w 50484"/>
                <a:gd name="connsiteY6" fmla="*/ 51301 h 62408"/>
                <a:gd name="connsiteX7" fmla="*/ 50485 w 50484"/>
                <a:gd name="connsiteY7" fmla="*/ 11107 h 62408"/>
                <a:gd name="connsiteX8" fmla="*/ 41103 w 50484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12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12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80" name="Freeform 58">
              <a:extLst>
                <a:ext uri="{FF2B5EF4-FFF2-40B4-BE49-F238E27FC236}">
                  <a16:creationId xmlns:a16="http://schemas.microsoft.com/office/drawing/2014/main" id="{82DDB171-ED21-8EB4-9165-25BC2F162FA0}"/>
                </a:ext>
              </a:extLst>
            </p:cNvPr>
            <p:cNvSpPr/>
            <p:nvPr/>
          </p:nvSpPr>
          <p:spPr>
            <a:xfrm>
              <a:off x="4554202" y="1694297"/>
              <a:ext cx="12332" cy="15239"/>
            </a:xfrm>
            <a:custGeom>
              <a:avLst/>
              <a:gdLst>
                <a:gd name="connsiteX0" fmla="*/ 41103 w 50484"/>
                <a:gd name="connsiteY0" fmla="*/ 0 h 62387"/>
                <a:gd name="connsiteX1" fmla="*/ 9361 w 50484"/>
                <a:gd name="connsiteY1" fmla="*/ 0 h 62387"/>
                <a:gd name="connsiteX2" fmla="*/ 0 w 50484"/>
                <a:gd name="connsiteY2" fmla="*/ 11086 h 62387"/>
                <a:gd name="connsiteX3" fmla="*/ 0 w 50484"/>
                <a:gd name="connsiteY3" fmla="*/ 51301 h 62387"/>
                <a:gd name="connsiteX4" fmla="*/ 9361 w 50484"/>
                <a:gd name="connsiteY4" fmla="*/ 62387 h 62387"/>
                <a:gd name="connsiteX5" fmla="*/ 41103 w 50484"/>
                <a:gd name="connsiteY5" fmla="*/ 62387 h 62387"/>
                <a:gd name="connsiteX6" fmla="*/ 50485 w 50484"/>
                <a:gd name="connsiteY6" fmla="*/ 51301 h 62387"/>
                <a:gd name="connsiteX7" fmla="*/ 50485 w 50484"/>
                <a:gd name="connsiteY7" fmla="*/ 11086 h 62387"/>
                <a:gd name="connsiteX8" fmla="*/ 41103 w 50484"/>
                <a:gd name="connsiteY8" fmla="*/ 0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387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086"/>
                  </a:cubicBezTo>
                  <a:lnTo>
                    <a:pt x="0" y="51301"/>
                  </a:lnTo>
                  <a:cubicBezTo>
                    <a:pt x="0" y="57412"/>
                    <a:pt x="4195" y="62387"/>
                    <a:pt x="9361" y="62387"/>
                  </a:cubicBezTo>
                  <a:lnTo>
                    <a:pt x="41103" y="62387"/>
                  </a:lnTo>
                  <a:cubicBezTo>
                    <a:pt x="46290" y="62387"/>
                    <a:pt x="50485" y="57412"/>
                    <a:pt x="50485" y="51301"/>
                  </a:cubicBezTo>
                  <a:lnTo>
                    <a:pt x="50485" y="11086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81" name="Freeform 59">
              <a:extLst>
                <a:ext uri="{FF2B5EF4-FFF2-40B4-BE49-F238E27FC236}">
                  <a16:creationId xmlns:a16="http://schemas.microsoft.com/office/drawing/2014/main" id="{DBDE96F6-DC66-FE90-768C-96B0FDEE70EE}"/>
                </a:ext>
              </a:extLst>
            </p:cNvPr>
            <p:cNvSpPr/>
            <p:nvPr/>
          </p:nvSpPr>
          <p:spPr>
            <a:xfrm>
              <a:off x="4554202" y="1670036"/>
              <a:ext cx="12332" cy="15244"/>
            </a:xfrm>
            <a:custGeom>
              <a:avLst/>
              <a:gdLst>
                <a:gd name="connsiteX0" fmla="*/ 41103 w 50484"/>
                <a:gd name="connsiteY0" fmla="*/ 0 h 62408"/>
                <a:gd name="connsiteX1" fmla="*/ 9361 w 50484"/>
                <a:gd name="connsiteY1" fmla="*/ 0 h 62408"/>
                <a:gd name="connsiteX2" fmla="*/ 0 w 50484"/>
                <a:gd name="connsiteY2" fmla="*/ 11107 h 62408"/>
                <a:gd name="connsiteX3" fmla="*/ 0 w 50484"/>
                <a:gd name="connsiteY3" fmla="*/ 51301 h 62408"/>
                <a:gd name="connsiteX4" fmla="*/ 9361 w 50484"/>
                <a:gd name="connsiteY4" fmla="*/ 62408 h 62408"/>
                <a:gd name="connsiteX5" fmla="*/ 41103 w 50484"/>
                <a:gd name="connsiteY5" fmla="*/ 62408 h 62408"/>
                <a:gd name="connsiteX6" fmla="*/ 50485 w 50484"/>
                <a:gd name="connsiteY6" fmla="*/ 51301 h 62408"/>
                <a:gd name="connsiteX7" fmla="*/ 50485 w 50484"/>
                <a:gd name="connsiteY7" fmla="*/ 11107 h 62408"/>
                <a:gd name="connsiteX8" fmla="*/ 41103 w 50484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96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96"/>
                    <a:pt x="46290" y="0"/>
                    <a:pt x="4110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82" name="Freeform 60">
              <a:extLst>
                <a:ext uri="{FF2B5EF4-FFF2-40B4-BE49-F238E27FC236}">
                  <a16:creationId xmlns:a16="http://schemas.microsoft.com/office/drawing/2014/main" id="{DE57EC16-05BB-A05F-F37A-7B478ED4CEB1}"/>
                </a:ext>
              </a:extLst>
            </p:cNvPr>
            <p:cNvSpPr/>
            <p:nvPr/>
          </p:nvSpPr>
          <p:spPr>
            <a:xfrm>
              <a:off x="4843500" y="1864075"/>
              <a:ext cx="12337" cy="15244"/>
            </a:xfrm>
            <a:custGeom>
              <a:avLst/>
              <a:gdLst>
                <a:gd name="connsiteX0" fmla="*/ 41124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4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4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4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4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4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83" name="Freeform 61">
              <a:extLst>
                <a:ext uri="{FF2B5EF4-FFF2-40B4-BE49-F238E27FC236}">
                  <a16:creationId xmlns:a16="http://schemas.microsoft.com/office/drawing/2014/main" id="{F44C6D82-354F-FC8D-C18A-BA10C1F111A8}"/>
                </a:ext>
              </a:extLst>
            </p:cNvPr>
            <p:cNvSpPr/>
            <p:nvPr/>
          </p:nvSpPr>
          <p:spPr>
            <a:xfrm>
              <a:off x="4843500" y="1839824"/>
              <a:ext cx="12337" cy="15244"/>
            </a:xfrm>
            <a:custGeom>
              <a:avLst/>
              <a:gdLst>
                <a:gd name="connsiteX0" fmla="*/ 41124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4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4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4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4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4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84" name="Freeform 62">
              <a:extLst>
                <a:ext uri="{FF2B5EF4-FFF2-40B4-BE49-F238E27FC236}">
                  <a16:creationId xmlns:a16="http://schemas.microsoft.com/office/drawing/2014/main" id="{9BEE2370-1A46-DAF0-3944-DC65E0EBFD0D}"/>
                </a:ext>
              </a:extLst>
            </p:cNvPr>
            <p:cNvSpPr/>
            <p:nvPr/>
          </p:nvSpPr>
          <p:spPr>
            <a:xfrm>
              <a:off x="4843500" y="1815568"/>
              <a:ext cx="12337" cy="15239"/>
            </a:xfrm>
            <a:custGeom>
              <a:avLst/>
              <a:gdLst>
                <a:gd name="connsiteX0" fmla="*/ 41124 w 50505"/>
                <a:gd name="connsiteY0" fmla="*/ 0 h 62387"/>
                <a:gd name="connsiteX1" fmla="*/ 9382 w 50505"/>
                <a:gd name="connsiteY1" fmla="*/ 0 h 62387"/>
                <a:gd name="connsiteX2" fmla="*/ 0 w 50505"/>
                <a:gd name="connsiteY2" fmla="*/ 11107 h 62387"/>
                <a:gd name="connsiteX3" fmla="*/ 0 w 50505"/>
                <a:gd name="connsiteY3" fmla="*/ 51301 h 62387"/>
                <a:gd name="connsiteX4" fmla="*/ 9382 w 50505"/>
                <a:gd name="connsiteY4" fmla="*/ 62387 h 62387"/>
                <a:gd name="connsiteX5" fmla="*/ 41124 w 50505"/>
                <a:gd name="connsiteY5" fmla="*/ 62387 h 62387"/>
                <a:gd name="connsiteX6" fmla="*/ 50505 w 50505"/>
                <a:gd name="connsiteY6" fmla="*/ 51301 h 62387"/>
                <a:gd name="connsiteX7" fmla="*/ 50505 w 50505"/>
                <a:gd name="connsiteY7" fmla="*/ 11107 h 62387"/>
                <a:gd name="connsiteX8" fmla="*/ 41124 w 50505"/>
                <a:gd name="connsiteY8" fmla="*/ 0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387">
                  <a:moveTo>
                    <a:pt x="41124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12"/>
                    <a:pt x="4195" y="62387"/>
                    <a:pt x="9382" y="62387"/>
                  </a:cubicBezTo>
                  <a:lnTo>
                    <a:pt x="41124" y="62387"/>
                  </a:lnTo>
                  <a:cubicBezTo>
                    <a:pt x="46310" y="62387"/>
                    <a:pt x="50505" y="57412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4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85" name="Freeform 63">
              <a:extLst>
                <a:ext uri="{FF2B5EF4-FFF2-40B4-BE49-F238E27FC236}">
                  <a16:creationId xmlns:a16="http://schemas.microsoft.com/office/drawing/2014/main" id="{BA753C0F-A2EE-E36B-10B9-AC0EA965FF00}"/>
                </a:ext>
              </a:extLst>
            </p:cNvPr>
            <p:cNvSpPr/>
            <p:nvPr/>
          </p:nvSpPr>
          <p:spPr>
            <a:xfrm>
              <a:off x="4843500" y="1791317"/>
              <a:ext cx="12337" cy="15239"/>
            </a:xfrm>
            <a:custGeom>
              <a:avLst/>
              <a:gdLst>
                <a:gd name="connsiteX0" fmla="*/ 41124 w 50505"/>
                <a:gd name="connsiteY0" fmla="*/ 0 h 62387"/>
                <a:gd name="connsiteX1" fmla="*/ 9382 w 50505"/>
                <a:gd name="connsiteY1" fmla="*/ 0 h 62387"/>
                <a:gd name="connsiteX2" fmla="*/ 0 w 50505"/>
                <a:gd name="connsiteY2" fmla="*/ 11086 h 62387"/>
                <a:gd name="connsiteX3" fmla="*/ 0 w 50505"/>
                <a:gd name="connsiteY3" fmla="*/ 51301 h 62387"/>
                <a:gd name="connsiteX4" fmla="*/ 9382 w 50505"/>
                <a:gd name="connsiteY4" fmla="*/ 62387 h 62387"/>
                <a:gd name="connsiteX5" fmla="*/ 41124 w 50505"/>
                <a:gd name="connsiteY5" fmla="*/ 62387 h 62387"/>
                <a:gd name="connsiteX6" fmla="*/ 50505 w 50505"/>
                <a:gd name="connsiteY6" fmla="*/ 51301 h 62387"/>
                <a:gd name="connsiteX7" fmla="*/ 50505 w 50505"/>
                <a:gd name="connsiteY7" fmla="*/ 11086 h 62387"/>
                <a:gd name="connsiteX8" fmla="*/ 41124 w 50505"/>
                <a:gd name="connsiteY8" fmla="*/ 0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387">
                  <a:moveTo>
                    <a:pt x="41124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086"/>
                  </a:cubicBezTo>
                  <a:lnTo>
                    <a:pt x="0" y="51301"/>
                  </a:lnTo>
                  <a:cubicBezTo>
                    <a:pt x="0" y="57412"/>
                    <a:pt x="4195" y="62387"/>
                    <a:pt x="9382" y="62387"/>
                  </a:cubicBezTo>
                  <a:lnTo>
                    <a:pt x="41124" y="62387"/>
                  </a:lnTo>
                  <a:cubicBezTo>
                    <a:pt x="46310" y="62387"/>
                    <a:pt x="50505" y="57412"/>
                    <a:pt x="50505" y="51301"/>
                  </a:cubicBezTo>
                  <a:lnTo>
                    <a:pt x="50505" y="11086"/>
                  </a:lnTo>
                  <a:cubicBezTo>
                    <a:pt x="50505" y="4975"/>
                    <a:pt x="46310" y="0"/>
                    <a:pt x="41124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86" name="Freeform 64">
              <a:extLst>
                <a:ext uri="{FF2B5EF4-FFF2-40B4-BE49-F238E27FC236}">
                  <a16:creationId xmlns:a16="http://schemas.microsoft.com/office/drawing/2014/main" id="{81793538-E5AA-5C1A-EC5A-AB78765CBCE1}"/>
                </a:ext>
              </a:extLst>
            </p:cNvPr>
            <p:cNvSpPr/>
            <p:nvPr/>
          </p:nvSpPr>
          <p:spPr>
            <a:xfrm>
              <a:off x="4843500" y="1767056"/>
              <a:ext cx="12337" cy="15244"/>
            </a:xfrm>
            <a:custGeom>
              <a:avLst/>
              <a:gdLst>
                <a:gd name="connsiteX0" fmla="*/ 41124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4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4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4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4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4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87" name="Freeform 65">
              <a:extLst>
                <a:ext uri="{FF2B5EF4-FFF2-40B4-BE49-F238E27FC236}">
                  <a16:creationId xmlns:a16="http://schemas.microsoft.com/office/drawing/2014/main" id="{51E11EC0-D78D-D99A-70C1-317E5A45294C}"/>
                </a:ext>
              </a:extLst>
            </p:cNvPr>
            <p:cNvSpPr/>
            <p:nvPr/>
          </p:nvSpPr>
          <p:spPr>
            <a:xfrm>
              <a:off x="4843500" y="1742805"/>
              <a:ext cx="12337" cy="15244"/>
            </a:xfrm>
            <a:custGeom>
              <a:avLst/>
              <a:gdLst>
                <a:gd name="connsiteX0" fmla="*/ 41124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4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4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4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4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4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88" name="Freeform 66">
              <a:extLst>
                <a:ext uri="{FF2B5EF4-FFF2-40B4-BE49-F238E27FC236}">
                  <a16:creationId xmlns:a16="http://schemas.microsoft.com/office/drawing/2014/main" id="{48B44042-28B6-CEB2-8887-24F24101FEED}"/>
                </a:ext>
              </a:extLst>
            </p:cNvPr>
            <p:cNvSpPr/>
            <p:nvPr/>
          </p:nvSpPr>
          <p:spPr>
            <a:xfrm>
              <a:off x="4843500" y="1718549"/>
              <a:ext cx="12337" cy="15244"/>
            </a:xfrm>
            <a:custGeom>
              <a:avLst/>
              <a:gdLst>
                <a:gd name="connsiteX0" fmla="*/ 41124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4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4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4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12"/>
                    <a:pt x="4195" y="62408"/>
                    <a:pt x="9382" y="62408"/>
                  </a:cubicBezTo>
                  <a:lnTo>
                    <a:pt x="41124" y="62408"/>
                  </a:lnTo>
                  <a:cubicBezTo>
                    <a:pt x="46310" y="62408"/>
                    <a:pt x="50505" y="57412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4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89" name="Freeform 67">
              <a:extLst>
                <a:ext uri="{FF2B5EF4-FFF2-40B4-BE49-F238E27FC236}">
                  <a16:creationId xmlns:a16="http://schemas.microsoft.com/office/drawing/2014/main" id="{C7914E83-0089-D077-5D36-348832997D35}"/>
                </a:ext>
              </a:extLst>
            </p:cNvPr>
            <p:cNvSpPr/>
            <p:nvPr/>
          </p:nvSpPr>
          <p:spPr>
            <a:xfrm>
              <a:off x="4843500" y="1694297"/>
              <a:ext cx="12337" cy="15239"/>
            </a:xfrm>
            <a:custGeom>
              <a:avLst/>
              <a:gdLst>
                <a:gd name="connsiteX0" fmla="*/ 41124 w 50505"/>
                <a:gd name="connsiteY0" fmla="*/ 0 h 62387"/>
                <a:gd name="connsiteX1" fmla="*/ 9382 w 50505"/>
                <a:gd name="connsiteY1" fmla="*/ 0 h 62387"/>
                <a:gd name="connsiteX2" fmla="*/ 0 w 50505"/>
                <a:gd name="connsiteY2" fmla="*/ 11086 h 62387"/>
                <a:gd name="connsiteX3" fmla="*/ 0 w 50505"/>
                <a:gd name="connsiteY3" fmla="*/ 51301 h 62387"/>
                <a:gd name="connsiteX4" fmla="*/ 9382 w 50505"/>
                <a:gd name="connsiteY4" fmla="*/ 62387 h 62387"/>
                <a:gd name="connsiteX5" fmla="*/ 41124 w 50505"/>
                <a:gd name="connsiteY5" fmla="*/ 62387 h 62387"/>
                <a:gd name="connsiteX6" fmla="*/ 50505 w 50505"/>
                <a:gd name="connsiteY6" fmla="*/ 51301 h 62387"/>
                <a:gd name="connsiteX7" fmla="*/ 50505 w 50505"/>
                <a:gd name="connsiteY7" fmla="*/ 11086 h 62387"/>
                <a:gd name="connsiteX8" fmla="*/ 41124 w 50505"/>
                <a:gd name="connsiteY8" fmla="*/ 0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387">
                  <a:moveTo>
                    <a:pt x="41124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086"/>
                  </a:cubicBezTo>
                  <a:lnTo>
                    <a:pt x="0" y="51301"/>
                  </a:lnTo>
                  <a:cubicBezTo>
                    <a:pt x="0" y="57412"/>
                    <a:pt x="4195" y="62387"/>
                    <a:pt x="9382" y="62387"/>
                  </a:cubicBezTo>
                  <a:lnTo>
                    <a:pt x="41124" y="62387"/>
                  </a:lnTo>
                  <a:cubicBezTo>
                    <a:pt x="46310" y="62387"/>
                    <a:pt x="50505" y="57412"/>
                    <a:pt x="50505" y="51301"/>
                  </a:cubicBezTo>
                  <a:lnTo>
                    <a:pt x="50505" y="11086"/>
                  </a:lnTo>
                  <a:cubicBezTo>
                    <a:pt x="50505" y="4975"/>
                    <a:pt x="46310" y="0"/>
                    <a:pt x="41124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90" name="Freeform 68">
              <a:extLst>
                <a:ext uri="{FF2B5EF4-FFF2-40B4-BE49-F238E27FC236}">
                  <a16:creationId xmlns:a16="http://schemas.microsoft.com/office/drawing/2014/main" id="{DBE7552B-1BE1-8D10-E16B-C7F49DDB5C2D}"/>
                </a:ext>
              </a:extLst>
            </p:cNvPr>
            <p:cNvSpPr/>
            <p:nvPr/>
          </p:nvSpPr>
          <p:spPr>
            <a:xfrm>
              <a:off x="4843500" y="1670036"/>
              <a:ext cx="12337" cy="15244"/>
            </a:xfrm>
            <a:custGeom>
              <a:avLst/>
              <a:gdLst>
                <a:gd name="connsiteX0" fmla="*/ 41124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4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4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4" y="0"/>
                  </a:moveTo>
                  <a:lnTo>
                    <a:pt x="9382" y="0"/>
                  </a:lnTo>
                  <a:cubicBezTo>
                    <a:pt x="4195" y="0"/>
                    <a:pt x="0" y="4996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4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96"/>
                    <a:pt x="46310" y="0"/>
                    <a:pt x="41124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91" name="Freeform 69">
              <a:extLst>
                <a:ext uri="{FF2B5EF4-FFF2-40B4-BE49-F238E27FC236}">
                  <a16:creationId xmlns:a16="http://schemas.microsoft.com/office/drawing/2014/main" id="{732509A5-07F1-B1B7-1CF4-4A89AEA0A1DF}"/>
                </a:ext>
              </a:extLst>
            </p:cNvPr>
            <p:cNvSpPr/>
            <p:nvPr/>
          </p:nvSpPr>
          <p:spPr>
            <a:xfrm>
              <a:off x="4863020" y="1864080"/>
              <a:ext cx="12337" cy="15244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92" name="Freeform 70">
              <a:extLst>
                <a:ext uri="{FF2B5EF4-FFF2-40B4-BE49-F238E27FC236}">
                  <a16:creationId xmlns:a16="http://schemas.microsoft.com/office/drawing/2014/main" id="{2221C94D-415E-07F6-D348-8ED58D657204}"/>
                </a:ext>
              </a:extLst>
            </p:cNvPr>
            <p:cNvSpPr/>
            <p:nvPr/>
          </p:nvSpPr>
          <p:spPr>
            <a:xfrm>
              <a:off x="4863020" y="1839824"/>
              <a:ext cx="12337" cy="15244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93" name="Freeform 71">
              <a:extLst>
                <a:ext uri="{FF2B5EF4-FFF2-40B4-BE49-F238E27FC236}">
                  <a16:creationId xmlns:a16="http://schemas.microsoft.com/office/drawing/2014/main" id="{54218898-2A82-C553-1D63-3C18F5070C8C}"/>
                </a:ext>
              </a:extLst>
            </p:cNvPr>
            <p:cNvSpPr/>
            <p:nvPr/>
          </p:nvSpPr>
          <p:spPr>
            <a:xfrm>
              <a:off x="4863020" y="1815568"/>
              <a:ext cx="12337" cy="15244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94" name="Freeform 72">
              <a:extLst>
                <a:ext uri="{FF2B5EF4-FFF2-40B4-BE49-F238E27FC236}">
                  <a16:creationId xmlns:a16="http://schemas.microsoft.com/office/drawing/2014/main" id="{F58ED9CC-6408-BE9E-F283-4BA95C5C2426}"/>
                </a:ext>
              </a:extLst>
            </p:cNvPr>
            <p:cNvSpPr/>
            <p:nvPr/>
          </p:nvSpPr>
          <p:spPr>
            <a:xfrm>
              <a:off x="4863020" y="1791312"/>
              <a:ext cx="12337" cy="15244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95" name="Freeform 73">
              <a:extLst>
                <a:ext uri="{FF2B5EF4-FFF2-40B4-BE49-F238E27FC236}">
                  <a16:creationId xmlns:a16="http://schemas.microsoft.com/office/drawing/2014/main" id="{1033E3C5-A453-C192-A70E-AFAFB24BC8C7}"/>
                </a:ext>
              </a:extLst>
            </p:cNvPr>
            <p:cNvSpPr/>
            <p:nvPr/>
          </p:nvSpPr>
          <p:spPr>
            <a:xfrm>
              <a:off x="4863020" y="1767061"/>
              <a:ext cx="12337" cy="15244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96" name="Freeform 74">
              <a:extLst>
                <a:ext uri="{FF2B5EF4-FFF2-40B4-BE49-F238E27FC236}">
                  <a16:creationId xmlns:a16="http://schemas.microsoft.com/office/drawing/2014/main" id="{2981F3A4-4E07-824F-02EE-DA2E47BF8C59}"/>
                </a:ext>
              </a:extLst>
            </p:cNvPr>
            <p:cNvSpPr/>
            <p:nvPr/>
          </p:nvSpPr>
          <p:spPr>
            <a:xfrm>
              <a:off x="4863020" y="1742805"/>
              <a:ext cx="12337" cy="15244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97" name="Freeform 75">
              <a:extLst>
                <a:ext uri="{FF2B5EF4-FFF2-40B4-BE49-F238E27FC236}">
                  <a16:creationId xmlns:a16="http://schemas.microsoft.com/office/drawing/2014/main" id="{C55AE5D9-1A7E-3B4F-5EFC-B70D38B7786E}"/>
                </a:ext>
              </a:extLst>
            </p:cNvPr>
            <p:cNvSpPr/>
            <p:nvPr/>
          </p:nvSpPr>
          <p:spPr>
            <a:xfrm>
              <a:off x="4863020" y="1718549"/>
              <a:ext cx="12337" cy="15244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98" name="Freeform 76">
              <a:extLst>
                <a:ext uri="{FF2B5EF4-FFF2-40B4-BE49-F238E27FC236}">
                  <a16:creationId xmlns:a16="http://schemas.microsoft.com/office/drawing/2014/main" id="{B94F31C3-D27B-3C76-91CB-64C3A09072AE}"/>
                </a:ext>
              </a:extLst>
            </p:cNvPr>
            <p:cNvSpPr/>
            <p:nvPr/>
          </p:nvSpPr>
          <p:spPr>
            <a:xfrm>
              <a:off x="4863020" y="1694293"/>
              <a:ext cx="12337" cy="15244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199" name="Freeform 77">
              <a:extLst>
                <a:ext uri="{FF2B5EF4-FFF2-40B4-BE49-F238E27FC236}">
                  <a16:creationId xmlns:a16="http://schemas.microsoft.com/office/drawing/2014/main" id="{6C53668D-053B-5DBE-A934-AD3F40447FD8}"/>
                </a:ext>
              </a:extLst>
            </p:cNvPr>
            <p:cNvSpPr/>
            <p:nvPr/>
          </p:nvSpPr>
          <p:spPr>
            <a:xfrm>
              <a:off x="4863020" y="1670036"/>
              <a:ext cx="12337" cy="15244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200" name="Freeform 78">
              <a:extLst>
                <a:ext uri="{FF2B5EF4-FFF2-40B4-BE49-F238E27FC236}">
                  <a16:creationId xmlns:a16="http://schemas.microsoft.com/office/drawing/2014/main" id="{6BD4A47D-68B0-3759-3B90-6C4C80500607}"/>
                </a:ext>
              </a:extLst>
            </p:cNvPr>
            <p:cNvSpPr/>
            <p:nvPr/>
          </p:nvSpPr>
          <p:spPr>
            <a:xfrm>
              <a:off x="4882541" y="1864075"/>
              <a:ext cx="12332" cy="15244"/>
            </a:xfrm>
            <a:custGeom>
              <a:avLst/>
              <a:gdLst>
                <a:gd name="connsiteX0" fmla="*/ 41103 w 50484"/>
                <a:gd name="connsiteY0" fmla="*/ 0 h 62408"/>
                <a:gd name="connsiteX1" fmla="*/ 9361 w 50484"/>
                <a:gd name="connsiteY1" fmla="*/ 0 h 62408"/>
                <a:gd name="connsiteX2" fmla="*/ 0 w 50484"/>
                <a:gd name="connsiteY2" fmla="*/ 11107 h 62408"/>
                <a:gd name="connsiteX3" fmla="*/ 0 w 50484"/>
                <a:gd name="connsiteY3" fmla="*/ 51301 h 62408"/>
                <a:gd name="connsiteX4" fmla="*/ 9361 w 50484"/>
                <a:gd name="connsiteY4" fmla="*/ 62408 h 62408"/>
                <a:gd name="connsiteX5" fmla="*/ 41103 w 50484"/>
                <a:gd name="connsiteY5" fmla="*/ 62408 h 62408"/>
                <a:gd name="connsiteX6" fmla="*/ 50485 w 50484"/>
                <a:gd name="connsiteY6" fmla="*/ 51301 h 62408"/>
                <a:gd name="connsiteX7" fmla="*/ 50485 w 50484"/>
                <a:gd name="connsiteY7" fmla="*/ 11107 h 62408"/>
                <a:gd name="connsiteX8" fmla="*/ 41103 w 50484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201" name="Freeform 79">
              <a:extLst>
                <a:ext uri="{FF2B5EF4-FFF2-40B4-BE49-F238E27FC236}">
                  <a16:creationId xmlns:a16="http://schemas.microsoft.com/office/drawing/2014/main" id="{DB8DFEB2-65F4-31D9-D780-CAC0FCE07AA1}"/>
                </a:ext>
              </a:extLst>
            </p:cNvPr>
            <p:cNvSpPr/>
            <p:nvPr/>
          </p:nvSpPr>
          <p:spPr>
            <a:xfrm>
              <a:off x="4882541" y="1839824"/>
              <a:ext cx="12332" cy="15244"/>
            </a:xfrm>
            <a:custGeom>
              <a:avLst/>
              <a:gdLst>
                <a:gd name="connsiteX0" fmla="*/ 41103 w 50484"/>
                <a:gd name="connsiteY0" fmla="*/ 0 h 62408"/>
                <a:gd name="connsiteX1" fmla="*/ 9361 w 50484"/>
                <a:gd name="connsiteY1" fmla="*/ 0 h 62408"/>
                <a:gd name="connsiteX2" fmla="*/ 0 w 50484"/>
                <a:gd name="connsiteY2" fmla="*/ 11107 h 62408"/>
                <a:gd name="connsiteX3" fmla="*/ 0 w 50484"/>
                <a:gd name="connsiteY3" fmla="*/ 51301 h 62408"/>
                <a:gd name="connsiteX4" fmla="*/ 9361 w 50484"/>
                <a:gd name="connsiteY4" fmla="*/ 62408 h 62408"/>
                <a:gd name="connsiteX5" fmla="*/ 41103 w 50484"/>
                <a:gd name="connsiteY5" fmla="*/ 62408 h 62408"/>
                <a:gd name="connsiteX6" fmla="*/ 50485 w 50484"/>
                <a:gd name="connsiteY6" fmla="*/ 51301 h 62408"/>
                <a:gd name="connsiteX7" fmla="*/ 50485 w 50484"/>
                <a:gd name="connsiteY7" fmla="*/ 11107 h 62408"/>
                <a:gd name="connsiteX8" fmla="*/ 41103 w 50484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202" name="Freeform 80">
              <a:extLst>
                <a:ext uri="{FF2B5EF4-FFF2-40B4-BE49-F238E27FC236}">
                  <a16:creationId xmlns:a16="http://schemas.microsoft.com/office/drawing/2014/main" id="{0F2D793F-9FED-B743-49DD-CE47924703BF}"/>
                </a:ext>
              </a:extLst>
            </p:cNvPr>
            <p:cNvSpPr/>
            <p:nvPr/>
          </p:nvSpPr>
          <p:spPr>
            <a:xfrm>
              <a:off x="4882541" y="1815568"/>
              <a:ext cx="12332" cy="15239"/>
            </a:xfrm>
            <a:custGeom>
              <a:avLst/>
              <a:gdLst>
                <a:gd name="connsiteX0" fmla="*/ 41103 w 50484"/>
                <a:gd name="connsiteY0" fmla="*/ 0 h 62387"/>
                <a:gd name="connsiteX1" fmla="*/ 9361 w 50484"/>
                <a:gd name="connsiteY1" fmla="*/ 0 h 62387"/>
                <a:gd name="connsiteX2" fmla="*/ 0 w 50484"/>
                <a:gd name="connsiteY2" fmla="*/ 11107 h 62387"/>
                <a:gd name="connsiteX3" fmla="*/ 0 w 50484"/>
                <a:gd name="connsiteY3" fmla="*/ 51301 h 62387"/>
                <a:gd name="connsiteX4" fmla="*/ 9361 w 50484"/>
                <a:gd name="connsiteY4" fmla="*/ 62387 h 62387"/>
                <a:gd name="connsiteX5" fmla="*/ 41103 w 50484"/>
                <a:gd name="connsiteY5" fmla="*/ 62387 h 62387"/>
                <a:gd name="connsiteX6" fmla="*/ 50485 w 50484"/>
                <a:gd name="connsiteY6" fmla="*/ 51301 h 62387"/>
                <a:gd name="connsiteX7" fmla="*/ 50485 w 50484"/>
                <a:gd name="connsiteY7" fmla="*/ 11107 h 62387"/>
                <a:gd name="connsiteX8" fmla="*/ 41103 w 50484"/>
                <a:gd name="connsiteY8" fmla="*/ 0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387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12"/>
                    <a:pt x="4195" y="62387"/>
                    <a:pt x="9361" y="62387"/>
                  </a:cubicBezTo>
                  <a:lnTo>
                    <a:pt x="41103" y="62387"/>
                  </a:lnTo>
                  <a:cubicBezTo>
                    <a:pt x="46290" y="62387"/>
                    <a:pt x="50485" y="57412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203" name="Freeform 81">
              <a:extLst>
                <a:ext uri="{FF2B5EF4-FFF2-40B4-BE49-F238E27FC236}">
                  <a16:creationId xmlns:a16="http://schemas.microsoft.com/office/drawing/2014/main" id="{983A4498-A04E-A219-1EDF-817DA1B7D323}"/>
                </a:ext>
              </a:extLst>
            </p:cNvPr>
            <p:cNvSpPr/>
            <p:nvPr/>
          </p:nvSpPr>
          <p:spPr>
            <a:xfrm>
              <a:off x="4882541" y="1791317"/>
              <a:ext cx="12332" cy="15239"/>
            </a:xfrm>
            <a:custGeom>
              <a:avLst/>
              <a:gdLst>
                <a:gd name="connsiteX0" fmla="*/ 41103 w 50484"/>
                <a:gd name="connsiteY0" fmla="*/ 0 h 62387"/>
                <a:gd name="connsiteX1" fmla="*/ 9361 w 50484"/>
                <a:gd name="connsiteY1" fmla="*/ 0 h 62387"/>
                <a:gd name="connsiteX2" fmla="*/ 0 w 50484"/>
                <a:gd name="connsiteY2" fmla="*/ 11086 h 62387"/>
                <a:gd name="connsiteX3" fmla="*/ 0 w 50484"/>
                <a:gd name="connsiteY3" fmla="*/ 51301 h 62387"/>
                <a:gd name="connsiteX4" fmla="*/ 9361 w 50484"/>
                <a:gd name="connsiteY4" fmla="*/ 62387 h 62387"/>
                <a:gd name="connsiteX5" fmla="*/ 41103 w 50484"/>
                <a:gd name="connsiteY5" fmla="*/ 62387 h 62387"/>
                <a:gd name="connsiteX6" fmla="*/ 50485 w 50484"/>
                <a:gd name="connsiteY6" fmla="*/ 51301 h 62387"/>
                <a:gd name="connsiteX7" fmla="*/ 50485 w 50484"/>
                <a:gd name="connsiteY7" fmla="*/ 11086 h 62387"/>
                <a:gd name="connsiteX8" fmla="*/ 41103 w 50484"/>
                <a:gd name="connsiteY8" fmla="*/ 0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387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086"/>
                  </a:cubicBezTo>
                  <a:lnTo>
                    <a:pt x="0" y="51301"/>
                  </a:lnTo>
                  <a:cubicBezTo>
                    <a:pt x="0" y="57412"/>
                    <a:pt x="4195" y="62387"/>
                    <a:pt x="9361" y="62387"/>
                  </a:cubicBezTo>
                  <a:lnTo>
                    <a:pt x="41103" y="62387"/>
                  </a:lnTo>
                  <a:cubicBezTo>
                    <a:pt x="46290" y="62387"/>
                    <a:pt x="50485" y="57412"/>
                    <a:pt x="50485" y="51301"/>
                  </a:cubicBezTo>
                  <a:lnTo>
                    <a:pt x="50485" y="11086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204" name="Freeform 82">
              <a:extLst>
                <a:ext uri="{FF2B5EF4-FFF2-40B4-BE49-F238E27FC236}">
                  <a16:creationId xmlns:a16="http://schemas.microsoft.com/office/drawing/2014/main" id="{9125B0A9-3548-C11F-45D9-26CA3C135180}"/>
                </a:ext>
              </a:extLst>
            </p:cNvPr>
            <p:cNvSpPr/>
            <p:nvPr/>
          </p:nvSpPr>
          <p:spPr>
            <a:xfrm>
              <a:off x="4882541" y="1767056"/>
              <a:ext cx="12332" cy="15244"/>
            </a:xfrm>
            <a:custGeom>
              <a:avLst/>
              <a:gdLst>
                <a:gd name="connsiteX0" fmla="*/ 41103 w 50484"/>
                <a:gd name="connsiteY0" fmla="*/ 0 h 62408"/>
                <a:gd name="connsiteX1" fmla="*/ 9361 w 50484"/>
                <a:gd name="connsiteY1" fmla="*/ 0 h 62408"/>
                <a:gd name="connsiteX2" fmla="*/ 0 w 50484"/>
                <a:gd name="connsiteY2" fmla="*/ 11107 h 62408"/>
                <a:gd name="connsiteX3" fmla="*/ 0 w 50484"/>
                <a:gd name="connsiteY3" fmla="*/ 51301 h 62408"/>
                <a:gd name="connsiteX4" fmla="*/ 9361 w 50484"/>
                <a:gd name="connsiteY4" fmla="*/ 62408 h 62408"/>
                <a:gd name="connsiteX5" fmla="*/ 41103 w 50484"/>
                <a:gd name="connsiteY5" fmla="*/ 62408 h 62408"/>
                <a:gd name="connsiteX6" fmla="*/ 50485 w 50484"/>
                <a:gd name="connsiteY6" fmla="*/ 51301 h 62408"/>
                <a:gd name="connsiteX7" fmla="*/ 50485 w 50484"/>
                <a:gd name="connsiteY7" fmla="*/ 11107 h 62408"/>
                <a:gd name="connsiteX8" fmla="*/ 41103 w 50484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205" name="Freeform 83">
              <a:extLst>
                <a:ext uri="{FF2B5EF4-FFF2-40B4-BE49-F238E27FC236}">
                  <a16:creationId xmlns:a16="http://schemas.microsoft.com/office/drawing/2014/main" id="{87ADA58C-281B-F7F6-D051-F067FE31E693}"/>
                </a:ext>
              </a:extLst>
            </p:cNvPr>
            <p:cNvSpPr/>
            <p:nvPr/>
          </p:nvSpPr>
          <p:spPr>
            <a:xfrm>
              <a:off x="4882541" y="1742805"/>
              <a:ext cx="12332" cy="15244"/>
            </a:xfrm>
            <a:custGeom>
              <a:avLst/>
              <a:gdLst>
                <a:gd name="connsiteX0" fmla="*/ 41103 w 50484"/>
                <a:gd name="connsiteY0" fmla="*/ 0 h 62408"/>
                <a:gd name="connsiteX1" fmla="*/ 9361 w 50484"/>
                <a:gd name="connsiteY1" fmla="*/ 0 h 62408"/>
                <a:gd name="connsiteX2" fmla="*/ 0 w 50484"/>
                <a:gd name="connsiteY2" fmla="*/ 11107 h 62408"/>
                <a:gd name="connsiteX3" fmla="*/ 0 w 50484"/>
                <a:gd name="connsiteY3" fmla="*/ 51301 h 62408"/>
                <a:gd name="connsiteX4" fmla="*/ 9361 w 50484"/>
                <a:gd name="connsiteY4" fmla="*/ 62408 h 62408"/>
                <a:gd name="connsiteX5" fmla="*/ 41103 w 50484"/>
                <a:gd name="connsiteY5" fmla="*/ 62408 h 62408"/>
                <a:gd name="connsiteX6" fmla="*/ 50485 w 50484"/>
                <a:gd name="connsiteY6" fmla="*/ 51301 h 62408"/>
                <a:gd name="connsiteX7" fmla="*/ 50485 w 50484"/>
                <a:gd name="connsiteY7" fmla="*/ 11107 h 62408"/>
                <a:gd name="connsiteX8" fmla="*/ 41103 w 50484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206" name="Freeform 84">
              <a:extLst>
                <a:ext uri="{FF2B5EF4-FFF2-40B4-BE49-F238E27FC236}">
                  <a16:creationId xmlns:a16="http://schemas.microsoft.com/office/drawing/2014/main" id="{8FD3ED59-550D-AE49-25B9-C69EADE56D23}"/>
                </a:ext>
              </a:extLst>
            </p:cNvPr>
            <p:cNvSpPr/>
            <p:nvPr/>
          </p:nvSpPr>
          <p:spPr>
            <a:xfrm>
              <a:off x="4882541" y="1718549"/>
              <a:ext cx="12332" cy="15244"/>
            </a:xfrm>
            <a:custGeom>
              <a:avLst/>
              <a:gdLst>
                <a:gd name="connsiteX0" fmla="*/ 41103 w 50484"/>
                <a:gd name="connsiteY0" fmla="*/ 0 h 62408"/>
                <a:gd name="connsiteX1" fmla="*/ 9361 w 50484"/>
                <a:gd name="connsiteY1" fmla="*/ 0 h 62408"/>
                <a:gd name="connsiteX2" fmla="*/ 0 w 50484"/>
                <a:gd name="connsiteY2" fmla="*/ 11107 h 62408"/>
                <a:gd name="connsiteX3" fmla="*/ 0 w 50484"/>
                <a:gd name="connsiteY3" fmla="*/ 51301 h 62408"/>
                <a:gd name="connsiteX4" fmla="*/ 9361 w 50484"/>
                <a:gd name="connsiteY4" fmla="*/ 62408 h 62408"/>
                <a:gd name="connsiteX5" fmla="*/ 41103 w 50484"/>
                <a:gd name="connsiteY5" fmla="*/ 62408 h 62408"/>
                <a:gd name="connsiteX6" fmla="*/ 50485 w 50484"/>
                <a:gd name="connsiteY6" fmla="*/ 51301 h 62408"/>
                <a:gd name="connsiteX7" fmla="*/ 50485 w 50484"/>
                <a:gd name="connsiteY7" fmla="*/ 11107 h 62408"/>
                <a:gd name="connsiteX8" fmla="*/ 41103 w 50484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12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12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207" name="Freeform 85">
              <a:extLst>
                <a:ext uri="{FF2B5EF4-FFF2-40B4-BE49-F238E27FC236}">
                  <a16:creationId xmlns:a16="http://schemas.microsoft.com/office/drawing/2014/main" id="{72EA4984-AA8C-E988-76C5-95D79A777304}"/>
                </a:ext>
              </a:extLst>
            </p:cNvPr>
            <p:cNvSpPr/>
            <p:nvPr/>
          </p:nvSpPr>
          <p:spPr>
            <a:xfrm>
              <a:off x="4882541" y="1694297"/>
              <a:ext cx="12332" cy="15239"/>
            </a:xfrm>
            <a:custGeom>
              <a:avLst/>
              <a:gdLst>
                <a:gd name="connsiteX0" fmla="*/ 41103 w 50484"/>
                <a:gd name="connsiteY0" fmla="*/ 0 h 62387"/>
                <a:gd name="connsiteX1" fmla="*/ 9361 w 50484"/>
                <a:gd name="connsiteY1" fmla="*/ 0 h 62387"/>
                <a:gd name="connsiteX2" fmla="*/ 0 w 50484"/>
                <a:gd name="connsiteY2" fmla="*/ 11086 h 62387"/>
                <a:gd name="connsiteX3" fmla="*/ 0 w 50484"/>
                <a:gd name="connsiteY3" fmla="*/ 51301 h 62387"/>
                <a:gd name="connsiteX4" fmla="*/ 9361 w 50484"/>
                <a:gd name="connsiteY4" fmla="*/ 62387 h 62387"/>
                <a:gd name="connsiteX5" fmla="*/ 41103 w 50484"/>
                <a:gd name="connsiteY5" fmla="*/ 62387 h 62387"/>
                <a:gd name="connsiteX6" fmla="*/ 50485 w 50484"/>
                <a:gd name="connsiteY6" fmla="*/ 51301 h 62387"/>
                <a:gd name="connsiteX7" fmla="*/ 50485 w 50484"/>
                <a:gd name="connsiteY7" fmla="*/ 11086 h 62387"/>
                <a:gd name="connsiteX8" fmla="*/ 41103 w 50484"/>
                <a:gd name="connsiteY8" fmla="*/ 0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387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086"/>
                  </a:cubicBezTo>
                  <a:lnTo>
                    <a:pt x="0" y="51301"/>
                  </a:lnTo>
                  <a:cubicBezTo>
                    <a:pt x="0" y="57412"/>
                    <a:pt x="4195" y="62387"/>
                    <a:pt x="9361" y="62387"/>
                  </a:cubicBezTo>
                  <a:lnTo>
                    <a:pt x="41103" y="62387"/>
                  </a:lnTo>
                  <a:cubicBezTo>
                    <a:pt x="46290" y="62387"/>
                    <a:pt x="50485" y="57412"/>
                    <a:pt x="50485" y="51301"/>
                  </a:cubicBezTo>
                  <a:lnTo>
                    <a:pt x="50485" y="11086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208" name="Freeform 86">
              <a:extLst>
                <a:ext uri="{FF2B5EF4-FFF2-40B4-BE49-F238E27FC236}">
                  <a16:creationId xmlns:a16="http://schemas.microsoft.com/office/drawing/2014/main" id="{855D91D2-C2F8-2965-0D45-65082EA0EB25}"/>
                </a:ext>
              </a:extLst>
            </p:cNvPr>
            <p:cNvSpPr/>
            <p:nvPr/>
          </p:nvSpPr>
          <p:spPr>
            <a:xfrm>
              <a:off x="4882541" y="1670036"/>
              <a:ext cx="12332" cy="15244"/>
            </a:xfrm>
            <a:custGeom>
              <a:avLst/>
              <a:gdLst>
                <a:gd name="connsiteX0" fmla="*/ 41103 w 50484"/>
                <a:gd name="connsiteY0" fmla="*/ 0 h 62408"/>
                <a:gd name="connsiteX1" fmla="*/ 9361 w 50484"/>
                <a:gd name="connsiteY1" fmla="*/ 0 h 62408"/>
                <a:gd name="connsiteX2" fmla="*/ 0 w 50484"/>
                <a:gd name="connsiteY2" fmla="*/ 11107 h 62408"/>
                <a:gd name="connsiteX3" fmla="*/ 0 w 50484"/>
                <a:gd name="connsiteY3" fmla="*/ 51301 h 62408"/>
                <a:gd name="connsiteX4" fmla="*/ 9361 w 50484"/>
                <a:gd name="connsiteY4" fmla="*/ 62408 h 62408"/>
                <a:gd name="connsiteX5" fmla="*/ 41103 w 50484"/>
                <a:gd name="connsiteY5" fmla="*/ 62408 h 62408"/>
                <a:gd name="connsiteX6" fmla="*/ 50485 w 50484"/>
                <a:gd name="connsiteY6" fmla="*/ 51301 h 62408"/>
                <a:gd name="connsiteX7" fmla="*/ 50485 w 50484"/>
                <a:gd name="connsiteY7" fmla="*/ 11107 h 62408"/>
                <a:gd name="connsiteX8" fmla="*/ 41103 w 50484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96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96"/>
                    <a:pt x="46290" y="0"/>
                    <a:pt x="41103" y="0"/>
                  </a:cubicBez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209" name="Freeform 87">
              <a:extLst>
                <a:ext uri="{FF2B5EF4-FFF2-40B4-BE49-F238E27FC236}">
                  <a16:creationId xmlns:a16="http://schemas.microsoft.com/office/drawing/2014/main" id="{1FB6079B-7CCB-8D4F-888C-D13B5B1FF5EE}"/>
                </a:ext>
              </a:extLst>
            </p:cNvPr>
            <p:cNvSpPr/>
            <p:nvPr/>
          </p:nvSpPr>
          <p:spPr>
            <a:xfrm>
              <a:off x="4494001" y="1647934"/>
              <a:ext cx="92739" cy="256736"/>
            </a:xfrm>
            <a:custGeom>
              <a:avLst/>
              <a:gdLst>
                <a:gd name="connsiteX0" fmla="*/ 379287 w 379658"/>
                <a:gd name="connsiteY0" fmla="*/ 63791 h 1051028"/>
                <a:gd name="connsiteX1" fmla="*/ 379059 w 379658"/>
                <a:gd name="connsiteY1" fmla="*/ 62367 h 1051028"/>
                <a:gd name="connsiteX2" fmla="*/ 378605 w 379658"/>
                <a:gd name="connsiteY2" fmla="*/ 59497 h 1051028"/>
                <a:gd name="connsiteX3" fmla="*/ 378191 w 379658"/>
                <a:gd name="connsiteY3" fmla="*/ 56628 h 1051028"/>
                <a:gd name="connsiteX4" fmla="*/ 377447 w 379658"/>
                <a:gd name="connsiteY4" fmla="*/ 53820 h 1051028"/>
                <a:gd name="connsiteX5" fmla="*/ 352773 w 379658"/>
                <a:gd name="connsiteY5" fmla="*/ 15483 h 1051028"/>
                <a:gd name="connsiteX6" fmla="*/ 332584 w 379658"/>
                <a:gd name="connsiteY6" fmla="*/ 4273 h 1051028"/>
                <a:gd name="connsiteX7" fmla="*/ 329876 w 379658"/>
                <a:gd name="connsiteY7" fmla="*/ 3262 h 1051028"/>
                <a:gd name="connsiteX8" fmla="*/ 327066 w 379658"/>
                <a:gd name="connsiteY8" fmla="*/ 2539 h 1051028"/>
                <a:gd name="connsiteX9" fmla="*/ 324256 w 379658"/>
                <a:gd name="connsiteY9" fmla="*/ 1817 h 1051028"/>
                <a:gd name="connsiteX10" fmla="*/ 322850 w 379658"/>
                <a:gd name="connsiteY10" fmla="*/ 1445 h 1051028"/>
                <a:gd name="connsiteX11" fmla="*/ 321404 w 379658"/>
                <a:gd name="connsiteY11" fmla="*/ 1239 h 1051028"/>
                <a:gd name="connsiteX12" fmla="*/ 315659 w 379658"/>
                <a:gd name="connsiteY12" fmla="*/ 372 h 1051028"/>
                <a:gd name="connsiteX13" fmla="*/ 309831 w 379658"/>
                <a:gd name="connsiteY13" fmla="*/ 83 h 1051028"/>
                <a:gd name="connsiteX14" fmla="*/ 71129 w 379658"/>
                <a:gd name="connsiteY14" fmla="*/ 0 h 1051028"/>
                <a:gd name="connsiteX15" fmla="*/ 27939 w 379658"/>
                <a:gd name="connsiteY15" fmla="*/ 14719 h 1051028"/>
                <a:gd name="connsiteX16" fmla="*/ 12027 w 379658"/>
                <a:gd name="connsiteY16" fmla="*/ 31545 h 1051028"/>
                <a:gd name="connsiteX17" fmla="*/ 2542 w 379658"/>
                <a:gd name="connsiteY17" fmla="*/ 52581 h 1051028"/>
                <a:gd name="connsiteX18" fmla="*/ 1819 w 379658"/>
                <a:gd name="connsiteY18" fmla="*/ 55389 h 1051028"/>
                <a:gd name="connsiteX19" fmla="*/ 1447 w 379658"/>
                <a:gd name="connsiteY19" fmla="*/ 56793 h 1051028"/>
                <a:gd name="connsiteX20" fmla="*/ 1240 w 379658"/>
                <a:gd name="connsiteY20" fmla="*/ 58238 h 1051028"/>
                <a:gd name="connsiteX21" fmla="*/ 372 w 379658"/>
                <a:gd name="connsiteY21" fmla="*/ 63977 h 1051028"/>
                <a:gd name="connsiteX22" fmla="*/ 83 w 379658"/>
                <a:gd name="connsiteY22" fmla="*/ 69799 h 1051028"/>
                <a:gd name="connsiteX23" fmla="*/ 0 w 379658"/>
                <a:gd name="connsiteY23" fmla="*/ 71306 h 1051028"/>
                <a:gd name="connsiteX24" fmla="*/ 0 w 379658"/>
                <a:gd name="connsiteY24" fmla="*/ 979950 h 1051028"/>
                <a:gd name="connsiteX25" fmla="*/ 310 w 379658"/>
                <a:gd name="connsiteY25" fmla="*/ 985771 h 1051028"/>
                <a:gd name="connsiteX26" fmla="*/ 372 w 379658"/>
                <a:gd name="connsiteY26" fmla="*/ 987237 h 1051028"/>
                <a:gd name="connsiteX27" fmla="*/ 599 w 379658"/>
                <a:gd name="connsiteY27" fmla="*/ 988662 h 1051028"/>
                <a:gd name="connsiteX28" fmla="*/ 1054 w 379658"/>
                <a:gd name="connsiteY28" fmla="*/ 991531 h 1051028"/>
                <a:gd name="connsiteX29" fmla="*/ 1467 w 379658"/>
                <a:gd name="connsiteY29" fmla="*/ 994401 h 1051028"/>
                <a:gd name="connsiteX30" fmla="*/ 2211 w 379658"/>
                <a:gd name="connsiteY30" fmla="*/ 997208 h 1051028"/>
                <a:gd name="connsiteX31" fmla="*/ 26885 w 379658"/>
                <a:gd name="connsiteY31" fmla="*/ 1035545 h 1051028"/>
                <a:gd name="connsiteX32" fmla="*/ 47075 w 379658"/>
                <a:gd name="connsiteY32" fmla="*/ 1046755 h 1051028"/>
                <a:gd name="connsiteX33" fmla="*/ 49782 w 379658"/>
                <a:gd name="connsiteY33" fmla="*/ 1047767 h 1051028"/>
                <a:gd name="connsiteX34" fmla="*/ 52593 w 379658"/>
                <a:gd name="connsiteY34" fmla="*/ 1048489 h 1051028"/>
                <a:gd name="connsiteX35" fmla="*/ 55403 w 379658"/>
                <a:gd name="connsiteY35" fmla="*/ 1049212 h 1051028"/>
                <a:gd name="connsiteX36" fmla="*/ 56808 w 379658"/>
                <a:gd name="connsiteY36" fmla="*/ 1049583 h 1051028"/>
                <a:gd name="connsiteX37" fmla="*/ 58255 w 379658"/>
                <a:gd name="connsiteY37" fmla="*/ 1049790 h 1051028"/>
                <a:gd name="connsiteX38" fmla="*/ 64000 w 379658"/>
                <a:gd name="connsiteY38" fmla="*/ 1050657 h 1051028"/>
                <a:gd name="connsiteX39" fmla="*/ 69827 w 379658"/>
                <a:gd name="connsiteY39" fmla="*/ 1050946 h 1051028"/>
                <a:gd name="connsiteX40" fmla="*/ 308529 w 379658"/>
                <a:gd name="connsiteY40" fmla="*/ 1051028 h 1051028"/>
                <a:gd name="connsiteX41" fmla="*/ 351719 w 379658"/>
                <a:gd name="connsiteY41" fmla="*/ 1036309 h 1051028"/>
                <a:gd name="connsiteX42" fmla="*/ 367632 w 379658"/>
                <a:gd name="connsiteY42" fmla="*/ 1019484 h 1051028"/>
                <a:gd name="connsiteX43" fmla="*/ 377117 w 379658"/>
                <a:gd name="connsiteY43" fmla="*/ 998447 h 1051028"/>
                <a:gd name="connsiteX44" fmla="*/ 377840 w 379658"/>
                <a:gd name="connsiteY44" fmla="*/ 995639 h 1051028"/>
                <a:gd name="connsiteX45" fmla="*/ 378212 w 379658"/>
                <a:gd name="connsiteY45" fmla="*/ 994236 h 1051028"/>
                <a:gd name="connsiteX46" fmla="*/ 378419 w 379658"/>
                <a:gd name="connsiteY46" fmla="*/ 992790 h 1051028"/>
                <a:gd name="connsiteX47" fmla="*/ 379287 w 379658"/>
                <a:gd name="connsiteY47" fmla="*/ 987051 h 1051028"/>
                <a:gd name="connsiteX48" fmla="*/ 379576 w 379658"/>
                <a:gd name="connsiteY48" fmla="*/ 981230 h 1051028"/>
                <a:gd name="connsiteX49" fmla="*/ 379659 w 379658"/>
                <a:gd name="connsiteY49" fmla="*/ 979723 h 1051028"/>
                <a:gd name="connsiteX50" fmla="*/ 379659 w 379658"/>
                <a:gd name="connsiteY50" fmla="*/ 71058 h 1051028"/>
                <a:gd name="connsiteX51" fmla="*/ 379349 w 379658"/>
                <a:gd name="connsiteY51" fmla="*/ 65236 h 1051028"/>
                <a:gd name="connsiteX52" fmla="*/ 379287 w 379658"/>
                <a:gd name="connsiteY52" fmla="*/ 63771 h 1051028"/>
                <a:gd name="connsiteX53" fmla="*/ 337626 w 379658"/>
                <a:gd name="connsiteY53" fmla="*/ 406902 h 1051028"/>
                <a:gd name="connsiteX54" fmla="*/ 337626 w 379658"/>
                <a:gd name="connsiteY54" fmla="*/ 979702 h 1051028"/>
                <a:gd name="connsiteX55" fmla="*/ 337585 w 379658"/>
                <a:gd name="connsiteY55" fmla="*/ 980177 h 1051028"/>
                <a:gd name="connsiteX56" fmla="*/ 337543 w 379658"/>
                <a:gd name="connsiteY56" fmla="*/ 980486 h 1051028"/>
                <a:gd name="connsiteX57" fmla="*/ 337461 w 379658"/>
                <a:gd name="connsiteY57" fmla="*/ 982922 h 1051028"/>
                <a:gd name="connsiteX58" fmla="*/ 337068 w 379658"/>
                <a:gd name="connsiteY58" fmla="*/ 985255 h 1051028"/>
                <a:gd name="connsiteX59" fmla="*/ 337027 w 379658"/>
                <a:gd name="connsiteY59" fmla="*/ 985854 h 1051028"/>
                <a:gd name="connsiteX60" fmla="*/ 336841 w 379658"/>
                <a:gd name="connsiteY60" fmla="*/ 986411 h 1051028"/>
                <a:gd name="connsiteX61" fmla="*/ 336531 w 379658"/>
                <a:gd name="connsiteY61" fmla="*/ 987526 h 1051028"/>
                <a:gd name="connsiteX62" fmla="*/ 332728 w 379658"/>
                <a:gd name="connsiteY62" fmla="*/ 996073 h 1051028"/>
                <a:gd name="connsiteX63" fmla="*/ 326136 w 379658"/>
                <a:gd name="connsiteY63" fmla="*/ 1002968 h 1051028"/>
                <a:gd name="connsiteX64" fmla="*/ 317870 w 379658"/>
                <a:gd name="connsiteY64" fmla="*/ 1007407 h 1051028"/>
                <a:gd name="connsiteX65" fmla="*/ 308550 w 379658"/>
                <a:gd name="connsiteY65" fmla="*/ 1008996 h 1051028"/>
                <a:gd name="connsiteX66" fmla="*/ 70592 w 379658"/>
                <a:gd name="connsiteY66" fmla="*/ 1008914 h 1051028"/>
                <a:gd name="connsiteX67" fmla="*/ 68153 w 379658"/>
                <a:gd name="connsiteY67" fmla="*/ 1008831 h 1051028"/>
                <a:gd name="connsiteX68" fmla="*/ 65818 w 379658"/>
                <a:gd name="connsiteY68" fmla="*/ 1008439 h 1051028"/>
                <a:gd name="connsiteX69" fmla="*/ 65219 w 379658"/>
                <a:gd name="connsiteY69" fmla="*/ 1008398 h 1051028"/>
                <a:gd name="connsiteX70" fmla="*/ 64661 w 379658"/>
                <a:gd name="connsiteY70" fmla="*/ 1008212 h 1051028"/>
                <a:gd name="connsiteX71" fmla="*/ 63545 w 379658"/>
                <a:gd name="connsiteY71" fmla="*/ 1007902 h 1051028"/>
                <a:gd name="connsiteX72" fmla="*/ 62388 w 379658"/>
                <a:gd name="connsiteY72" fmla="*/ 1007675 h 1051028"/>
                <a:gd name="connsiteX73" fmla="*/ 61313 w 379658"/>
                <a:gd name="connsiteY73" fmla="*/ 1007200 h 1051028"/>
                <a:gd name="connsiteX74" fmla="*/ 53089 w 379658"/>
                <a:gd name="connsiteY74" fmla="*/ 1002658 h 1051028"/>
                <a:gd name="connsiteX75" fmla="*/ 43004 w 379658"/>
                <a:gd name="connsiteY75" fmla="*/ 987010 h 1051028"/>
                <a:gd name="connsiteX76" fmla="*/ 42653 w 379658"/>
                <a:gd name="connsiteY76" fmla="*/ 985895 h 1051028"/>
                <a:gd name="connsiteX77" fmla="*/ 42549 w 379658"/>
                <a:gd name="connsiteY77" fmla="*/ 984719 h 1051028"/>
                <a:gd name="connsiteX78" fmla="*/ 42343 w 379658"/>
                <a:gd name="connsiteY78" fmla="*/ 983562 h 1051028"/>
                <a:gd name="connsiteX79" fmla="*/ 42198 w 379658"/>
                <a:gd name="connsiteY79" fmla="*/ 982984 h 1051028"/>
                <a:gd name="connsiteX80" fmla="*/ 42198 w 379658"/>
                <a:gd name="connsiteY80" fmla="*/ 982365 h 1051028"/>
                <a:gd name="connsiteX81" fmla="*/ 42053 w 379658"/>
                <a:gd name="connsiteY81" fmla="*/ 979929 h 1051028"/>
                <a:gd name="connsiteX82" fmla="*/ 42053 w 379658"/>
                <a:gd name="connsiteY82" fmla="*/ 71285 h 1051028"/>
                <a:gd name="connsiteX83" fmla="*/ 42095 w 379658"/>
                <a:gd name="connsiteY83" fmla="*/ 70810 h 1051028"/>
                <a:gd name="connsiteX84" fmla="*/ 42136 w 379658"/>
                <a:gd name="connsiteY84" fmla="*/ 70501 h 1051028"/>
                <a:gd name="connsiteX85" fmla="*/ 42219 w 379658"/>
                <a:gd name="connsiteY85" fmla="*/ 68065 h 1051028"/>
                <a:gd name="connsiteX86" fmla="*/ 42611 w 379658"/>
                <a:gd name="connsiteY86" fmla="*/ 65732 h 1051028"/>
                <a:gd name="connsiteX87" fmla="*/ 42653 w 379658"/>
                <a:gd name="connsiteY87" fmla="*/ 65133 h 1051028"/>
                <a:gd name="connsiteX88" fmla="*/ 42839 w 379658"/>
                <a:gd name="connsiteY88" fmla="*/ 64576 h 1051028"/>
                <a:gd name="connsiteX89" fmla="*/ 43149 w 379658"/>
                <a:gd name="connsiteY89" fmla="*/ 63461 h 1051028"/>
                <a:gd name="connsiteX90" fmla="*/ 46951 w 379658"/>
                <a:gd name="connsiteY90" fmla="*/ 54914 h 1051028"/>
                <a:gd name="connsiteX91" fmla="*/ 53543 w 379658"/>
                <a:gd name="connsiteY91" fmla="*/ 48019 h 1051028"/>
                <a:gd name="connsiteX92" fmla="*/ 61809 w 379658"/>
                <a:gd name="connsiteY92" fmla="*/ 43580 h 1051028"/>
                <a:gd name="connsiteX93" fmla="*/ 71129 w 379658"/>
                <a:gd name="connsiteY93" fmla="*/ 41991 h 1051028"/>
                <a:gd name="connsiteX94" fmla="*/ 309087 w 379658"/>
                <a:gd name="connsiteY94" fmla="*/ 42073 h 1051028"/>
                <a:gd name="connsiteX95" fmla="*/ 311526 w 379658"/>
                <a:gd name="connsiteY95" fmla="*/ 42156 h 1051028"/>
                <a:gd name="connsiteX96" fmla="*/ 313861 w 379658"/>
                <a:gd name="connsiteY96" fmla="*/ 42548 h 1051028"/>
                <a:gd name="connsiteX97" fmla="*/ 314460 w 379658"/>
                <a:gd name="connsiteY97" fmla="*/ 42589 h 1051028"/>
                <a:gd name="connsiteX98" fmla="*/ 315018 w 379658"/>
                <a:gd name="connsiteY98" fmla="*/ 42775 h 1051028"/>
                <a:gd name="connsiteX99" fmla="*/ 316134 w 379658"/>
                <a:gd name="connsiteY99" fmla="*/ 43085 h 1051028"/>
                <a:gd name="connsiteX100" fmla="*/ 317291 w 379658"/>
                <a:gd name="connsiteY100" fmla="*/ 43312 h 1051028"/>
                <a:gd name="connsiteX101" fmla="*/ 318366 w 379658"/>
                <a:gd name="connsiteY101" fmla="*/ 43787 h 1051028"/>
                <a:gd name="connsiteX102" fmla="*/ 326591 w 379658"/>
                <a:gd name="connsiteY102" fmla="*/ 48329 h 1051028"/>
                <a:gd name="connsiteX103" fmla="*/ 336675 w 379658"/>
                <a:gd name="connsiteY103" fmla="*/ 63977 h 1051028"/>
                <a:gd name="connsiteX104" fmla="*/ 337027 w 379658"/>
                <a:gd name="connsiteY104" fmla="*/ 65092 h 1051028"/>
                <a:gd name="connsiteX105" fmla="*/ 337130 w 379658"/>
                <a:gd name="connsiteY105" fmla="*/ 66269 h 1051028"/>
                <a:gd name="connsiteX106" fmla="*/ 337337 w 379658"/>
                <a:gd name="connsiteY106" fmla="*/ 67425 h 1051028"/>
                <a:gd name="connsiteX107" fmla="*/ 337481 w 379658"/>
                <a:gd name="connsiteY107" fmla="*/ 68003 h 1051028"/>
                <a:gd name="connsiteX108" fmla="*/ 337481 w 379658"/>
                <a:gd name="connsiteY108" fmla="*/ 68622 h 1051028"/>
                <a:gd name="connsiteX109" fmla="*/ 337626 w 379658"/>
                <a:gd name="connsiteY109" fmla="*/ 71058 h 1051028"/>
                <a:gd name="connsiteX110" fmla="*/ 337626 w 379658"/>
                <a:gd name="connsiteY110" fmla="*/ 406902 h 105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379658" h="1051028">
                  <a:moveTo>
                    <a:pt x="379287" y="63791"/>
                  </a:moveTo>
                  <a:lnTo>
                    <a:pt x="379059" y="62367"/>
                  </a:lnTo>
                  <a:lnTo>
                    <a:pt x="378605" y="59497"/>
                  </a:lnTo>
                  <a:lnTo>
                    <a:pt x="378191" y="56628"/>
                  </a:lnTo>
                  <a:lnTo>
                    <a:pt x="377447" y="53820"/>
                  </a:lnTo>
                  <a:cubicBezTo>
                    <a:pt x="373934" y="38750"/>
                    <a:pt x="364800" y="25207"/>
                    <a:pt x="352773" y="15483"/>
                  </a:cubicBezTo>
                  <a:cubicBezTo>
                    <a:pt x="346780" y="10549"/>
                    <a:pt x="339816" y="6875"/>
                    <a:pt x="332584" y="4273"/>
                  </a:cubicBezTo>
                  <a:lnTo>
                    <a:pt x="329876" y="3262"/>
                  </a:lnTo>
                  <a:cubicBezTo>
                    <a:pt x="328947" y="2993"/>
                    <a:pt x="327996" y="2787"/>
                    <a:pt x="327066" y="2539"/>
                  </a:cubicBezTo>
                  <a:lnTo>
                    <a:pt x="324256" y="1817"/>
                  </a:lnTo>
                  <a:lnTo>
                    <a:pt x="322850" y="1445"/>
                  </a:lnTo>
                  <a:lnTo>
                    <a:pt x="321404" y="1239"/>
                  </a:lnTo>
                  <a:lnTo>
                    <a:pt x="315659" y="372"/>
                  </a:lnTo>
                  <a:lnTo>
                    <a:pt x="309831" y="83"/>
                  </a:lnTo>
                  <a:lnTo>
                    <a:pt x="71129" y="0"/>
                  </a:lnTo>
                  <a:cubicBezTo>
                    <a:pt x="55610" y="248"/>
                    <a:pt x="40152" y="5037"/>
                    <a:pt x="27939" y="14719"/>
                  </a:cubicBezTo>
                  <a:cubicBezTo>
                    <a:pt x="21802" y="19447"/>
                    <a:pt x="16408" y="25145"/>
                    <a:pt x="12027" y="31545"/>
                  </a:cubicBezTo>
                  <a:cubicBezTo>
                    <a:pt x="7729" y="38006"/>
                    <a:pt x="4567" y="45149"/>
                    <a:pt x="2542" y="52581"/>
                  </a:cubicBezTo>
                  <a:lnTo>
                    <a:pt x="1819" y="55389"/>
                  </a:lnTo>
                  <a:cubicBezTo>
                    <a:pt x="1695" y="55864"/>
                    <a:pt x="1550" y="56318"/>
                    <a:pt x="1447" y="56793"/>
                  </a:cubicBezTo>
                  <a:lnTo>
                    <a:pt x="1240" y="58238"/>
                  </a:lnTo>
                  <a:lnTo>
                    <a:pt x="372" y="63977"/>
                  </a:lnTo>
                  <a:lnTo>
                    <a:pt x="83" y="69799"/>
                  </a:lnTo>
                  <a:cubicBezTo>
                    <a:pt x="62" y="70315"/>
                    <a:pt x="21" y="70707"/>
                    <a:pt x="0" y="71306"/>
                  </a:cubicBezTo>
                  <a:lnTo>
                    <a:pt x="0" y="979950"/>
                  </a:lnTo>
                  <a:lnTo>
                    <a:pt x="310" y="985771"/>
                  </a:lnTo>
                  <a:lnTo>
                    <a:pt x="372" y="987237"/>
                  </a:lnTo>
                  <a:lnTo>
                    <a:pt x="599" y="988662"/>
                  </a:lnTo>
                  <a:lnTo>
                    <a:pt x="1054" y="991531"/>
                  </a:lnTo>
                  <a:lnTo>
                    <a:pt x="1467" y="994401"/>
                  </a:lnTo>
                  <a:lnTo>
                    <a:pt x="2211" y="997208"/>
                  </a:lnTo>
                  <a:cubicBezTo>
                    <a:pt x="5724" y="1012279"/>
                    <a:pt x="14858" y="1025822"/>
                    <a:pt x="26885" y="1035545"/>
                  </a:cubicBezTo>
                  <a:cubicBezTo>
                    <a:pt x="32878" y="1040479"/>
                    <a:pt x="39842" y="1044154"/>
                    <a:pt x="47075" y="1046755"/>
                  </a:cubicBezTo>
                  <a:lnTo>
                    <a:pt x="49782" y="1047767"/>
                  </a:lnTo>
                  <a:cubicBezTo>
                    <a:pt x="50712" y="1048035"/>
                    <a:pt x="51663" y="1048241"/>
                    <a:pt x="52593" y="1048489"/>
                  </a:cubicBezTo>
                  <a:lnTo>
                    <a:pt x="55403" y="1049212"/>
                  </a:lnTo>
                  <a:lnTo>
                    <a:pt x="56808" y="1049583"/>
                  </a:lnTo>
                  <a:lnTo>
                    <a:pt x="58255" y="1049790"/>
                  </a:lnTo>
                  <a:lnTo>
                    <a:pt x="64000" y="1050657"/>
                  </a:lnTo>
                  <a:lnTo>
                    <a:pt x="69827" y="1050946"/>
                  </a:lnTo>
                  <a:lnTo>
                    <a:pt x="308529" y="1051028"/>
                  </a:lnTo>
                  <a:cubicBezTo>
                    <a:pt x="324049" y="1050781"/>
                    <a:pt x="339506" y="1045991"/>
                    <a:pt x="351719" y="1036309"/>
                  </a:cubicBezTo>
                  <a:cubicBezTo>
                    <a:pt x="357857" y="1031581"/>
                    <a:pt x="363251" y="1025883"/>
                    <a:pt x="367632" y="1019484"/>
                  </a:cubicBezTo>
                  <a:cubicBezTo>
                    <a:pt x="371930" y="1013022"/>
                    <a:pt x="375092" y="1005879"/>
                    <a:pt x="377117" y="998447"/>
                  </a:cubicBezTo>
                  <a:lnTo>
                    <a:pt x="377840" y="995639"/>
                  </a:lnTo>
                  <a:cubicBezTo>
                    <a:pt x="377964" y="995165"/>
                    <a:pt x="378109" y="994710"/>
                    <a:pt x="378212" y="994236"/>
                  </a:cubicBezTo>
                  <a:lnTo>
                    <a:pt x="378419" y="992790"/>
                  </a:lnTo>
                  <a:lnTo>
                    <a:pt x="379287" y="987051"/>
                  </a:lnTo>
                  <a:lnTo>
                    <a:pt x="379576" y="981230"/>
                  </a:lnTo>
                  <a:cubicBezTo>
                    <a:pt x="379597" y="980714"/>
                    <a:pt x="379638" y="980321"/>
                    <a:pt x="379659" y="979723"/>
                  </a:cubicBezTo>
                  <a:lnTo>
                    <a:pt x="379659" y="71058"/>
                  </a:lnTo>
                  <a:lnTo>
                    <a:pt x="379349" y="65236"/>
                  </a:lnTo>
                  <a:lnTo>
                    <a:pt x="379287" y="63771"/>
                  </a:lnTo>
                  <a:close/>
                  <a:moveTo>
                    <a:pt x="337626" y="406902"/>
                  </a:moveTo>
                  <a:lnTo>
                    <a:pt x="337626" y="979702"/>
                  </a:lnTo>
                  <a:cubicBezTo>
                    <a:pt x="337626" y="980115"/>
                    <a:pt x="337605" y="980012"/>
                    <a:pt x="337585" y="980177"/>
                  </a:cubicBezTo>
                  <a:lnTo>
                    <a:pt x="337543" y="980486"/>
                  </a:lnTo>
                  <a:cubicBezTo>
                    <a:pt x="337440" y="981292"/>
                    <a:pt x="337419" y="982097"/>
                    <a:pt x="337461" y="982922"/>
                  </a:cubicBezTo>
                  <a:cubicBezTo>
                    <a:pt x="337295" y="983707"/>
                    <a:pt x="337130" y="984471"/>
                    <a:pt x="337068" y="985255"/>
                  </a:cubicBezTo>
                  <a:lnTo>
                    <a:pt x="337027" y="985854"/>
                  </a:lnTo>
                  <a:cubicBezTo>
                    <a:pt x="336985" y="986040"/>
                    <a:pt x="336903" y="986226"/>
                    <a:pt x="336841" y="986411"/>
                  </a:cubicBezTo>
                  <a:cubicBezTo>
                    <a:pt x="336717" y="986783"/>
                    <a:pt x="336613" y="987155"/>
                    <a:pt x="336531" y="987526"/>
                  </a:cubicBezTo>
                  <a:cubicBezTo>
                    <a:pt x="335704" y="990520"/>
                    <a:pt x="334485" y="993410"/>
                    <a:pt x="332728" y="996073"/>
                  </a:cubicBezTo>
                  <a:cubicBezTo>
                    <a:pt x="330889" y="998674"/>
                    <a:pt x="328657" y="1001028"/>
                    <a:pt x="326136" y="1002968"/>
                  </a:cubicBezTo>
                  <a:cubicBezTo>
                    <a:pt x="323636" y="1004929"/>
                    <a:pt x="320846" y="1006540"/>
                    <a:pt x="317870" y="1007407"/>
                  </a:cubicBezTo>
                  <a:cubicBezTo>
                    <a:pt x="314915" y="1008356"/>
                    <a:pt x="311836" y="1008872"/>
                    <a:pt x="308550" y="1008996"/>
                  </a:cubicBezTo>
                  <a:lnTo>
                    <a:pt x="70592" y="1008914"/>
                  </a:lnTo>
                  <a:cubicBezTo>
                    <a:pt x="69786" y="1008811"/>
                    <a:pt x="68980" y="1008790"/>
                    <a:pt x="68153" y="1008831"/>
                  </a:cubicBezTo>
                  <a:cubicBezTo>
                    <a:pt x="67368" y="1008666"/>
                    <a:pt x="66604" y="1008501"/>
                    <a:pt x="65818" y="1008439"/>
                  </a:cubicBezTo>
                  <a:lnTo>
                    <a:pt x="65219" y="1008398"/>
                  </a:lnTo>
                  <a:lnTo>
                    <a:pt x="64661" y="1008212"/>
                  </a:lnTo>
                  <a:cubicBezTo>
                    <a:pt x="64289" y="1008088"/>
                    <a:pt x="63917" y="1007985"/>
                    <a:pt x="63545" y="1007902"/>
                  </a:cubicBezTo>
                  <a:lnTo>
                    <a:pt x="62388" y="1007675"/>
                  </a:lnTo>
                  <a:cubicBezTo>
                    <a:pt x="62037" y="1007510"/>
                    <a:pt x="61685" y="1007345"/>
                    <a:pt x="61313" y="1007200"/>
                  </a:cubicBezTo>
                  <a:cubicBezTo>
                    <a:pt x="58399" y="1006147"/>
                    <a:pt x="55506" y="1004764"/>
                    <a:pt x="53089" y="1002658"/>
                  </a:cubicBezTo>
                  <a:cubicBezTo>
                    <a:pt x="48191" y="998592"/>
                    <a:pt x="44306" y="993100"/>
                    <a:pt x="43004" y="987010"/>
                  </a:cubicBezTo>
                  <a:cubicBezTo>
                    <a:pt x="42901" y="986638"/>
                    <a:pt x="42777" y="986267"/>
                    <a:pt x="42653" y="985895"/>
                  </a:cubicBezTo>
                  <a:cubicBezTo>
                    <a:pt x="42611" y="985503"/>
                    <a:pt x="42591" y="985111"/>
                    <a:pt x="42549" y="984719"/>
                  </a:cubicBezTo>
                  <a:cubicBezTo>
                    <a:pt x="42508" y="984326"/>
                    <a:pt x="42425" y="983934"/>
                    <a:pt x="42343" y="983562"/>
                  </a:cubicBezTo>
                  <a:lnTo>
                    <a:pt x="42198" y="982984"/>
                  </a:lnTo>
                  <a:lnTo>
                    <a:pt x="42198" y="982365"/>
                  </a:lnTo>
                  <a:cubicBezTo>
                    <a:pt x="42219" y="981539"/>
                    <a:pt x="42177" y="980775"/>
                    <a:pt x="42053" y="979929"/>
                  </a:cubicBezTo>
                  <a:lnTo>
                    <a:pt x="42053" y="71285"/>
                  </a:lnTo>
                  <a:cubicBezTo>
                    <a:pt x="42053" y="70872"/>
                    <a:pt x="42074" y="70976"/>
                    <a:pt x="42095" y="70810"/>
                  </a:cubicBezTo>
                  <a:lnTo>
                    <a:pt x="42136" y="70501"/>
                  </a:lnTo>
                  <a:cubicBezTo>
                    <a:pt x="42239" y="69696"/>
                    <a:pt x="42260" y="68890"/>
                    <a:pt x="42219" y="68065"/>
                  </a:cubicBezTo>
                  <a:cubicBezTo>
                    <a:pt x="42384" y="67280"/>
                    <a:pt x="42549" y="66516"/>
                    <a:pt x="42611" y="65732"/>
                  </a:cubicBezTo>
                  <a:lnTo>
                    <a:pt x="42653" y="65133"/>
                  </a:lnTo>
                  <a:cubicBezTo>
                    <a:pt x="42694" y="64947"/>
                    <a:pt x="42777" y="64762"/>
                    <a:pt x="42839" y="64576"/>
                  </a:cubicBezTo>
                  <a:cubicBezTo>
                    <a:pt x="42963" y="64204"/>
                    <a:pt x="43066" y="63833"/>
                    <a:pt x="43149" y="63461"/>
                  </a:cubicBezTo>
                  <a:cubicBezTo>
                    <a:pt x="43975" y="60468"/>
                    <a:pt x="45194" y="57577"/>
                    <a:pt x="46951" y="54914"/>
                  </a:cubicBezTo>
                  <a:cubicBezTo>
                    <a:pt x="48790" y="52313"/>
                    <a:pt x="51022" y="49960"/>
                    <a:pt x="53543" y="48019"/>
                  </a:cubicBezTo>
                  <a:cubicBezTo>
                    <a:pt x="56044" y="46058"/>
                    <a:pt x="58833" y="44447"/>
                    <a:pt x="61809" y="43580"/>
                  </a:cubicBezTo>
                  <a:cubicBezTo>
                    <a:pt x="64764" y="42631"/>
                    <a:pt x="67843" y="42115"/>
                    <a:pt x="71129" y="41991"/>
                  </a:cubicBezTo>
                  <a:lnTo>
                    <a:pt x="309087" y="42073"/>
                  </a:lnTo>
                  <a:cubicBezTo>
                    <a:pt x="309893" y="42177"/>
                    <a:pt x="310699" y="42197"/>
                    <a:pt x="311526" y="42156"/>
                  </a:cubicBezTo>
                  <a:cubicBezTo>
                    <a:pt x="312311" y="42321"/>
                    <a:pt x="313076" y="42486"/>
                    <a:pt x="313861" y="42548"/>
                  </a:cubicBezTo>
                  <a:lnTo>
                    <a:pt x="314460" y="42589"/>
                  </a:lnTo>
                  <a:lnTo>
                    <a:pt x="315018" y="42775"/>
                  </a:lnTo>
                  <a:cubicBezTo>
                    <a:pt x="315390" y="42899"/>
                    <a:pt x="315762" y="43002"/>
                    <a:pt x="316134" y="43085"/>
                  </a:cubicBezTo>
                  <a:lnTo>
                    <a:pt x="317291" y="43312"/>
                  </a:lnTo>
                  <a:cubicBezTo>
                    <a:pt x="317643" y="43477"/>
                    <a:pt x="317994" y="43642"/>
                    <a:pt x="318366" y="43787"/>
                  </a:cubicBezTo>
                  <a:cubicBezTo>
                    <a:pt x="321280" y="44840"/>
                    <a:pt x="324173" y="46223"/>
                    <a:pt x="326591" y="48329"/>
                  </a:cubicBezTo>
                  <a:cubicBezTo>
                    <a:pt x="331488" y="52396"/>
                    <a:pt x="335373" y="57887"/>
                    <a:pt x="336675" y="63977"/>
                  </a:cubicBezTo>
                  <a:cubicBezTo>
                    <a:pt x="336779" y="64349"/>
                    <a:pt x="336903" y="64720"/>
                    <a:pt x="337027" y="65092"/>
                  </a:cubicBezTo>
                  <a:cubicBezTo>
                    <a:pt x="337068" y="65484"/>
                    <a:pt x="337089" y="65876"/>
                    <a:pt x="337130" y="66269"/>
                  </a:cubicBezTo>
                  <a:cubicBezTo>
                    <a:pt x="337171" y="66661"/>
                    <a:pt x="337254" y="67053"/>
                    <a:pt x="337337" y="67425"/>
                  </a:cubicBezTo>
                  <a:lnTo>
                    <a:pt x="337481" y="68003"/>
                  </a:lnTo>
                  <a:lnTo>
                    <a:pt x="337481" y="68622"/>
                  </a:lnTo>
                  <a:cubicBezTo>
                    <a:pt x="337461" y="69448"/>
                    <a:pt x="337502" y="70212"/>
                    <a:pt x="337626" y="71058"/>
                  </a:cubicBezTo>
                  <a:lnTo>
                    <a:pt x="337626" y="406902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210" name="Freeform 88">
              <a:extLst>
                <a:ext uri="{FF2B5EF4-FFF2-40B4-BE49-F238E27FC236}">
                  <a16:creationId xmlns:a16="http://schemas.microsoft.com/office/drawing/2014/main" id="{AF5A7E0C-06F0-5178-EAD2-56FAABFCB69D}"/>
                </a:ext>
              </a:extLst>
            </p:cNvPr>
            <p:cNvSpPr/>
            <p:nvPr/>
          </p:nvSpPr>
          <p:spPr>
            <a:xfrm>
              <a:off x="4473820" y="1616522"/>
              <a:ext cx="462460" cy="504818"/>
            </a:xfrm>
            <a:custGeom>
              <a:avLst/>
              <a:gdLst>
                <a:gd name="connsiteX0" fmla="*/ 1892651 w 1893230"/>
                <a:gd name="connsiteY0" fmla="*/ 187204 h 2066630"/>
                <a:gd name="connsiteX1" fmla="*/ 1892445 w 1893230"/>
                <a:gd name="connsiteY1" fmla="*/ 184086 h 2066630"/>
                <a:gd name="connsiteX2" fmla="*/ 1892011 w 1893230"/>
                <a:gd name="connsiteY2" fmla="*/ 180969 h 2066630"/>
                <a:gd name="connsiteX3" fmla="*/ 1891102 w 1893230"/>
                <a:gd name="connsiteY3" fmla="*/ 174755 h 2066630"/>
                <a:gd name="connsiteX4" fmla="*/ 1890068 w 1893230"/>
                <a:gd name="connsiteY4" fmla="*/ 168562 h 2066630"/>
                <a:gd name="connsiteX5" fmla="*/ 1888560 w 1893230"/>
                <a:gd name="connsiteY5" fmla="*/ 162451 h 2066630"/>
                <a:gd name="connsiteX6" fmla="*/ 1868680 w 1893230"/>
                <a:gd name="connsiteY6" fmla="*/ 116476 h 2066630"/>
                <a:gd name="connsiteX7" fmla="*/ 1835182 w 1893230"/>
                <a:gd name="connsiteY7" fmla="*/ 79481 h 2066630"/>
                <a:gd name="connsiteX8" fmla="*/ 1742210 w 1893230"/>
                <a:gd name="connsiteY8" fmla="*/ 46120 h 2066630"/>
                <a:gd name="connsiteX9" fmla="*/ 1502040 w 1893230"/>
                <a:gd name="connsiteY9" fmla="*/ 46016 h 2066630"/>
                <a:gd name="connsiteX10" fmla="*/ 1452692 w 1893230"/>
                <a:gd name="connsiteY10" fmla="*/ 54212 h 2066630"/>
                <a:gd name="connsiteX11" fmla="*/ 1408531 w 1893230"/>
                <a:gd name="connsiteY11" fmla="*/ 77809 h 2066630"/>
                <a:gd name="connsiteX12" fmla="*/ 1374310 w 1893230"/>
                <a:gd name="connsiteY12" fmla="*/ 114143 h 2066630"/>
                <a:gd name="connsiteX13" fmla="*/ 1353644 w 1893230"/>
                <a:gd name="connsiteY13" fmla="*/ 159767 h 2066630"/>
                <a:gd name="connsiteX14" fmla="*/ 1352095 w 1893230"/>
                <a:gd name="connsiteY14" fmla="*/ 165857 h 2066630"/>
                <a:gd name="connsiteX15" fmla="*/ 1351371 w 1893230"/>
                <a:gd name="connsiteY15" fmla="*/ 168933 h 2066630"/>
                <a:gd name="connsiteX16" fmla="*/ 1350855 w 1893230"/>
                <a:gd name="connsiteY16" fmla="*/ 172030 h 2066630"/>
                <a:gd name="connsiteX17" fmla="*/ 1349036 w 1893230"/>
                <a:gd name="connsiteY17" fmla="*/ 184458 h 2066630"/>
                <a:gd name="connsiteX18" fmla="*/ 1348375 w 1893230"/>
                <a:gd name="connsiteY18" fmla="*/ 196927 h 2066630"/>
                <a:gd name="connsiteX19" fmla="*/ 1348272 w 1893230"/>
                <a:gd name="connsiteY19" fmla="*/ 199879 h 2066630"/>
                <a:gd name="connsiteX20" fmla="*/ 1348272 w 1893230"/>
                <a:gd name="connsiteY20" fmla="*/ 487890 h 2066630"/>
                <a:gd name="connsiteX21" fmla="*/ 1219673 w 1893230"/>
                <a:gd name="connsiteY21" fmla="*/ 648008 h 2066630"/>
                <a:gd name="connsiteX22" fmla="*/ 1219673 w 1893230"/>
                <a:gd name="connsiteY22" fmla="*/ 407211 h 2066630"/>
                <a:gd name="connsiteX23" fmla="*/ 1219094 w 1893230"/>
                <a:gd name="connsiteY23" fmla="*/ 394742 h 2066630"/>
                <a:gd name="connsiteX24" fmla="*/ 1218888 w 1893230"/>
                <a:gd name="connsiteY24" fmla="*/ 391625 h 2066630"/>
                <a:gd name="connsiteX25" fmla="*/ 1218454 w 1893230"/>
                <a:gd name="connsiteY25" fmla="*/ 388528 h 2066630"/>
                <a:gd name="connsiteX26" fmla="*/ 1217544 w 1893230"/>
                <a:gd name="connsiteY26" fmla="*/ 382314 h 2066630"/>
                <a:gd name="connsiteX27" fmla="*/ 1216490 w 1893230"/>
                <a:gd name="connsiteY27" fmla="*/ 376121 h 2066630"/>
                <a:gd name="connsiteX28" fmla="*/ 1215003 w 1893230"/>
                <a:gd name="connsiteY28" fmla="*/ 369989 h 2066630"/>
                <a:gd name="connsiteX29" fmla="*/ 1195123 w 1893230"/>
                <a:gd name="connsiteY29" fmla="*/ 324035 h 2066630"/>
                <a:gd name="connsiteX30" fmla="*/ 1161604 w 1893230"/>
                <a:gd name="connsiteY30" fmla="*/ 287040 h 2066630"/>
                <a:gd name="connsiteX31" fmla="*/ 1068653 w 1893230"/>
                <a:gd name="connsiteY31" fmla="*/ 253658 h 2066630"/>
                <a:gd name="connsiteX32" fmla="*/ 1061957 w 1893230"/>
                <a:gd name="connsiteY32" fmla="*/ 253658 h 2066630"/>
                <a:gd name="connsiteX33" fmla="*/ 1061957 w 1893230"/>
                <a:gd name="connsiteY33" fmla="*/ 109932 h 2066630"/>
                <a:gd name="connsiteX34" fmla="*/ 951916 w 1893230"/>
                <a:gd name="connsiteY34" fmla="*/ 0 h 2066630"/>
                <a:gd name="connsiteX35" fmla="*/ 948981 w 1893230"/>
                <a:gd name="connsiteY35" fmla="*/ 0 h 2066630"/>
                <a:gd name="connsiteX36" fmla="*/ 838940 w 1893230"/>
                <a:gd name="connsiteY36" fmla="*/ 109932 h 2066630"/>
                <a:gd name="connsiteX37" fmla="*/ 838940 w 1893230"/>
                <a:gd name="connsiteY37" fmla="*/ 253575 h 2066630"/>
                <a:gd name="connsiteX38" fmla="*/ 828483 w 1893230"/>
                <a:gd name="connsiteY38" fmla="*/ 253575 h 2066630"/>
                <a:gd name="connsiteX39" fmla="*/ 779135 w 1893230"/>
                <a:gd name="connsiteY39" fmla="*/ 261771 h 2066630"/>
                <a:gd name="connsiteX40" fmla="*/ 734974 w 1893230"/>
                <a:gd name="connsiteY40" fmla="*/ 285368 h 2066630"/>
                <a:gd name="connsiteX41" fmla="*/ 700752 w 1893230"/>
                <a:gd name="connsiteY41" fmla="*/ 321702 h 2066630"/>
                <a:gd name="connsiteX42" fmla="*/ 680087 w 1893230"/>
                <a:gd name="connsiteY42" fmla="*/ 367306 h 2066630"/>
                <a:gd name="connsiteX43" fmla="*/ 678537 w 1893230"/>
                <a:gd name="connsiteY43" fmla="*/ 373416 h 2066630"/>
                <a:gd name="connsiteX44" fmla="*/ 677814 w 1893230"/>
                <a:gd name="connsiteY44" fmla="*/ 376472 h 2066630"/>
                <a:gd name="connsiteX45" fmla="*/ 677298 w 1893230"/>
                <a:gd name="connsiteY45" fmla="*/ 379568 h 2066630"/>
                <a:gd name="connsiteX46" fmla="*/ 675479 w 1893230"/>
                <a:gd name="connsiteY46" fmla="*/ 391996 h 2066630"/>
                <a:gd name="connsiteX47" fmla="*/ 674818 w 1893230"/>
                <a:gd name="connsiteY47" fmla="*/ 404486 h 2066630"/>
                <a:gd name="connsiteX48" fmla="*/ 674714 w 1893230"/>
                <a:gd name="connsiteY48" fmla="*/ 407438 h 2066630"/>
                <a:gd name="connsiteX49" fmla="*/ 674714 w 1893230"/>
                <a:gd name="connsiteY49" fmla="*/ 644127 h 2066630"/>
                <a:gd name="connsiteX50" fmla="*/ 544938 w 1893230"/>
                <a:gd name="connsiteY50" fmla="*/ 482563 h 2066630"/>
                <a:gd name="connsiteX51" fmla="*/ 544938 w 1893230"/>
                <a:gd name="connsiteY51" fmla="*/ 199652 h 2066630"/>
                <a:gd name="connsiteX52" fmla="*/ 544359 w 1893230"/>
                <a:gd name="connsiteY52" fmla="*/ 187204 h 2066630"/>
                <a:gd name="connsiteX53" fmla="*/ 544153 w 1893230"/>
                <a:gd name="connsiteY53" fmla="*/ 184086 h 2066630"/>
                <a:gd name="connsiteX54" fmla="*/ 543739 w 1893230"/>
                <a:gd name="connsiteY54" fmla="*/ 180969 h 2066630"/>
                <a:gd name="connsiteX55" fmla="*/ 542809 w 1893230"/>
                <a:gd name="connsiteY55" fmla="*/ 174755 h 2066630"/>
                <a:gd name="connsiteX56" fmla="*/ 541776 w 1893230"/>
                <a:gd name="connsiteY56" fmla="*/ 168562 h 2066630"/>
                <a:gd name="connsiteX57" fmla="*/ 540268 w 1893230"/>
                <a:gd name="connsiteY57" fmla="*/ 162451 h 2066630"/>
                <a:gd name="connsiteX58" fmla="*/ 520388 w 1893230"/>
                <a:gd name="connsiteY58" fmla="*/ 116476 h 2066630"/>
                <a:gd name="connsiteX59" fmla="*/ 486890 w 1893230"/>
                <a:gd name="connsiteY59" fmla="*/ 79481 h 2066630"/>
                <a:gd name="connsiteX60" fmla="*/ 393938 w 1893230"/>
                <a:gd name="connsiteY60" fmla="*/ 46120 h 2066630"/>
                <a:gd name="connsiteX61" fmla="*/ 153769 w 1893230"/>
                <a:gd name="connsiteY61" fmla="*/ 46016 h 2066630"/>
                <a:gd name="connsiteX62" fmla="*/ 104400 w 1893230"/>
                <a:gd name="connsiteY62" fmla="*/ 54212 h 2066630"/>
                <a:gd name="connsiteX63" fmla="*/ 60259 w 1893230"/>
                <a:gd name="connsiteY63" fmla="*/ 77809 h 2066630"/>
                <a:gd name="connsiteX64" fmla="*/ 26017 w 1893230"/>
                <a:gd name="connsiteY64" fmla="*/ 114143 h 2066630"/>
                <a:gd name="connsiteX65" fmla="*/ 5352 w 1893230"/>
                <a:gd name="connsiteY65" fmla="*/ 159767 h 2066630"/>
                <a:gd name="connsiteX66" fmla="*/ 3802 w 1893230"/>
                <a:gd name="connsiteY66" fmla="*/ 165857 h 2066630"/>
                <a:gd name="connsiteX67" fmla="*/ 3079 w 1893230"/>
                <a:gd name="connsiteY67" fmla="*/ 168933 h 2066630"/>
                <a:gd name="connsiteX68" fmla="*/ 2562 w 1893230"/>
                <a:gd name="connsiteY68" fmla="*/ 172030 h 2066630"/>
                <a:gd name="connsiteX69" fmla="*/ 765 w 1893230"/>
                <a:gd name="connsiteY69" fmla="*/ 184458 h 2066630"/>
                <a:gd name="connsiteX70" fmla="*/ 83 w 1893230"/>
                <a:gd name="connsiteY70" fmla="*/ 196927 h 2066630"/>
                <a:gd name="connsiteX71" fmla="*/ 0 w 1893230"/>
                <a:gd name="connsiteY71" fmla="*/ 199879 h 2066630"/>
                <a:gd name="connsiteX72" fmla="*/ 0 w 1893230"/>
                <a:gd name="connsiteY72" fmla="*/ 1108523 h 2066630"/>
                <a:gd name="connsiteX73" fmla="*/ 579 w 1893230"/>
                <a:gd name="connsiteY73" fmla="*/ 1120992 h 2066630"/>
                <a:gd name="connsiteX74" fmla="*/ 785 w 1893230"/>
                <a:gd name="connsiteY74" fmla="*/ 1124110 h 2066630"/>
                <a:gd name="connsiteX75" fmla="*/ 1199 w 1893230"/>
                <a:gd name="connsiteY75" fmla="*/ 1127206 h 2066630"/>
                <a:gd name="connsiteX76" fmla="*/ 2129 w 1893230"/>
                <a:gd name="connsiteY76" fmla="*/ 1133420 h 2066630"/>
                <a:gd name="connsiteX77" fmla="*/ 3162 w 1893230"/>
                <a:gd name="connsiteY77" fmla="*/ 1139614 h 2066630"/>
                <a:gd name="connsiteX78" fmla="*/ 4670 w 1893230"/>
                <a:gd name="connsiteY78" fmla="*/ 1145745 h 2066630"/>
                <a:gd name="connsiteX79" fmla="*/ 24550 w 1893230"/>
                <a:gd name="connsiteY79" fmla="*/ 1191700 h 2066630"/>
                <a:gd name="connsiteX80" fmla="*/ 58048 w 1893230"/>
                <a:gd name="connsiteY80" fmla="*/ 1228694 h 2066630"/>
                <a:gd name="connsiteX81" fmla="*/ 151020 w 1893230"/>
                <a:gd name="connsiteY81" fmla="*/ 1262076 h 2066630"/>
                <a:gd name="connsiteX82" fmla="*/ 391169 w 1893230"/>
                <a:gd name="connsiteY82" fmla="*/ 1262159 h 2066630"/>
                <a:gd name="connsiteX83" fmla="*/ 440538 w 1893230"/>
                <a:gd name="connsiteY83" fmla="*/ 1253963 h 2066630"/>
                <a:gd name="connsiteX84" fmla="*/ 484699 w 1893230"/>
                <a:gd name="connsiteY84" fmla="*/ 1230366 h 2066630"/>
                <a:gd name="connsiteX85" fmla="*/ 518920 w 1893230"/>
                <a:gd name="connsiteY85" fmla="*/ 1194053 h 2066630"/>
                <a:gd name="connsiteX86" fmla="*/ 539586 w 1893230"/>
                <a:gd name="connsiteY86" fmla="*/ 1148429 h 2066630"/>
                <a:gd name="connsiteX87" fmla="*/ 541135 w 1893230"/>
                <a:gd name="connsiteY87" fmla="*/ 1142318 h 2066630"/>
                <a:gd name="connsiteX88" fmla="*/ 541859 w 1893230"/>
                <a:gd name="connsiteY88" fmla="*/ 1139263 h 2066630"/>
                <a:gd name="connsiteX89" fmla="*/ 542375 w 1893230"/>
                <a:gd name="connsiteY89" fmla="*/ 1136166 h 2066630"/>
                <a:gd name="connsiteX90" fmla="*/ 544173 w 1893230"/>
                <a:gd name="connsiteY90" fmla="*/ 1123738 h 2066630"/>
                <a:gd name="connsiteX91" fmla="*/ 544855 w 1893230"/>
                <a:gd name="connsiteY91" fmla="*/ 1111248 h 2066630"/>
                <a:gd name="connsiteX92" fmla="*/ 544938 w 1893230"/>
                <a:gd name="connsiteY92" fmla="*/ 1108296 h 2066630"/>
                <a:gd name="connsiteX93" fmla="*/ 544938 w 1893230"/>
                <a:gd name="connsiteY93" fmla="*/ 674846 h 2066630"/>
                <a:gd name="connsiteX94" fmla="*/ 674714 w 1893230"/>
                <a:gd name="connsiteY94" fmla="*/ 836409 h 2066630"/>
                <a:gd name="connsiteX95" fmla="*/ 674714 w 1893230"/>
                <a:gd name="connsiteY95" fmla="*/ 1316082 h 2066630"/>
                <a:gd name="connsiteX96" fmla="*/ 675293 w 1893230"/>
                <a:gd name="connsiteY96" fmla="*/ 1328551 h 2066630"/>
                <a:gd name="connsiteX97" fmla="*/ 675500 w 1893230"/>
                <a:gd name="connsiteY97" fmla="*/ 1331648 h 2066630"/>
                <a:gd name="connsiteX98" fmla="*/ 675934 w 1893230"/>
                <a:gd name="connsiteY98" fmla="*/ 1334765 h 2066630"/>
                <a:gd name="connsiteX99" fmla="*/ 676843 w 1893230"/>
                <a:gd name="connsiteY99" fmla="*/ 1340979 h 2066630"/>
                <a:gd name="connsiteX100" fmla="*/ 677897 w 1893230"/>
                <a:gd name="connsiteY100" fmla="*/ 1347173 h 2066630"/>
                <a:gd name="connsiteX101" fmla="*/ 679385 w 1893230"/>
                <a:gd name="connsiteY101" fmla="*/ 1353283 h 2066630"/>
                <a:gd name="connsiteX102" fmla="*/ 699265 w 1893230"/>
                <a:gd name="connsiteY102" fmla="*/ 1399259 h 2066630"/>
                <a:gd name="connsiteX103" fmla="*/ 732783 w 1893230"/>
                <a:gd name="connsiteY103" fmla="*/ 1436253 h 2066630"/>
                <a:gd name="connsiteX104" fmla="*/ 825735 w 1893230"/>
                <a:gd name="connsiteY104" fmla="*/ 1469615 h 2066630"/>
                <a:gd name="connsiteX105" fmla="*/ 838940 w 1893230"/>
                <a:gd name="connsiteY105" fmla="*/ 1469615 h 2066630"/>
                <a:gd name="connsiteX106" fmla="*/ 838940 w 1893230"/>
                <a:gd name="connsiteY106" fmla="*/ 1956699 h 2066630"/>
                <a:gd name="connsiteX107" fmla="*/ 948981 w 1893230"/>
                <a:gd name="connsiteY107" fmla="*/ 2066631 h 2066630"/>
                <a:gd name="connsiteX108" fmla="*/ 951916 w 1893230"/>
                <a:gd name="connsiteY108" fmla="*/ 2066631 h 2066630"/>
                <a:gd name="connsiteX109" fmla="*/ 1061957 w 1893230"/>
                <a:gd name="connsiteY109" fmla="*/ 1956699 h 2066630"/>
                <a:gd name="connsiteX110" fmla="*/ 1061957 w 1893230"/>
                <a:gd name="connsiteY110" fmla="*/ 1469718 h 2066630"/>
                <a:gd name="connsiteX111" fmla="*/ 1065904 w 1893230"/>
                <a:gd name="connsiteY111" fmla="*/ 1469718 h 2066630"/>
                <a:gd name="connsiteX112" fmla="*/ 1090847 w 1893230"/>
                <a:gd name="connsiteY112" fmla="*/ 1467571 h 2066630"/>
                <a:gd name="connsiteX113" fmla="*/ 1115252 w 1893230"/>
                <a:gd name="connsiteY113" fmla="*/ 1461522 h 2066630"/>
                <a:gd name="connsiteX114" fmla="*/ 1159414 w 1893230"/>
                <a:gd name="connsiteY114" fmla="*/ 1437926 h 2066630"/>
                <a:gd name="connsiteX115" fmla="*/ 1193635 w 1893230"/>
                <a:gd name="connsiteY115" fmla="*/ 1401591 h 2066630"/>
                <a:gd name="connsiteX116" fmla="*/ 1214300 w 1893230"/>
                <a:gd name="connsiteY116" fmla="*/ 1355967 h 2066630"/>
                <a:gd name="connsiteX117" fmla="*/ 1215850 w 1893230"/>
                <a:gd name="connsiteY117" fmla="*/ 1349877 h 2066630"/>
                <a:gd name="connsiteX118" fmla="*/ 1216573 w 1893230"/>
                <a:gd name="connsiteY118" fmla="*/ 1346801 h 2066630"/>
                <a:gd name="connsiteX119" fmla="*/ 1217090 w 1893230"/>
                <a:gd name="connsiteY119" fmla="*/ 1343704 h 2066630"/>
                <a:gd name="connsiteX120" fmla="*/ 1218908 w 1893230"/>
                <a:gd name="connsiteY120" fmla="*/ 1331276 h 2066630"/>
                <a:gd name="connsiteX121" fmla="*/ 1219570 w 1893230"/>
                <a:gd name="connsiteY121" fmla="*/ 1318807 h 2066630"/>
                <a:gd name="connsiteX122" fmla="*/ 1219673 w 1893230"/>
                <a:gd name="connsiteY122" fmla="*/ 1315855 h 2066630"/>
                <a:gd name="connsiteX123" fmla="*/ 1219673 w 1893230"/>
                <a:gd name="connsiteY123" fmla="*/ 840290 h 2066630"/>
                <a:gd name="connsiteX124" fmla="*/ 1348272 w 1893230"/>
                <a:gd name="connsiteY124" fmla="*/ 680172 h 2066630"/>
                <a:gd name="connsiteX125" fmla="*/ 1348272 w 1893230"/>
                <a:gd name="connsiteY125" fmla="*/ 1108523 h 2066630"/>
                <a:gd name="connsiteX126" fmla="*/ 1348850 w 1893230"/>
                <a:gd name="connsiteY126" fmla="*/ 1120992 h 2066630"/>
                <a:gd name="connsiteX127" fmla="*/ 1349078 w 1893230"/>
                <a:gd name="connsiteY127" fmla="*/ 1124110 h 2066630"/>
                <a:gd name="connsiteX128" fmla="*/ 1349491 w 1893230"/>
                <a:gd name="connsiteY128" fmla="*/ 1127206 h 2066630"/>
                <a:gd name="connsiteX129" fmla="*/ 1350400 w 1893230"/>
                <a:gd name="connsiteY129" fmla="*/ 1133420 h 2066630"/>
                <a:gd name="connsiteX130" fmla="*/ 1351454 w 1893230"/>
                <a:gd name="connsiteY130" fmla="*/ 1139614 h 2066630"/>
                <a:gd name="connsiteX131" fmla="*/ 1352942 w 1893230"/>
                <a:gd name="connsiteY131" fmla="*/ 1145745 h 2066630"/>
                <a:gd name="connsiteX132" fmla="*/ 1372842 w 1893230"/>
                <a:gd name="connsiteY132" fmla="*/ 1191700 h 2066630"/>
                <a:gd name="connsiteX133" fmla="*/ 1406340 w 1893230"/>
                <a:gd name="connsiteY133" fmla="*/ 1228694 h 2066630"/>
                <a:gd name="connsiteX134" fmla="*/ 1499292 w 1893230"/>
                <a:gd name="connsiteY134" fmla="*/ 1262076 h 2066630"/>
                <a:gd name="connsiteX135" fmla="*/ 1739461 w 1893230"/>
                <a:gd name="connsiteY135" fmla="*/ 1262159 h 2066630"/>
                <a:gd name="connsiteX136" fmla="*/ 1788809 w 1893230"/>
                <a:gd name="connsiteY136" fmla="*/ 1253963 h 2066630"/>
                <a:gd name="connsiteX137" fmla="*/ 1832971 w 1893230"/>
                <a:gd name="connsiteY137" fmla="*/ 1230366 h 2066630"/>
                <a:gd name="connsiteX138" fmla="*/ 1867213 w 1893230"/>
                <a:gd name="connsiteY138" fmla="*/ 1194053 h 2066630"/>
                <a:gd name="connsiteX139" fmla="*/ 1887857 w 1893230"/>
                <a:gd name="connsiteY139" fmla="*/ 1148429 h 2066630"/>
                <a:gd name="connsiteX140" fmla="*/ 1889407 w 1893230"/>
                <a:gd name="connsiteY140" fmla="*/ 1142318 h 2066630"/>
                <a:gd name="connsiteX141" fmla="*/ 1890130 w 1893230"/>
                <a:gd name="connsiteY141" fmla="*/ 1139263 h 2066630"/>
                <a:gd name="connsiteX142" fmla="*/ 1890647 w 1893230"/>
                <a:gd name="connsiteY142" fmla="*/ 1136166 h 2066630"/>
                <a:gd name="connsiteX143" fmla="*/ 1892465 w 1893230"/>
                <a:gd name="connsiteY143" fmla="*/ 1123738 h 2066630"/>
                <a:gd name="connsiteX144" fmla="*/ 1893127 w 1893230"/>
                <a:gd name="connsiteY144" fmla="*/ 1111248 h 2066630"/>
                <a:gd name="connsiteX145" fmla="*/ 1893230 w 1893230"/>
                <a:gd name="connsiteY145" fmla="*/ 1108296 h 2066630"/>
                <a:gd name="connsiteX146" fmla="*/ 1893230 w 1893230"/>
                <a:gd name="connsiteY146" fmla="*/ 199652 h 2066630"/>
                <a:gd name="connsiteX147" fmla="*/ 1892651 w 1893230"/>
                <a:gd name="connsiteY147" fmla="*/ 187204 h 2066630"/>
                <a:gd name="connsiteX148" fmla="*/ 502905 w 1893230"/>
                <a:gd name="connsiteY148" fmla="*/ 1108296 h 2066630"/>
                <a:gd name="connsiteX149" fmla="*/ 502822 w 1893230"/>
                <a:gd name="connsiteY149" fmla="*/ 1110526 h 2066630"/>
                <a:gd name="connsiteX150" fmla="*/ 502347 w 1893230"/>
                <a:gd name="connsiteY150" fmla="*/ 1119609 h 2066630"/>
                <a:gd name="connsiteX151" fmla="*/ 501025 w 1893230"/>
                <a:gd name="connsiteY151" fmla="*/ 1128631 h 2066630"/>
                <a:gd name="connsiteX152" fmla="*/ 500673 w 1893230"/>
                <a:gd name="connsiteY152" fmla="*/ 1130881 h 2066630"/>
                <a:gd name="connsiteX153" fmla="*/ 500115 w 1893230"/>
                <a:gd name="connsiteY153" fmla="*/ 1133111 h 2066630"/>
                <a:gd name="connsiteX154" fmla="*/ 498999 w 1893230"/>
                <a:gd name="connsiteY154" fmla="*/ 1137529 h 2066630"/>
                <a:gd name="connsiteX155" fmla="*/ 484017 w 1893230"/>
                <a:gd name="connsiteY155" fmla="*/ 1170663 h 2066630"/>
                <a:gd name="connsiteX156" fmla="*/ 459095 w 1893230"/>
                <a:gd name="connsiteY156" fmla="*/ 1197067 h 2066630"/>
                <a:gd name="connsiteX157" fmla="*/ 391169 w 1893230"/>
                <a:gd name="connsiteY157" fmla="*/ 1220168 h 2066630"/>
                <a:gd name="connsiteX158" fmla="*/ 151764 w 1893230"/>
                <a:gd name="connsiteY158" fmla="*/ 1220086 h 2066630"/>
                <a:gd name="connsiteX159" fmla="*/ 142651 w 1893230"/>
                <a:gd name="connsiteY159" fmla="*/ 1219611 h 2066630"/>
                <a:gd name="connsiteX160" fmla="*/ 133620 w 1893230"/>
                <a:gd name="connsiteY160" fmla="*/ 1218290 h 2066630"/>
                <a:gd name="connsiteX161" fmla="*/ 131368 w 1893230"/>
                <a:gd name="connsiteY161" fmla="*/ 1217918 h 2066630"/>
                <a:gd name="connsiteX162" fmla="*/ 129157 w 1893230"/>
                <a:gd name="connsiteY162" fmla="*/ 1217381 h 2066630"/>
                <a:gd name="connsiteX163" fmla="*/ 124714 w 1893230"/>
                <a:gd name="connsiteY163" fmla="*/ 1216246 h 2066630"/>
                <a:gd name="connsiteX164" fmla="*/ 120312 w 1893230"/>
                <a:gd name="connsiteY164" fmla="*/ 1215069 h 2066630"/>
                <a:gd name="connsiteX165" fmla="*/ 116014 w 1893230"/>
                <a:gd name="connsiteY165" fmla="*/ 1213521 h 2066630"/>
                <a:gd name="connsiteX166" fmla="*/ 84231 w 1893230"/>
                <a:gd name="connsiteY166" fmla="*/ 1195849 h 2066630"/>
                <a:gd name="connsiteX167" fmla="*/ 45442 w 1893230"/>
                <a:gd name="connsiteY167" fmla="*/ 1135588 h 2066630"/>
                <a:gd name="connsiteX168" fmla="*/ 44327 w 1893230"/>
                <a:gd name="connsiteY168" fmla="*/ 1131149 h 2066630"/>
                <a:gd name="connsiteX169" fmla="*/ 43603 w 1893230"/>
                <a:gd name="connsiteY169" fmla="*/ 1126649 h 2066630"/>
                <a:gd name="connsiteX170" fmla="*/ 42921 w 1893230"/>
                <a:gd name="connsiteY170" fmla="*/ 1122148 h 2066630"/>
                <a:gd name="connsiteX171" fmla="*/ 42611 w 1893230"/>
                <a:gd name="connsiteY171" fmla="*/ 1119878 h 2066630"/>
                <a:gd name="connsiteX172" fmla="*/ 42467 w 1893230"/>
                <a:gd name="connsiteY172" fmla="*/ 1117607 h 2066630"/>
                <a:gd name="connsiteX173" fmla="*/ 42033 w 1893230"/>
                <a:gd name="connsiteY173" fmla="*/ 1108523 h 2066630"/>
                <a:gd name="connsiteX174" fmla="*/ 42033 w 1893230"/>
                <a:gd name="connsiteY174" fmla="*/ 199879 h 2066630"/>
                <a:gd name="connsiteX175" fmla="*/ 42115 w 1893230"/>
                <a:gd name="connsiteY175" fmla="*/ 197670 h 2066630"/>
                <a:gd name="connsiteX176" fmla="*/ 42591 w 1893230"/>
                <a:gd name="connsiteY176" fmla="*/ 188566 h 2066630"/>
                <a:gd name="connsiteX177" fmla="*/ 43913 w 1893230"/>
                <a:gd name="connsiteY177" fmla="*/ 179545 h 2066630"/>
                <a:gd name="connsiteX178" fmla="*/ 44285 w 1893230"/>
                <a:gd name="connsiteY178" fmla="*/ 177294 h 2066630"/>
                <a:gd name="connsiteX179" fmla="*/ 44823 w 1893230"/>
                <a:gd name="connsiteY179" fmla="*/ 175085 h 2066630"/>
                <a:gd name="connsiteX180" fmla="*/ 45959 w 1893230"/>
                <a:gd name="connsiteY180" fmla="*/ 170647 h 2066630"/>
                <a:gd name="connsiteX181" fmla="*/ 60921 w 1893230"/>
                <a:gd name="connsiteY181" fmla="*/ 137533 h 2066630"/>
                <a:gd name="connsiteX182" fmla="*/ 85843 w 1893230"/>
                <a:gd name="connsiteY182" fmla="*/ 111129 h 2066630"/>
                <a:gd name="connsiteX183" fmla="*/ 153769 w 1893230"/>
                <a:gd name="connsiteY183" fmla="*/ 88007 h 2066630"/>
                <a:gd name="connsiteX184" fmla="*/ 393174 w 1893230"/>
                <a:gd name="connsiteY184" fmla="*/ 88090 h 2066630"/>
                <a:gd name="connsiteX185" fmla="*/ 402287 w 1893230"/>
                <a:gd name="connsiteY185" fmla="*/ 88565 h 2066630"/>
                <a:gd name="connsiteX186" fmla="*/ 411317 w 1893230"/>
                <a:gd name="connsiteY186" fmla="*/ 89906 h 2066630"/>
                <a:gd name="connsiteX187" fmla="*/ 413570 w 1893230"/>
                <a:gd name="connsiteY187" fmla="*/ 90257 h 2066630"/>
                <a:gd name="connsiteX188" fmla="*/ 415781 w 1893230"/>
                <a:gd name="connsiteY188" fmla="*/ 90815 h 2066630"/>
                <a:gd name="connsiteX189" fmla="*/ 420224 w 1893230"/>
                <a:gd name="connsiteY189" fmla="*/ 91930 h 2066630"/>
                <a:gd name="connsiteX190" fmla="*/ 424626 w 1893230"/>
                <a:gd name="connsiteY190" fmla="*/ 93127 h 2066630"/>
                <a:gd name="connsiteX191" fmla="*/ 428924 w 1893230"/>
                <a:gd name="connsiteY191" fmla="*/ 94675 h 2066630"/>
                <a:gd name="connsiteX192" fmla="*/ 460707 w 1893230"/>
                <a:gd name="connsiteY192" fmla="*/ 112326 h 2066630"/>
                <a:gd name="connsiteX193" fmla="*/ 499495 w 1893230"/>
                <a:gd name="connsiteY193" fmla="*/ 172608 h 2066630"/>
                <a:gd name="connsiteX194" fmla="*/ 500611 w 1893230"/>
                <a:gd name="connsiteY194" fmla="*/ 177026 h 2066630"/>
                <a:gd name="connsiteX195" fmla="*/ 501335 w 1893230"/>
                <a:gd name="connsiteY195" fmla="*/ 181526 h 2066630"/>
                <a:gd name="connsiteX196" fmla="*/ 502016 w 1893230"/>
                <a:gd name="connsiteY196" fmla="*/ 186048 h 2066630"/>
                <a:gd name="connsiteX197" fmla="*/ 502347 w 1893230"/>
                <a:gd name="connsiteY197" fmla="*/ 188298 h 2066630"/>
                <a:gd name="connsiteX198" fmla="*/ 502471 w 1893230"/>
                <a:gd name="connsiteY198" fmla="*/ 190569 h 2066630"/>
                <a:gd name="connsiteX199" fmla="*/ 502905 w 1893230"/>
                <a:gd name="connsiteY199" fmla="*/ 199652 h 2066630"/>
                <a:gd name="connsiteX200" fmla="*/ 502905 w 1893230"/>
                <a:gd name="connsiteY200" fmla="*/ 1108296 h 2066630"/>
                <a:gd name="connsiteX201" fmla="*/ 674714 w 1893230"/>
                <a:gd name="connsiteY201" fmla="*/ 770450 h 2066630"/>
                <a:gd name="connsiteX202" fmla="*/ 544938 w 1893230"/>
                <a:gd name="connsiteY202" fmla="*/ 608887 h 2066630"/>
                <a:gd name="connsiteX203" fmla="*/ 544938 w 1893230"/>
                <a:gd name="connsiteY203" fmla="*/ 548543 h 2066630"/>
                <a:gd name="connsiteX204" fmla="*/ 674714 w 1893230"/>
                <a:gd name="connsiteY204" fmla="*/ 710086 h 2066630"/>
                <a:gd name="connsiteX205" fmla="*/ 674714 w 1893230"/>
                <a:gd name="connsiteY205" fmla="*/ 770450 h 2066630"/>
                <a:gd name="connsiteX206" fmla="*/ 880270 w 1893230"/>
                <a:gd name="connsiteY206" fmla="*/ 109932 h 2066630"/>
                <a:gd name="connsiteX207" fmla="*/ 948981 w 1893230"/>
                <a:gd name="connsiteY207" fmla="*/ 41289 h 2066630"/>
                <a:gd name="connsiteX208" fmla="*/ 951916 w 1893230"/>
                <a:gd name="connsiteY208" fmla="*/ 41289 h 2066630"/>
                <a:gd name="connsiteX209" fmla="*/ 1020627 w 1893230"/>
                <a:gd name="connsiteY209" fmla="*/ 109932 h 2066630"/>
                <a:gd name="connsiteX210" fmla="*/ 1020627 w 1893230"/>
                <a:gd name="connsiteY210" fmla="*/ 253637 h 2066630"/>
                <a:gd name="connsiteX211" fmla="*/ 880270 w 1893230"/>
                <a:gd name="connsiteY211" fmla="*/ 253575 h 2066630"/>
                <a:gd name="connsiteX212" fmla="*/ 880270 w 1893230"/>
                <a:gd name="connsiteY212" fmla="*/ 109932 h 2066630"/>
                <a:gd name="connsiteX213" fmla="*/ 1020627 w 1893230"/>
                <a:gd name="connsiteY213" fmla="*/ 1956699 h 2066630"/>
                <a:gd name="connsiteX214" fmla="*/ 951916 w 1893230"/>
                <a:gd name="connsiteY214" fmla="*/ 2025342 h 2066630"/>
                <a:gd name="connsiteX215" fmla="*/ 948981 w 1893230"/>
                <a:gd name="connsiteY215" fmla="*/ 2025342 h 2066630"/>
                <a:gd name="connsiteX216" fmla="*/ 880270 w 1893230"/>
                <a:gd name="connsiteY216" fmla="*/ 1956699 h 2066630"/>
                <a:gd name="connsiteX217" fmla="*/ 880270 w 1893230"/>
                <a:gd name="connsiteY217" fmla="*/ 1469635 h 2066630"/>
                <a:gd name="connsiteX218" fmla="*/ 1020627 w 1893230"/>
                <a:gd name="connsiteY218" fmla="*/ 1469697 h 2066630"/>
                <a:gd name="connsiteX219" fmla="*/ 1020627 w 1893230"/>
                <a:gd name="connsiteY219" fmla="*/ 1956699 h 2066630"/>
                <a:gd name="connsiteX220" fmla="*/ 1177640 w 1893230"/>
                <a:gd name="connsiteY220" fmla="*/ 1315855 h 2066630"/>
                <a:gd name="connsiteX221" fmla="*/ 1177558 w 1893230"/>
                <a:gd name="connsiteY221" fmla="*/ 1318064 h 2066630"/>
                <a:gd name="connsiteX222" fmla="*/ 1177082 w 1893230"/>
                <a:gd name="connsiteY222" fmla="*/ 1327168 h 2066630"/>
                <a:gd name="connsiteX223" fmla="*/ 1175739 w 1893230"/>
                <a:gd name="connsiteY223" fmla="*/ 1336190 h 2066630"/>
                <a:gd name="connsiteX224" fmla="*/ 1175388 w 1893230"/>
                <a:gd name="connsiteY224" fmla="*/ 1338440 h 2066630"/>
                <a:gd name="connsiteX225" fmla="*/ 1174850 w 1893230"/>
                <a:gd name="connsiteY225" fmla="*/ 1340649 h 2066630"/>
                <a:gd name="connsiteX226" fmla="*/ 1173714 w 1893230"/>
                <a:gd name="connsiteY226" fmla="*/ 1345088 h 2066630"/>
                <a:gd name="connsiteX227" fmla="*/ 1158732 w 1893230"/>
                <a:gd name="connsiteY227" fmla="*/ 1378201 h 2066630"/>
                <a:gd name="connsiteX228" fmla="*/ 1133830 w 1893230"/>
                <a:gd name="connsiteY228" fmla="*/ 1404605 h 2066630"/>
                <a:gd name="connsiteX229" fmla="*/ 1065904 w 1893230"/>
                <a:gd name="connsiteY229" fmla="*/ 1427727 h 2066630"/>
                <a:gd name="connsiteX230" fmla="*/ 1061957 w 1893230"/>
                <a:gd name="connsiteY230" fmla="*/ 1427727 h 2066630"/>
                <a:gd name="connsiteX231" fmla="*/ 1020627 w 1893230"/>
                <a:gd name="connsiteY231" fmla="*/ 1427686 h 2066630"/>
                <a:gd name="connsiteX232" fmla="*/ 880270 w 1893230"/>
                <a:gd name="connsiteY232" fmla="*/ 1427645 h 2066630"/>
                <a:gd name="connsiteX233" fmla="*/ 826479 w 1893230"/>
                <a:gd name="connsiteY233" fmla="*/ 1427645 h 2066630"/>
                <a:gd name="connsiteX234" fmla="*/ 817386 w 1893230"/>
                <a:gd name="connsiteY234" fmla="*/ 1427170 h 2066630"/>
                <a:gd name="connsiteX235" fmla="*/ 808355 w 1893230"/>
                <a:gd name="connsiteY235" fmla="*/ 1425828 h 2066630"/>
                <a:gd name="connsiteX236" fmla="*/ 806103 w 1893230"/>
                <a:gd name="connsiteY236" fmla="*/ 1425477 h 2066630"/>
                <a:gd name="connsiteX237" fmla="*/ 803871 w 1893230"/>
                <a:gd name="connsiteY237" fmla="*/ 1424940 h 2066630"/>
                <a:gd name="connsiteX238" fmla="*/ 799449 w 1893230"/>
                <a:gd name="connsiteY238" fmla="*/ 1423805 h 2066630"/>
                <a:gd name="connsiteX239" fmla="*/ 795026 w 1893230"/>
                <a:gd name="connsiteY239" fmla="*/ 1422628 h 2066630"/>
                <a:gd name="connsiteX240" fmla="*/ 790728 w 1893230"/>
                <a:gd name="connsiteY240" fmla="*/ 1421080 h 2066630"/>
                <a:gd name="connsiteX241" fmla="*/ 758966 w 1893230"/>
                <a:gd name="connsiteY241" fmla="*/ 1403408 h 2066630"/>
                <a:gd name="connsiteX242" fmla="*/ 720178 w 1893230"/>
                <a:gd name="connsiteY242" fmla="*/ 1343126 h 2066630"/>
                <a:gd name="connsiteX243" fmla="*/ 719062 w 1893230"/>
                <a:gd name="connsiteY243" fmla="*/ 1338709 h 2066630"/>
                <a:gd name="connsiteX244" fmla="*/ 718338 w 1893230"/>
                <a:gd name="connsiteY244" fmla="*/ 1334208 h 2066630"/>
                <a:gd name="connsiteX245" fmla="*/ 717656 w 1893230"/>
                <a:gd name="connsiteY245" fmla="*/ 1329687 h 2066630"/>
                <a:gd name="connsiteX246" fmla="*/ 717326 w 1893230"/>
                <a:gd name="connsiteY246" fmla="*/ 1327437 h 2066630"/>
                <a:gd name="connsiteX247" fmla="*/ 717202 w 1893230"/>
                <a:gd name="connsiteY247" fmla="*/ 1325166 h 2066630"/>
                <a:gd name="connsiteX248" fmla="*/ 716747 w 1893230"/>
                <a:gd name="connsiteY248" fmla="*/ 1316082 h 2066630"/>
                <a:gd name="connsiteX249" fmla="*/ 716747 w 1893230"/>
                <a:gd name="connsiteY249" fmla="*/ 407438 h 2066630"/>
                <a:gd name="connsiteX250" fmla="*/ 716830 w 1893230"/>
                <a:gd name="connsiteY250" fmla="*/ 405209 h 2066630"/>
                <a:gd name="connsiteX251" fmla="*/ 717305 w 1893230"/>
                <a:gd name="connsiteY251" fmla="*/ 396125 h 2066630"/>
                <a:gd name="connsiteX252" fmla="*/ 718648 w 1893230"/>
                <a:gd name="connsiteY252" fmla="*/ 387104 h 2066630"/>
                <a:gd name="connsiteX253" fmla="*/ 719000 w 1893230"/>
                <a:gd name="connsiteY253" fmla="*/ 384853 h 2066630"/>
                <a:gd name="connsiteX254" fmla="*/ 719537 w 1893230"/>
                <a:gd name="connsiteY254" fmla="*/ 382624 h 2066630"/>
                <a:gd name="connsiteX255" fmla="*/ 720674 w 1893230"/>
                <a:gd name="connsiteY255" fmla="*/ 378206 h 2066630"/>
                <a:gd name="connsiteX256" fmla="*/ 735656 w 1893230"/>
                <a:gd name="connsiteY256" fmla="*/ 345072 h 2066630"/>
                <a:gd name="connsiteX257" fmla="*/ 760557 w 1893230"/>
                <a:gd name="connsiteY257" fmla="*/ 318667 h 2066630"/>
                <a:gd name="connsiteX258" fmla="*/ 828483 w 1893230"/>
                <a:gd name="connsiteY258" fmla="*/ 295566 h 2066630"/>
                <a:gd name="connsiteX259" fmla="*/ 880270 w 1893230"/>
                <a:gd name="connsiteY259" fmla="*/ 295566 h 2066630"/>
                <a:gd name="connsiteX260" fmla="*/ 1020627 w 1893230"/>
                <a:gd name="connsiteY260" fmla="*/ 295649 h 2066630"/>
                <a:gd name="connsiteX261" fmla="*/ 1067909 w 1893230"/>
                <a:gd name="connsiteY261" fmla="*/ 295649 h 2066630"/>
                <a:gd name="connsiteX262" fmla="*/ 1077001 w 1893230"/>
                <a:gd name="connsiteY262" fmla="*/ 296124 h 2066630"/>
                <a:gd name="connsiteX263" fmla="*/ 1086032 w 1893230"/>
                <a:gd name="connsiteY263" fmla="*/ 297445 h 2066630"/>
                <a:gd name="connsiteX264" fmla="*/ 1088284 w 1893230"/>
                <a:gd name="connsiteY264" fmla="*/ 297816 h 2066630"/>
                <a:gd name="connsiteX265" fmla="*/ 1090516 w 1893230"/>
                <a:gd name="connsiteY265" fmla="*/ 298353 h 2066630"/>
                <a:gd name="connsiteX266" fmla="*/ 1094939 w 1893230"/>
                <a:gd name="connsiteY266" fmla="*/ 299489 h 2066630"/>
                <a:gd name="connsiteX267" fmla="*/ 1099361 w 1893230"/>
                <a:gd name="connsiteY267" fmla="*/ 300665 h 2066630"/>
                <a:gd name="connsiteX268" fmla="*/ 1103659 w 1893230"/>
                <a:gd name="connsiteY268" fmla="*/ 302214 h 2066630"/>
                <a:gd name="connsiteX269" fmla="*/ 1135421 w 1893230"/>
                <a:gd name="connsiteY269" fmla="*/ 319885 h 2066630"/>
                <a:gd name="connsiteX270" fmla="*/ 1174210 w 1893230"/>
                <a:gd name="connsiteY270" fmla="*/ 380146 h 2066630"/>
                <a:gd name="connsiteX271" fmla="*/ 1175326 w 1893230"/>
                <a:gd name="connsiteY271" fmla="*/ 384585 h 2066630"/>
                <a:gd name="connsiteX272" fmla="*/ 1176049 w 1893230"/>
                <a:gd name="connsiteY272" fmla="*/ 389086 h 2066630"/>
                <a:gd name="connsiteX273" fmla="*/ 1176731 w 1893230"/>
                <a:gd name="connsiteY273" fmla="*/ 393586 h 2066630"/>
                <a:gd name="connsiteX274" fmla="*/ 1177062 w 1893230"/>
                <a:gd name="connsiteY274" fmla="*/ 395857 h 2066630"/>
                <a:gd name="connsiteX275" fmla="*/ 1177186 w 1893230"/>
                <a:gd name="connsiteY275" fmla="*/ 398128 h 2066630"/>
                <a:gd name="connsiteX276" fmla="*/ 1177640 w 1893230"/>
                <a:gd name="connsiteY276" fmla="*/ 407211 h 2066630"/>
                <a:gd name="connsiteX277" fmla="*/ 1177640 w 1893230"/>
                <a:gd name="connsiteY277" fmla="*/ 1315855 h 2066630"/>
                <a:gd name="connsiteX278" fmla="*/ 1348272 w 1893230"/>
                <a:gd name="connsiteY278" fmla="*/ 614213 h 2066630"/>
                <a:gd name="connsiteX279" fmla="*/ 1219673 w 1893230"/>
                <a:gd name="connsiteY279" fmla="*/ 774311 h 2066630"/>
                <a:gd name="connsiteX280" fmla="*/ 1219673 w 1893230"/>
                <a:gd name="connsiteY280" fmla="*/ 713967 h 2066630"/>
                <a:gd name="connsiteX281" fmla="*/ 1348272 w 1893230"/>
                <a:gd name="connsiteY281" fmla="*/ 553849 h 2066630"/>
                <a:gd name="connsiteX282" fmla="*/ 1348272 w 1893230"/>
                <a:gd name="connsiteY282" fmla="*/ 614213 h 2066630"/>
                <a:gd name="connsiteX283" fmla="*/ 1851197 w 1893230"/>
                <a:gd name="connsiteY283" fmla="*/ 1108296 h 2066630"/>
                <a:gd name="connsiteX284" fmla="*/ 1851115 w 1893230"/>
                <a:gd name="connsiteY284" fmla="*/ 1110526 h 2066630"/>
                <a:gd name="connsiteX285" fmla="*/ 1850639 w 1893230"/>
                <a:gd name="connsiteY285" fmla="*/ 1119609 h 2066630"/>
                <a:gd name="connsiteX286" fmla="*/ 1849317 w 1893230"/>
                <a:gd name="connsiteY286" fmla="*/ 1128631 h 2066630"/>
                <a:gd name="connsiteX287" fmla="*/ 1848945 w 1893230"/>
                <a:gd name="connsiteY287" fmla="*/ 1130881 h 2066630"/>
                <a:gd name="connsiteX288" fmla="*/ 1848408 w 1893230"/>
                <a:gd name="connsiteY288" fmla="*/ 1133111 h 2066630"/>
                <a:gd name="connsiteX289" fmla="*/ 1847271 w 1893230"/>
                <a:gd name="connsiteY289" fmla="*/ 1137529 h 2066630"/>
                <a:gd name="connsiteX290" fmla="*/ 1832289 w 1893230"/>
                <a:gd name="connsiteY290" fmla="*/ 1170663 h 2066630"/>
                <a:gd name="connsiteX291" fmla="*/ 1807387 w 1893230"/>
                <a:gd name="connsiteY291" fmla="*/ 1197067 h 2066630"/>
                <a:gd name="connsiteX292" fmla="*/ 1739461 w 1893230"/>
                <a:gd name="connsiteY292" fmla="*/ 1220168 h 2066630"/>
                <a:gd name="connsiteX293" fmla="*/ 1500036 w 1893230"/>
                <a:gd name="connsiteY293" fmla="*/ 1220086 h 2066630"/>
                <a:gd name="connsiteX294" fmla="*/ 1490943 w 1893230"/>
                <a:gd name="connsiteY294" fmla="*/ 1219611 h 2066630"/>
                <a:gd name="connsiteX295" fmla="*/ 1481913 w 1893230"/>
                <a:gd name="connsiteY295" fmla="*/ 1218290 h 2066630"/>
                <a:gd name="connsiteX296" fmla="*/ 1479660 w 1893230"/>
                <a:gd name="connsiteY296" fmla="*/ 1217918 h 2066630"/>
                <a:gd name="connsiteX297" fmla="*/ 1477428 w 1893230"/>
                <a:gd name="connsiteY297" fmla="*/ 1217381 h 2066630"/>
                <a:gd name="connsiteX298" fmla="*/ 1473006 w 1893230"/>
                <a:gd name="connsiteY298" fmla="*/ 1216246 h 2066630"/>
                <a:gd name="connsiteX299" fmla="*/ 1468584 w 1893230"/>
                <a:gd name="connsiteY299" fmla="*/ 1215069 h 2066630"/>
                <a:gd name="connsiteX300" fmla="*/ 1464285 w 1893230"/>
                <a:gd name="connsiteY300" fmla="*/ 1213521 h 2066630"/>
                <a:gd name="connsiteX301" fmla="*/ 1432523 w 1893230"/>
                <a:gd name="connsiteY301" fmla="*/ 1195849 h 2066630"/>
                <a:gd name="connsiteX302" fmla="*/ 1393735 w 1893230"/>
                <a:gd name="connsiteY302" fmla="*/ 1135588 h 2066630"/>
                <a:gd name="connsiteX303" fmla="*/ 1392619 w 1893230"/>
                <a:gd name="connsiteY303" fmla="*/ 1131149 h 2066630"/>
                <a:gd name="connsiteX304" fmla="*/ 1391896 w 1893230"/>
                <a:gd name="connsiteY304" fmla="*/ 1126649 h 2066630"/>
                <a:gd name="connsiteX305" fmla="*/ 1391214 w 1893230"/>
                <a:gd name="connsiteY305" fmla="*/ 1122148 h 2066630"/>
                <a:gd name="connsiteX306" fmla="*/ 1390883 w 1893230"/>
                <a:gd name="connsiteY306" fmla="*/ 1119878 h 2066630"/>
                <a:gd name="connsiteX307" fmla="*/ 1390759 w 1893230"/>
                <a:gd name="connsiteY307" fmla="*/ 1117607 h 2066630"/>
                <a:gd name="connsiteX308" fmla="*/ 1390304 w 1893230"/>
                <a:gd name="connsiteY308" fmla="*/ 1108523 h 2066630"/>
                <a:gd name="connsiteX309" fmla="*/ 1390304 w 1893230"/>
                <a:gd name="connsiteY309" fmla="*/ 199879 h 2066630"/>
                <a:gd name="connsiteX310" fmla="*/ 1390387 w 1893230"/>
                <a:gd name="connsiteY310" fmla="*/ 197670 h 2066630"/>
                <a:gd name="connsiteX311" fmla="*/ 1390862 w 1893230"/>
                <a:gd name="connsiteY311" fmla="*/ 188566 h 2066630"/>
                <a:gd name="connsiteX312" fmla="*/ 1392206 w 1893230"/>
                <a:gd name="connsiteY312" fmla="*/ 179545 h 2066630"/>
                <a:gd name="connsiteX313" fmla="*/ 1392557 w 1893230"/>
                <a:gd name="connsiteY313" fmla="*/ 177294 h 2066630"/>
                <a:gd name="connsiteX314" fmla="*/ 1393094 w 1893230"/>
                <a:gd name="connsiteY314" fmla="*/ 175085 h 2066630"/>
                <a:gd name="connsiteX315" fmla="*/ 1394231 w 1893230"/>
                <a:gd name="connsiteY315" fmla="*/ 170647 h 2066630"/>
                <a:gd name="connsiteX316" fmla="*/ 1409213 w 1893230"/>
                <a:gd name="connsiteY316" fmla="*/ 137533 h 2066630"/>
                <a:gd name="connsiteX317" fmla="*/ 1434114 w 1893230"/>
                <a:gd name="connsiteY317" fmla="*/ 111129 h 2066630"/>
                <a:gd name="connsiteX318" fmla="*/ 1502040 w 1893230"/>
                <a:gd name="connsiteY318" fmla="*/ 88007 h 2066630"/>
                <a:gd name="connsiteX319" fmla="*/ 1741466 w 1893230"/>
                <a:gd name="connsiteY319" fmla="*/ 88090 h 2066630"/>
                <a:gd name="connsiteX320" fmla="*/ 1750558 w 1893230"/>
                <a:gd name="connsiteY320" fmla="*/ 88565 h 2066630"/>
                <a:gd name="connsiteX321" fmla="*/ 1759589 w 1893230"/>
                <a:gd name="connsiteY321" fmla="*/ 89906 h 2066630"/>
                <a:gd name="connsiteX322" fmla="*/ 1761862 w 1893230"/>
                <a:gd name="connsiteY322" fmla="*/ 90257 h 2066630"/>
                <a:gd name="connsiteX323" fmla="*/ 1764073 w 1893230"/>
                <a:gd name="connsiteY323" fmla="*/ 90815 h 2066630"/>
                <a:gd name="connsiteX324" fmla="*/ 1768496 w 1893230"/>
                <a:gd name="connsiteY324" fmla="*/ 91930 h 2066630"/>
                <a:gd name="connsiteX325" fmla="*/ 1772918 w 1893230"/>
                <a:gd name="connsiteY325" fmla="*/ 93127 h 2066630"/>
                <a:gd name="connsiteX326" fmla="*/ 1777216 w 1893230"/>
                <a:gd name="connsiteY326" fmla="*/ 94675 h 2066630"/>
                <a:gd name="connsiteX327" fmla="*/ 1808979 w 1893230"/>
                <a:gd name="connsiteY327" fmla="*/ 112326 h 2066630"/>
                <a:gd name="connsiteX328" fmla="*/ 1847767 w 1893230"/>
                <a:gd name="connsiteY328" fmla="*/ 172608 h 2066630"/>
                <a:gd name="connsiteX329" fmla="*/ 1848883 w 1893230"/>
                <a:gd name="connsiteY329" fmla="*/ 177026 h 2066630"/>
                <a:gd name="connsiteX330" fmla="*/ 1849627 w 1893230"/>
                <a:gd name="connsiteY330" fmla="*/ 181526 h 2066630"/>
                <a:gd name="connsiteX331" fmla="*/ 1850288 w 1893230"/>
                <a:gd name="connsiteY331" fmla="*/ 186048 h 2066630"/>
                <a:gd name="connsiteX332" fmla="*/ 1850619 w 1893230"/>
                <a:gd name="connsiteY332" fmla="*/ 188298 h 2066630"/>
                <a:gd name="connsiteX333" fmla="*/ 1850743 w 1893230"/>
                <a:gd name="connsiteY333" fmla="*/ 190569 h 2066630"/>
                <a:gd name="connsiteX334" fmla="*/ 1851197 w 1893230"/>
                <a:gd name="connsiteY334" fmla="*/ 199652 h 2066630"/>
                <a:gd name="connsiteX335" fmla="*/ 1851197 w 1893230"/>
                <a:gd name="connsiteY335" fmla="*/ 1108296 h 2066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</a:cxnLst>
              <a:rect l="l" t="t" r="r" b="b"/>
              <a:pathLst>
                <a:path w="1893230" h="2066630">
                  <a:moveTo>
                    <a:pt x="1892651" y="187204"/>
                  </a:moveTo>
                  <a:lnTo>
                    <a:pt x="1892445" y="184086"/>
                  </a:lnTo>
                  <a:lnTo>
                    <a:pt x="1892011" y="180969"/>
                  </a:lnTo>
                  <a:lnTo>
                    <a:pt x="1891102" y="174755"/>
                  </a:lnTo>
                  <a:cubicBezTo>
                    <a:pt x="1890771" y="172691"/>
                    <a:pt x="1890440" y="170626"/>
                    <a:pt x="1890068" y="168562"/>
                  </a:cubicBezTo>
                  <a:lnTo>
                    <a:pt x="1888560" y="162451"/>
                  </a:lnTo>
                  <a:cubicBezTo>
                    <a:pt x="1884530" y="146163"/>
                    <a:pt x="1877855" y="130473"/>
                    <a:pt x="1868680" y="116476"/>
                  </a:cubicBezTo>
                  <a:cubicBezTo>
                    <a:pt x="1859567" y="102438"/>
                    <a:pt x="1848222" y="89927"/>
                    <a:pt x="1835182" y="79481"/>
                  </a:cubicBezTo>
                  <a:cubicBezTo>
                    <a:pt x="1809123" y="58548"/>
                    <a:pt x="1775563" y="46636"/>
                    <a:pt x="1742210" y="46120"/>
                  </a:cubicBezTo>
                  <a:lnTo>
                    <a:pt x="1502040" y="46016"/>
                  </a:lnTo>
                  <a:cubicBezTo>
                    <a:pt x="1485405" y="46140"/>
                    <a:pt x="1468625" y="48865"/>
                    <a:pt x="1452692" y="54212"/>
                  </a:cubicBezTo>
                  <a:cubicBezTo>
                    <a:pt x="1436718" y="59497"/>
                    <a:pt x="1421757" y="67631"/>
                    <a:pt x="1408531" y="77809"/>
                  </a:cubicBezTo>
                  <a:cubicBezTo>
                    <a:pt x="1395285" y="88007"/>
                    <a:pt x="1383692" y="100291"/>
                    <a:pt x="1374310" y="114143"/>
                  </a:cubicBezTo>
                  <a:cubicBezTo>
                    <a:pt x="1364990" y="128057"/>
                    <a:pt x="1358025" y="143561"/>
                    <a:pt x="1353644" y="159767"/>
                  </a:cubicBezTo>
                  <a:lnTo>
                    <a:pt x="1352095" y="165857"/>
                  </a:lnTo>
                  <a:lnTo>
                    <a:pt x="1351371" y="168933"/>
                  </a:lnTo>
                  <a:lnTo>
                    <a:pt x="1350855" y="172030"/>
                  </a:lnTo>
                  <a:cubicBezTo>
                    <a:pt x="1350173" y="176159"/>
                    <a:pt x="1349532" y="180308"/>
                    <a:pt x="1349036" y="184458"/>
                  </a:cubicBezTo>
                  <a:cubicBezTo>
                    <a:pt x="1348747" y="188607"/>
                    <a:pt x="1348520" y="192778"/>
                    <a:pt x="1348375" y="196927"/>
                  </a:cubicBezTo>
                  <a:lnTo>
                    <a:pt x="1348272" y="199879"/>
                  </a:lnTo>
                  <a:lnTo>
                    <a:pt x="1348272" y="487890"/>
                  </a:lnTo>
                  <a:lnTo>
                    <a:pt x="1219673" y="648008"/>
                  </a:lnTo>
                  <a:lnTo>
                    <a:pt x="1219673" y="407211"/>
                  </a:lnTo>
                  <a:cubicBezTo>
                    <a:pt x="1219549" y="403082"/>
                    <a:pt x="1219342" y="398892"/>
                    <a:pt x="1219094" y="394742"/>
                  </a:cubicBezTo>
                  <a:lnTo>
                    <a:pt x="1218888" y="391625"/>
                  </a:lnTo>
                  <a:lnTo>
                    <a:pt x="1218454" y="388528"/>
                  </a:lnTo>
                  <a:lnTo>
                    <a:pt x="1217544" y="382314"/>
                  </a:lnTo>
                  <a:cubicBezTo>
                    <a:pt x="1217214" y="380229"/>
                    <a:pt x="1216883" y="378165"/>
                    <a:pt x="1216490" y="376121"/>
                  </a:cubicBezTo>
                  <a:lnTo>
                    <a:pt x="1215003" y="369989"/>
                  </a:lnTo>
                  <a:cubicBezTo>
                    <a:pt x="1210973" y="353722"/>
                    <a:pt x="1204298" y="338011"/>
                    <a:pt x="1195123" y="324035"/>
                  </a:cubicBezTo>
                  <a:cubicBezTo>
                    <a:pt x="1186009" y="309997"/>
                    <a:pt x="1174664" y="297486"/>
                    <a:pt x="1161604" y="287040"/>
                  </a:cubicBezTo>
                  <a:cubicBezTo>
                    <a:pt x="1135566" y="266107"/>
                    <a:pt x="1102006" y="254174"/>
                    <a:pt x="1068653" y="253658"/>
                  </a:cubicBezTo>
                  <a:lnTo>
                    <a:pt x="1061957" y="253658"/>
                  </a:lnTo>
                  <a:lnTo>
                    <a:pt x="1061957" y="109932"/>
                  </a:lnTo>
                  <a:cubicBezTo>
                    <a:pt x="1061957" y="49299"/>
                    <a:pt x="1012588" y="0"/>
                    <a:pt x="951916" y="0"/>
                  </a:cubicBezTo>
                  <a:lnTo>
                    <a:pt x="948981" y="0"/>
                  </a:lnTo>
                  <a:cubicBezTo>
                    <a:pt x="888309" y="0"/>
                    <a:pt x="838940" y="49299"/>
                    <a:pt x="838940" y="109932"/>
                  </a:cubicBezTo>
                  <a:lnTo>
                    <a:pt x="838940" y="253575"/>
                  </a:lnTo>
                  <a:lnTo>
                    <a:pt x="828483" y="253575"/>
                  </a:lnTo>
                  <a:cubicBezTo>
                    <a:pt x="811848" y="253699"/>
                    <a:pt x="795047" y="256404"/>
                    <a:pt x="779135" y="261771"/>
                  </a:cubicBezTo>
                  <a:cubicBezTo>
                    <a:pt x="763161" y="267036"/>
                    <a:pt x="748199" y="275170"/>
                    <a:pt x="734974" y="285368"/>
                  </a:cubicBezTo>
                  <a:cubicBezTo>
                    <a:pt x="721727" y="295546"/>
                    <a:pt x="710134" y="307850"/>
                    <a:pt x="700752" y="321702"/>
                  </a:cubicBezTo>
                  <a:cubicBezTo>
                    <a:pt x="691432" y="335596"/>
                    <a:pt x="684448" y="351120"/>
                    <a:pt x="680087" y="367306"/>
                  </a:cubicBezTo>
                  <a:lnTo>
                    <a:pt x="678537" y="373416"/>
                  </a:lnTo>
                  <a:lnTo>
                    <a:pt x="677814" y="376472"/>
                  </a:lnTo>
                  <a:lnTo>
                    <a:pt x="677298" y="379568"/>
                  </a:lnTo>
                  <a:cubicBezTo>
                    <a:pt x="676616" y="383718"/>
                    <a:pt x="675975" y="387847"/>
                    <a:pt x="675479" y="391996"/>
                  </a:cubicBezTo>
                  <a:cubicBezTo>
                    <a:pt x="675190" y="396146"/>
                    <a:pt x="674962" y="400316"/>
                    <a:pt x="674818" y="404486"/>
                  </a:cubicBezTo>
                  <a:lnTo>
                    <a:pt x="674714" y="407438"/>
                  </a:lnTo>
                  <a:lnTo>
                    <a:pt x="674714" y="644127"/>
                  </a:lnTo>
                  <a:lnTo>
                    <a:pt x="544938" y="482563"/>
                  </a:lnTo>
                  <a:lnTo>
                    <a:pt x="544938" y="199652"/>
                  </a:lnTo>
                  <a:cubicBezTo>
                    <a:pt x="544814" y="195544"/>
                    <a:pt x="544628" y="191353"/>
                    <a:pt x="544359" y="187204"/>
                  </a:cubicBezTo>
                  <a:lnTo>
                    <a:pt x="544153" y="184086"/>
                  </a:lnTo>
                  <a:lnTo>
                    <a:pt x="543739" y="180969"/>
                  </a:lnTo>
                  <a:lnTo>
                    <a:pt x="542809" y="174755"/>
                  </a:lnTo>
                  <a:cubicBezTo>
                    <a:pt x="542479" y="172691"/>
                    <a:pt x="542148" y="170626"/>
                    <a:pt x="541776" y="168562"/>
                  </a:cubicBezTo>
                  <a:lnTo>
                    <a:pt x="540268" y="162451"/>
                  </a:lnTo>
                  <a:cubicBezTo>
                    <a:pt x="536238" y="146163"/>
                    <a:pt x="529584" y="130473"/>
                    <a:pt x="520388" y="116476"/>
                  </a:cubicBezTo>
                  <a:cubicBezTo>
                    <a:pt x="511274" y="102438"/>
                    <a:pt x="499929" y="89927"/>
                    <a:pt x="486890" y="79481"/>
                  </a:cubicBezTo>
                  <a:cubicBezTo>
                    <a:pt x="460852" y="58548"/>
                    <a:pt x="427271" y="46636"/>
                    <a:pt x="393938" y="46120"/>
                  </a:cubicBezTo>
                  <a:lnTo>
                    <a:pt x="153769" y="46016"/>
                  </a:lnTo>
                  <a:cubicBezTo>
                    <a:pt x="137113" y="46140"/>
                    <a:pt x="120333" y="48865"/>
                    <a:pt x="104400" y="54212"/>
                  </a:cubicBezTo>
                  <a:cubicBezTo>
                    <a:pt x="88426" y="59497"/>
                    <a:pt x="73485" y="67631"/>
                    <a:pt x="60259" y="77809"/>
                  </a:cubicBezTo>
                  <a:cubicBezTo>
                    <a:pt x="46992" y="88007"/>
                    <a:pt x="35420" y="100291"/>
                    <a:pt x="26017" y="114143"/>
                  </a:cubicBezTo>
                  <a:cubicBezTo>
                    <a:pt x="16718" y="128057"/>
                    <a:pt x="9733" y="143561"/>
                    <a:pt x="5352" y="159767"/>
                  </a:cubicBezTo>
                  <a:lnTo>
                    <a:pt x="3802" y="165857"/>
                  </a:lnTo>
                  <a:lnTo>
                    <a:pt x="3079" y="168933"/>
                  </a:lnTo>
                  <a:lnTo>
                    <a:pt x="2562" y="172030"/>
                  </a:lnTo>
                  <a:cubicBezTo>
                    <a:pt x="1901" y="176159"/>
                    <a:pt x="1240" y="180308"/>
                    <a:pt x="765" y="184458"/>
                  </a:cubicBezTo>
                  <a:cubicBezTo>
                    <a:pt x="475" y="188607"/>
                    <a:pt x="248" y="192778"/>
                    <a:pt x="83" y="196927"/>
                  </a:cubicBezTo>
                  <a:lnTo>
                    <a:pt x="0" y="199879"/>
                  </a:lnTo>
                  <a:lnTo>
                    <a:pt x="0" y="1108523"/>
                  </a:lnTo>
                  <a:cubicBezTo>
                    <a:pt x="124" y="1112652"/>
                    <a:pt x="310" y="1116843"/>
                    <a:pt x="579" y="1120992"/>
                  </a:cubicBezTo>
                  <a:lnTo>
                    <a:pt x="785" y="1124110"/>
                  </a:lnTo>
                  <a:lnTo>
                    <a:pt x="1199" y="1127206"/>
                  </a:lnTo>
                  <a:lnTo>
                    <a:pt x="2129" y="1133420"/>
                  </a:lnTo>
                  <a:cubicBezTo>
                    <a:pt x="2459" y="1135505"/>
                    <a:pt x="2790" y="1137570"/>
                    <a:pt x="3162" y="1139614"/>
                  </a:cubicBezTo>
                  <a:lnTo>
                    <a:pt x="4670" y="1145745"/>
                  </a:lnTo>
                  <a:cubicBezTo>
                    <a:pt x="8700" y="1162013"/>
                    <a:pt x="15354" y="1177723"/>
                    <a:pt x="24550" y="1191700"/>
                  </a:cubicBezTo>
                  <a:cubicBezTo>
                    <a:pt x="33663" y="1205738"/>
                    <a:pt x="45009" y="1218248"/>
                    <a:pt x="58048" y="1228694"/>
                  </a:cubicBezTo>
                  <a:cubicBezTo>
                    <a:pt x="84107" y="1249628"/>
                    <a:pt x="117667" y="1261560"/>
                    <a:pt x="151020" y="1262076"/>
                  </a:cubicBezTo>
                  <a:lnTo>
                    <a:pt x="391169" y="1262159"/>
                  </a:lnTo>
                  <a:cubicBezTo>
                    <a:pt x="407825" y="1262035"/>
                    <a:pt x="424605" y="1259331"/>
                    <a:pt x="440538" y="1253963"/>
                  </a:cubicBezTo>
                  <a:cubicBezTo>
                    <a:pt x="456512" y="1248699"/>
                    <a:pt x="471453" y="1240565"/>
                    <a:pt x="484699" y="1230366"/>
                  </a:cubicBezTo>
                  <a:cubicBezTo>
                    <a:pt x="497945" y="1220189"/>
                    <a:pt x="509518" y="1207905"/>
                    <a:pt x="518920" y="1194053"/>
                  </a:cubicBezTo>
                  <a:cubicBezTo>
                    <a:pt x="528240" y="1180139"/>
                    <a:pt x="535205" y="1164614"/>
                    <a:pt x="539586" y="1148429"/>
                  </a:cubicBezTo>
                  <a:lnTo>
                    <a:pt x="541135" y="1142318"/>
                  </a:lnTo>
                  <a:lnTo>
                    <a:pt x="541859" y="1139263"/>
                  </a:lnTo>
                  <a:lnTo>
                    <a:pt x="542375" y="1136166"/>
                  </a:lnTo>
                  <a:cubicBezTo>
                    <a:pt x="543037" y="1132037"/>
                    <a:pt x="543698" y="1127888"/>
                    <a:pt x="544173" y="1123738"/>
                  </a:cubicBezTo>
                  <a:cubicBezTo>
                    <a:pt x="544463" y="1119589"/>
                    <a:pt x="544690" y="1115418"/>
                    <a:pt x="544855" y="1111248"/>
                  </a:cubicBezTo>
                  <a:lnTo>
                    <a:pt x="544938" y="1108296"/>
                  </a:lnTo>
                  <a:lnTo>
                    <a:pt x="544938" y="674846"/>
                  </a:lnTo>
                  <a:lnTo>
                    <a:pt x="674714" y="836409"/>
                  </a:lnTo>
                  <a:lnTo>
                    <a:pt x="674714" y="1316082"/>
                  </a:lnTo>
                  <a:cubicBezTo>
                    <a:pt x="674838" y="1320211"/>
                    <a:pt x="675045" y="1324402"/>
                    <a:pt x="675293" y="1328551"/>
                  </a:cubicBezTo>
                  <a:lnTo>
                    <a:pt x="675500" y="1331648"/>
                  </a:lnTo>
                  <a:lnTo>
                    <a:pt x="675934" y="1334765"/>
                  </a:lnTo>
                  <a:lnTo>
                    <a:pt x="676843" y="1340979"/>
                  </a:lnTo>
                  <a:cubicBezTo>
                    <a:pt x="677174" y="1343044"/>
                    <a:pt x="677504" y="1345108"/>
                    <a:pt x="677897" y="1347173"/>
                  </a:cubicBezTo>
                  <a:lnTo>
                    <a:pt x="679385" y="1353283"/>
                  </a:lnTo>
                  <a:cubicBezTo>
                    <a:pt x="683414" y="1369572"/>
                    <a:pt x="690089" y="1385262"/>
                    <a:pt x="699265" y="1399259"/>
                  </a:cubicBezTo>
                  <a:cubicBezTo>
                    <a:pt x="708378" y="1413297"/>
                    <a:pt x="719723" y="1425807"/>
                    <a:pt x="732783" y="1436253"/>
                  </a:cubicBezTo>
                  <a:cubicBezTo>
                    <a:pt x="758821" y="1457187"/>
                    <a:pt x="792381" y="1469099"/>
                    <a:pt x="825735" y="1469615"/>
                  </a:cubicBezTo>
                  <a:lnTo>
                    <a:pt x="838940" y="1469615"/>
                  </a:lnTo>
                  <a:lnTo>
                    <a:pt x="838940" y="1956699"/>
                  </a:lnTo>
                  <a:cubicBezTo>
                    <a:pt x="838940" y="2017332"/>
                    <a:pt x="888309" y="2066631"/>
                    <a:pt x="948981" y="2066631"/>
                  </a:cubicBezTo>
                  <a:lnTo>
                    <a:pt x="951916" y="2066631"/>
                  </a:lnTo>
                  <a:cubicBezTo>
                    <a:pt x="1012588" y="2066631"/>
                    <a:pt x="1061957" y="2017332"/>
                    <a:pt x="1061957" y="1956699"/>
                  </a:cubicBezTo>
                  <a:lnTo>
                    <a:pt x="1061957" y="1469718"/>
                  </a:lnTo>
                  <a:lnTo>
                    <a:pt x="1065904" y="1469718"/>
                  </a:lnTo>
                  <a:cubicBezTo>
                    <a:pt x="1074232" y="1469656"/>
                    <a:pt x="1082581" y="1468954"/>
                    <a:pt x="1090847" y="1467571"/>
                  </a:cubicBezTo>
                  <a:cubicBezTo>
                    <a:pt x="1099113" y="1466208"/>
                    <a:pt x="1107296" y="1464206"/>
                    <a:pt x="1115252" y="1461522"/>
                  </a:cubicBezTo>
                  <a:cubicBezTo>
                    <a:pt x="1131226" y="1456258"/>
                    <a:pt x="1146188" y="1448124"/>
                    <a:pt x="1159414" y="1437926"/>
                  </a:cubicBezTo>
                  <a:cubicBezTo>
                    <a:pt x="1172660" y="1427748"/>
                    <a:pt x="1184253" y="1415444"/>
                    <a:pt x="1193635" y="1401591"/>
                  </a:cubicBezTo>
                  <a:cubicBezTo>
                    <a:pt x="1202955" y="1387677"/>
                    <a:pt x="1209919" y="1372173"/>
                    <a:pt x="1214300" y="1355967"/>
                  </a:cubicBezTo>
                  <a:lnTo>
                    <a:pt x="1215850" y="1349877"/>
                  </a:lnTo>
                  <a:lnTo>
                    <a:pt x="1216573" y="1346801"/>
                  </a:lnTo>
                  <a:lnTo>
                    <a:pt x="1217090" y="1343704"/>
                  </a:lnTo>
                  <a:cubicBezTo>
                    <a:pt x="1217772" y="1339576"/>
                    <a:pt x="1218412" y="1335426"/>
                    <a:pt x="1218908" y="1331276"/>
                  </a:cubicBezTo>
                  <a:cubicBezTo>
                    <a:pt x="1219198" y="1327127"/>
                    <a:pt x="1219425" y="1322977"/>
                    <a:pt x="1219570" y="1318807"/>
                  </a:cubicBezTo>
                  <a:lnTo>
                    <a:pt x="1219673" y="1315855"/>
                  </a:lnTo>
                  <a:lnTo>
                    <a:pt x="1219673" y="840290"/>
                  </a:lnTo>
                  <a:lnTo>
                    <a:pt x="1348272" y="680172"/>
                  </a:lnTo>
                  <a:lnTo>
                    <a:pt x="1348272" y="1108523"/>
                  </a:lnTo>
                  <a:cubicBezTo>
                    <a:pt x="1348396" y="1112652"/>
                    <a:pt x="1348602" y="1116843"/>
                    <a:pt x="1348850" y="1120992"/>
                  </a:cubicBezTo>
                  <a:lnTo>
                    <a:pt x="1349078" y="1124110"/>
                  </a:lnTo>
                  <a:lnTo>
                    <a:pt x="1349491" y="1127206"/>
                  </a:lnTo>
                  <a:lnTo>
                    <a:pt x="1350400" y="1133420"/>
                  </a:lnTo>
                  <a:cubicBezTo>
                    <a:pt x="1350731" y="1135505"/>
                    <a:pt x="1351061" y="1137570"/>
                    <a:pt x="1351454" y="1139614"/>
                  </a:cubicBezTo>
                  <a:lnTo>
                    <a:pt x="1352942" y="1145745"/>
                  </a:lnTo>
                  <a:cubicBezTo>
                    <a:pt x="1356972" y="1162013"/>
                    <a:pt x="1363646" y="1177723"/>
                    <a:pt x="1372842" y="1191700"/>
                  </a:cubicBezTo>
                  <a:cubicBezTo>
                    <a:pt x="1381956" y="1205738"/>
                    <a:pt x="1393280" y="1218248"/>
                    <a:pt x="1406340" y="1228694"/>
                  </a:cubicBezTo>
                  <a:cubicBezTo>
                    <a:pt x="1432378" y="1249628"/>
                    <a:pt x="1465938" y="1261560"/>
                    <a:pt x="1499292" y="1262076"/>
                  </a:cubicBezTo>
                  <a:lnTo>
                    <a:pt x="1739461" y="1262159"/>
                  </a:lnTo>
                  <a:cubicBezTo>
                    <a:pt x="1756097" y="1262035"/>
                    <a:pt x="1772897" y="1259331"/>
                    <a:pt x="1788809" y="1253963"/>
                  </a:cubicBezTo>
                  <a:cubicBezTo>
                    <a:pt x="1804784" y="1248699"/>
                    <a:pt x="1819745" y="1240565"/>
                    <a:pt x="1832971" y="1230366"/>
                  </a:cubicBezTo>
                  <a:cubicBezTo>
                    <a:pt x="1846217" y="1220189"/>
                    <a:pt x="1857810" y="1207905"/>
                    <a:pt x="1867213" y="1194053"/>
                  </a:cubicBezTo>
                  <a:cubicBezTo>
                    <a:pt x="1876512" y="1180139"/>
                    <a:pt x="1883497" y="1164614"/>
                    <a:pt x="1887857" y="1148429"/>
                  </a:cubicBezTo>
                  <a:lnTo>
                    <a:pt x="1889407" y="1142318"/>
                  </a:lnTo>
                  <a:lnTo>
                    <a:pt x="1890130" y="1139263"/>
                  </a:lnTo>
                  <a:lnTo>
                    <a:pt x="1890647" y="1136166"/>
                  </a:lnTo>
                  <a:cubicBezTo>
                    <a:pt x="1891329" y="1132037"/>
                    <a:pt x="1891969" y="1127888"/>
                    <a:pt x="1892465" y="1123738"/>
                  </a:cubicBezTo>
                  <a:cubicBezTo>
                    <a:pt x="1892755" y="1119589"/>
                    <a:pt x="1892982" y="1115418"/>
                    <a:pt x="1893127" y="1111248"/>
                  </a:cubicBezTo>
                  <a:lnTo>
                    <a:pt x="1893230" y="1108296"/>
                  </a:lnTo>
                  <a:lnTo>
                    <a:pt x="1893230" y="199652"/>
                  </a:lnTo>
                  <a:cubicBezTo>
                    <a:pt x="1893106" y="195544"/>
                    <a:pt x="1892899" y="191353"/>
                    <a:pt x="1892651" y="187204"/>
                  </a:cubicBezTo>
                  <a:close/>
                  <a:moveTo>
                    <a:pt x="502905" y="1108296"/>
                  </a:moveTo>
                  <a:lnTo>
                    <a:pt x="502822" y="1110526"/>
                  </a:lnTo>
                  <a:lnTo>
                    <a:pt x="502347" y="1119609"/>
                  </a:lnTo>
                  <a:cubicBezTo>
                    <a:pt x="501975" y="1122623"/>
                    <a:pt x="501479" y="1125637"/>
                    <a:pt x="501025" y="1128631"/>
                  </a:cubicBezTo>
                  <a:lnTo>
                    <a:pt x="500673" y="1130881"/>
                  </a:lnTo>
                  <a:lnTo>
                    <a:pt x="500115" y="1133111"/>
                  </a:lnTo>
                  <a:lnTo>
                    <a:pt x="498999" y="1137529"/>
                  </a:lnTo>
                  <a:cubicBezTo>
                    <a:pt x="495817" y="1149275"/>
                    <a:pt x="490775" y="1160526"/>
                    <a:pt x="484017" y="1170663"/>
                  </a:cubicBezTo>
                  <a:cubicBezTo>
                    <a:pt x="477177" y="1180717"/>
                    <a:pt x="468725" y="1189656"/>
                    <a:pt x="459095" y="1197067"/>
                  </a:cubicBezTo>
                  <a:cubicBezTo>
                    <a:pt x="439939" y="1212138"/>
                    <a:pt x="415430" y="1219982"/>
                    <a:pt x="391169" y="1220168"/>
                  </a:cubicBezTo>
                  <a:lnTo>
                    <a:pt x="151764" y="1220086"/>
                  </a:lnTo>
                  <a:lnTo>
                    <a:pt x="142651" y="1219611"/>
                  </a:lnTo>
                  <a:cubicBezTo>
                    <a:pt x="139634" y="1219239"/>
                    <a:pt x="136637" y="1218744"/>
                    <a:pt x="133620" y="1218290"/>
                  </a:cubicBezTo>
                  <a:lnTo>
                    <a:pt x="131368" y="1217918"/>
                  </a:lnTo>
                  <a:lnTo>
                    <a:pt x="129157" y="1217381"/>
                  </a:lnTo>
                  <a:lnTo>
                    <a:pt x="124714" y="1216246"/>
                  </a:lnTo>
                  <a:cubicBezTo>
                    <a:pt x="123246" y="1215854"/>
                    <a:pt x="121759" y="1215503"/>
                    <a:pt x="120312" y="1215069"/>
                  </a:cubicBezTo>
                  <a:lnTo>
                    <a:pt x="116014" y="1213521"/>
                  </a:lnTo>
                  <a:cubicBezTo>
                    <a:pt x="104565" y="1209392"/>
                    <a:pt x="93675" y="1203529"/>
                    <a:pt x="84231" y="1195849"/>
                  </a:cubicBezTo>
                  <a:cubicBezTo>
                    <a:pt x="65302" y="1180675"/>
                    <a:pt x="51105" y="1159350"/>
                    <a:pt x="45442" y="1135588"/>
                  </a:cubicBezTo>
                  <a:lnTo>
                    <a:pt x="44327" y="1131149"/>
                  </a:lnTo>
                  <a:lnTo>
                    <a:pt x="43603" y="1126649"/>
                  </a:lnTo>
                  <a:lnTo>
                    <a:pt x="42921" y="1122148"/>
                  </a:lnTo>
                  <a:lnTo>
                    <a:pt x="42611" y="1119878"/>
                  </a:lnTo>
                  <a:lnTo>
                    <a:pt x="42467" y="1117607"/>
                  </a:lnTo>
                  <a:lnTo>
                    <a:pt x="42033" y="1108523"/>
                  </a:lnTo>
                  <a:lnTo>
                    <a:pt x="42033" y="199879"/>
                  </a:lnTo>
                  <a:lnTo>
                    <a:pt x="42115" y="197670"/>
                  </a:lnTo>
                  <a:lnTo>
                    <a:pt x="42591" y="188566"/>
                  </a:lnTo>
                  <a:cubicBezTo>
                    <a:pt x="42963" y="185552"/>
                    <a:pt x="43459" y="182559"/>
                    <a:pt x="43913" y="179545"/>
                  </a:cubicBezTo>
                  <a:lnTo>
                    <a:pt x="44285" y="177294"/>
                  </a:lnTo>
                  <a:lnTo>
                    <a:pt x="44823" y="175085"/>
                  </a:lnTo>
                  <a:lnTo>
                    <a:pt x="45959" y="170647"/>
                  </a:lnTo>
                  <a:cubicBezTo>
                    <a:pt x="49142" y="158900"/>
                    <a:pt x="54163" y="147649"/>
                    <a:pt x="60921" y="137533"/>
                  </a:cubicBezTo>
                  <a:cubicBezTo>
                    <a:pt x="67781" y="127479"/>
                    <a:pt x="76213" y="118540"/>
                    <a:pt x="85843" y="111129"/>
                  </a:cubicBezTo>
                  <a:cubicBezTo>
                    <a:pt x="104999" y="96038"/>
                    <a:pt x="129508" y="88214"/>
                    <a:pt x="153769" y="88007"/>
                  </a:cubicBezTo>
                  <a:lnTo>
                    <a:pt x="393174" y="88090"/>
                  </a:lnTo>
                  <a:lnTo>
                    <a:pt x="402287" y="88565"/>
                  </a:lnTo>
                  <a:cubicBezTo>
                    <a:pt x="405304" y="88957"/>
                    <a:pt x="408300" y="89432"/>
                    <a:pt x="411317" y="89906"/>
                  </a:cubicBezTo>
                  <a:lnTo>
                    <a:pt x="413570" y="90257"/>
                  </a:lnTo>
                  <a:lnTo>
                    <a:pt x="415781" y="90815"/>
                  </a:lnTo>
                  <a:lnTo>
                    <a:pt x="420224" y="91930"/>
                  </a:lnTo>
                  <a:cubicBezTo>
                    <a:pt x="421691" y="92322"/>
                    <a:pt x="423179" y="92693"/>
                    <a:pt x="424626" y="93127"/>
                  </a:cubicBezTo>
                  <a:lnTo>
                    <a:pt x="428924" y="94675"/>
                  </a:lnTo>
                  <a:cubicBezTo>
                    <a:pt x="440373" y="98784"/>
                    <a:pt x="451263" y="104647"/>
                    <a:pt x="460707" y="112326"/>
                  </a:cubicBezTo>
                  <a:cubicBezTo>
                    <a:pt x="479636" y="127500"/>
                    <a:pt x="493833" y="148846"/>
                    <a:pt x="499495" y="172608"/>
                  </a:cubicBezTo>
                  <a:lnTo>
                    <a:pt x="500611" y="177026"/>
                  </a:lnTo>
                  <a:lnTo>
                    <a:pt x="501335" y="181526"/>
                  </a:lnTo>
                  <a:lnTo>
                    <a:pt x="502016" y="186048"/>
                  </a:lnTo>
                  <a:lnTo>
                    <a:pt x="502347" y="188298"/>
                  </a:lnTo>
                  <a:lnTo>
                    <a:pt x="502471" y="190569"/>
                  </a:lnTo>
                  <a:lnTo>
                    <a:pt x="502905" y="199652"/>
                  </a:lnTo>
                  <a:lnTo>
                    <a:pt x="502905" y="1108296"/>
                  </a:lnTo>
                  <a:close/>
                  <a:moveTo>
                    <a:pt x="674714" y="770450"/>
                  </a:moveTo>
                  <a:lnTo>
                    <a:pt x="544938" y="608887"/>
                  </a:lnTo>
                  <a:lnTo>
                    <a:pt x="544938" y="548543"/>
                  </a:lnTo>
                  <a:lnTo>
                    <a:pt x="674714" y="710086"/>
                  </a:lnTo>
                  <a:lnTo>
                    <a:pt x="674714" y="770450"/>
                  </a:lnTo>
                  <a:close/>
                  <a:moveTo>
                    <a:pt x="880270" y="109932"/>
                  </a:moveTo>
                  <a:cubicBezTo>
                    <a:pt x="880270" y="72090"/>
                    <a:pt x="911102" y="41289"/>
                    <a:pt x="948981" y="41289"/>
                  </a:cubicBezTo>
                  <a:lnTo>
                    <a:pt x="951916" y="41289"/>
                  </a:lnTo>
                  <a:cubicBezTo>
                    <a:pt x="989795" y="41289"/>
                    <a:pt x="1020627" y="72090"/>
                    <a:pt x="1020627" y="109932"/>
                  </a:cubicBezTo>
                  <a:lnTo>
                    <a:pt x="1020627" y="253637"/>
                  </a:lnTo>
                  <a:lnTo>
                    <a:pt x="880270" y="253575"/>
                  </a:lnTo>
                  <a:lnTo>
                    <a:pt x="880270" y="109932"/>
                  </a:lnTo>
                  <a:close/>
                  <a:moveTo>
                    <a:pt x="1020627" y="1956699"/>
                  </a:moveTo>
                  <a:cubicBezTo>
                    <a:pt x="1020627" y="1994541"/>
                    <a:pt x="989795" y="2025342"/>
                    <a:pt x="951916" y="2025342"/>
                  </a:cubicBezTo>
                  <a:lnTo>
                    <a:pt x="948981" y="2025342"/>
                  </a:lnTo>
                  <a:cubicBezTo>
                    <a:pt x="911102" y="2025342"/>
                    <a:pt x="880270" y="1994541"/>
                    <a:pt x="880270" y="1956699"/>
                  </a:cubicBezTo>
                  <a:lnTo>
                    <a:pt x="880270" y="1469635"/>
                  </a:lnTo>
                  <a:lnTo>
                    <a:pt x="1020627" y="1469697"/>
                  </a:lnTo>
                  <a:lnTo>
                    <a:pt x="1020627" y="1956699"/>
                  </a:lnTo>
                  <a:close/>
                  <a:moveTo>
                    <a:pt x="1177640" y="1315855"/>
                  </a:moveTo>
                  <a:lnTo>
                    <a:pt x="1177558" y="1318064"/>
                  </a:lnTo>
                  <a:lnTo>
                    <a:pt x="1177082" y="1327168"/>
                  </a:lnTo>
                  <a:cubicBezTo>
                    <a:pt x="1176710" y="1330182"/>
                    <a:pt x="1176214" y="1333176"/>
                    <a:pt x="1175739" y="1336190"/>
                  </a:cubicBezTo>
                  <a:lnTo>
                    <a:pt x="1175388" y="1338440"/>
                  </a:lnTo>
                  <a:lnTo>
                    <a:pt x="1174850" y="1340649"/>
                  </a:lnTo>
                  <a:lnTo>
                    <a:pt x="1173714" y="1345088"/>
                  </a:lnTo>
                  <a:cubicBezTo>
                    <a:pt x="1170531" y="1356834"/>
                    <a:pt x="1165510" y="1368086"/>
                    <a:pt x="1158732" y="1378201"/>
                  </a:cubicBezTo>
                  <a:cubicBezTo>
                    <a:pt x="1151891" y="1388276"/>
                    <a:pt x="1143460" y="1397194"/>
                    <a:pt x="1133830" y="1404605"/>
                  </a:cubicBezTo>
                  <a:cubicBezTo>
                    <a:pt x="1114674" y="1419697"/>
                    <a:pt x="1090144" y="1427521"/>
                    <a:pt x="1065904" y="1427727"/>
                  </a:cubicBezTo>
                  <a:lnTo>
                    <a:pt x="1061957" y="1427727"/>
                  </a:lnTo>
                  <a:lnTo>
                    <a:pt x="1020627" y="1427686"/>
                  </a:lnTo>
                  <a:lnTo>
                    <a:pt x="880270" y="1427645"/>
                  </a:lnTo>
                  <a:lnTo>
                    <a:pt x="826479" y="1427645"/>
                  </a:lnTo>
                  <a:lnTo>
                    <a:pt x="817386" y="1427170"/>
                  </a:lnTo>
                  <a:cubicBezTo>
                    <a:pt x="814369" y="1426778"/>
                    <a:pt x="811352" y="1426303"/>
                    <a:pt x="808355" y="1425828"/>
                  </a:cubicBezTo>
                  <a:lnTo>
                    <a:pt x="806103" y="1425477"/>
                  </a:lnTo>
                  <a:lnTo>
                    <a:pt x="803871" y="1424940"/>
                  </a:lnTo>
                  <a:lnTo>
                    <a:pt x="799449" y="1423805"/>
                  </a:lnTo>
                  <a:cubicBezTo>
                    <a:pt x="797982" y="1423413"/>
                    <a:pt x="796494" y="1423041"/>
                    <a:pt x="795026" y="1422628"/>
                  </a:cubicBezTo>
                  <a:lnTo>
                    <a:pt x="790728" y="1421080"/>
                  </a:lnTo>
                  <a:cubicBezTo>
                    <a:pt x="779280" y="1416951"/>
                    <a:pt x="768389" y="1411088"/>
                    <a:pt x="758966" y="1403408"/>
                  </a:cubicBezTo>
                  <a:cubicBezTo>
                    <a:pt x="740037" y="1388234"/>
                    <a:pt x="725840" y="1366888"/>
                    <a:pt x="720178" y="1343126"/>
                  </a:cubicBezTo>
                  <a:lnTo>
                    <a:pt x="719062" y="1338709"/>
                  </a:lnTo>
                  <a:lnTo>
                    <a:pt x="718338" y="1334208"/>
                  </a:lnTo>
                  <a:lnTo>
                    <a:pt x="717656" y="1329687"/>
                  </a:lnTo>
                  <a:lnTo>
                    <a:pt x="717326" y="1327437"/>
                  </a:lnTo>
                  <a:lnTo>
                    <a:pt x="717202" y="1325166"/>
                  </a:lnTo>
                  <a:lnTo>
                    <a:pt x="716747" y="1316082"/>
                  </a:lnTo>
                  <a:lnTo>
                    <a:pt x="716747" y="407438"/>
                  </a:lnTo>
                  <a:lnTo>
                    <a:pt x="716830" y="405209"/>
                  </a:lnTo>
                  <a:lnTo>
                    <a:pt x="717305" y="396125"/>
                  </a:lnTo>
                  <a:cubicBezTo>
                    <a:pt x="717677" y="393111"/>
                    <a:pt x="718173" y="390097"/>
                    <a:pt x="718648" y="387104"/>
                  </a:cubicBezTo>
                  <a:lnTo>
                    <a:pt x="719000" y="384853"/>
                  </a:lnTo>
                  <a:lnTo>
                    <a:pt x="719537" y="382624"/>
                  </a:lnTo>
                  <a:lnTo>
                    <a:pt x="720674" y="378206"/>
                  </a:lnTo>
                  <a:cubicBezTo>
                    <a:pt x="723856" y="366459"/>
                    <a:pt x="728878" y="355208"/>
                    <a:pt x="735656" y="345072"/>
                  </a:cubicBezTo>
                  <a:cubicBezTo>
                    <a:pt x="742496" y="335018"/>
                    <a:pt x="750927" y="326079"/>
                    <a:pt x="760557" y="318667"/>
                  </a:cubicBezTo>
                  <a:cubicBezTo>
                    <a:pt x="779714" y="303597"/>
                    <a:pt x="804243" y="295752"/>
                    <a:pt x="828483" y="295566"/>
                  </a:cubicBezTo>
                  <a:lnTo>
                    <a:pt x="880270" y="295566"/>
                  </a:lnTo>
                  <a:lnTo>
                    <a:pt x="1020627" y="295649"/>
                  </a:lnTo>
                  <a:lnTo>
                    <a:pt x="1067909" y="295649"/>
                  </a:lnTo>
                  <a:lnTo>
                    <a:pt x="1077001" y="296124"/>
                  </a:lnTo>
                  <a:cubicBezTo>
                    <a:pt x="1080018" y="296495"/>
                    <a:pt x="1083036" y="296991"/>
                    <a:pt x="1086032" y="297445"/>
                  </a:cubicBezTo>
                  <a:lnTo>
                    <a:pt x="1088284" y="297816"/>
                  </a:lnTo>
                  <a:lnTo>
                    <a:pt x="1090516" y="298353"/>
                  </a:lnTo>
                  <a:lnTo>
                    <a:pt x="1094939" y="299489"/>
                  </a:lnTo>
                  <a:cubicBezTo>
                    <a:pt x="1096406" y="299881"/>
                    <a:pt x="1097894" y="300232"/>
                    <a:pt x="1099361" y="300665"/>
                  </a:cubicBezTo>
                  <a:lnTo>
                    <a:pt x="1103659" y="302214"/>
                  </a:lnTo>
                  <a:cubicBezTo>
                    <a:pt x="1115108" y="306343"/>
                    <a:pt x="1125998" y="312206"/>
                    <a:pt x="1135421" y="319885"/>
                  </a:cubicBezTo>
                  <a:cubicBezTo>
                    <a:pt x="1154351" y="335059"/>
                    <a:pt x="1168547" y="356385"/>
                    <a:pt x="1174210" y="380146"/>
                  </a:cubicBezTo>
                  <a:lnTo>
                    <a:pt x="1175326" y="384585"/>
                  </a:lnTo>
                  <a:lnTo>
                    <a:pt x="1176049" y="389086"/>
                  </a:lnTo>
                  <a:lnTo>
                    <a:pt x="1176731" y="393586"/>
                  </a:lnTo>
                  <a:lnTo>
                    <a:pt x="1177062" y="395857"/>
                  </a:lnTo>
                  <a:lnTo>
                    <a:pt x="1177186" y="398128"/>
                  </a:lnTo>
                  <a:lnTo>
                    <a:pt x="1177640" y="407211"/>
                  </a:lnTo>
                  <a:lnTo>
                    <a:pt x="1177640" y="1315855"/>
                  </a:lnTo>
                  <a:close/>
                  <a:moveTo>
                    <a:pt x="1348272" y="614213"/>
                  </a:moveTo>
                  <a:lnTo>
                    <a:pt x="1219673" y="774311"/>
                  </a:lnTo>
                  <a:lnTo>
                    <a:pt x="1219673" y="713967"/>
                  </a:lnTo>
                  <a:lnTo>
                    <a:pt x="1348272" y="553849"/>
                  </a:lnTo>
                  <a:lnTo>
                    <a:pt x="1348272" y="614213"/>
                  </a:lnTo>
                  <a:close/>
                  <a:moveTo>
                    <a:pt x="1851197" y="1108296"/>
                  </a:moveTo>
                  <a:lnTo>
                    <a:pt x="1851115" y="1110526"/>
                  </a:lnTo>
                  <a:lnTo>
                    <a:pt x="1850639" y="1119609"/>
                  </a:lnTo>
                  <a:cubicBezTo>
                    <a:pt x="1850267" y="1122623"/>
                    <a:pt x="1849771" y="1125637"/>
                    <a:pt x="1849317" y="1128631"/>
                  </a:cubicBezTo>
                  <a:lnTo>
                    <a:pt x="1848945" y="1130881"/>
                  </a:lnTo>
                  <a:lnTo>
                    <a:pt x="1848408" y="1133111"/>
                  </a:lnTo>
                  <a:lnTo>
                    <a:pt x="1847271" y="1137529"/>
                  </a:lnTo>
                  <a:cubicBezTo>
                    <a:pt x="1844089" y="1149275"/>
                    <a:pt x="1839067" y="1160526"/>
                    <a:pt x="1832289" y="1170663"/>
                  </a:cubicBezTo>
                  <a:cubicBezTo>
                    <a:pt x="1825449" y="1180717"/>
                    <a:pt x="1817017" y="1189656"/>
                    <a:pt x="1807387" y="1197067"/>
                  </a:cubicBezTo>
                  <a:cubicBezTo>
                    <a:pt x="1788231" y="1212138"/>
                    <a:pt x="1763701" y="1219982"/>
                    <a:pt x="1739461" y="1220168"/>
                  </a:cubicBezTo>
                  <a:lnTo>
                    <a:pt x="1500036" y="1220086"/>
                  </a:lnTo>
                  <a:lnTo>
                    <a:pt x="1490943" y="1219611"/>
                  </a:lnTo>
                  <a:cubicBezTo>
                    <a:pt x="1487926" y="1219239"/>
                    <a:pt x="1484909" y="1218744"/>
                    <a:pt x="1481913" y="1218290"/>
                  </a:cubicBezTo>
                  <a:lnTo>
                    <a:pt x="1479660" y="1217918"/>
                  </a:lnTo>
                  <a:lnTo>
                    <a:pt x="1477428" y="1217381"/>
                  </a:lnTo>
                  <a:lnTo>
                    <a:pt x="1473006" y="1216246"/>
                  </a:lnTo>
                  <a:cubicBezTo>
                    <a:pt x="1471539" y="1215854"/>
                    <a:pt x="1470051" y="1215503"/>
                    <a:pt x="1468584" y="1215069"/>
                  </a:cubicBezTo>
                  <a:lnTo>
                    <a:pt x="1464285" y="1213521"/>
                  </a:lnTo>
                  <a:cubicBezTo>
                    <a:pt x="1452837" y="1209392"/>
                    <a:pt x="1441946" y="1203529"/>
                    <a:pt x="1432523" y="1195849"/>
                  </a:cubicBezTo>
                  <a:cubicBezTo>
                    <a:pt x="1413594" y="1180675"/>
                    <a:pt x="1399397" y="1159350"/>
                    <a:pt x="1393735" y="1135588"/>
                  </a:cubicBezTo>
                  <a:lnTo>
                    <a:pt x="1392619" y="1131149"/>
                  </a:lnTo>
                  <a:lnTo>
                    <a:pt x="1391896" y="1126649"/>
                  </a:lnTo>
                  <a:lnTo>
                    <a:pt x="1391214" y="1122148"/>
                  </a:lnTo>
                  <a:lnTo>
                    <a:pt x="1390883" y="1119878"/>
                  </a:lnTo>
                  <a:lnTo>
                    <a:pt x="1390759" y="1117607"/>
                  </a:lnTo>
                  <a:lnTo>
                    <a:pt x="1390304" y="1108523"/>
                  </a:lnTo>
                  <a:lnTo>
                    <a:pt x="1390304" y="199879"/>
                  </a:lnTo>
                  <a:lnTo>
                    <a:pt x="1390387" y="197670"/>
                  </a:lnTo>
                  <a:lnTo>
                    <a:pt x="1390862" y="188566"/>
                  </a:lnTo>
                  <a:cubicBezTo>
                    <a:pt x="1391234" y="185552"/>
                    <a:pt x="1391730" y="182559"/>
                    <a:pt x="1392206" y="179545"/>
                  </a:cubicBezTo>
                  <a:lnTo>
                    <a:pt x="1392557" y="177294"/>
                  </a:lnTo>
                  <a:lnTo>
                    <a:pt x="1393094" y="175085"/>
                  </a:lnTo>
                  <a:lnTo>
                    <a:pt x="1394231" y="170647"/>
                  </a:lnTo>
                  <a:cubicBezTo>
                    <a:pt x="1397413" y="158900"/>
                    <a:pt x="1402455" y="147649"/>
                    <a:pt x="1409213" y="137533"/>
                  </a:cubicBezTo>
                  <a:cubicBezTo>
                    <a:pt x="1416053" y="127479"/>
                    <a:pt x="1424484" y="118540"/>
                    <a:pt x="1434114" y="111129"/>
                  </a:cubicBezTo>
                  <a:cubicBezTo>
                    <a:pt x="1453291" y="96038"/>
                    <a:pt x="1477800" y="88214"/>
                    <a:pt x="1502040" y="88007"/>
                  </a:cubicBezTo>
                  <a:lnTo>
                    <a:pt x="1741466" y="88090"/>
                  </a:lnTo>
                  <a:lnTo>
                    <a:pt x="1750558" y="88565"/>
                  </a:lnTo>
                  <a:cubicBezTo>
                    <a:pt x="1753576" y="88957"/>
                    <a:pt x="1756593" y="89432"/>
                    <a:pt x="1759589" y="89906"/>
                  </a:cubicBezTo>
                  <a:lnTo>
                    <a:pt x="1761862" y="90257"/>
                  </a:lnTo>
                  <a:lnTo>
                    <a:pt x="1764073" y="90815"/>
                  </a:lnTo>
                  <a:lnTo>
                    <a:pt x="1768496" y="91930"/>
                  </a:lnTo>
                  <a:cubicBezTo>
                    <a:pt x="1769984" y="92322"/>
                    <a:pt x="1771451" y="92693"/>
                    <a:pt x="1772918" y="93127"/>
                  </a:cubicBezTo>
                  <a:lnTo>
                    <a:pt x="1777216" y="94675"/>
                  </a:lnTo>
                  <a:cubicBezTo>
                    <a:pt x="1788665" y="98784"/>
                    <a:pt x="1799555" y="104647"/>
                    <a:pt x="1808979" y="112326"/>
                  </a:cubicBezTo>
                  <a:cubicBezTo>
                    <a:pt x="1827908" y="127500"/>
                    <a:pt x="1842105" y="148846"/>
                    <a:pt x="1847767" y="172608"/>
                  </a:cubicBezTo>
                  <a:lnTo>
                    <a:pt x="1848883" y="177026"/>
                  </a:lnTo>
                  <a:lnTo>
                    <a:pt x="1849627" y="181526"/>
                  </a:lnTo>
                  <a:lnTo>
                    <a:pt x="1850288" y="186048"/>
                  </a:lnTo>
                  <a:lnTo>
                    <a:pt x="1850619" y="188298"/>
                  </a:lnTo>
                  <a:lnTo>
                    <a:pt x="1850743" y="190569"/>
                  </a:lnTo>
                  <a:lnTo>
                    <a:pt x="1851197" y="199652"/>
                  </a:lnTo>
                  <a:lnTo>
                    <a:pt x="1851197" y="1108296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211" name="Freeform 89">
              <a:extLst>
                <a:ext uri="{FF2B5EF4-FFF2-40B4-BE49-F238E27FC236}">
                  <a16:creationId xmlns:a16="http://schemas.microsoft.com/office/drawing/2014/main" id="{E035D9AC-0AB7-A22A-7C2C-173F070EE9A4}"/>
                </a:ext>
              </a:extLst>
            </p:cNvPr>
            <p:cNvSpPr/>
            <p:nvPr/>
          </p:nvSpPr>
          <p:spPr>
            <a:xfrm>
              <a:off x="4658824" y="1698634"/>
              <a:ext cx="92734" cy="256721"/>
            </a:xfrm>
            <a:custGeom>
              <a:avLst/>
              <a:gdLst>
                <a:gd name="connsiteX0" fmla="*/ 379328 w 379637"/>
                <a:gd name="connsiteY0" fmla="*/ 65236 h 1050966"/>
                <a:gd name="connsiteX1" fmla="*/ 379266 w 379637"/>
                <a:gd name="connsiteY1" fmla="*/ 63771 h 1050966"/>
                <a:gd name="connsiteX2" fmla="*/ 379039 w 379637"/>
                <a:gd name="connsiteY2" fmla="*/ 62346 h 1050966"/>
                <a:gd name="connsiteX3" fmla="*/ 378584 w 379637"/>
                <a:gd name="connsiteY3" fmla="*/ 59477 h 1050966"/>
                <a:gd name="connsiteX4" fmla="*/ 378171 w 379637"/>
                <a:gd name="connsiteY4" fmla="*/ 56607 h 1050966"/>
                <a:gd name="connsiteX5" fmla="*/ 377427 w 379637"/>
                <a:gd name="connsiteY5" fmla="*/ 53820 h 1050966"/>
                <a:gd name="connsiteX6" fmla="*/ 352732 w 379637"/>
                <a:gd name="connsiteY6" fmla="*/ 15483 h 1050966"/>
                <a:gd name="connsiteX7" fmla="*/ 332542 w 379637"/>
                <a:gd name="connsiteY7" fmla="*/ 4253 h 1050966"/>
                <a:gd name="connsiteX8" fmla="*/ 329835 w 379637"/>
                <a:gd name="connsiteY8" fmla="*/ 3241 h 1050966"/>
                <a:gd name="connsiteX9" fmla="*/ 327025 w 379637"/>
                <a:gd name="connsiteY9" fmla="*/ 2539 h 1050966"/>
                <a:gd name="connsiteX10" fmla="*/ 324214 w 379637"/>
                <a:gd name="connsiteY10" fmla="*/ 1796 h 1050966"/>
                <a:gd name="connsiteX11" fmla="*/ 322809 w 379637"/>
                <a:gd name="connsiteY11" fmla="*/ 1424 h 1050966"/>
                <a:gd name="connsiteX12" fmla="*/ 321362 w 379637"/>
                <a:gd name="connsiteY12" fmla="*/ 1239 h 1050966"/>
                <a:gd name="connsiteX13" fmla="*/ 315638 w 379637"/>
                <a:gd name="connsiteY13" fmla="*/ 351 h 1050966"/>
                <a:gd name="connsiteX14" fmla="*/ 309811 w 379637"/>
                <a:gd name="connsiteY14" fmla="*/ 83 h 1050966"/>
                <a:gd name="connsiteX15" fmla="*/ 304582 w 379637"/>
                <a:gd name="connsiteY15" fmla="*/ 83 h 1050966"/>
                <a:gd name="connsiteX16" fmla="*/ 263252 w 379637"/>
                <a:gd name="connsiteY16" fmla="*/ 41 h 1050966"/>
                <a:gd name="connsiteX17" fmla="*/ 122895 w 379637"/>
                <a:gd name="connsiteY17" fmla="*/ 0 h 1050966"/>
                <a:gd name="connsiteX18" fmla="*/ 71109 w 379637"/>
                <a:gd name="connsiteY18" fmla="*/ 0 h 1050966"/>
                <a:gd name="connsiteX19" fmla="*/ 27919 w 379637"/>
                <a:gd name="connsiteY19" fmla="*/ 14719 h 1050966"/>
                <a:gd name="connsiteX20" fmla="*/ 12006 w 379637"/>
                <a:gd name="connsiteY20" fmla="*/ 31545 h 1050966"/>
                <a:gd name="connsiteX21" fmla="*/ 2542 w 379637"/>
                <a:gd name="connsiteY21" fmla="*/ 52581 h 1050966"/>
                <a:gd name="connsiteX22" fmla="*/ 1798 w 379637"/>
                <a:gd name="connsiteY22" fmla="*/ 55389 h 1050966"/>
                <a:gd name="connsiteX23" fmla="*/ 1447 w 379637"/>
                <a:gd name="connsiteY23" fmla="*/ 56772 h 1050966"/>
                <a:gd name="connsiteX24" fmla="*/ 1240 w 379637"/>
                <a:gd name="connsiteY24" fmla="*/ 58217 h 1050966"/>
                <a:gd name="connsiteX25" fmla="*/ 372 w 379637"/>
                <a:gd name="connsiteY25" fmla="*/ 63956 h 1050966"/>
                <a:gd name="connsiteX26" fmla="*/ 83 w 379637"/>
                <a:gd name="connsiteY26" fmla="*/ 69778 h 1050966"/>
                <a:gd name="connsiteX27" fmla="*/ 0 w 379637"/>
                <a:gd name="connsiteY27" fmla="*/ 71285 h 1050966"/>
                <a:gd name="connsiteX28" fmla="*/ 0 w 379637"/>
                <a:gd name="connsiteY28" fmla="*/ 979929 h 1050966"/>
                <a:gd name="connsiteX29" fmla="*/ 310 w 379637"/>
                <a:gd name="connsiteY29" fmla="*/ 985751 h 1050966"/>
                <a:gd name="connsiteX30" fmla="*/ 372 w 379637"/>
                <a:gd name="connsiteY30" fmla="*/ 987196 h 1050966"/>
                <a:gd name="connsiteX31" fmla="*/ 599 w 379637"/>
                <a:gd name="connsiteY31" fmla="*/ 988641 h 1050966"/>
                <a:gd name="connsiteX32" fmla="*/ 1054 w 379637"/>
                <a:gd name="connsiteY32" fmla="*/ 991490 h 1050966"/>
                <a:gd name="connsiteX33" fmla="*/ 1467 w 379637"/>
                <a:gd name="connsiteY33" fmla="*/ 994359 h 1050966"/>
                <a:gd name="connsiteX34" fmla="*/ 2211 w 379637"/>
                <a:gd name="connsiteY34" fmla="*/ 997167 h 1050966"/>
                <a:gd name="connsiteX35" fmla="*/ 26885 w 379637"/>
                <a:gd name="connsiteY35" fmla="*/ 1035504 h 1050966"/>
                <a:gd name="connsiteX36" fmla="*/ 47096 w 379637"/>
                <a:gd name="connsiteY36" fmla="*/ 1046714 h 1050966"/>
                <a:gd name="connsiteX37" fmla="*/ 49803 w 379637"/>
                <a:gd name="connsiteY37" fmla="*/ 1047725 h 1050966"/>
                <a:gd name="connsiteX38" fmla="*/ 52613 w 379637"/>
                <a:gd name="connsiteY38" fmla="*/ 1048448 h 1050966"/>
                <a:gd name="connsiteX39" fmla="*/ 55424 w 379637"/>
                <a:gd name="connsiteY39" fmla="*/ 1049170 h 1050966"/>
                <a:gd name="connsiteX40" fmla="*/ 56829 w 379637"/>
                <a:gd name="connsiteY40" fmla="*/ 1049542 h 1050966"/>
                <a:gd name="connsiteX41" fmla="*/ 58255 w 379637"/>
                <a:gd name="connsiteY41" fmla="*/ 1049748 h 1050966"/>
                <a:gd name="connsiteX42" fmla="*/ 64000 w 379637"/>
                <a:gd name="connsiteY42" fmla="*/ 1050616 h 1050966"/>
                <a:gd name="connsiteX43" fmla="*/ 69827 w 379637"/>
                <a:gd name="connsiteY43" fmla="*/ 1050905 h 1050966"/>
                <a:gd name="connsiteX44" fmla="*/ 122895 w 379637"/>
                <a:gd name="connsiteY44" fmla="*/ 1050905 h 1050966"/>
                <a:gd name="connsiteX45" fmla="*/ 263252 w 379637"/>
                <a:gd name="connsiteY45" fmla="*/ 1050966 h 1050966"/>
                <a:gd name="connsiteX46" fmla="*/ 308529 w 379637"/>
                <a:gd name="connsiteY46" fmla="*/ 1050966 h 1050966"/>
                <a:gd name="connsiteX47" fmla="*/ 331344 w 379637"/>
                <a:gd name="connsiteY47" fmla="*/ 1047168 h 1050966"/>
                <a:gd name="connsiteX48" fmla="*/ 351719 w 379637"/>
                <a:gd name="connsiteY48" fmla="*/ 1036268 h 1050966"/>
                <a:gd name="connsiteX49" fmla="*/ 367611 w 379637"/>
                <a:gd name="connsiteY49" fmla="*/ 1019442 h 1050966"/>
                <a:gd name="connsiteX50" fmla="*/ 377096 w 379637"/>
                <a:gd name="connsiteY50" fmla="*/ 998406 h 1050966"/>
                <a:gd name="connsiteX51" fmla="*/ 377819 w 379637"/>
                <a:gd name="connsiteY51" fmla="*/ 995598 h 1050966"/>
                <a:gd name="connsiteX52" fmla="*/ 378191 w 379637"/>
                <a:gd name="connsiteY52" fmla="*/ 994194 h 1050966"/>
                <a:gd name="connsiteX53" fmla="*/ 378398 w 379637"/>
                <a:gd name="connsiteY53" fmla="*/ 992770 h 1050966"/>
                <a:gd name="connsiteX54" fmla="*/ 379266 w 379637"/>
                <a:gd name="connsiteY54" fmla="*/ 987031 h 1050966"/>
                <a:gd name="connsiteX55" fmla="*/ 379555 w 379637"/>
                <a:gd name="connsiteY55" fmla="*/ 981209 h 1050966"/>
                <a:gd name="connsiteX56" fmla="*/ 379638 w 379637"/>
                <a:gd name="connsiteY56" fmla="*/ 979702 h 1050966"/>
                <a:gd name="connsiteX57" fmla="*/ 379638 w 379637"/>
                <a:gd name="connsiteY57" fmla="*/ 71058 h 1050966"/>
                <a:gd name="connsiteX58" fmla="*/ 379328 w 379637"/>
                <a:gd name="connsiteY58" fmla="*/ 65236 h 1050966"/>
                <a:gd name="connsiteX59" fmla="*/ 337605 w 379637"/>
                <a:gd name="connsiteY59" fmla="*/ 979702 h 1050966"/>
                <a:gd name="connsiteX60" fmla="*/ 337564 w 379637"/>
                <a:gd name="connsiteY60" fmla="*/ 980177 h 1050966"/>
                <a:gd name="connsiteX61" fmla="*/ 337523 w 379637"/>
                <a:gd name="connsiteY61" fmla="*/ 980486 h 1050966"/>
                <a:gd name="connsiteX62" fmla="*/ 337440 w 379637"/>
                <a:gd name="connsiteY62" fmla="*/ 982902 h 1050966"/>
                <a:gd name="connsiteX63" fmla="*/ 337047 w 379637"/>
                <a:gd name="connsiteY63" fmla="*/ 985235 h 1050966"/>
                <a:gd name="connsiteX64" fmla="*/ 337006 w 379637"/>
                <a:gd name="connsiteY64" fmla="*/ 985833 h 1050966"/>
                <a:gd name="connsiteX65" fmla="*/ 336820 w 379637"/>
                <a:gd name="connsiteY65" fmla="*/ 986391 h 1050966"/>
                <a:gd name="connsiteX66" fmla="*/ 336510 w 379637"/>
                <a:gd name="connsiteY66" fmla="*/ 987505 h 1050966"/>
                <a:gd name="connsiteX67" fmla="*/ 332708 w 379637"/>
                <a:gd name="connsiteY67" fmla="*/ 996052 h 1050966"/>
                <a:gd name="connsiteX68" fmla="*/ 326115 w 379637"/>
                <a:gd name="connsiteY68" fmla="*/ 1002948 h 1050966"/>
                <a:gd name="connsiteX69" fmla="*/ 317849 w 379637"/>
                <a:gd name="connsiteY69" fmla="*/ 1007407 h 1050966"/>
                <a:gd name="connsiteX70" fmla="*/ 308529 w 379637"/>
                <a:gd name="connsiteY70" fmla="*/ 1008996 h 1050966"/>
                <a:gd name="connsiteX71" fmla="*/ 304582 w 379637"/>
                <a:gd name="connsiteY71" fmla="*/ 1008996 h 1050966"/>
                <a:gd name="connsiteX72" fmla="*/ 263252 w 379637"/>
                <a:gd name="connsiteY72" fmla="*/ 1008955 h 1050966"/>
                <a:gd name="connsiteX73" fmla="*/ 122895 w 379637"/>
                <a:gd name="connsiteY73" fmla="*/ 1008955 h 1050966"/>
                <a:gd name="connsiteX74" fmla="*/ 81565 w 379637"/>
                <a:gd name="connsiteY74" fmla="*/ 1008914 h 1050966"/>
                <a:gd name="connsiteX75" fmla="*/ 70571 w 379637"/>
                <a:gd name="connsiteY75" fmla="*/ 1008914 h 1050966"/>
                <a:gd name="connsiteX76" fmla="*/ 68133 w 379637"/>
                <a:gd name="connsiteY76" fmla="*/ 1008831 h 1050966"/>
                <a:gd name="connsiteX77" fmla="*/ 65798 w 379637"/>
                <a:gd name="connsiteY77" fmla="*/ 1008439 h 1050966"/>
                <a:gd name="connsiteX78" fmla="*/ 65219 w 379637"/>
                <a:gd name="connsiteY78" fmla="*/ 1008398 h 1050966"/>
                <a:gd name="connsiteX79" fmla="*/ 64661 w 379637"/>
                <a:gd name="connsiteY79" fmla="*/ 1008212 h 1050966"/>
                <a:gd name="connsiteX80" fmla="*/ 63524 w 379637"/>
                <a:gd name="connsiteY80" fmla="*/ 1007902 h 1050966"/>
                <a:gd name="connsiteX81" fmla="*/ 62388 w 379637"/>
                <a:gd name="connsiteY81" fmla="*/ 1007675 h 1050966"/>
                <a:gd name="connsiteX82" fmla="*/ 61313 w 379637"/>
                <a:gd name="connsiteY82" fmla="*/ 1007200 h 1050966"/>
                <a:gd name="connsiteX83" fmla="*/ 53089 w 379637"/>
                <a:gd name="connsiteY83" fmla="*/ 1002659 h 1050966"/>
                <a:gd name="connsiteX84" fmla="*/ 43004 w 379637"/>
                <a:gd name="connsiteY84" fmla="*/ 987010 h 1050966"/>
                <a:gd name="connsiteX85" fmla="*/ 42632 w 379637"/>
                <a:gd name="connsiteY85" fmla="*/ 985895 h 1050966"/>
                <a:gd name="connsiteX86" fmla="*/ 42529 w 379637"/>
                <a:gd name="connsiteY86" fmla="*/ 984718 h 1050966"/>
                <a:gd name="connsiteX87" fmla="*/ 42322 w 379637"/>
                <a:gd name="connsiteY87" fmla="*/ 983562 h 1050966"/>
                <a:gd name="connsiteX88" fmla="*/ 42198 w 379637"/>
                <a:gd name="connsiteY88" fmla="*/ 982984 h 1050966"/>
                <a:gd name="connsiteX89" fmla="*/ 42198 w 379637"/>
                <a:gd name="connsiteY89" fmla="*/ 982365 h 1050966"/>
                <a:gd name="connsiteX90" fmla="*/ 42033 w 379637"/>
                <a:gd name="connsiteY90" fmla="*/ 979929 h 1050966"/>
                <a:gd name="connsiteX91" fmla="*/ 42033 w 379637"/>
                <a:gd name="connsiteY91" fmla="*/ 71285 h 1050966"/>
                <a:gd name="connsiteX92" fmla="*/ 42074 w 379637"/>
                <a:gd name="connsiteY92" fmla="*/ 70810 h 1050966"/>
                <a:gd name="connsiteX93" fmla="*/ 42115 w 379637"/>
                <a:gd name="connsiteY93" fmla="*/ 70501 h 1050966"/>
                <a:gd name="connsiteX94" fmla="*/ 42198 w 379637"/>
                <a:gd name="connsiteY94" fmla="*/ 68085 h 1050966"/>
                <a:gd name="connsiteX95" fmla="*/ 42591 w 379637"/>
                <a:gd name="connsiteY95" fmla="*/ 65752 h 1050966"/>
                <a:gd name="connsiteX96" fmla="*/ 42632 w 379637"/>
                <a:gd name="connsiteY96" fmla="*/ 65154 h 1050966"/>
                <a:gd name="connsiteX97" fmla="*/ 42818 w 379637"/>
                <a:gd name="connsiteY97" fmla="*/ 64596 h 1050966"/>
                <a:gd name="connsiteX98" fmla="*/ 43128 w 379637"/>
                <a:gd name="connsiteY98" fmla="*/ 63461 h 1050966"/>
                <a:gd name="connsiteX99" fmla="*/ 46930 w 379637"/>
                <a:gd name="connsiteY99" fmla="*/ 54935 h 1050966"/>
                <a:gd name="connsiteX100" fmla="*/ 53523 w 379637"/>
                <a:gd name="connsiteY100" fmla="*/ 48019 h 1050966"/>
                <a:gd name="connsiteX101" fmla="*/ 61789 w 379637"/>
                <a:gd name="connsiteY101" fmla="*/ 43580 h 1050966"/>
                <a:gd name="connsiteX102" fmla="*/ 71109 w 379637"/>
                <a:gd name="connsiteY102" fmla="*/ 41991 h 1050966"/>
                <a:gd name="connsiteX103" fmla="*/ 122895 w 379637"/>
                <a:gd name="connsiteY103" fmla="*/ 41991 h 1050966"/>
                <a:gd name="connsiteX104" fmla="*/ 263252 w 379637"/>
                <a:gd name="connsiteY104" fmla="*/ 42053 h 1050966"/>
                <a:gd name="connsiteX105" fmla="*/ 309046 w 379637"/>
                <a:gd name="connsiteY105" fmla="*/ 42053 h 1050966"/>
                <a:gd name="connsiteX106" fmla="*/ 309087 w 379637"/>
                <a:gd name="connsiteY106" fmla="*/ 40009 h 1050966"/>
                <a:gd name="connsiteX107" fmla="*/ 309087 w 379637"/>
                <a:gd name="connsiteY107" fmla="*/ 40009 h 1050966"/>
                <a:gd name="connsiteX108" fmla="*/ 309046 w 379637"/>
                <a:gd name="connsiteY108" fmla="*/ 42053 h 1050966"/>
                <a:gd name="connsiteX109" fmla="*/ 311464 w 379637"/>
                <a:gd name="connsiteY109" fmla="*/ 42135 h 1050966"/>
                <a:gd name="connsiteX110" fmla="*/ 313799 w 379637"/>
                <a:gd name="connsiteY110" fmla="*/ 42548 h 1050966"/>
                <a:gd name="connsiteX111" fmla="*/ 314398 w 379637"/>
                <a:gd name="connsiteY111" fmla="*/ 42548 h 1050966"/>
                <a:gd name="connsiteX112" fmla="*/ 314956 w 379637"/>
                <a:gd name="connsiteY112" fmla="*/ 42775 h 1050966"/>
                <a:gd name="connsiteX113" fmla="*/ 316093 w 379637"/>
                <a:gd name="connsiteY113" fmla="*/ 43085 h 1050966"/>
                <a:gd name="connsiteX114" fmla="*/ 317229 w 379637"/>
                <a:gd name="connsiteY114" fmla="*/ 43312 h 1050966"/>
                <a:gd name="connsiteX115" fmla="*/ 318304 w 379637"/>
                <a:gd name="connsiteY115" fmla="*/ 43787 h 1050966"/>
                <a:gd name="connsiteX116" fmla="*/ 326529 w 379637"/>
                <a:gd name="connsiteY116" fmla="*/ 48329 h 1050966"/>
                <a:gd name="connsiteX117" fmla="*/ 336613 w 379637"/>
                <a:gd name="connsiteY117" fmla="*/ 63956 h 1050966"/>
                <a:gd name="connsiteX118" fmla="*/ 336965 w 379637"/>
                <a:gd name="connsiteY118" fmla="*/ 65071 h 1050966"/>
                <a:gd name="connsiteX119" fmla="*/ 337089 w 379637"/>
                <a:gd name="connsiteY119" fmla="*/ 66269 h 1050966"/>
                <a:gd name="connsiteX120" fmla="*/ 337295 w 379637"/>
                <a:gd name="connsiteY120" fmla="*/ 67425 h 1050966"/>
                <a:gd name="connsiteX121" fmla="*/ 337419 w 379637"/>
                <a:gd name="connsiteY121" fmla="*/ 68003 h 1050966"/>
                <a:gd name="connsiteX122" fmla="*/ 337419 w 379637"/>
                <a:gd name="connsiteY122" fmla="*/ 68622 h 1050966"/>
                <a:gd name="connsiteX123" fmla="*/ 337584 w 379637"/>
                <a:gd name="connsiteY123" fmla="*/ 71058 h 1050966"/>
                <a:gd name="connsiteX124" fmla="*/ 337584 w 379637"/>
                <a:gd name="connsiteY124" fmla="*/ 979702 h 1050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379637" h="1050966">
                  <a:moveTo>
                    <a:pt x="379328" y="65236"/>
                  </a:moveTo>
                  <a:lnTo>
                    <a:pt x="379266" y="63771"/>
                  </a:lnTo>
                  <a:lnTo>
                    <a:pt x="379039" y="62346"/>
                  </a:lnTo>
                  <a:lnTo>
                    <a:pt x="378584" y="59477"/>
                  </a:lnTo>
                  <a:lnTo>
                    <a:pt x="378171" y="56607"/>
                  </a:lnTo>
                  <a:lnTo>
                    <a:pt x="377427" y="53820"/>
                  </a:lnTo>
                  <a:cubicBezTo>
                    <a:pt x="373914" y="38750"/>
                    <a:pt x="364780" y="25207"/>
                    <a:pt x="352732" y="15483"/>
                  </a:cubicBezTo>
                  <a:cubicBezTo>
                    <a:pt x="346739" y="10529"/>
                    <a:pt x="339796" y="6875"/>
                    <a:pt x="332542" y="4253"/>
                  </a:cubicBezTo>
                  <a:lnTo>
                    <a:pt x="329835" y="3241"/>
                  </a:lnTo>
                  <a:cubicBezTo>
                    <a:pt x="328905" y="2973"/>
                    <a:pt x="327955" y="2787"/>
                    <a:pt x="327025" y="2539"/>
                  </a:cubicBezTo>
                  <a:lnTo>
                    <a:pt x="324214" y="1796"/>
                  </a:lnTo>
                  <a:lnTo>
                    <a:pt x="322809" y="1424"/>
                  </a:lnTo>
                  <a:lnTo>
                    <a:pt x="321362" y="1239"/>
                  </a:lnTo>
                  <a:lnTo>
                    <a:pt x="315638" y="351"/>
                  </a:lnTo>
                  <a:lnTo>
                    <a:pt x="309811" y="83"/>
                  </a:lnTo>
                  <a:lnTo>
                    <a:pt x="304582" y="83"/>
                  </a:lnTo>
                  <a:lnTo>
                    <a:pt x="263252" y="41"/>
                  </a:lnTo>
                  <a:lnTo>
                    <a:pt x="122895" y="0"/>
                  </a:lnTo>
                  <a:lnTo>
                    <a:pt x="71109" y="0"/>
                  </a:lnTo>
                  <a:cubicBezTo>
                    <a:pt x="55589" y="248"/>
                    <a:pt x="40152" y="5037"/>
                    <a:pt x="27919" y="14719"/>
                  </a:cubicBezTo>
                  <a:cubicBezTo>
                    <a:pt x="21781" y="19447"/>
                    <a:pt x="16408" y="25145"/>
                    <a:pt x="12006" y="31545"/>
                  </a:cubicBezTo>
                  <a:cubicBezTo>
                    <a:pt x="7708" y="37986"/>
                    <a:pt x="4567" y="45149"/>
                    <a:pt x="2542" y="52581"/>
                  </a:cubicBezTo>
                  <a:lnTo>
                    <a:pt x="1798" y="55389"/>
                  </a:lnTo>
                  <a:cubicBezTo>
                    <a:pt x="1695" y="55843"/>
                    <a:pt x="1550" y="56318"/>
                    <a:pt x="1447" y="56772"/>
                  </a:cubicBezTo>
                  <a:lnTo>
                    <a:pt x="1240" y="58217"/>
                  </a:lnTo>
                  <a:lnTo>
                    <a:pt x="372" y="63956"/>
                  </a:lnTo>
                  <a:lnTo>
                    <a:pt x="83" y="69778"/>
                  </a:lnTo>
                  <a:cubicBezTo>
                    <a:pt x="62" y="70274"/>
                    <a:pt x="21" y="70687"/>
                    <a:pt x="0" y="71285"/>
                  </a:cubicBezTo>
                  <a:lnTo>
                    <a:pt x="0" y="979929"/>
                  </a:lnTo>
                  <a:lnTo>
                    <a:pt x="310" y="985751"/>
                  </a:lnTo>
                  <a:lnTo>
                    <a:pt x="372" y="987196"/>
                  </a:lnTo>
                  <a:lnTo>
                    <a:pt x="599" y="988641"/>
                  </a:lnTo>
                  <a:lnTo>
                    <a:pt x="1054" y="991490"/>
                  </a:lnTo>
                  <a:lnTo>
                    <a:pt x="1467" y="994359"/>
                  </a:lnTo>
                  <a:lnTo>
                    <a:pt x="2211" y="997167"/>
                  </a:lnTo>
                  <a:cubicBezTo>
                    <a:pt x="5724" y="1012238"/>
                    <a:pt x="14858" y="1025780"/>
                    <a:pt x="26885" y="1035504"/>
                  </a:cubicBezTo>
                  <a:cubicBezTo>
                    <a:pt x="32878" y="1040438"/>
                    <a:pt x="39842" y="1044113"/>
                    <a:pt x="47096" y="1046714"/>
                  </a:cubicBezTo>
                  <a:lnTo>
                    <a:pt x="49803" y="1047725"/>
                  </a:lnTo>
                  <a:cubicBezTo>
                    <a:pt x="50733" y="1047994"/>
                    <a:pt x="51683" y="1048200"/>
                    <a:pt x="52613" y="1048448"/>
                  </a:cubicBezTo>
                  <a:lnTo>
                    <a:pt x="55424" y="1049170"/>
                  </a:lnTo>
                  <a:lnTo>
                    <a:pt x="56829" y="1049542"/>
                  </a:lnTo>
                  <a:lnTo>
                    <a:pt x="58255" y="1049748"/>
                  </a:lnTo>
                  <a:lnTo>
                    <a:pt x="64000" y="1050616"/>
                  </a:lnTo>
                  <a:lnTo>
                    <a:pt x="69827" y="1050905"/>
                  </a:lnTo>
                  <a:lnTo>
                    <a:pt x="122895" y="1050905"/>
                  </a:lnTo>
                  <a:lnTo>
                    <a:pt x="263252" y="1050966"/>
                  </a:lnTo>
                  <a:lnTo>
                    <a:pt x="308529" y="1050966"/>
                  </a:lnTo>
                  <a:cubicBezTo>
                    <a:pt x="316279" y="1050863"/>
                    <a:pt x="324008" y="1049604"/>
                    <a:pt x="331344" y="1047168"/>
                  </a:cubicBezTo>
                  <a:cubicBezTo>
                    <a:pt x="338680" y="1044732"/>
                    <a:pt x="345603" y="1041098"/>
                    <a:pt x="351719" y="1036268"/>
                  </a:cubicBezTo>
                  <a:cubicBezTo>
                    <a:pt x="357836" y="1031540"/>
                    <a:pt x="363230" y="1025842"/>
                    <a:pt x="367611" y="1019442"/>
                  </a:cubicBezTo>
                  <a:cubicBezTo>
                    <a:pt x="371909" y="1012981"/>
                    <a:pt x="375071" y="1005838"/>
                    <a:pt x="377096" y="998406"/>
                  </a:cubicBezTo>
                  <a:lnTo>
                    <a:pt x="377819" y="995598"/>
                  </a:lnTo>
                  <a:cubicBezTo>
                    <a:pt x="377943" y="995123"/>
                    <a:pt x="378088" y="994669"/>
                    <a:pt x="378191" y="994194"/>
                  </a:cubicBezTo>
                  <a:lnTo>
                    <a:pt x="378398" y="992770"/>
                  </a:lnTo>
                  <a:lnTo>
                    <a:pt x="379266" y="987031"/>
                  </a:lnTo>
                  <a:lnTo>
                    <a:pt x="379555" y="981209"/>
                  </a:lnTo>
                  <a:cubicBezTo>
                    <a:pt x="379576" y="980693"/>
                    <a:pt x="379617" y="980301"/>
                    <a:pt x="379638" y="979702"/>
                  </a:cubicBezTo>
                  <a:lnTo>
                    <a:pt x="379638" y="71058"/>
                  </a:lnTo>
                  <a:lnTo>
                    <a:pt x="379328" y="65236"/>
                  </a:lnTo>
                  <a:close/>
                  <a:moveTo>
                    <a:pt x="337605" y="979702"/>
                  </a:moveTo>
                  <a:cubicBezTo>
                    <a:pt x="337605" y="980115"/>
                    <a:pt x="337584" y="980012"/>
                    <a:pt x="337564" y="980177"/>
                  </a:cubicBezTo>
                  <a:lnTo>
                    <a:pt x="337523" y="980486"/>
                  </a:lnTo>
                  <a:cubicBezTo>
                    <a:pt x="337440" y="981291"/>
                    <a:pt x="337399" y="982097"/>
                    <a:pt x="337440" y="982902"/>
                  </a:cubicBezTo>
                  <a:cubicBezTo>
                    <a:pt x="337295" y="983686"/>
                    <a:pt x="337109" y="984450"/>
                    <a:pt x="337047" y="985235"/>
                  </a:cubicBezTo>
                  <a:lnTo>
                    <a:pt x="337006" y="985833"/>
                  </a:lnTo>
                  <a:cubicBezTo>
                    <a:pt x="336965" y="986019"/>
                    <a:pt x="336882" y="986205"/>
                    <a:pt x="336820" y="986391"/>
                  </a:cubicBezTo>
                  <a:cubicBezTo>
                    <a:pt x="336696" y="986762"/>
                    <a:pt x="336593" y="987134"/>
                    <a:pt x="336510" y="987505"/>
                  </a:cubicBezTo>
                  <a:cubicBezTo>
                    <a:pt x="335683" y="990499"/>
                    <a:pt x="334464" y="993389"/>
                    <a:pt x="332708" y="996052"/>
                  </a:cubicBezTo>
                  <a:cubicBezTo>
                    <a:pt x="330868" y="998653"/>
                    <a:pt x="328637" y="1001007"/>
                    <a:pt x="326115" y="1002948"/>
                  </a:cubicBezTo>
                  <a:cubicBezTo>
                    <a:pt x="323615" y="1004909"/>
                    <a:pt x="320846" y="1006519"/>
                    <a:pt x="317849" y="1007407"/>
                  </a:cubicBezTo>
                  <a:cubicBezTo>
                    <a:pt x="314894" y="1008336"/>
                    <a:pt x="311815" y="1008852"/>
                    <a:pt x="308529" y="1008996"/>
                  </a:cubicBezTo>
                  <a:lnTo>
                    <a:pt x="304582" y="1008996"/>
                  </a:lnTo>
                  <a:lnTo>
                    <a:pt x="263252" y="1008955"/>
                  </a:lnTo>
                  <a:lnTo>
                    <a:pt x="122895" y="1008955"/>
                  </a:lnTo>
                  <a:lnTo>
                    <a:pt x="81565" y="1008914"/>
                  </a:lnTo>
                  <a:lnTo>
                    <a:pt x="70571" y="1008914"/>
                  </a:lnTo>
                  <a:cubicBezTo>
                    <a:pt x="69765" y="1008831"/>
                    <a:pt x="68959" y="1008790"/>
                    <a:pt x="68133" y="1008831"/>
                  </a:cubicBezTo>
                  <a:cubicBezTo>
                    <a:pt x="67368" y="1008687"/>
                    <a:pt x="66604" y="1008501"/>
                    <a:pt x="65798" y="1008439"/>
                  </a:cubicBezTo>
                  <a:lnTo>
                    <a:pt x="65219" y="1008398"/>
                  </a:lnTo>
                  <a:lnTo>
                    <a:pt x="64661" y="1008212"/>
                  </a:lnTo>
                  <a:cubicBezTo>
                    <a:pt x="64289" y="1008088"/>
                    <a:pt x="63917" y="1007985"/>
                    <a:pt x="63524" y="1007902"/>
                  </a:cubicBezTo>
                  <a:lnTo>
                    <a:pt x="62388" y="1007675"/>
                  </a:lnTo>
                  <a:cubicBezTo>
                    <a:pt x="62037" y="1007489"/>
                    <a:pt x="61665" y="1007345"/>
                    <a:pt x="61313" y="1007200"/>
                  </a:cubicBezTo>
                  <a:cubicBezTo>
                    <a:pt x="58399" y="1006147"/>
                    <a:pt x="55506" y="1004764"/>
                    <a:pt x="53089" y="1002659"/>
                  </a:cubicBezTo>
                  <a:cubicBezTo>
                    <a:pt x="48170" y="998591"/>
                    <a:pt x="44285" y="993100"/>
                    <a:pt x="43004" y="987010"/>
                  </a:cubicBezTo>
                  <a:cubicBezTo>
                    <a:pt x="42901" y="986638"/>
                    <a:pt x="42777" y="986267"/>
                    <a:pt x="42632" y="985895"/>
                  </a:cubicBezTo>
                  <a:cubicBezTo>
                    <a:pt x="42632" y="985503"/>
                    <a:pt x="42591" y="985111"/>
                    <a:pt x="42529" y="984718"/>
                  </a:cubicBezTo>
                  <a:cubicBezTo>
                    <a:pt x="42487" y="984326"/>
                    <a:pt x="42405" y="983955"/>
                    <a:pt x="42322" y="983562"/>
                  </a:cubicBezTo>
                  <a:lnTo>
                    <a:pt x="42198" y="982984"/>
                  </a:lnTo>
                  <a:lnTo>
                    <a:pt x="42198" y="982365"/>
                  </a:lnTo>
                  <a:cubicBezTo>
                    <a:pt x="42219" y="981539"/>
                    <a:pt x="42157" y="980775"/>
                    <a:pt x="42033" y="979929"/>
                  </a:cubicBezTo>
                  <a:lnTo>
                    <a:pt x="42033" y="71285"/>
                  </a:lnTo>
                  <a:cubicBezTo>
                    <a:pt x="42033" y="70872"/>
                    <a:pt x="42053" y="70976"/>
                    <a:pt x="42074" y="70810"/>
                  </a:cubicBezTo>
                  <a:lnTo>
                    <a:pt x="42115" y="70501"/>
                  </a:lnTo>
                  <a:cubicBezTo>
                    <a:pt x="42198" y="69696"/>
                    <a:pt x="42239" y="68890"/>
                    <a:pt x="42198" y="68085"/>
                  </a:cubicBezTo>
                  <a:cubicBezTo>
                    <a:pt x="42343" y="67301"/>
                    <a:pt x="42529" y="66537"/>
                    <a:pt x="42591" y="65752"/>
                  </a:cubicBezTo>
                  <a:lnTo>
                    <a:pt x="42632" y="65154"/>
                  </a:lnTo>
                  <a:cubicBezTo>
                    <a:pt x="42673" y="64968"/>
                    <a:pt x="42756" y="64782"/>
                    <a:pt x="42818" y="64596"/>
                  </a:cubicBezTo>
                  <a:cubicBezTo>
                    <a:pt x="42942" y="64225"/>
                    <a:pt x="43045" y="63853"/>
                    <a:pt x="43128" y="63461"/>
                  </a:cubicBezTo>
                  <a:cubicBezTo>
                    <a:pt x="43955" y="60488"/>
                    <a:pt x="45174" y="57598"/>
                    <a:pt x="46930" y="54935"/>
                  </a:cubicBezTo>
                  <a:cubicBezTo>
                    <a:pt x="48770" y="52334"/>
                    <a:pt x="51001" y="49980"/>
                    <a:pt x="53523" y="48019"/>
                  </a:cubicBezTo>
                  <a:cubicBezTo>
                    <a:pt x="56023" y="46058"/>
                    <a:pt x="58792" y="44468"/>
                    <a:pt x="61789" y="43580"/>
                  </a:cubicBezTo>
                  <a:cubicBezTo>
                    <a:pt x="64744" y="42631"/>
                    <a:pt x="67823" y="42115"/>
                    <a:pt x="71109" y="41991"/>
                  </a:cubicBezTo>
                  <a:lnTo>
                    <a:pt x="122895" y="41991"/>
                  </a:lnTo>
                  <a:lnTo>
                    <a:pt x="263252" y="42053"/>
                  </a:lnTo>
                  <a:lnTo>
                    <a:pt x="309046" y="42053"/>
                  </a:lnTo>
                  <a:lnTo>
                    <a:pt x="309087" y="40009"/>
                  </a:lnTo>
                  <a:lnTo>
                    <a:pt x="309087" y="40009"/>
                  </a:lnTo>
                  <a:lnTo>
                    <a:pt x="309046" y="42053"/>
                  </a:lnTo>
                  <a:cubicBezTo>
                    <a:pt x="309852" y="42156"/>
                    <a:pt x="310658" y="42177"/>
                    <a:pt x="311464" y="42135"/>
                  </a:cubicBezTo>
                  <a:cubicBezTo>
                    <a:pt x="312249" y="42300"/>
                    <a:pt x="313014" y="42486"/>
                    <a:pt x="313799" y="42548"/>
                  </a:cubicBezTo>
                  <a:lnTo>
                    <a:pt x="314398" y="42548"/>
                  </a:lnTo>
                  <a:lnTo>
                    <a:pt x="314956" y="42775"/>
                  </a:lnTo>
                  <a:cubicBezTo>
                    <a:pt x="315328" y="42878"/>
                    <a:pt x="315700" y="43002"/>
                    <a:pt x="316093" y="43085"/>
                  </a:cubicBezTo>
                  <a:lnTo>
                    <a:pt x="317229" y="43312"/>
                  </a:lnTo>
                  <a:cubicBezTo>
                    <a:pt x="317581" y="43477"/>
                    <a:pt x="317953" y="43642"/>
                    <a:pt x="318304" y="43787"/>
                  </a:cubicBezTo>
                  <a:cubicBezTo>
                    <a:pt x="321218" y="44840"/>
                    <a:pt x="324111" y="46223"/>
                    <a:pt x="326529" y="48329"/>
                  </a:cubicBezTo>
                  <a:cubicBezTo>
                    <a:pt x="331447" y="52396"/>
                    <a:pt x="335332" y="57887"/>
                    <a:pt x="336613" y="63956"/>
                  </a:cubicBezTo>
                  <a:cubicBezTo>
                    <a:pt x="336717" y="64349"/>
                    <a:pt x="336841" y="64720"/>
                    <a:pt x="336965" y="65071"/>
                  </a:cubicBezTo>
                  <a:cubicBezTo>
                    <a:pt x="337006" y="65463"/>
                    <a:pt x="337027" y="65876"/>
                    <a:pt x="337089" y="66269"/>
                  </a:cubicBezTo>
                  <a:cubicBezTo>
                    <a:pt x="337130" y="66640"/>
                    <a:pt x="337213" y="67032"/>
                    <a:pt x="337295" y="67425"/>
                  </a:cubicBezTo>
                  <a:lnTo>
                    <a:pt x="337419" y="68003"/>
                  </a:lnTo>
                  <a:lnTo>
                    <a:pt x="337419" y="68622"/>
                  </a:lnTo>
                  <a:cubicBezTo>
                    <a:pt x="337399" y="69427"/>
                    <a:pt x="337461" y="70212"/>
                    <a:pt x="337584" y="71058"/>
                  </a:cubicBezTo>
                  <a:lnTo>
                    <a:pt x="337584" y="979702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  <p:sp>
          <p:nvSpPr>
            <p:cNvPr id="212" name="Freeform 90">
              <a:extLst>
                <a:ext uri="{FF2B5EF4-FFF2-40B4-BE49-F238E27FC236}">
                  <a16:creationId xmlns:a16="http://schemas.microsoft.com/office/drawing/2014/main" id="{F97821E3-A5CF-B84A-0FA2-8CA918D87977}"/>
                </a:ext>
              </a:extLst>
            </p:cNvPr>
            <p:cNvSpPr/>
            <p:nvPr/>
          </p:nvSpPr>
          <p:spPr>
            <a:xfrm>
              <a:off x="4823349" y="1647934"/>
              <a:ext cx="92739" cy="256736"/>
            </a:xfrm>
            <a:custGeom>
              <a:avLst/>
              <a:gdLst>
                <a:gd name="connsiteX0" fmla="*/ 379287 w 379658"/>
                <a:gd name="connsiteY0" fmla="*/ 63791 h 1051028"/>
                <a:gd name="connsiteX1" fmla="*/ 379059 w 379658"/>
                <a:gd name="connsiteY1" fmla="*/ 62367 h 1051028"/>
                <a:gd name="connsiteX2" fmla="*/ 378605 w 379658"/>
                <a:gd name="connsiteY2" fmla="*/ 59497 h 1051028"/>
                <a:gd name="connsiteX3" fmla="*/ 378191 w 379658"/>
                <a:gd name="connsiteY3" fmla="*/ 56628 h 1051028"/>
                <a:gd name="connsiteX4" fmla="*/ 377447 w 379658"/>
                <a:gd name="connsiteY4" fmla="*/ 53820 h 1051028"/>
                <a:gd name="connsiteX5" fmla="*/ 352773 w 379658"/>
                <a:gd name="connsiteY5" fmla="*/ 15483 h 1051028"/>
                <a:gd name="connsiteX6" fmla="*/ 332584 w 379658"/>
                <a:gd name="connsiteY6" fmla="*/ 4273 h 1051028"/>
                <a:gd name="connsiteX7" fmla="*/ 329876 w 379658"/>
                <a:gd name="connsiteY7" fmla="*/ 3262 h 1051028"/>
                <a:gd name="connsiteX8" fmla="*/ 327066 w 379658"/>
                <a:gd name="connsiteY8" fmla="*/ 2539 h 1051028"/>
                <a:gd name="connsiteX9" fmla="*/ 324256 w 379658"/>
                <a:gd name="connsiteY9" fmla="*/ 1817 h 1051028"/>
                <a:gd name="connsiteX10" fmla="*/ 322850 w 379658"/>
                <a:gd name="connsiteY10" fmla="*/ 1445 h 1051028"/>
                <a:gd name="connsiteX11" fmla="*/ 321404 w 379658"/>
                <a:gd name="connsiteY11" fmla="*/ 1239 h 1051028"/>
                <a:gd name="connsiteX12" fmla="*/ 315659 w 379658"/>
                <a:gd name="connsiteY12" fmla="*/ 372 h 1051028"/>
                <a:gd name="connsiteX13" fmla="*/ 309831 w 379658"/>
                <a:gd name="connsiteY13" fmla="*/ 83 h 1051028"/>
                <a:gd name="connsiteX14" fmla="*/ 71129 w 379658"/>
                <a:gd name="connsiteY14" fmla="*/ 0 h 1051028"/>
                <a:gd name="connsiteX15" fmla="*/ 27939 w 379658"/>
                <a:gd name="connsiteY15" fmla="*/ 14719 h 1051028"/>
                <a:gd name="connsiteX16" fmla="*/ 12027 w 379658"/>
                <a:gd name="connsiteY16" fmla="*/ 31545 h 1051028"/>
                <a:gd name="connsiteX17" fmla="*/ 2542 w 379658"/>
                <a:gd name="connsiteY17" fmla="*/ 52581 h 1051028"/>
                <a:gd name="connsiteX18" fmla="*/ 1819 w 379658"/>
                <a:gd name="connsiteY18" fmla="*/ 55389 h 1051028"/>
                <a:gd name="connsiteX19" fmla="*/ 1447 w 379658"/>
                <a:gd name="connsiteY19" fmla="*/ 56793 h 1051028"/>
                <a:gd name="connsiteX20" fmla="*/ 1240 w 379658"/>
                <a:gd name="connsiteY20" fmla="*/ 58238 h 1051028"/>
                <a:gd name="connsiteX21" fmla="*/ 372 w 379658"/>
                <a:gd name="connsiteY21" fmla="*/ 63977 h 1051028"/>
                <a:gd name="connsiteX22" fmla="*/ 83 w 379658"/>
                <a:gd name="connsiteY22" fmla="*/ 69799 h 1051028"/>
                <a:gd name="connsiteX23" fmla="*/ 0 w 379658"/>
                <a:gd name="connsiteY23" fmla="*/ 71306 h 1051028"/>
                <a:gd name="connsiteX24" fmla="*/ 0 w 379658"/>
                <a:gd name="connsiteY24" fmla="*/ 979950 h 1051028"/>
                <a:gd name="connsiteX25" fmla="*/ 310 w 379658"/>
                <a:gd name="connsiteY25" fmla="*/ 985771 h 1051028"/>
                <a:gd name="connsiteX26" fmla="*/ 372 w 379658"/>
                <a:gd name="connsiteY26" fmla="*/ 987237 h 1051028"/>
                <a:gd name="connsiteX27" fmla="*/ 599 w 379658"/>
                <a:gd name="connsiteY27" fmla="*/ 988662 h 1051028"/>
                <a:gd name="connsiteX28" fmla="*/ 1054 w 379658"/>
                <a:gd name="connsiteY28" fmla="*/ 991531 h 1051028"/>
                <a:gd name="connsiteX29" fmla="*/ 1467 w 379658"/>
                <a:gd name="connsiteY29" fmla="*/ 994401 h 1051028"/>
                <a:gd name="connsiteX30" fmla="*/ 2211 w 379658"/>
                <a:gd name="connsiteY30" fmla="*/ 997208 h 1051028"/>
                <a:gd name="connsiteX31" fmla="*/ 26885 w 379658"/>
                <a:gd name="connsiteY31" fmla="*/ 1035545 h 1051028"/>
                <a:gd name="connsiteX32" fmla="*/ 47075 w 379658"/>
                <a:gd name="connsiteY32" fmla="*/ 1046755 h 1051028"/>
                <a:gd name="connsiteX33" fmla="*/ 49782 w 379658"/>
                <a:gd name="connsiteY33" fmla="*/ 1047767 h 1051028"/>
                <a:gd name="connsiteX34" fmla="*/ 52593 w 379658"/>
                <a:gd name="connsiteY34" fmla="*/ 1048489 h 1051028"/>
                <a:gd name="connsiteX35" fmla="*/ 55403 w 379658"/>
                <a:gd name="connsiteY35" fmla="*/ 1049212 h 1051028"/>
                <a:gd name="connsiteX36" fmla="*/ 56808 w 379658"/>
                <a:gd name="connsiteY36" fmla="*/ 1049583 h 1051028"/>
                <a:gd name="connsiteX37" fmla="*/ 58255 w 379658"/>
                <a:gd name="connsiteY37" fmla="*/ 1049790 h 1051028"/>
                <a:gd name="connsiteX38" fmla="*/ 64000 w 379658"/>
                <a:gd name="connsiteY38" fmla="*/ 1050657 h 1051028"/>
                <a:gd name="connsiteX39" fmla="*/ 69827 w 379658"/>
                <a:gd name="connsiteY39" fmla="*/ 1050946 h 1051028"/>
                <a:gd name="connsiteX40" fmla="*/ 308529 w 379658"/>
                <a:gd name="connsiteY40" fmla="*/ 1051028 h 1051028"/>
                <a:gd name="connsiteX41" fmla="*/ 351719 w 379658"/>
                <a:gd name="connsiteY41" fmla="*/ 1036309 h 1051028"/>
                <a:gd name="connsiteX42" fmla="*/ 367632 w 379658"/>
                <a:gd name="connsiteY42" fmla="*/ 1019484 h 1051028"/>
                <a:gd name="connsiteX43" fmla="*/ 377117 w 379658"/>
                <a:gd name="connsiteY43" fmla="*/ 998447 h 1051028"/>
                <a:gd name="connsiteX44" fmla="*/ 377840 w 379658"/>
                <a:gd name="connsiteY44" fmla="*/ 995639 h 1051028"/>
                <a:gd name="connsiteX45" fmla="*/ 378212 w 379658"/>
                <a:gd name="connsiteY45" fmla="*/ 994236 h 1051028"/>
                <a:gd name="connsiteX46" fmla="*/ 378419 w 379658"/>
                <a:gd name="connsiteY46" fmla="*/ 992790 h 1051028"/>
                <a:gd name="connsiteX47" fmla="*/ 379287 w 379658"/>
                <a:gd name="connsiteY47" fmla="*/ 987051 h 1051028"/>
                <a:gd name="connsiteX48" fmla="*/ 379576 w 379658"/>
                <a:gd name="connsiteY48" fmla="*/ 981230 h 1051028"/>
                <a:gd name="connsiteX49" fmla="*/ 379659 w 379658"/>
                <a:gd name="connsiteY49" fmla="*/ 979723 h 1051028"/>
                <a:gd name="connsiteX50" fmla="*/ 379659 w 379658"/>
                <a:gd name="connsiteY50" fmla="*/ 71058 h 1051028"/>
                <a:gd name="connsiteX51" fmla="*/ 379349 w 379658"/>
                <a:gd name="connsiteY51" fmla="*/ 65236 h 1051028"/>
                <a:gd name="connsiteX52" fmla="*/ 379287 w 379658"/>
                <a:gd name="connsiteY52" fmla="*/ 63771 h 1051028"/>
                <a:gd name="connsiteX53" fmla="*/ 337626 w 379658"/>
                <a:gd name="connsiteY53" fmla="*/ 406902 h 1051028"/>
                <a:gd name="connsiteX54" fmla="*/ 337626 w 379658"/>
                <a:gd name="connsiteY54" fmla="*/ 979702 h 1051028"/>
                <a:gd name="connsiteX55" fmla="*/ 337584 w 379658"/>
                <a:gd name="connsiteY55" fmla="*/ 980177 h 1051028"/>
                <a:gd name="connsiteX56" fmla="*/ 337543 w 379658"/>
                <a:gd name="connsiteY56" fmla="*/ 980486 h 1051028"/>
                <a:gd name="connsiteX57" fmla="*/ 337461 w 379658"/>
                <a:gd name="connsiteY57" fmla="*/ 982922 h 1051028"/>
                <a:gd name="connsiteX58" fmla="*/ 337068 w 379658"/>
                <a:gd name="connsiteY58" fmla="*/ 985255 h 1051028"/>
                <a:gd name="connsiteX59" fmla="*/ 337027 w 379658"/>
                <a:gd name="connsiteY59" fmla="*/ 985854 h 1051028"/>
                <a:gd name="connsiteX60" fmla="*/ 336841 w 379658"/>
                <a:gd name="connsiteY60" fmla="*/ 986411 h 1051028"/>
                <a:gd name="connsiteX61" fmla="*/ 336531 w 379658"/>
                <a:gd name="connsiteY61" fmla="*/ 987526 h 1051028"/>
                <a:gd name="connsiteX62" fmla="*/ 332728 w 379658"/>
                <a:gd name="connsiteY62" fmla="*/ 996073 h 1051028"/>
                <a:gd name="connsiteX63" fmla="*/ 326136 w 379658"/>
                <a:gd name="connsiteY63" fmla="*/ 1002968 h 1051028"/>
                <a:gd name="connsiteX64" fmla="*/ 317870 w 379658"/>
                <a:gd name="connsiteY64" fmla="*/ 1007407 h 1051028"/>
                <a:gd name="connsiteX65" fmla="*/ 308550 w 379658"/>
                <a:gd name="connsiteY65" fmla="*/ 1008996 h 1051028"/>
                <a:gd name="connsiteX66" fmla="*/ 70592 w 379658"/>
                <a:gd name="connsiteY66" fmla="*/ 1008914 h 1051028"/>
                <a:gd name="connsiteX67" fmla="*/ 68153 w 379658"/>
                <a:gd name="connsiteY67" fmla="*/ 1008831 h 1051028"/>
                <a:gd name="connsiteX68" fmla="*/ 65818 w 379658"/>
                <a:gd name="connsiteY68" fmla="*/ 1008439 h 1051028"/>
                <a:gd name="connsiteX69" fmla="*/ 65219 w 379658"/>
                <a:gd name="connsiteY69" fmla="*/ 1008398 h 1051028"/>
                <a:gd name="connsiteX70" fmla="*/ 64661 w 379658"/>
                <a:gd name="connsiteY70" fmla="*/ 1008212 h 1051028"/>
                <a:gd name="connsiteX71" fmla="*/ 63545 w 379658"/>
                <a:gd name="connsiteY71" fmla="*/ 1007902 h 1051028"/>
                <a:gd name="connsiteX72" fmla="*/ 62388 w 379658"/>
                <a:gd name="connsiteY72" fmla="*/ 1007675 h 1051028"/>
                <a:gd name="connsiteX73" fmla="*/ 61313 w 379658"/>
                <a:gd name="connsiteY73" fmla="*/ 1007200 h 1051028"/>
                <a:gd name="connsiteX74" fmla="*/ 53089 w 379658"/>
                <a:gd name="connsiteY74" fmla="*/ 1002658 h 1051028"/>
                <a:gd name="connsiteX75" fmla="*/ 43004 w 379658"/>
                <a:gd name="connsiteY75" fmla="*/ 987010 h 1051028"/>
                <a:gd name="connsiteX76" fmla="*/ 42653 w 379658"/>
                <a:gd name="connsiteY76" fmla="*/ 985895 h 1051028"/>
                <a:gd name="connsiteX77" fmla="*/ 42549 w 379658"/>
                <a:gd name="connsiteY77" fmla="*/ 984719 h 1051028"/>
                <a:gd name="connsiteX78" fmla="*/ 42343 w 379658"/>
                <a:gd name="connsiteY78" fmla="*/ 983562 h 1051028"/>
                <a:gd name="connsiteX79" fmla="*/ 42198 w 379658"/>
                <a:gd name="connsiteY79" fmla="*/ 982984 h 1051028"/>
                <a:gd name="connsiteX80" fmla="*/ 42198 w 379658"/>
                <a:gd name="connsiteY80" fmla="*/ 982365 h 1051028"/>
                <a:gd name="connsiteX81" fmla="*/ 42053 w 379658"/>
                <a:gd name="connsiteY81" fmla="*/ 979929 h 1051028"/>
                <a:gd name="connsiteX82" fmla="*/ 42053 w 379658"/>
                <a:gd name="connsiteY82" fmla="*/ 71285 h 1051028"/>
                <a:gd name="connsiteX83" fmla="*/ 42095 w 379658"/>
                <a:gd name="connsiteY83" fmla="*/ 70810 h 1051028"/>
                <a:gd name="connsiteX84" fmla="*/ 42136 w 379658"/>
                <a:gd name="connsiteY84" fmla="*/ 70501 h 1051028"/>
                <a:gd name="connsiteX85" fmla="*/ 42219 w 379658"/>
                <a:gd name="connsiteY85" fmla="*/ 68065 h 1051028"/>
                <a:gd name="connsiteX86" fmla="*/ 42611 w 379658"/>
                <a:gd name="connsiteY86" fmla="*/ 65732 h 1051028"/>
                <a:gd name="connsiteX87" fmla="*/ 42653 w 379658"/>
                <a:gd name="connsiteY87" fmla="*/ 65133 h 1051028"/>
                <a:gd name="connsiteX88" fmla="*/ 42839 w 379658"/>
                <a:gd name="connsiteY88" fmla="*/ 64576 h 1051028"/>
                <a:gd name="connsiteX89" fmla="*/ 43149 w 379658"/>
                <a:gd name="connsiteY89" fmla="*/ 63461 h 1051028"/>
                <a:gd name="connsiteX90" fmla="*/ 46951 w 379658"/>
                <a:gd name="connsiteY90" fmla="*/ 54914 h 1051028"/>
                <a:gd name="connsiteX91" fmla="*/ 53543 w 379658"/>
                <a:gd name="connsiteY91" fmla="*/ 48019 h 1051028"/>
                <a:gd name="connsiteX92" fmla="*/ 61809 w 379658"/>
                <a:gd name="connsiteY92" fmla="*/ 43580 h 1051028"/>
                <a:gd name="connsiteX93" fmla="*/ 71129 w 379658"/>
                <a:gd name="connsiteY93" fmla="*/ 41991 h 1051028"/>
                <a:gd name="connsiteX94" fmla="*/ 309087 w 379658"/>
                <a:gd name="connsiteY94" fmla="*/ 42073 h 1051028"/>
                <a:gd name="connsiteX95" fmla="*/ 311526 w 379658"/>
                <a:gd name="connsiteY95" fmla="*/ 42156 h 1051028"/>
                <a:gd name="connsiteX96" fmla="*/ 313861 w 379658"/>
                <a:gd name="connsiteY96" fmla="*/ 42548 h 1051028"/>
                <a:gd name="connsiteX97" fmla="*/ 314460 w 379658"/>
                <a:gd name="connsiteY97" fmla="*/ 42589 h 1051028"/>
                <a:gd name="connsiteX98" fmla="*/ 315018 w 379658"/>
                <a:gd name="connsiteY98" fmla="*/ 42775 h 1051028"/>
                <a:gd name="connsiteX99" fmla="*/ 316134 w 379658"/>
                <a:gd name="connsiteY99" fmla="*/ 43085 h 1051028"/>
                <a:gd name="connsiteX100" fmla="*/ 317291 w 379658"/>
                <a:gd name="connsiteY100" fmla="*/ 43312 h 1051028"/>
                <a:gd name="connsiteX101" fmla="*/ 318366 w 379658"/>
                <a:gd name="connsiteY101" fmla="*/ 43787 h 1051028"/>
                <a:gd name="connsiteX102" fmla="*/ 326591 w 379658"/>
                <a:gd name="connsiteY102" fmla="*/ 48329 h 1051028"/>
                <a:gd name="connsiteX103" fmla="*/ 336675 w 379658"/>
                <a:gd name="connsiteY103" fmla="*/ 63977 h 1051028"/>
                <a:gd name="connsiteX104" fmla="*/ 337027 w 379658"/>
                <a:gd name="connsiteY104" fmla="*/ 65092 h 1051028"/>
                <a:gd name="connsiteX105" fmla="*/ 337130 w 379658"/>
                <a:gd name="connsiteY105" fmla="*/ 66269 h 1051028"/>
                <a:gd name="connsiteX106" fmla="*/ 337337 w 379658"/>
                <a:gd name="connsiteY106" fmla="*/ 67425 h 1051028"/>
                <a:gd name="connsiteX107" fmla="*/ 337481 w 379658"/>
                <a:gd name="connsiteY107" fmla="*/ 68003 h 1051028"/>
                <a:gd name="connsiteX108" fmla="*/ 337481 w 379658"/>
                <a:gd name="connsiteY108" fmla="*/ 68622 h 1051028"/>
                <a:gd name="connsiteX109" fmla="*/ 337626 w 379658"/>
                <a:gd name="connsiteY109" fmla="*/ 71058 h 1051028"/>
                <a:gd name="connsiteX110" fmla="*/ 337626 w 379658"/>
                <a:gd name="connsiteY110" fmla="*/ 406902 h 105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379658" h="1051028">
                  <a:moveTo>
                    <a:pt x="379287" y="63791"/>
                  </a:moveTo>
                  <a:lnTo>
                    <a:pt x="379059" y="62367"/>
                  </a:lnTo>
                  <a:lnTo>
                    <a:pt x="378605" y="59497"/>
                  </a:lnTo>
                  <a:lnTo>
                    <a:pt x="378191" y="56628"/>
                  </a:lnTo>
                  <a:lnTo>
                    <a:pt x="377447" y="53820"/>
                  </a:lnTo>
                  <a:cubicBezTo>
                    <a:pt x="373934" y="38750"/>
                    <a:pt x="364800" y="25207"/>
                    <a:pt x="352773" y="15483"/>
                  </a:cubicBezTo>
                  <a:cubicBezTo>
                    <a:pt x="346780" y="10549"/>
                    <a:pt x="339816" y="6875"/>
                    <a:pt x="332584" y="4273"/>
                  </a:cubicBezTo>
                  <a:lnTo>
                    <a:pt x="329876" y="3262"/>
                  </a:lnTo>
                  <a:cubicBezTo>
                    <a:pt x="328947" y="2993"/>
                    <a:pt x="327996" y="2787"/>
                    <a:pt x="327066" y="2539"/>
                  </a:cubicBezTo>
                  <a:lnTo>
                    <a:pt x="324256" y="1817"/>
                  </a:lnTo>
                  <a:lnTo>
                    <a:pt x="322850" y="1445"/>
                  </a:lnTo>
                  <a:lnTo>
                    <a:pt x="321404" y="1239"/>
                  </a:lnTo>
                  <a:lnTo>
                    <a:pt x="315659" y="372"/>
                  </a:lnTo>
                  <a:lnTo>
                    <a:pt x="309831" y="83"/>
                  </a:lnTo>
                  <a:lnTo>
                    <a:pt x="71129" y="0"/>
                  </a:lnTo>
                  <a:cubicBezTo>
                    <a:pt x="55610" y="248"/>
                    <a:pt x="40152" y="5037"/>
                    <a:pt x="27939" y="14719"/>
                  </a:cubicBezTo>
                  <a:cubicBezTo>
                    <a:pt x="21802" y="19447"/>
                    <a:pt x="16408" y="25145"/>
                    <a:pt x="12027" y="31545"/>
                  </a:cubicBezTo>
                  <a:cubicBezTo>
                    <a:pt x="7729" y="38006"/>
                    <a:pt x="4567" y="45149"/>
                    <a:pt x="2542" y="52581"/>
                  </a:cubicBezTo>
                  <a:lnTo>
                    <a:pt x="1819" y="55389"/>
                  </a:lnTo>
                  <a:cubicBezTo>
                    <a:pt x="1695" y="55864"/>
                    <a:pt x="1550" y="56318"/>
                    <a:pt x="1447" y="56793"/>
                  </a:cubicBezTo>
                  <a:lnTo>
                    <a:pt x="1240" y="58238"/>
                  </a:lnTo>
                  <a:lnTo>
                    <a:pt x="372" y="63977"/>
                  </a:lnTo>
                  <a:lnTo>
                    <a:pt x="83" y="69799"/>
                  </a:lnTo>
                  <a:cubicBezTo>
                    <a:pt x="62" y="70315"/>
                    <a:pt x="21" y="70707"/>
                    <a:pt x="0" y="71306"/>
                  </a:cubicBezTo>
                  <a:lnTo>
                    <a:pt x="0" y="979950"/>
                  </a:lnTo>
                  <a:lnTo>
                    <a:pt x="310" y="985771"/>
                  </a:lnTo>
                  <a:lnTo>
                    <a:pt x="372" y="987237"/>
                  </a:lnTo>
                  <a:lnTo>
                    <a:pt x="599" y="988662"/>
                  </a:lnTo>
                  <a:lnTo>
                    <a:pt x="1054" y="991531"/>
                  </a:lnTo>
                  <a:lnTo>
                    <a:pt x="1467" y="994401"/>
                  </a:lnTo>
                  <a:lnTo>
                    <a:pt x="2211" y="997208"/>
                  </a:lnTo>
                  <a:cubicBezTo>
                    <a:pt x="5724" y="1012279"/>
                    <a:pt x="14858" y="1025822"/>
                    <a:pt x="26885" y="1035545"/>
                  </a:cubicBezTo>
                  <a:cubicBezTo>
                    <a:pt x="32878" y="1040479"/>
                    <a:pt x="39842" y="1044154"/>
                    <a:pt x="47075" y="1046755"/>
                  </a:cubicBezTo>
                  <a:lnTo>
                    <a:pt x="49782" y="1047767"/>
                  </a:lnTo>
                  <a:cubicBezTo>
                    <a:pt x="50712" y="1048035"/>
                    <a:pt x="51663" y="1048241"/>
                    <a:pt x="52593" y="1048489"/>
                  </a:cubicBezTo>
                  <a:lnTo>
                    <a:pt x="55403" y="1049212"/>
                  </a:lnTo>
                  <a:lnTo>
                    <a:pt x="56808" y="1049583"/>
                  </a:lnTo>
                  <a:lnTo>
                    <a:pt x="58255" y="1049790"/>
                  </a:lnTo>
                  <a:lnTo>
                    <a:pt x="64000" y="1050657"/>
                  </a:lnTo>
                  <a:lnTo>
                    <a:pt x="69827" y="1050946"/>
                  </a:lnTo>
                  <a:lnTo>
                    <a:pt x="308529" y="1051028"/>
                  </a:lnTo>
                  <a:cubicBezTo>
                    <a:pt x="324049" y="1050781"/>
                    <a:pt x="339506" y="1045991"/>
                    <a:pt x="351719" y="1036309"/>
                  </a:cubicBezTo>
                  <a:cubicBezTo>
                    <a:pt x="357857" y="1031581"/>
                    <a:pt x="363251" y="1025883"/>
                    <a:pt x="367632" y="1019484"/>
                  </a:cubicBezTo>
                  <a:cubicBezTo>
                    <a:pt x="371930" y="1013022"/>
                    <a:pt x="375092" y="1005879"/>
                    <a:pt x="377117" y="998447"/>
                  </a:cubicBezTo>
                  <a:lnTo>
                    <a:pt x="377840" y="995639"/>
                  </a:lnTo>
                  <a:cubicBezTo>
                    <a:pt x="377964" y="995165"/>
                    <a:pt x="378109" y="994710"/>
                    <a:pt x="378212" y="994236"/>
                  </a:cubicBezTo>
                  <a:lnTo>
                    <a:pt x="378419" y="992790"/>
                  </a:lnTo>
                  <a:lnTo>
                    <a:pt x="379287" y="987051"/>
                  </a:lnTo>
                  <a:lnTo>
                    <a:pt x="379576" y="981230"/>
                  </a:lnTo>
                  <a:cubicBezTo>
                    <a:pt x="379597" y="980714"/>
                    <a:pt x="379638" y="980321"/>
                    <a:pt x="379659" y="979723"/>
                  </a:cubicBezTo>
                  <a:lnTo>
                    <a:pt x="379659" y="71058"/>
                  </a:lnTo>
                  <a:lnTo>
                    <a:pt x="379349" y="65236"/>
                  </a:lnTo>
                  <a:lnTo>
                    <a:pt x="379287" y="63771"/>
                  </a:lnTo>
                  <a:close/>
                  <a:moveTo>
                    <a:pt x="337626" y="406902"/>
                  </a:moveTo>
                  <a:lnTo>
                    <a:pt x="337626" y="979702"/>
                  </a:lnTo>
                  <a:cubicBezTo>
                    <a:pt x="337626" y="980115"/>
                    <a:pt x="337605" y="980012"/>
                    <a:pt x="337584" y="980177"/>
                  </a:cubicBezTo>
                  <a:lnTo>
                    <a:pt x="337543" y="980486"/>
                  </a:lnTo>
                  <a:cubicBezTo>
                    <a:pt x="337440" y="981292"/>
                    <a:pt x="337419" y="982097"/>
                    <a:pt x="337461" y="982922"/>
                  </a:cubicBezTo>
                  <a:cubicBezTo>
                    <a:pt x="337295" y="983707"/>
                    <a:pt x="337130" y="984471"/>
                    <a:pt x="337068" y="985255"/>
                  </a:cubicBezTo>
                  <a:lnTo>
                    <a:pt x="337027" y="985854"/>
                  </a:lnTo>
                  <a:cubicBezTo>
                    <a:pt x="336985" y="986040"/>
                    <a:pt x="336903" y="986226"/>
                    <a:pt x="336841" y="986411"/>
                  </a:cubicBezTo>
                  <a:cubicBezTo>
                    <a:pt x="336717" y="986783"/>
                    <a:pt x="336613" y="987155"/>
                    <a:pt x="336531" y="987526"/>
                  </a:cubicBezTo>
                  <a:cubicBezTo>
                    <a:pt x="335704" y="990520"/>
                    <a:pt x="334485" y="993410"/>
                    <a:pt x="332728" y="996073"/>
                  </a:cubicBezTo>
                  <a:cubicBezTo>
                    <a:pt x="330889" y="998674"/>
                    <a:pt x="328657" y="1001028"/>
                    <a:pt x="326136" y="1002968"/>
                  </a:cubicBezTo>
                  <a:cubicBezTo>
                    <a:pt x="323636" y="1004929"/>
                    <a:pt x="320846" y="1006540"/>
                    <a:pt x="317870" y="1007407"/>
                  </a:cubicBezTo>
                  <a:cubicBezTo>
                    <a:pt x="314915" y="1008356"/>
                    <a:pt x="311836" y="1008872"/>
                    <a:pt x="308550" y="1008996"/>
                  </a:cubicBezTo>
                  <a:lnTo>
                    <a:pt x="70592" y="1008914"/>
                  </a:lnTo>
                  <a:cubicBezTo>
                    <a:pt x="69786" y="1008811"/>
                    <a:pt x="68980" y="1008790"/>
                    <a:pt x="68153" y="1008831"/>
                  </a:cubicBezTo>
                  <a:cubicBezTo>
                    <a:pt x="67368" y="1008666"/>
                    <a:pt x="66603" y="1008501"/>
                    <a:pt x="65818" y="1008439"/>
                  </a:cubicBezTo>
                  <a:lnTo>
                    <a:pt x="65219" y="1008398"/>
                  </a:lnTo>
                  <a:lnTo>
                    <a:pt x="64661" y="1008212"/>
                  </a:lnTo>
                  <a:cubicBezTo>
                    <a:pt x="64289" y="1008088"/>
                    <a:pt x="63917" y="1007985"/>
                    <a:pt x="63545" y="1007902"/>
                  </a:cubicBezTo>
                  <a:lnTo>
                    <a:pt x="62388" y="1007675"/>
                  </a:lnTo>
                  <a:cubicBezTo>
                    <a:pt x="62037" y="1007510"/>
                    <a:pt x="61685" y="1007345"/>
                    <a:pt x="61313" y="1007200"/>
                  </a:cubicBezTo>
                  <a:cubicBezTo>
                    <a:pt x="58399" y="1006147"/>
                    <a:pt x="55506" y="1004764"/>
                    <a:pt x="53089" y="1002658"/>
                  </a:cubicBezTo>
                  <a:cubicBezTo>
                    <a:pt x="48191" y="998592"/>
                    <a:pt x="44306" y="993100"/>
                    <a:pt x="43004" y="987010"/>
                  </a:cubicBezTo>
                  <a:cubicBezTo>
                    <a:pt x="42901" y="986638"/>
                    <a:pt x="42777" y="986267"/>
                    <a:pt x="42653" y="985895"/>
                  </a:cubicBezTo>
                  <a:cubicBezTo>
                    <a:pt x="42611" y="985503"/>
                    <a:pt x="42591" y="985111"/>
                    <a:pt x="42549" y="984719"/>
                  </a:cubicBezTo>
                  <a:cubicBezTo>
                    <a:pt x="42508" y="984326"/>
                    <a:pt x="42425" y="983934"/>
                    <a:pt x="42343" y="983562"/>
                  </a:cubicBezTo>
                  <a:lnTo>
                    <a:pt x="42198" y="982984"/>
                  </a:lnTo>
                  <a:lnTo>
                    <a:pt x="42198" y="982365"/>
                  </a:lnTo>
                  <a:cubicBezTo>
                    <a:pt x="42219" y="981539"/>
                    <a:pt x="42177" y="980775"/>
                    <a:pt x="42053" y="979929"/>
                  </a:cubicBezTo>
                  <a:lnTo>
                    <a:pt x="42053" y="71285"/>
                  </a:lnTo>
                  <a:cubicBezTo>
                    <a:pt x="42053" y="70872"/>
                    <a:pt x="42074" y="70976"/>
                    <a:pt x="42095" y="70810"/>
                  </a:cubicBezTo>
                  <a:lnTo>
                    <a:pt x="42136" y="70501"/>
                  </a:lnTo>
                  <a:cubicBezTo>
                    <a:pt x="42239" y="69696"/>
                    <a:pt x="42260" y="68890"/>
                    <a:pt x="42219" y="68065"/>
                  </a:cubicBezTo>
                  <a:cubicBezTo>
                    <a:pt x="42384" y="67280"/>
                    <a:pt x="42549" y="66516"/>
                    <a:pt x="42611" y="65732"/>
                  </a:cubicBezTo>
                  <a:lnTo>
                    <a:pt x="42653" y="65133"/>
                  </a:lnTo>
                  <a:cubicBezTo>
                    <a:pt x="42694" y="64947"/>
                    <a:pt x="42777" y="64762"/>
                    <a:pt x="42839" y="64576"/>
                  </a:cubicBezTo>
                  <a:cubicBezTo>
                    <a:pt x="42963" y="64204"/>
                    <a:pt x="43066" y="63833"/>
                    <a:pt x="43149" y="63461"/>
                  </a:cubicBezTo>
                  <a:cubicBezTo>
                    <a:pt x="43975" y="60468"/>
                    <a:pt x="45194" y="57577"/>
                    <a:pt x="46951" y="54914"/>
                  </a:cubicBezTo>
                  <a:cubicBezTo>
                    <a:pt x="48790" y="52313"/>
                    <a:pt x="51022" y="49960"/>
                    <a:pt x="53543" y="48019"/>
                  </a:cubicBezTo>
                  <a:cubicBezTo>
                    <a:pt x="56044" y="46058"/>
                    <a:pt x="58834" y="44447"/>
                    <a:pt x="61809" y="43580"/>
                  </a:cubicBezTo>
                  <a:cubicBezTo>
                    <a:pt x="64764" y="42631"/>
                    <a:pt x="67843" y="42115"/>
                    <a:pt x="71129" y="41991"/>
                  </a:cubicBezTo>
                  <a:lnTo>
                    <a:pt x="309087" y="42073"/>
                  </a:lnTo>
                  <a:cubicBezTo>
                    <a:pt x="309893" y="42177"/>
                    <a:pt x="310699" y="42197"/>
                    <a:pt x="311526" y="42156"/>
                  </a:cubicBezTo>
                  <a:cubicBezTo>
                    <a:pt x="312311" y="42321"/>
                    <a:pt x="313076" y="42486"/>
                    <a:pt x="313861" y="42548"/>
                  </a:cubicBezTo>
                  <a:lnTo>
                    <a:pt x="314460" y="42589"/>
                  </a:lnTo>
                  <a:lnTo>
                    <a:pt x="315018" y="42775"/>
                  </a:lnTo>
                  <a:cubicBezTo>
                    <a:pt x="315390" y="42899"/>
                    <a:pt x="315762" y="43002"/>
                    <a:pt x="316134" y="43085"/>
                  </a:cubicBezTo>
                  <a:lnTo>
                    <a:pt x="317291" y="43312"/>
                  </a:lnTo>
                  <a:cubicBezTo>
                    <a:pt x="317643" y="43477"/>
                    <a:pt x="317994" y="43642"/>
                    <a:pt x="318366" y="43787"/>
                  </a:cubicBezTo>
                  <a:cubicBezTo>
                    <a:pt x="321280" y="44840"/>
                    <a:pt x="324173" y="46223"/>
                    <a:pt x="326591" y="48329"/>
                  </a:cubicBezTo>
                  <a:cubicBezTo>
                    <a:pt x="331488" y="52396"/>
                    <a:pt x="335373" y="57887"/>
                    <a:pt x="336675" y="63977"/>
                  </a:cubicBezTo>
                  <a:cubicBezTo>
                    <a:pt x="336779" y="64349"/>
                    <a:pt x="336903" y="64720"/>
                    <a:pt x="337027" y="65092"/>
                  </a:cubicBezTo>
                  <a:cubicBezTo>
                    <a:pt x="337068" y="65484"/>
                    <a:pt x="337089" y="65876"/>
                    <a:pt x="337130" y="66269"/>
                  </a:cubicBezTo>
                  <a:cubicBezTo>
                    <a:pt x="337171" y="66661"/>
                    <a:pt x="337254" y="67053"/>
                    <a:pt x="337337" y="67425"/>
                  </a:cubicBezTo>
                  <a:lnTo>
                    <a:pt x="337481" y="68003"/>
                  </a:lnTo>
                  <a:lnTo>
                    <a:pt x="337481" y="68622"/>
                  </a:lnTo>
                  <a:cubicBezTo>
                    <a:pt x="337461" y="69448"/>
                    <a:pt x="337502" y="70212"/>
                    <a:pt x="337626" y="71058"/>
                  </a:cubicBezTo>
                  <a:lnTo>
                    <a:pt x="337626" y="406902"/>
                  </a:lnTo>
                  <a:close/>
                </a:path>
              </a:pathLst>
            </a:custGeom>
            <a:solidFill>
              <a:schemeClr val="accent1"/>
            </a:solidFill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0B2742"/>
                </a:solidFill>
                <a:latin typeface="Calibri"/>
              </a:endParaRPr>
            </a:p>
          </p:txBody>
        </p:sp>
      </p:grpSp>
      <p:sp>
        <p:nvSpPr>
          <p:cNvPr id="213" name="TextBox 212">
            <a:extLst>
              <a:ext uri="{FF2B5EF4-FFF2-40B4-BE49-F238E27FC236}">
                <a16:creationId xmlns:a16="http://schemas.microsoft.com/office/drawing/2014/main" id="{C82BAF2A-FF0A-78EE-FAF2-0C13AF366BCD}"/>
              </a:ext>
            </a:extLst>
          </p:cNvPr>
          <p:cNvSpPr txBox="1"/>
          <p:nvPr/>
        </p:nvSpPr>
        <p:spPr>
          <a:xfrm>
            <a:off x="3644027" y="3248755"/>
            <a:ext cx="423193" cy="135165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 defTabSz="743407">
              <a:lnSpc>
                <a:spcPct val="90000"/>
              </a:lnSpc>
              <a:defRPr/>
            </a:pPr>
            <a:r>
              <a:rPr lang="en-US" sz="976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Mobility</a:t>
            </a:r>
          </a:p>
        </p:txBody>
      </p:sp>
      <p:grpSp>
        <p:nvGrpSpPr>
          <p:cNvPr id="214" name="Group 213">
            <a:extLst>
              <a:ext uri="{FF2B5EF4-FFF2-40B4-BE49-F238E27FC236}">
                <a16:creationId xmlns:a16="http://schemas.microsoft.com/office/drawing/2014/main" id="{15716210-2AAD-A2A1-30B0-F74EDF066FC2}"/>
              </a:ext>
            </a:extLst>
          </p:cNvPr>
          <p:cNvGrpSpPr/>
          <p:nvPr/>
        </p:nvGrpSpPr>
        <p:grpSpPr>
          <a:xfrm>
            <a:off x="3531242" y="2785127"/>
            <a:ext cx="648744" cy="442144"/>
            <a:chOff x="2890473" y="1077496"/>
            <a:chExt cx="573881" cy="391121"/>
          </a:xfrm>
        </p:grpSpPr>
        <p:grpSp>
          <p:nvGrpSpPr>
            <p:cNvPr id="215" name="Group 214">
              <a:extLst>
                <a:ext uri="{FF2B5EF4-FFF2-40B4-BE49-F238E27FC236}">
                  <a16:creationId xmlns:a16="http://schemas.microsoft.com/office/drawing/2014/main" id="{A64177FE-EBC4-8FBF-31A8-282675178B4D}"/>
                </a:ext>
              </a:extLst>
            </p:cNvPr>
            <p:cNvGrpSpPr/>
            <p:nvPr/>
          </p:nvGrpSpPr>
          <p:grpSpPr>
            <a:xfrm>
              <a:off x="3089534" y="1077496"/>
              <a:ext cx="247925" cy="391121"/>
              <a:chOff x="2792529" y="2686675"/>
              <a:chExt cx="1318152" cy="2079481"/>
            </a:xfrm>
            <a:solidFill>
              <a:schemeClr val="accent1"/>
            </a:solidFill>
          </p:grpSpPr>
          <p:sp>
            <p:nvSpPr>
              <p:cNvPr id="218" name="Freeform 4">
                <a:extLst>
                  <a:ext uri="{FF2B5EF4-FFF2-40B4-BE49-F238E27FC236}">
                    <a16:creationId xmlns:a16="http://schemas.microsoft.com/office/drawing/2014/main" id="{B6CD1AD2-F07D-45AA-6FEB-94AD795E0D08}"/>
                  </a:ext>
                </a:extLst>
              </p:cNvPr>
              <p:cNvSpPr/>
              <p:nvPr/>
            </p:nvSpPr>
            <p:spPr>
              <a:xfrm>
                <a:off x="2792529" y="3064477"/>
                <a:ext cx="926459" cy="1701679"/>
              </a:xfrm>
              <a:custGeom>
                <a:avLst/>
                <a:gdLst>
                  <a:gd name="connsiteX0" fmla="*/ 926380 w 926459"/>
                  <a:gd name="connsiteY0" fmla="*/ 185894 h 1701679"/>
                  <a:gd name="connsiteX1" fmla="*/ 920604 w 926459"/>
                  <a:gd name="connsiteY1" fmla="*/ 142489 h 1701679"/>
                  <a:gd name="connsiteX2" fmla="*/ 880217 w 926459"/>
                  <a:gd name="connsiteY2" fmla="*/ 65326 h 1701679"/>
                  <a:gd name="connsiteX3" fmla="*/ 809718 w 926459"/>
                  <a:gd name="connsiteY3" fmla="*/ 14408 h 1701679"/>
                  <a:gd name="connsiteX4" fmla="*/ 767499 w 926459"/>
                  <a:gd name="connsiteY4" fmla="*/ 2431 h 1701679"/>
                  <a:gd name="connsiteX5" fmla="*/ 756625 w 926459"/>
                  <a:gd name="connsiteY5" fmla="*/ 977 h 1701679"/>
                  <a:gd name="connsiteX6" fmla="*/ 745712 w 926459"/>
                  <a:gd name="connsiteY6" fmla="*/ 199 h 1701679"/>
                  <a:gd name="connsiteX7" fmla="*/ 740255 w 926459"/>
                  <a:gd name="connsiteY7" fmla="*/ 60 h 1701679"/>
                  <a:gd name="connsiteX8" fmla="*/ 737527 w 926459"/>
                  <a:gd name="connsiteY8" fmla="*/ 0 h 1701679"/>
                  <a:gd name="connsiteX9" fmla="*/ 189092 w 926459"/>
                  <a:gd name="connsiteY9" fmla="*/ 0 h 1701679"/>
                  <a:gd name="connsiteX10" fmla="*/ 104394 w 926459"/>
                  <a:gd name="connsiteY10" fmla="*/ 20048 h 1701679"/>
                  <a:gd name="connsiteX11" fmla="*/ 67790 w 926459"/>
                  <a:gd name="connsiteY11" fmla="*/ 44082 h 1701679"/>
                  <a:gd name="connsiteX12" fmla="*/ 37699 w 926459"/>
                  <a:gd name="connsiteY12" fmla="*/ 75828 h 1701679"/>
                  <a:gd name="connsiteX13" fmla="*/ 2987 w 926459"/>
                  <a:gd name="connsiteY13" fmla="*/ 155762 h 1701679"/>
                  <a:gd name="connsiteX14" fmla="*/ 1374 w 926459"/>
                  <a:gd name="connsiteY14" fmla="*/ 166623 h 1701679"/>
                  <a:gd name="connsiteX15" fmla="*/ 378 w 926459"/>
                  <a:gd name="connsiteY15" fmla="*/ 177544 h 1701679"/>
                  <a:gd name="connsiteX16" fmla="*/ 0 w 926459"/>
                  <a:gd name="connsiteY16" fmla="*/ 188464 h 1701679"/>
                  <a:gd name="connsiteX17" fmla="*/ 0 w 926459"/>
                  <a:gd name="connsiteY17" fmla="*/ 1513036 h 1701679"/>
                  <a:gd name="connsiteX18" fmla="*/ 60 w 926459"/>
                  <a:gd name="connsiteY18" fmla="*/ 1515766 h 1701679"/>
                  <a:gd name="connsiteX19" fmla="*/ 5835 w 926459"/>
                  <a:gd name="connsiteY19" fmla="*/ 1559191 h 1701679"/>
                  <a:gd name="connsiteX20" fmla="*/ 46222 w 926459"/>
                  <a:gd name="connsiteY20" fmla="*/ 1636354 h 1701679"/>
                  <a:gd name="connsiteX21" fmla="*/ 116721 w 926459"/>
                  <a:gd name="connsiteY21" fmla="*/ 1687272 h 1701679"/>
                  <a:gd name="connsiteX22" fmla="*/ 158941 w 926459"/>
                  <a:gd name="connsiteY22" fmla="*/ 1699249 h 1701679"/>
                  <a:gd name="connsiteX23" fmla="*/ 169814 w 926459"/>
                  <a:gd name="connsiteY23" fmla="*/ 1700703 h 1701679"/>
                  <a:gd name="connsiteX24" fmla="*/ 180727 w 926459"/>
                  <a:gd name="connsiteY24" fmla="*/ 1701481 h 1701679"/>
                  <a:gd name="connsiteX25" fmla="*/ 186184 w 926459"/>
                  <a:gd name="connsiteY25" fmla="*/ 1701620 h 1701679"/>
                  <a:gd name="connsiteX26" fmla="*/ 188912 w 926459"/>
                  <a:gd name="connsiteY26" fmla="*/ 1701680 h 1701679"/>
                  <a:gd name="connsiteX27" fmla="*/ 737368 w 926459"/>
                  <a:gd name="connsiteY27" fmla="*/ 1701680 h 1701679"/>
                  <a:gd name="connsiteX28" fmla="*/ 822066 w 926459"/>
                  <a:gd name="connsiteY28" fmla="*/ 1681632 h 1701679"/>
                  <a:gd name="connsiteX29" fmla="*/ 858669 w 926459"/>
                  <a:gd name="connsiteY29" fmla="*/ 1657598 h 1701679"/>
                  <a:gd name="connsiteX30" fmla="*/ 888761 w 926459"/>
                  <a:gd name="connsiteY30" fmla="*/ 1625852 h 1701679"/>
                  <a:gd name="connsiteX31" fmla="*/ 923472 w 926459"/>
                  <a:gd name="connsiteY31" fmla="*/ 1545918 h 1701679"/>
                  <a:gd name="connsiteX32" fmla="*/ 925085 w 926459"/>
                  <a:gd name="connsiteY32" fmla="*/ 1535057 h 1701679"/>
                  <a:gd name="connsiteX33" fmla="*/ 926081 w 926459"/>
                  <a:gd name="connsiteY33" fmla="*/ 1524136 h 1701679"/>
                  <a:gd name="connsiteX34" fmla="*/ 926459 w 926459"/>
                  <a:gd name="connsiteY34" fmla="*/ 1513216 h 1701679"/>
                  <a:gd name="connsiteX35" fmla="*/ 926459 w 926459"/>
                  <a:gd name="connsiteY35" fmla="*/ 188624 h 1701679"/>
                  <a:gd name="connsiteX36" fmla="*/ 926400 w 926459"/>
                  <a:gd name="connsiteY36" fmla="*/ 185894 h 1701679"/>
                  <a:gd name="connsiteX37" fmla="*/ 885933 w 926459"/>
                  <a:gd name="connsiteY37" fmla="*/ 516568 h 1701679"/>
                  <a:gd name="connsiteX38" fmla="*/ 885933 w 926459"/>
                  <a:gd name="connsiteY38" fmla="*/ 1513036 h 1701679"/>
                  <a:gd name="connsiteX39" fmla="*/ 885634 w 926459"/>
                  <a:gd name="connsiteY39" fmla="*/ 1521645 h 1701679"/>
                  <a:gd name="connsiteX40" fmla="*/ 884857 w 926459"/>
                  <a:gd name="connsiteY40" fmla="*/ 1530235 h 1701679"/>
                  <a:gd name="connsiteX41" fmla="*/ 883583 w 926459"/>
                  <a:gd name="connsiteY41" fmla="*/ 1538764 h 1701679"/>
                  <a:gd name="connsiteX42" fmla="*/ 856339 w 926459"/>
                  <a:gd name="connsiteY42" fmla="*/ 1601539 h 1701679"/>
                  <a:gd name="connsiteX43" fmla="*/ 832680 w 926459"/>
                  <a:gd name="connsiteY43" fmla="*/ 1626509 h 1701679"/>
                  <a:gd name="connsiteX44" fmla="*/ 803923 w 926459"/>
                  <a:gd name="connsiteY44" fmla="*/ 1645402 h 1701679"/>
                  <a:gd name="connsiteX45" fmla="*/ 737388 w 926459"/>
                  <a:gd name="connsiteY45" fmla="*/ 1661145 h 1701679"/>
                  <a:gd name="connsiteX46" fmla="*/ 188972 w 926459"/>
                  <a:gd name="connsiteY46" fmla="*/ 1661145 h 1701679"/>
                  <a:gd name="connsiteX47" fmla="*/ 186821 w 926459"/>
                  <a:gd name="connsiteY47" fmla="*/ 1661085 h 1701679"/>
                  <a:gd name="connsiteX48" fmla="*/ 182520 w 926459"/>
                  <a:gd name="connsiteY48" fmla="*/ 1660966 h 1701679"/>
                  <a:gd name="connsiteX49" fmla="*/ 173936 w 926459"/>
                  <a:gd name="connsiteY49" fmla="*/ 1660368 h 1701679"/>
                  <a:gd name="connsiteX50" fmla="*/ 165393 w 926459"/>
                  <a:gd name="connsiteY50" fmla="*/ 1659232 h 1701679"/>
                  <a:gd name="connsiteX51" fmla="*/ 132255 w 926459"/>
                  <a:gd name="connsiteY51" fmla="*/ 1649846 h 1701679"/>
                  <a:gd name="connsiteX52" fmla="*/ 76851 w 926459"/>
                  <a:gd name="connsiteY52" fmla="*/ 1609809 h 1701679"/>
                  <a:gd name="connsiteX53" fmla="*/ 45107 w 926459"/>
                  <a:gd name="connsiteY53" fmla="*/ 1549207 h 1701679"/>
                  <a:gd name="connsiteX54" fmla="*/ 40586 w 926459"/>
                  <a:gd name="connsiteY54" fmla="*/ 1515089 h 1701679"/>
                  <a:gd name="connsiteX55" fmla="*/ 40527 w 926459"/>
                  <a:gd name="connsiteY55" fmla="*/ 1507257 h 1701679"/>
                  <a:gd name="connsiteX56" fmla="*/ 40527 w 926459"/>
                  <a:gd name="connsiteY56" fmla="*/ 188624 h 1701679"/>
                  <a:gd name="connsiteX57" fmla="*/ 40825 w 926459"/>
                  <a:gd name="connsiteY57" fmla="*/ 180015 h 1701679"/>
                  <a:gd name="connsiteX58" fmla="*/ 41602 w 926459"/>
                  <a:gd name="connsiteY58" fmla="*/ 171426 h 1701679"/>
                  <a:gd name="connsiteX59" fmla="*/ 42877 w 926459"/>
                  <a:gd name="connsiteY59" fmla="*/ 162896 h 1701679"/>
                  <a:gd name="connsiteX60" fmla="*/ 70120 w 926459"/>
                  <a:gd name="connsiteY60" fmla="*/ 100121 h 1701679"/>
                  <a:gd name="connsiteX61" fmla="*/ 93779 w 926459"/>
                  <a:gd name="connsiteY61" fmla="*/ 75151 h 1701679"/>
                  <a:gd name="connsiteX62" fmla="*/ 122536 w 926459"/>
                  <a:gd name="connsiteY62" fmla="*/ 56258 h 1701679"/>
                  <a:gd name="connsiteX63" fmla="*/ 189072 w 926459"/>
                  <a:gd name="connsiteY63" fmla="*/ 40515 h 1701679"/>
                  <a:gd name="connsiteX64" fmla="*/ 737487 w 926459"/>
                  <a:gd name="connsiteY64" fmla="*/ 40515 h 1701679"/>
                  <a:gd name="connsiteX65" fmla="*/ 739638 w 926459"/>
                  <a:gd name="connsiteY65" fmla="*/ 40575 h 1701679"/>
                  <a:gd name="connsiteX66" fmla="*/ 743940 w 926459"/>
                  <a:gd name="connsiteY66" fmla="*/ 40694 h 1701679"/>
                  <a:gd name="connsiteX67" fmla="*/ 752523 w 926459"/>
                  <a:gd name="connsiteY67" fmla="*/ 41292 h 1701679"/>
                  <a:gd name="connsiteX68" fmla="*/ 761066 w 926459"/>
                  <a:gd name="connsiteY68" fmla="*/ 42428 h 1701679"/>
                  <a:gd name="connsiteX69" fmla="*/ 794205 w 926459"/>
                  <a:gd name="connsiteY69" fmla="*/ 51814 h 1701679"/>
                  <a:gd name="connsiteX70" fmla="*/ 849608 w 926459"/>
                  <a:gd name="connsiteY70" fmla="*/ 91851 h 1701679"/>
                  <a:gd name="connsiteX71" fmla="*/ 881352 w 926459"/>
                  <a:gd name="connsiteY71" fmla="*/ 152453 h 1701679"/>
                  <a:gd name="connsiteX72" fmla="*/ 885873 w 926459"/>
                  <a:gd name="connsiteY72" fmla="*/ 186571 h 1701679"/>
                  <a:gd name="connsiteX73" fmla="*/ 885933 w 926459"/>
                  <a:gd name="connsiteY73" fmla="*/ 194403 h 1701679"/>
                  <a:gd name="connsiteX74" fmla="*/ 885933 w 926459"/>
                  <a:gd name="connsiteY74" fmla="*/ 516548 h 1701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926459" h="1701679">
                    <a:moveTo>
                      <a:pt x="926380" y="185894"/>
                    </a:moveTo>
                    <a:cubicBezTo>
                      <a:pt x="926121" y="171346"/>
                      <a:pt x="924189" y="156698"/>
                      <a:pt x="920604" y="142489"/>
                    </a:cubicBezTo>
                    <a:cubicBezTo>
                      <a:pt x="913336" y="114051"/>
                      <a:pt x="899415" y="87327"/>
                      <a:pt x="880217" y="65326"/>
                    </a:cubicBezTo>
                    <a:cubicBezTo>
                      <a:pt x="861139" y="43185"/>
                      <a:pt x="836803" y="25668"/>
                      <a:pt x="809718" y="14408"/>
                    </a:cubicBezTo>
                    <a:cubicBezTo>
                      <a:pt x="796156" y="8808"/>
                      <a:pt x="781957" y="4783"/>
                      <a:pt x="767499" y="2431"/>
                    </a:cubicBezTo>
                    <a:cubicBezTo>
                      <a:pt x="763894" y="1833"/>
                      <a:pt x="760250" y="1435"/>
                      <a:pt x="756625" y="977"/>
                    </a:cubicBezTo>
                    <a:cubicBezTo>
                      <a:pt x="752981" y="697"/>
                      <a:pt x="749357" y="359"/>
                      <a:pt x="745712" y="199"/>
                    </a:cubicBezTo>
                    <a:lnTo>
                      <a:pt x="740255" y="60"/>
                    </a:lnTo>
                    <a:lnTo>
                      <a:pt x="737527" y="0"/>
                    </a:lnTo>
                    <a:lnTo>
                      <a:pt x="189092" y="0"/>
                    </a:lnTo>
                    <a:cubicBezTo>
                      <a:pt x="160016" y="40"/>
                      <a:pt x="130522" y="6796"/>
                      <a:pt x="104394" y="20048"/>
                    </a:cubicBezTo>
                    <a:cubicBezTo>
                      <a:pt x="91310" y="26644"/>
                      <a:pt x="78982" y="34676"/>
                      <a:pt x="67790" y="44082"/>
                    </a:cubicBezTo>
                    <a:cubicBezTo>
                      <a:pt x="56598" y="53488"/>
                      <a:pt x="46501" y="64150"/>
                      <a:pt x="37699" y="75828"/>
                    </a:cubicBezTo>
                    <a:cubicBezTo>
                      <a:pt x="20214" y="99244"/>
                      <a:pt x="8046" y="126845"/>
                      <a:pt x="2987" y="155762"/>
                    </a:cubicBezTo>
                    <a:cubicBezTo>
                      <a:pt x="2290" y="159369"/>
                      <a:pt x="1792" y="162996"/>
                      <a:pt x="1374" y="166623"/>
                    </a:cubicBezTo>
                    <a:cubicBezTo>
                      <a:pt x="856" y="170250"/>
                      <a:pt x="657" y="173897"/>
                      <a:pt x="378" y="177544"/>
                    </a:cubicBezTo>
                    <a:cubicBezTo>
                      <a:pt x="100" y="181190"/>
                      <a:pt x="100" y="184818"/>
                      <a:pt x="0" y="188464"/>
                    </a:cubicBezTo>
                    <a:lnTo>
                      <a:pt x="0" y="1513036"/>
                    </a:lnTo>
                    <a:lnTo>
                      <a:pt x="60" y="1515766"/>
                    </a:lnTo>
                    <a:cubicBezTo>
                      <a:pt x="319" y="1530314"/>
                      <a:pt x="2250" y="1544962"/>
                      <a:pt x="5835" y="1559191"/>
                    </a:cubicBezTo>
                    <a:cubicBezTo>
                      <a:pt x="13104" y="1587629"/>
                      <a:pt x="27024" y="1614353"/>
                      <a:pt x="46222" y="1636354"/>
                    </a:cubicBezTo>
                    <a:cubicBezTo>
                      <a:pt x="65301" y="1658495"/>
                      <a:pt x="89637" y="1676012"/>
                      <a:pt x="116721" y="1687272"/>
                    </a:cubicBezTo>
                    <a:cubicBezTo>
                      <a:pt x="130283" y="1692872"/>
                      <a:pt x="144482" y="1696897"/>
                      <a:pt x="158941" y="1699249"/>
                    </a:cubicBezTo>
                    <a:cubicBezTo>
                      <a:pt x="162545" y="1699847"/>
                      <a:pt x="166190" y="1700245"/>
                      <a:pt x="169814" y="1700703"/>
                    </a:cubicBezTo>
                    <a:cubicBezTo>
                      <a:pt x="173458" y="1700983"/>
                      <a:pt x="177083" y="1701321"/>
                      <a:pt x="180727" y="1701481"/>
                    </a:cubicBezTo>
                    <a:lnTo>
                      <a:pt x="186184" y="1701620"/>
                    </a:lnTo>
                    <a:lnTo>
                      <a:pt x="188912" y="1701680"/>
                    </a:lnTo>
                    <a:lnTo>
                      <a:pt x="737368" y="1701680"/>
                    </a:lnTo>
                    <a:cubicBezTo>
                      <a:pt x="766443" y="1701640"/>
                      <a:pt x="795937" y="1694885"/>
                      <a:pt x="822066" y="1681632"/>
                    </a:cubicBezTo>
                    <a:cubicBezTo>
                      <a:pt x="835150" y="1675035"/>
                      <a:pt x="847477" y="1667004"/>
                      <a:pt x="858669" y="1657598"/>
                    </a:cubicBezTo>
                    <a:cubicBezTo>
                      <a:pt x="869861" y="1648192"/>
                      <a:pt x="879958" y="1637530"/>
                      <a:pt x="888761" y="1625852"/>
                    </a:cubicBezTo>
                    <a:cubicBezTo>
                      <a:pt x="906246" y="1602436"/>
                      <a:pt x="918414" y="1574835"/>
                      <a:pt x="923472" y="1545918"/>
                    </a:cubicBezTo>
                    <a:cubicBezTo>
                      <a:pt x="924169" y="1542311"/>
                      <a:pt x="924667" y="1538684"/>
                      <a:pt x="925085" y="1535057"/>
                    </a:cubicBezTo>
                    <a:cubicBezTo>
                      <a:pt x="925603" y="1531430"/>
                      <a:pt x="925802" y="1527783"/>
                      <a:pt x="926081" y="1524136"/>
                    </a:cubicBezTo>
                    <a:cubicBezTo>
                      <a:pt x="926360" y="1520490"/>
                      <a:pt x="926360" y="1516863"/>
                      <a:pt x="926459" y="1513216"/>
                    </a:cubicBezTo>
                    <a:lnTo>
                      <a:pt x="926459" y="188624"/>
                    </a:lnTo>
                    <a:lnTo>
                      <a:pt x="926400" y="185894"/>
                    </a:lnTo>
                    <a:close/>
                    <a:moveTo>
                      <a:pt x="885933" y="516568"/>
                    </a:moveTo>
                    <a:lnTo>
                      <a:pt x="885933" y="1513036"/>
                    </a:lnTo>
                    <a:cubicBezTo>
                      <a:pt x="885833" y="1515906"/>
                      <a:pt x="885853" y="1518776"/>
                      <a:pt x="885634" y="1521645"/>
                    </a:cubicBezTo>
                    <a:cubicBezTo>
                      <a:pt x="885395" y="1524515"/>
                      <a:pt x="885275" y="1527385"/>
                      <a:pt x="884857" y="1530235"/>
                    </a:cubicBezTo>
                    <a:cubicBezTo>
                      <a:pt x="884519" y="1533084"/>
                      <a:pt x="884140" y="1535934"/>
                      <a:pt x="883583" y="1538764"/>
                    </a:cubicBezTo>
                    <a:cubicBezTo>
                      <a:pt x="879620" y="1561463"/>
                      <a:pt x="870061" y="1583105"/>
                      <a:pt x="856339" y="1601539"/>
                    </a:cubicBezTo>
                    <a:cubicBezTo>
                      <a:pt x="849409" y="1610726"/>
                      <a:pt x="841463" y="1619116"/>
                      <a:pt x="832680" y="1626509"/>
                    </a:cubicBezTo>
                    <a:cubicBezTo>
                      <a:pt x="823898" y="1633923"/>
                      <a:pt x="814179" y="1640200"/>
                      <a:pt x="803923" y="1645402"/>
                    </a:cubicBezTo>
                    <a:cubicBezTo>
                      <a:pt x="783391" y="1655824"/>
                      <a:pt x="760310" y="1661085"/>
                      <a:pt x="737388" y="1661145"/>
                    </a:cubicBezTo>
                    <a:lnTo>
                      <a:pt x="188972" y="1661145"/>
                    </a:lnTo>
                    <a:lnTo>
                      <a:pt x="186821" y="1661085"/>
                    </a:lnTo>
                    <a:lnTo>
                      <a:pt x="182520" y="1660966"/>
                    </a:lnTo>
                    <a:cubicBezTo>
                      <a:pt x="179652" y="1660846"/>
                      <a:pt x="176784" y="1660567"/>
                      <a:pt x="173936" y="1660368"/>
                    </a:cubicBezTo>
                    <a:cubicBezTo>
                      <a:pt x="171089" y="1659989"/>
                      <a:pt x="168221" y="1659691"/>
                      <a:pt x="165393" y="1659232"/>
                    </a:cubicBezTo>
                    <a:cubicBezTo>
                      <a:pt x="154041" y="1657379"/>
                      <a:pt x="142889" y="1654230"/>
                      <a:pt x="132255" y="1649846"/>
                    </a:cubicBezTo>
                    <a:cubicBezTo>
                      <a:pt x="111005" y="1640998"/>
                      <a:pt x="91847" y="1627227"/>
                      <a:pt x="76851" y="1609809"/>
                    </a:cubicBezTo>
                    <a:cubicBezTo>
                      <a:pt x="61736" y="1592491"/>
                      <a:pt x="50843" y="1571507"/>
                      <a:pt x="45107" y="1549207"/>
                    </a:cubicBezTo>
                    <a:cubicBezTo>
                      <a:pt x="42299" y="1538047"/>
                      <a:pt x="40786" y="1526548"/>
                      <a:pt x="40586" y="1515089"/>
                    </a:cubicBezTo>
                    <a:cubicBezTo>
                      <a:pt x="40487" y="1512040"/>
                      <a:pt x="40547" y="1509828"/>
                      <a:pt x="40527" y="1507257"/>
                    </a:cubicBezTo>
                    <a:lnTo>
                      <a:pt x="40527" y="188624"/>
                    </a:lnTo>
                    <a:cubicBezTo>
                      <a:pt x="40626" y="185754"/>
                      <a:pt x="40606" y="182884"/>
                      <a:pt x="40825" y="180015"/>
                    </a:cubicBezTo>
                    <a:cubicBezTo>
                      <a:pt x="41064" y="177145"/>
                      <a:pt x="41184" y="174275"/>
                      <a:pt x="41602" y="171426"/>
                    </a:cubicBezTo>
                    <a:cubicBezTo>
                      <a:pt x="41941" y="168576"/>
                      <a:pt x="42319" y="165726"/>
                      <a:pt x="42877" y="162896"/>
                    </a:cubicBezTo>
                    <a:cubicBezTo>
                      <a:pt x="46840" y="140197"/>
                      <a:pt x="56399" y="118555"/>
                      <a:pt x="70120" y="100121"/>
                    </a:cubicBezTo>
                    <a:cubicBezTo>
                      <a:pt x="77051" y="90934"/>
                      <a:pt x="84997" y="82544"/>
                      <a:pt x="93779" y="75151"/>
                    </a:cubicBezTo>
                    <a:cubicBezTo>
                      <a:pt x="102562" y="67737"/>
                      <a:pt x="112280" y="61460"/>
                      <a:pt x="122536" y="56258"/>
                    </a:cubicBezTo>
                    <a:cubicBezTo>
                      <a:pt x="143068" y="45836"/>
                      <a:pt x="166150" y="40575"/>
                      <a:pt x="189072" y="40515"/>
                    </a:cubicBezTo>
                    <a:lnTo>
                      <a:pt x="737487" y="40515"/>
                    </a:lnTo>
                    <a:lnTo>
                      <a:pt x="739638" y="40575"/>
                    </a:lnTo>
                    <a:lnTo>
                      <a:pt x="743940" y="40694"/>
                    </a:lnTo>
                    <a:cubicBezTo>
                      <a:pt x="746807" y="40814"/>
                      <a:pt x="749675" y="41093"/>
                      <a:pt x="752523" y="41292"/>
                    </a:cubicBezTo>
                    <a:cubicBezTo>
                      <a:pt x="755371" y="41671"/>
                      <a:pt x="758239" y="41970"/>
                      <a:pt x="761066" y="42428"/>
                    </a:cubicBezTo>
                    <a:cubicBezTo>
                      <a:pt x="772418" y="44281"/>
                      <a:pt x="783570" y="47430"/>
                      <a:pt x="794205" y="51814"/>
                    </a:cubicBezTo>
                    <a:cubicBezTo>
                      <a:pt x="815454" y="60663"/>
                      <a:pt x="834612" y="74433"/>
                      <a:pt x="849608" y="91851"/>
                    </a:cubicBezTo>
                    <a:cubicBezTo>
                      <a:pt x="864723" y="109169"/>
                      <a:pt x="875617" y="130153"/>
                      <a:pt x="881352" y="152453"/>
                    </a:cubicBezTo>
                    <a:cubicBezTo>
                      <a:pt x="884160" y="163613"/>
                      <a:pt x="885674" y="175112"/>
                      <a:pt x="885873" y="186571"/>
                    </a:cubicBezTo>
                    <a:cubicBezTo>
                      <a:pt x="885973" y="189620"/>
                      <a:pt x="885913" y="191832"/>
                      <a:pt x="885933" y="194403"/>
                    </a:cubicBezTo>
                    <a:lnTo>
                      <a:pt x="885933" y="516548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219" name="Freeform 5">
                <a:extLst>
                  <a:ext uri="{FF2B5EF4-FFF2-40B4-BE49-F238E27FC236}">
                    <a16:creationId xmlns:a16="http://schemas.microsoft.com/office/drawing/2014/main" id="{3DF92C12-E732-E21B-CA87-02507AF5600C}"/>
                  </a:ext>
                </a:extLst>
              </p:cNvPr>
              <p:cNvSpPr/>
              <p:nvPr/>
            </p:nvSpPr>
            <p:spPr>
              <a:xfrm>
                <a:off x="2872218" y="3144211"/>
                <a:ext cx="767080" cy="1542211"/>
              </a:xfrm>
              <a:custGeom>
                <a:avLst/>
                <a:gdLst>
                  <a:gd name="connsiteX0" fmla="*/ 767051 w 767080"/>
                  <a:gd name="connsiteY0" fmla="*/ 107554 h 1542211"/>
                  <a:gd name="connsiteX1" fmla="*/ 763725 w 767080"/>
                  <a:gd name="connsiteY1" fmla="*/ 82405 h 1542211"/>
                  <a:gd name="connsiteX2" fmla="*/ 740345 w 767080"/>
                  <a:gd name="connsiteY2" fmla="*/ 37804 h 1542211"/>
                  <a:gd name="connsiteX3" fmla="*/ 699520 w 767080"/>
                  <a:gd name="connsiteY3" fmla="*/ 8290 h 1542211"/>
                  <a:gd name="connsiteX4" fmla="*/ 675164 w 767080"/>
                  <a:gd name="connsiteY4" fmla="*/ 1395 h 1542211"/>
                  <a:gd name="connsiteX5" fmla="*/ 668871 w 767080"/>
                  <a:gd name="connsiteY5" fmla="*/ 558 h 1542211"/>
                  <a:gd name="connsiteX6" fmla="*/ 662518 w 767080"/>
                  <a:gd name="connsiteY6" fmla="*/ 120 h 1542211"/>
                  <a:gd name="connsiteX7" fmla="*/ 659331 w 767080"/>
                  <a:gd name="connsiteY7" fmla="*/ 40 h 1542211"/>
                  <a:gd name="connsiteX8" fmla="*/ 657738 w 767080"/>
                  <a:gd name="connsiteY8" fmla="*/ 0 h 1542211"/>
                  <a:gd name="connsiteX9" fmla="*/ 109402 w 767080"/>
                  <a:gd name="connsiteY9" fmla="*/ 0 h 1542211"/>
                  <a:gd name="connsiteX10" fmla="*/ 60432 w 767080"/>
                  <a:gd name="connsiteY10" fmla="*/ 11578 h 1542211"/>
                  <a:gd name="connsiteX11" fmla="*/ 39242 w 767080"/>
                  <a:gd name="connsiteY11" fmla="*/ 25489 h 1542211"/>
                  <a:gd name="connsiteX12" fmla="*/ 21777 w 767080"/>
                  <a:gd name="connsiteY12" fmla="*/ 43903 h 1542211"/>
                  <a:gd name="connsiteX13" fmla="*/ 1743 w 767080"/>
                  <a:gd name="connsiteY13" fmla="*/ 90077 h 1542211"/>
                  <a:gd name="connsiteX14" fmla="*/ 807 w 767080"/>
                  <a:gd name="connsiteY14" fmla="*/ 96355 h 1542211"/>
                  <a:gd name="connsiteX15" fmla="*/ 229 w 767080"/>
                  <a:gd name="connsiteY15" fmla="*/ 102692 h 1542211"/>
                  <a:gd name="connsiteX16" fmla="*/ 10 w 767080"/>
                  <a:gd name="connsiteY16" fmla="*/ 109049 h 1542211"/>
                  <a:gd name="connsiteX17" fmla="*/ 10 w 767080"/>
                  <a:gd name="connsiteY17" fmla="*/ 1427503 h 1542211"/>
                  <a:gd name="connsiteX18" fmla="*/ 50 w 767080"/>
                  <a:gd name="connsiteY18" fmla="*/ 1434657 h 1542211"/>
                  <a:gd name="connsiteX19" fmla="*/ 3376 w 767080"/>
                  <a:gd name="connsiteY19" fmla="*/ 1459807 h 1542211"/>
                  <a:gd name="connsiteX20" fmla="*/ 26756 w 767080"/>
                  <a:gd name="connsiteY20" fmla="*/ 1504407 h 1542211"/>
                  <a:gd name="connsiteX21" fmla="*/ 67581 w 767080"/>
                  <a:gd name="connsiteY21" fmla="*/ 1533921 h 1542211"/>
                  <a:gd name="connsiteX22" fmla="*/ 91937 w 767080"/>
                  <a:gd name="connsiteY22" fmla="*/ 1540817 h 1542211"/>
                  <a:gd name="connsiteX23" fmla="*/ 98230 w 767080"/>
                  <a:gd name="connsiteY23" fmla="*/ 1541654 h 1542211"/>
                  <a:gd name="connsiteX24" fmla="*/ 104583 w 767080"/>
                  <a:gd name="connsiteY24" fmla="*/ 1542092 h 1542211"/>
                  <a:gd name="connsiteX25" fmla="*/ 107769 w 767080"/>
                  <a:gd name="connsiteY25" fmla="*/ 1542172 h 1542211"/>
                  <a:gd name="connsiteX26" fmla="*/ 109362 w 767080"/>
                  <a:gd name="connsiteY26" fmla="*/ 1542212 h 1542211"/>
                  <a:gd name="connsiteX27" fmla="*/ 657678 w 767080"/>
                  <a:gd name="connsiteY27" fmla="*/ 1542212 h 1542211"/>
                  <a:gd name="connsiteX28" fmla="*/ 706649 w 767080"/>
                  <a:gd name="connsiteY28" fmla="*/ 1530633 h 1542211"/>
                  <a:gd name="connsiteX29" fmla="*/ 727839 w 767080"/>
                  <a:gd name="connsiteY29" fmla="*/ 1516723 h 1542211"/>
                  <a:gd name="connsiteX30" fmla="*/ 745304 w 767080"/>
                  <a:gd name="connsiteY30" fmla="*/ 1498309 h 1542211"/>
                  <a:gd name="connsiteX31" fmla="*/ 765338 w 767080"/>
                  <a:gd name="connsiteY31" fmla="*/ 1452135 h 1542211"/>
                  <a:gd name="connsiteX32" fmla="*/ 766274 w 767080"/>
                  <a:gd name="connsiteY32" fmla="*/ 1445857 h 1542211"/>
                  <a:gd name="connsiteX33" fmla="*/ 766852 w 767080"/>
                  <a:gd name="connsiteY33" fmla="*/ 1439520 h 1542211"/>
                  <a:gd name="connsiteX34" fmla="*/ 767071 w 767080"/>
                  <a:gd name="connsiteY34" fmla="*/ 1433163 h 1542211"/>
                  <a:gd name="connsiteX35" fmla="*/ 767071 w 767080"/>
                  <a:gd name="connsiteY35" fmla="*/ 114689 h 1542211"/>
                  <a:gd name="connsiteX36" fmla="*/ 767031 w 767080"/>
                  <a:gd name="connsiteY36" fmla="*/ 107535 h 1542211"/>
                  <a:gd name="connsiteX37" fmla="*/ 726604 w 767080"/>
                  <a:gd name="connsiteY37" fmla="*/ 436854 h 1542211"/>
                  <a:gd name="connsiteX38" fmla="*/ 726604 w 767080"/>
                  <a:gd name="connsiteY38" fmla="*/ 1433003 h 1542211"/>
                  <a:gd name="connsiteX39" fmla="*/ 726445 w 767080"/>
                  <a:gd name="connsiteY39" fmla="*/ 1437049 h 1542211"/>
                  <a:gd name="connsiteX40" fmla="*/ 726066 w 767080"/>
                  <a:gd name="connsiteY40" fmla="*/ 1441054 h 1542211"/>
                  <a:gd name="connsiteX41" fmla="*/ 725469 w 767080"/>
                  <a:gd name="connsiteY41" fmla="*/ 1445000 h 1542211"/>
                  <a:gd name="connsiteX42" fmla="*/ 712882 w 767080"/>
                  <a:gd name="connsiteY42" fmla="*/ 1473996 h 1542211"/>
                  <a:gd name="connsiteX43" fmla="*/ 701830 w 767080"/>
                  <a:gd name="connsiteY43" fmla="*/ 1485635 h 1542211"/>
                  <a:gd name="connsiteX44" fmla="*/ 688467 w 767080"/>
                  <a:gd name="connsiteY44" fmla="*/ 1494403 h 1542211"/>
                  <a:gd name="connsiteX45" fmla="*/ 657659 w 767080"/>
                  <a:gd name="connsiteY45" fmla="*/ 1501677 h 1542211"/>
                  <a:gd name="connsiteX46" fmla="*/ 109343 w 767080"/>
                  <a:gd name="connsiteY46" fmla="*/ 1501677 h 1542211"/>
                  <a:gd name="connsiteX47" fmla="*/ 108327 w 767080"/>
                  <a:gd name="connsiteY47" fmla="*/ 1501637 h 1542211"/>
                  <a:gd name="connsiteX48" fmla="*/ 106296 w 767080"/>
                  <a:gd name="connsiteY48" fmla="*/ 1501597 h 1542211"/>
                  <a:gd name="connsiteX49" fmla="*/ 102273 w 767080"/>
                  <a:gd name="connsiteY49" fmla="*/ 1501318 h 1542211"/>
                  <a:gd name="connsiteX50" fmla="*/ 98310 w 767080"/>
                  <a:gd name="connsiteY50" fmla="*/ 1500780 h 1542211"/>
                  <a:gd name="connsiteX51" fmla="*/ 83035 w 767080"/>
                  <a:gd name="connsiteY51" fmla="*/ 1496456 h 1542211"/>
                  <a:gd name="connsiteX52" fmla="*/ 57305 w 767080"/>
                  <a:gd name="connsiteY52" fmla="*/ 1477842 h 1542211"/>
                  <a:gd name="connsiteX53" fmla="*/ 42588 w 767080"/>
                  <a:gd name="connsiteY53" fmla="*/ 1449823 h 1542211"/>
                  <a:gd name="connsiteX54" fmla="*/ 40517 w 767080"/>
                  <a:gd name="connsiteY54" fmla="*/ 1433960 h 1542211"/>
                  <a:gd name="connsiteX55" fmla="*/ 40477 w 767080"/>
                  <a:gd name="connsiteY55" fmla="*/ 1432943 h 1542211"/>
                  <a:gd name="connsiteX56" fmla="*/ 40477 w 767080"/>
                  <a:gd name="connsiteY56" fmla="*/ 109209 h 1542211"/>
                  <a:gd name="connsiteX57" fmla="*/ 40616 w 767080"/>
                  <a:gd name="connsiteY57" fmla="*/ 105163 h 1542211"/>
                  <a:gd name="connsiteX58" fmla="*/ 40995 w 767080"/>
                  <a:gd name="connsiteY58" fmla="*/ 101157 h 1542211"/>
                  <a:gd name="connsiteX59" fmla="*/ 41592 w 767080"/>
                  <a:gd name="connsiteY59" fmla="*/ 97212 h 1542211"/>
                  <a:gd name="connsiteX60" fmla="*/ 54178 w 767080"/>
                  <a:gd name="connsiteY60" fmla="*/ 68215 h 1542211"/>
                  <a:gd name="connsiteX61" fmla="*/ 65231 w 767080"/>
                  <a:gd name="connsiteY61" fmla="*/ 56577 h 1542211"/>
                  <a:gd name="connsiteX62" fmla="*/ 78594 w 767080"/>
                  <a:gd name="connsiteY62" fmla="*/ 47809 h 1542211"/>
                  <a:gd name="connsiteX63" fmla="*/ 109402 w 767080"/>
                  <a:gd name="connsiteY63" fmla="*/ 40535 h 1542211"/>
                  <a:gd name="connsiteX64" fmla="*/ 657738 w 767080"/>
                  <a:gd name="connsiteY64" fmla="*/ 40535 h 1542211"/>
                  <a:gd name="connsiteX65" fmla="*/ 658754 w 767080"/>
                  <a:gd name="connsiteY65" fmla="*/ 40575 h 1542211"/>
                  <a:gd name="connsiteX66" fmla="*/ 660785 w 767080"/>
                  <a:gd name="connsiteY66" fmla="*/ 40614 h 1542211"/>
                  <a:gd name="connsiteX67" fmla="*/ 664808 w 767080"/>
                  <a:gd name="connsiteY67" fmla="*/ 40893 h 1542211"/>
                  <a:gd name="connsiteX68" fmla="*/ 668771 w 767080"/>
                  <a:gd name="connsiteY68" fmla="*/ 41431 h 1542211"/>
                  <a:gd name="connsiteX69" fmla="*/ 684046 w 767080"/>
                  <a:gd name="connsiteY69" fmla="*/ 45756 h 1542211"/>
                  <a:gd name="connsiteX70" fmla="*/ 709776 w 767080"/>
                  <a:gd name="connsiteY70" fmla="*/ 64369 h 1542211"/>
                  <a:gd name="connsiteX71" fmla="*/ 724493 w 767080"/>
                  <a:gd name="connsiteY71" fmla="*/ 92389 h 1542211"/>
                  <a:gd name="connsiteX72" fmla="*/ 726564 w 767080"/>
                  <a:gd name="connsiteY72" fmla="*/ 108252 h 1542211"/>
                  <a:gd name="connsiteX73" fmla="*/ 726604 w 767080"/>
                  <a:gd name="connsiteY73" fmla="*/ 109268 h 1542211"/>
                  <a:gd name="connsiteX74" fmla="*/ 726604 w 767080"/>
                  <a:gd name="connsiteY74" fmla="*/ 436834 h 1542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767080" h="1542211">
                    <a:moveTo>
                      <a:pt x="767051" y="107554"/>
                    </a:moveTo>
                    <a:cubicBezTo>
                      <a:pt x="766892" y="99065"/>
                      <a:pt x="765776" y="90615"/>
                      <a:pt x="763725" y="82405"/>
                    </a:cubicBezTo>
                    <a:cubicBezTo>
                      <a:pt x="759503" y="66023"/>
                      <a:pt x="751517" y="50579"/>
                      <a:pt x="740345" y="37804"/>
                    </a:cubicBezTo>
                    <a:cubicBezTo>
                      <a:pt x="729292" y="24931"/>
                      <a:pt x="715133" y="14807"/>
                      <a:pt x="699520" y="8290"/>
                    </a:cubicBezTo>
                    <a:cubicBezTo>
                      <a:pt x="691693" y="5082"/>
                      <a:pt x="683508" y="2750"/>
                      <a:pt x="675164" y="1395"/>
                    </a:cubicBezTo>
                    <a:cubicBezTo>
                      <a:pt x="673073" y="1036"/>
                      <a:pt x="670962" y="857"/>
                      <a:pt x="668871" y="558"/>
                    </a:cubicBezTo>
                    <a:cubicBezTo>
                      <a:pt x="666760" y="419"/>
                      <a:pt x="664649" y="199"/>
                      <a:pt x="662518" y="120"/>
                    </a:cubicBezTo>
                    <a:lnTo>
                      <a:pt x="659331" y="40"/>
                    </a:lnTo>
                    <a:lnTo>
                      <a:pt x="657738" y="0"/>
                    </a:lnTo>
                    <a:lnTo>
                      <a:pt x="109402" y="0"/>
                    </a:lnTo>
                    <a:cubicBezTo>
                      <a:pt x="92415" y="80"/>
                      <a:pt x="75527" y="3906"/>
                      <a:pt x="60432" y="11578"/>
                    </a:cubicBezTo>
                    <a:cubicBezTo>
                      <a:pt x="52884" y="15405"/>
                      <a:pt x="45715" y="20028"/>
                      <a:pt x="39242" y="25489"/>
                    </a:cubicBezTo>
                    <a:cubicBezTo>
                      <a:pt x="32770" y="30949"/>
                      <a:pt x="26895" y="37147"/>
                      <a:pt x="21777" y="43903"/>
                    </a:cubicBezTo>
                    <a:cubicBezTo>
                      <a:pt x="11660" y="57514"/>
                      <a:pt x="4630" y="73377"/>
                      <a:pt x="1743" y="90077"/>
                    </a:cubicBezTo>
                    <a:cubicBezTo>
                      <a:pt x="1324" y="92150"/>
                      <a:pt x="1046" y="94262"/>
                      <a:pt x="807" y="96355"/>
                    </a:cubicBezTo>
                    <a:cubicBezTo>
                      <a:pt x="488" y="98447"/>
                      <a:pt x="408" y="100579"/>
                      <a:pt x="229" y="102692"/>
                    </a:cubicBezTo>
                    <a:cubicBezTo>
                      <a:pt x="50" y="104804"/>
                      <a:pt x="90" y="106937"/>
                      <a:pt x="10" y="109049"/>
                    </a:cubicBezTo>
                    <a:lnTo>
                      <a:pt x="10" y="1427503"/>
                    </a:lnTo>
                    <a:cubicBezTo>
                      <a:pt x="10" y="1429934"/>
                      <a:pt x="-30" y="1432704"/>
                      <a:pt x="50" y="1434657"/>
                    </a:cubicBezTo>
                    <a:cubicBezTo>
                      <a:pt x="209" y="1443147"/>
                      <a:pt x="1324" y="1451596"/>
                      <a:pt x="3376" y="1459807"/>
                    </a:cubicBezTo>
                    <a:cubicBezTo>
                      <a:pt x="7598" y="1476188"/>
                      <a:pt x="15583" y="1491633"/>
                      <a:pt x="26756" y="1504407"/>
                    </a:cubicBezTo>
                    <a:cubicBezTo>
                      <a:pt x="37808" y="1517281"/>
                      <a:pt x="51968" y="1527405"/>
                      <a:pt x="67581" y="1533921"/>
                    </a:cubicBezTo>
                    <a:cubicBezTo>
                      <a:pt x="75408" y="1537130"/>
                      <a:pt x="83593" y="1539462"/>
                      <a:pt x="91937" y="1540817"/>
                    </a:cubicBezTo>
                    <a:cubicBezTo>
                      <a:pt x="94028" y="1541175"/>
                      <a:pt x="96139" y="1541355"/>
                      <a:pt x="98230" y="1541654"/>
                    </a:cubicBezTo>
                    <a:cubicBezTo>
                      <a:pt x="100341" y="1541793"/>
                      <a:pt x="102452" y="1542012"/>
                      <a:pt x="104583" y="1542092"/>
                    </a:cubicBezTo>
                    <a:lnTo>
                      <a:pt x="107769" y="1542172"/>
                    </a:lnTo>
                    <a:lnTo>
                      <a:pt x="109362" y="1542212"/>
                    </a:lnTo>
                    <a:lnTo>
                      <a:pt x="657678" y="1542212"/>
                    </a:lnTo>
                    <a:cubicBezTo>
                      <a:pt x="674666" y="1542132"/>
                      <a:pt x="691554" y="1538306"/>
                      <a:pt x="706649" y="1530633"/>
                    </a:cubicBezTo>
                    <a:cubicBezTo>
                      <a:pt x="714197" y="1526807"/>
                      <a:pt x="721366" y="1522183"/>
                      <a:pt x="727839" y="1516723"/>
                    </a:cubicBezTo>
                    <a:cubicBezTo>
                      <a:pt x="734311" y="1511263"/>
                      <a:pt x="740186" y="1505065"/>
                      <a:pt x="745304" y="1498309"/>
                    </a:cubicBezTo>
                    <a:cubicBezTo>
                      <a:pt x="755421" y="1484698"/>
                      <a:pt x="762451" y="1468835"/>
                      <a:pt x="765338" y="1452135"/>
                    </a:cubicBezTo>
                    <a:cubicBezTo>
                      <a:pt x="765756" y="1450062"/>
                      <a:pt x="766035" y="1447950"/>
                      <a:pt x="766274" y="1445857"/>
                    </a:cubicBezTo>
                    <a:cubicBezTo>
                      <a:pt x="766593" y="1443765"/>
                      <a:pt x="766672" y="1441632"/>
                      <a:pt x="766852" y="1439520"/>
                    </a:cubicBezTo>
                    <a:cubicBezTo>
                      <a:pt x="767031" y="1437407"/>
                      <a:pt x="766971" y="1435275"/>
                      <a:pt x="767071" y="1433163"/>
                    </a:cubicBezTo>
                    <a:lnTo>
                      <a:pt x="767071" y="114689"/>
                    </a:lnTo>
                    <a:cubicBezTo>
                      <a:pt x="767071" y="112258"/>
                      <a:pt x="767111" y="109488"/>
                      <a:pt x="767031" y="107535"/>
                    </a:cubicBezTo>
                    <a:close/>
                    <a:moveTo>
                      <a:pt x="726604" y="436854"/>
                    </a:moveTo>
                    <a:lnTo>
                      <a:pt x="726604" y="1433003"/>
                    </a:lnTo>
                    <a:cubicBezTo>
                      <a:pt x="726504" y="1434358"/>
                      <a:pt x="726584" y="1435713"/>
                      <a:pt x="726445" y="1437049"/>
                    </a:cubicBezTo>
                    <a:cubicBezTo>
                      <a:pt x="726305" y="1438384"/>
                      <a:pt x="726305" y="1439739"/>
                      <a:pt x="726066" y="1441054"/>
                    </a:cubicBezTo>
                    <a:cubicBezTo>
                      <a:pt x="725907" y="1442390"/>
                      <a:pt x="725747" y="1443705"/>
                      <a:pt x="725469" y="1445000"/>
                    </a:cubicBezTo>
                    <a:cubicBezTo>
                      <a:pt x="723676" y="1455483"/>
                      <a:pt x="719235" y="1465387"/>
                      <a:pt x="712882" y="1473996"/>
                    </a:cubicBezTo>
                    <a:cubicBezTo>
                      <a:pt x="709636" y="1478261"/>
                      <a:pt x="705932" y="1482167"/>
                      <a:pt x="701830" y="1485635"/>
                    </a:cubicBezTo>
                    <a:cubicBezTo>
                      <a:pt x="697747" y="1489102"/>
                      <a:pt x="693207" y="1491992"/>
                      <a:pt x="688467" y="1494403"/>
                    </a:cubicBezTo>
                    <a:cubicBezTo>
                      <a:pt x="678967" y="1499246"/>
                      <a:pt x="668472" y="1501597"/>
                      <a:pt x="657659" y="1501677"/>
                    </a:cubicBezTo>
                    <a:lnTo>
                      <a:pt x="109343" y="1501677"/>
                    </a:lnTo>
                    <a:lnTo>
                      <a:pt x="108327" y="1501637"/>
                    </a:lnTo>
                    <a:lnTo>
                      <a:pt x="106296" y="1501597"/>
                    </a:lnTo>
                    <a:cubicBezTo>
                      <a:pt x="104941" y="1501557"/>
                      <a:pt x="103627" y="1501378"/>
                      <a:pt x="102273" y="1501318"/>
                    </a:cubicBezTo>
                    <a:cubicBezTo>
                      <a:pt x="100958" y="1501099"/>
                      <a:pt x="99624" y="1500999"/>
                      <a:pt x="98310" y="1500780"/>
                    </a:cubicBezTo>
                    <a:cubicBezTo>
                      <a:pt x="93052" y="1499903"/>
                      <a:pt x="87954" y="1498469"/>
                      <a:pt x="83035" y="1496456"/>
                    </a:cubicBezTo>
                    <a:cubicBezTo>
                      <a:pt x="73277" y="1492370"/>
                      <a:pt x="64275" y="1485993"/>
                      <a:pt x="57305" y="1477842"/>
                    </a:cubicBezTo>
                    <a:cubicBezTo>
                      <a:pt x="50215" y="1469771"/>
                      <a:pt x="45257" y="1460046"/>
                      <a:pt x="42588" y="1449823"/>
                    </a:cubicBezTo>
                    <a:cubicBezTo>
                      <a:pt x="41313" y="1444681"/>
                      <a:pt x="40616" y="1439380"/>
                      <a:pt x="40517" y="1433960"/>
                    </a:cubicBezTo>
                    <a:lnTo>
                      <a:pt x="40477" y="1432943"/>
                    </a:lnTo>
                    <a:lnTo>
                      <a:pt x="40477" y="109209"/>
                    </a:lnTo>
                    <a:cubicBezTo>
                      <a:pt x="40577" y="107853"/>
                      <a:pt x="40477" y="106498"/>
                      <a:pt x="40616" y="105163"/>
                    </a:cubicBezTo>
                    <a:cubicBezTo>
                      <a:pt x="40756" y="103828"/>
                      <a:pt x="40756" y="102473"/>
                      <a:pt x="40995" y="101157"/>
                    </a:cubicBezTo>
                    <a:cubicBezTo>
                      <a:pt x="41154" y="99822"/>
                      <a:pt x="41313" y="98507"/>
                      <a:pt x="41592" y="97212"/>
                    </a:cubicBezTo>
                    <a:cubicBezTo>
                      <a:pt x="43385" y="86729"/>
                      <a:pt x="47826" y="76825"/>
                      <a:pt x="54178" y="68215"/>
                    </a:cubicBezTo>
                    <a:cubicBezTo>
                      <a:pt x="57425" y="63951"/>
                      <a:pt x="61129" y="60045"/>
                      <a:pt x="65231" y="56577"/>
                    </a:cubicBezTo>
                    <a:cubicBezTo>
                      <a:pt x="69314" y="53110"/>
                      <a:pt x="73854" y="50220"/>
                      <a:pt x="78594" y="47809"/>
                    </a:cubicBezTo>
                    <a:cubicBezTo>
                      <a:pt x="88093" y="42966"/>
                      <a:pt x="98589" y="40614"/>
                      <a:pt x="109402" y="40535"/>
                    </a:cubicBezTo>
                    <a:lnTo>
                      <a:pt x="657738" y="40535"/>
                    </a:lnTo>
                    <a:lnTo>
                      <a:pt x="658754" y="40575"/>
                    </a:lnTo>
                    <a:lnTo>
                      <a:pt x="660785" y="40614"/>
                    </a:lnTo>
                    <a:cubicBezTo>
                      <a:pt x="662139" y="40654"/>
                      <a:pt x="663454" y="40834"/>
                      <a:pt x="664808" y="40893"/>
                    </a:cubicBezTo>
                    <a:cubicBezTo>
                      <a:pt x="666122" y="41113"/>
                      <a:pt x="667457" y="41212"/>
                      <a:pt x="668771" y="41431"/>
                    </a:cubicBezTo>
                    <a:cubicBezTo>
                      <a:pt x="674029" y="42308"/>
                      <a:pt x="679127" y="43743"/>
                      <a:pt x="684046" y="45756"/>
                    </a:cubicBezTo>
                    <a:cubicBezTo>
                      <a:pt x="693804" y="49841"/>
                      <a:pt x="702806" y="56218"/>
                      <a:pt x="709776" y="64369"/>
                    </a:cubicBezTo>
                    <a:cubicBezTo>
                      <a:pt x="716865" y="72440"/>
                      <a:pt x="721824" y="82165"/>
                      <a:pt x="724493" y="92389"/>
                    </a:cubicBezTo>
                    <a:cubicBezTo>
                      <a:pt x="725767" y="97530"/>
                      <a:pt x="726464" y="102831"/>
                      <a:pt x="726564" y="108252"/>
                    </a:cubicBezTo>
                    <a:lnTo>
                      <a:pt x="726604" y="109268"/>
                    </a:lnTo>
                    <a:lnTo>
                      <a:pt x="726604" y="436834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220" name="Freeform 6">
                <a:extLst>
                  <a:ext uri="{FF2B5EF4-FFF2-40B4-BE49-F238E27FC236}">
                    <a16:creationId xmlns:a16="http://schemas.microsoft.com/office/drawing/2014/main" id="{CC61AEA3-065D-DE5B-DF7D-18A2CAE1BF80}"/>
                  </a:ext>
                </a:extLst>
              </p:cNvPr>
              <p:cNvSpPr/>
              <p:nvPr/>
            </p:nvSpPr>
            <p:spPr>
              <a:xfrm>
                <a:off x="3124748" y="4525799"/>
                <a:ext cx="261999" cy="36250"/>
              </a:xfrm>
              <a:custGeom>
                <a:avLst/>
                <a:gdLst>
                  <a:gd name="connsiteX0" fmla="*/ 0 w 261999"/>
                  <a:gd name="connsiteY0" fmla="*/ 0 h 36250"/>
                  <a:gd name="connsiteX1" fmla="*/ 262000 w 261999"/>
                  <a:gd name="connsiteY1" fmla="*/ 0 h 36250"/>
                  <a:gd name="connsiteX2" fmla="*/ 262000 w 261999"/>
                  <a:gd name="connsiteY2" fmla="*/ 36250 h 36250"/>
                  <a:gd name="connsiteX3" fmla="*/ 0 w 261999"/>
                  <a:gd name="connsiteY3" fmla="*/ 36250 h 36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1999" h="36250">
                    <a:moveTo>
                      <a:pt x="0" y="0"/>
                    </a:moveTo>
                    <a:lnTo>
                      <a:pt x="262000" y="0"/>
                    </a:lnTo>
                    <a:lnTo>
                      <a:pt x="262000" y="36250"/>
                    </a:lnTo>
                    <a:lnTo>
                      <a:pt x="0" y="36250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221" name="Freeform 7">
                <a:extLst>
                  <a:ext uri="{FF2B5EF4-FFF2-40B4-BE49-F238E27FC236}">
                    <a16:creationId xmlns:a16="http://schemas.microsoft.com/office/drawing/2014/main" id="{1593A399-727C-1A97-E40D-8D612524EA64}"/>
                  </a:ext>
                </a:extLst>
              </p:cNvPr>
              <p:cNvSpPr/>
              <p:nvPr/>
            </p:nvSpPr>
            <p:spPr>
              <a:xfrm>
                <a:off x="3548564" y="2686675"/>
                <a:ext cx="562117" cy="602735"/>
              </a:xfrm>
              <a:custGeom>
                <a:avLst/>
                <a:gdLst>
                  <a:gd name="connsiteX0" fmla="*/ 422625 w 562117"/>
                  <a:gd name="connsiteY0" fmla="*/ 168433 h 602735"/>
                  <a:gd name="connsiteX1" fmla="*/ 19230 w 562117"/>
                  <a:gd name="connsiteY1" fmla="*/ 315 h 602735"/>
                  <a:gd name="connsiteX2" fmla="*/ 12 w 562117"/>
                  <a:gd name="connsiteY2" fmla="*/ 20921 h 602735"/>
                  <a:gd name="connsiteX3" fmla="*/ 20604 w 562117"/>
                  <a:gd name="connsiteY3" fmla="*/ 40152 h 602735"/>
                  <a:gd name="connsiteX4" fmla="*/ 393370 w 562117"/>
                  <a:gd name="connsiteY4" fmla="*/ 195496 h 602735"/>
                  <a:gd name="connsiteX5" fmla="*/ 519093 w 562117"/>
                  <a:gd name="connsiteY5" fmla="*/ 580515 h 602735"/>
                  <a:gd name="connsiteX6" fmla="*/ 536598 w 562117"/>
                  <a:gd name="connsiteY6" fmla="*/ 602596 h 602735"/>
                  <a:gd name="connsiteX7" fmla="*/ 538908 w 562117"/>
                  <a:gd name="connsiteY7" fmla="*/ 602736 h 602735"/>
                  <a:gd name="connsiteX8" fmla="*/ 558664 w 562117"/>
                  <a:gd name="connsiteY8" fmla="*/ 585079 h 602735"/>
                  <a:gd name="connsiteX9" fmla="*/ 422605 w 562117"/>
                  <a:gd name="connsiteY9" fmla="*/ 168433 h 602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62117" h="602735">
                    <a:moveTo>
                      <a:pt x="422625" y="168433"/>
                    </a:moveTo>
                    <a:cubicBezTo>
                      <a:pt x="318968" y="56315"/>
                      <a:pt x="171977" y="-4966"/>
                      <a:pt x="19230" y="315"/>
                    </a:cubicBezTo>
                    <a:cubicBezTo>
                      <a:pt x="8237" y="694"/>
                      <a:pt x="-366" y="9921"/>
                      <a:pt x="12" y="20921"/>
                    </a:cubicBezTo>
                    <a:cubicBezTo>
                      <a:pt x="390" y="31922"/>
                      <a:pt x="9531" y="40551"/>
                      <a:pt x="20604" y="40152"/>
                    </a:cubicBezTo>
                    <a:cubicBezTo>
                      <a:pt x="161741" y="35290"/>
                      <a:pt x="297600" y="91887"/>
                      <a:pt x="393370" y="195496"/>
                    </a:cubicBezTo>
                    <a:cubicBezTo>
                      <a:pt x="489440" y="299403"/>
                      <a:pt x="535264" y="439740"/>
                      <a:pt x="519093" y="580515"/>
                    </a:cubicBezTo>
                    <a:cubicBezTo>
                      <a:pt x="517838" y="591456"/>
                      <a:pt x="525685" y="601341"/>
                      <a:pt x="536598" y="602596"/>
                    </a:cubicBezTo>
                    <a:cubicBezTo>
                      <a:pt x="537375" y="602676"/>
                      <a:pt x="538132" y="602736"/>
                      <a:pt x="538908" y="602736"/>
                    </a:cubicBezTo>
                    <a:cubicBezTo>
                      <a:pt x="548886" y="602736"/>
                      <a:pt x="557509" y="595243"/>
                      <a:pt x="558664" y="585079"/>
                    </a:cubicBezTo>
                    <a:cubicBezTo>
                      <a:pt x="576169" y="432745"/>
                      <a:pt x="526581" y="280889"/>
                      <a:pt x="422605" y="168433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222" name="Freeform 8">
                <a:extLst>
                  <a:ext uri="{FF2B5EF4-FFF2-40B4-BE49-F238E27FC236}">
                    <a16:creationId xmlns:a16="http://schemas.microsoft.com/office/drawing/2014/main" id="{677B4CAA-174D-E44C-E6FC-B2C350C91A7A}"/>
                  </a:ext>
                </a:extLst>
              </p:cNvPr>
              <p:cNvSpPr/>
              <p:nvPr/>
            </p:nvSpPr>
            <p:spPr>
              <a:xfrm>
                <a:off x="3553463" y="2824463"/>
                <a:ext cx="419681" cy="449224"/>
              </a:xfrm>
              <a:custGeom>
                <a:avLst/>
                <a:gdLst>
                  <a:gd name="connsiteX0" fmla="*/ 19230 w 419681"/>
                  <a:gd name="connsiteY0" fmla="*/ 234 h 449224"/>
                  <a:gd name="connsiteX1" fmla="*/ 12 w 419681"/>
                  <a:gd name="connsiteY1" fmla="*/ 20840 h 449224"/>
                  <a:gd name="connsiteX2" fmla="*/ 20604 w 419681"/>
                  <a:gd name="connsiteY2" fmla="*/ 40071 h 449224"/>
                  <a:gd name="connsiteX3" fmla="*/ 287543 w 419681"/>
                  <a:gd name="connsiteY3" fmla="*/ 151292 h 449224"/>
                  <a:gd name="connsiteX4" fmla="*/ 377558 w 419681"/>
                  <a:gd name="connsiteY4" fmla="*/ 427004 h 449224"/>
                  <a:gd name="connsiteX5" fmla="*/ 395063 w 419681"/>
                  <a:gd name="connsiteY5" fmla="*/ 449085 h 449224"/>
                  <a:gd name="connsiteX6" fmla="*/ 397373 w 419681"/>
                  <a:gd name="connsiteY6" fmla="*/ 449224 h 449224"/>
                  <a:gd name="connsiteX7" fmla="*/ 417129 w 419681"/>
                  <a:gd name="connsiteY7" fmla="*/ 431568 h 449224"/>
                  <a:gd name="connsiteX8" fmla="*/ 316778 w 419681"/>
                  <a:gd name="connsiteY8" fmla="*/ 124229 h 449224"/>
                  <a:gd name="connsiteX9" fmla="*/ 19210 w 419681"/>
                  <a:gd name="connsiteY9" fmla="*/ 234 h 449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19681" h="449224">
                    <a:moveTo>
                      <a:pt x="19230" y="234"/>
                    </a:moveTo>
                    <a:cubicBezTo>
                      <a:pt x="8237" y="612"/>
                      <a:pt x="-366" y="9839"/>
                      <a:pt x="12" y="20840"/>
                    </a:cubicBezTo>
                    <a:cubicBezTo>
                      <a:pt x="390" y="31841"/>
                      <a:pt x="9611" y="40430"/>
                      <a:pt x="20604" y="40071"/>
                    </a:cubicBezTo>
                    <a:cubicBezTo>
                      <a:pt x="121652" y="36544"/>
                      <a:pt x="218956" y="77098"/>
                      <a:pt x="287543" y="151292"/>
                    </a:cubicBezTo>
                    <a:cubicBezTo>
                      <a:pt x="356349" y="225706"/>
                      <a:pt x="389148" y="326205"/>
                      <a:pt x="377558" y="427004"/>
                    </a:cubicBezTo>
                    <a:cubicBezTo>
                      <a:pt x="376303" y="437945"/>
                      <a:pt x="384130" y="447829"/>
                      <a:pt x="395063" y="449085"/>
                    </a:cubicBezTo>
                    <a:cubicBezTo>
                      <a:pt x="395840" y="449165"/>
                      <a:pt x="396597" y="449224"/>
                      <a:pt x="397373" y="449224"/>
                    </a:cubicBezTo>
                    <a:cubicBezTo>
                      <a:pt x="407351" y="449224"/>
                      <a:pt x="415954" y="441731"/>
                      <a:pt x="417129" y="431568"/>
                    </a:cubicBezTo>
                    <a:cubicBezTo>
                      <a:pt x="430054" y="319210"/>
                      <a:pt x="393490" y="207192"/>
                      <a:pt x="316778" y="124229"/>
                    </a:cubicBezTo>
                    <a:cubicBezTo>
                      <a:pt x="240305" y="41506"/>
                      <a:pt x="131829" y="-3672"/>
                      <a:pt x="19210" y="23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  <p:sp>
            <p:nvSpPr>
              <p:cNvPr id="223" name="Freeform 11">
                <a:extLst>
                  <a:ext uri="{FF2B5EF4-FFF2-40B4-BE49-F238E27FC236}">
                    <a16:creationId xmlns:a16="http://schemas.microsoft.com/office/drawing/2014/main" id="{C39E1B6B-4C8B-B7EC-ECE5-73B69A3BE4AE}"/>
                  </a:ext>
                </a:extLst>
              </p:cNvPr>
              <p:cNvSpPr/>
              <p:nvPr/>
            </p:nvSpPr>
            <p:spPr>
              <a:xfrm>
                <a:off x="3558251" y="2959607"/>
                <a:ext cx="279012" cy="298635"/>
              </a:xfrm>
              <a:custGeom>
                <a:avLst/>
                <a:gdLst>
                  <a:gd name="connsiteX0" fmla="*/ 20317 w 279012"/>
                  <a:gd name="connsiteY0" fmla="*/ 6 h 298635"/>
                  <a:gd name="connsiteX1" fmla="*/ 4 w 279012"/>
                  <a:gd name="connsiteY1" fmla="*/ 19517 h 298635"/>
                  <a:gd name="connsiteX2" fmla="*/ 19501 w 279012"/>
                  <a:gd name="connsiteY2" fmla="*/ 39844 h 298635"/>
                  <a:gd name="connsiteX3" fmla="*/ 179537 w 279012"/>
                  <a:gd name="connsiteY3" fmla="*/ 111806 h 298635"/>
                  <a:gd name="connsiteX4" fmla="*/ 238783 w 279012"/>
                  <a:gd name="connsiteY4" fmla="*/ 277532 h 298635"/>
                  <a:gd name="connsiteX5" fmla="*/ 257483 w 279012"/>
                  <a:gd name="connsiteY5" fmla="*/ 298596 h 298635"/>
                  <a:gd name="connsiteX6" fmla="*/ 258678 w 279012"/>
                  <a:gd name="connsiteY6" fmla="*/ 298636 h 298635"/>
                  <a:gd name="connsiteX7" fmla="*/ 278533 w 279012"/>
                  <a:gd name="connsiteY7" fmla="*/ 279883 h 298635"/>
                  <a:gd name="connsiteX8" fmla="*/ 208752 w 279012"/>
                  <a:gd name="connsiteY8" fmla="*/ 84743 h 298635"/>
                  <a:gd name="connsiteX9" fmla="*/ 20277 w 279012"/>
                  <a:gd name="connsiteY9" fmla="*/ 6 h 298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9012" h="298635">
                    <a:moveTo>
                      <a:pt x="20317" y="6"/>
                    </a:moveTo>
                    <a:cubicBezTo>
                      <a:pt x="9284" y="-273"/>
                      <a:pt x="223" y="8516"/>
                      <a:pt x="4" y="19517"/>
                    </a:cubicBezTo>
                    <a:cubicBezTo>
                      <a:pt x="-215" y="30517"/>
                      <a:pt x="8508" y="39624"/>
                      <a:pt x="19501" y="39844"/>
                    </a:cubicBezTo>
                    <a:cubicBezTo>
                      <a:pt x="80958" y="41099"/>
                      <a:pt x="137795" y="66648"/>
                      <a:pt x="179537" y="111806"/>
                    </a:cubicBezTo>
                    <a:cubicBezTo>
                      <a:pt x="221398" y="157083"/>
                      <a:pt x="242448" y="215932"/>
                      <a:pt x="238783" y="277532"/>
                    </a:cubicBezTo>
                    <a:cubicBezTo>
                      <a:pt x="238126" y="288512"/>
                      <a:pt x="246510" y="297958"/>
                      <a:pt x="257483" y="298596"/>
                    </a:cubicBezTo>
                    <a:cubicBezTo>
                      <a:pt x="257882" y="298616"/>
                      <a:pt x="258280" y="298636"/>
                      <a:pt x="258678" y="298636"/>
                    </a:cubicBezTo>
                    <a:cubicBezTo>
                      <a:pt x="269134" y="298636"/>
                      <a:pt x="277916" y="290465"/>
                      <a:pt x="278533" y="279883"/>
                    </a:cubicBezTo>
                    <a:cubicBezTo>
                      <a:pt x="282835" y="207363"/>
                      <a:pt x="258041" y="138052"/>
                      <a:pt x="208752" y="84743"/>
                    </a:cubicBezTo>
                    <a:cubicBezTo>
                      <a:pt x="159602" y="31573"/>
                      <a:pt x="92668" y="1481"/>
                      <a:pt x="20277" y="6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0B2742"/>
                  </a:solidFill>
                  <a:latin typeface="Calibri"/>
                </a:endParaRPr>
              </a:p>
            </p:txBody>
          </p:sp>
        </p:grpSp>
        <p:pic>
          <p:nvPicPr>
            <p:cNvPr id="216" name="Graphic 215">
              <a:extLst>
                <a:ext uri="{FF2B5EF4-FFF2-40B4-BE49-F238E27FC236}">
                  <a16:creationId xmlns:a16="http://schemas.microsoft.com/office/drawing/2014/main" id="{58B906E1-33D5-14E4-060D-66FCE77B369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278616" y="1262063"/>
              <a:ext cx="185738" cy="92869"/>
            </a:xfrm>
            <a:prstGeom prst="rect">
              <a:avLst/>
            </a:prstGeom>
          </p:spPr>
        </p:pic>
        <p:pic>
          <p:nvPicPr>
            <p:cNvPr id="217" name="Graphic 216">
              <a:extLst>
                <a:ext uri="{FF2B5EF4-FFF2-40B4-BE49-F238E27FC236}">
                  <a16:creationId xmlns:a16="http://schemas.microsoft.com/office/drawing/2014/main" id="{2613042F-426B-5CC2-0D9E-79A0F2FD76B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flipH="1">
              <a:off x="2890473" y="1262063"/>
              <a:ext cx="185738" cy="92869"/>
            </a:xfrm>
            <a:prstGeom prst="rect">
              <a:avLst/>
            </a:prstGeom>
          </p:spPr>
        </p:pic>
      </p:grpSp>
      <p:sp>
        <p:nvSpPr>
          <p:cNvPr id="224" name="Freeform 4">
            <a:extLst>
              <a:ext uri="{FF2B5EF4-FFF2-40B4-BE49-F238E27FC236}">
                <a16:creationId xmlns:a16="http://schemas.microsoft.com/office/drawing/2014/main" id="{769E26A6-9A30-88DA-055C-5627030DD6F3}"/>
              </a:ext>
            </a:extLst>
          </p:cNvPr>
          <p:cNvSpPr/>
          <p:nvPr/>
        </p:nvSpPr>
        <p:spPr>
          <a:xfrm>
            <a:off x="5599810" y="4856885"/>
            <a:ext cx="381447" cy="426711"/>
          </a:xfrm>
          <a:custGeom>
            <a:avLst/>
            <a:gdLst>
              <a:gd name="connsiteX0" fmla="*/ 1766899 w 1848844"/>
              <a:gd name="connsiteY0" fmla="*/ 442610 h 2068235"/>
              <a:gd name="connsiteX1" fmla="*/ 1766899 w 1848844"/>
              <a:gd name="connsiteY1" fmla="*/ 442610 h 2068235"/>
              <a:gd name="connsiteX2" fmla="*/ 1010331 w 1848844"/>
              <a:gd name="connsiteY2" fmla="*/ 20413 h 2068235"/>
              <a:gd name="connsiteX3" fmla="*/ 854645 w 1848844"/>
              <a:gd name="connsiteY3" fmla="*/ 20333 h 2068235"/>
              <a:gd name="connsiteX4" fmla="*/ 82086 w 1848844"/>
              <a:gd name="connsiteY4" fmla="*/ 450394 h 2068235"/>
              <a:gd name="connsiteX5" fmla="*/ 1 w 1848844"/>
              <a:gd name="connsiteY5" fmla="*/ 590642 h 2068235"/>
              <a:gd name="connsiteX6" fmla="*/ 3347 w 1848844"/>
              <a:gd name="connsiteY6" fmla="*/ 1457852 h 2068235"/>
              <a:gd name="connsiteX7" fmla="*/ 82365 w 1848844"/>
              <a:gd name="connsiteY7" fmla="*/ 1595114 h 2068235"/>
              <a:gd name="connsiteX8" fmla="*/ 852574 w 1848844"/>
              <a:gd name="connsiteY8" fmla="*/ 2046357 h 2068235"/>
              <a:gd name="connsiteX9" fmla="*/ 933404 w 1848844"/>
              <a:gd name="connsiteY9" fmla="*/ 2068235 h 2068235"/>
              <a:gd name="connsiteX10" fmla="*/ 1013298 w 1848844"/>
              <a:gd name="connsiteY10" fmla="*/ 2046894 h 2068235"/>
              <a:gd name="connsiteX11" fmla="*/ 1768871 w 1848844"/>
              <a:gd name="connsiteY11" fmla="*/ 1611100 h 2068235"/>
              <a:gd name="connsiteX12" fmla="*/ 1848845 w 1848844"/>
              <a:gd name="connsiteY12" fmla="*/ 1472683 h 2068235"/>
              <a:gd name="connsiteX13" fmla="*/ 1848845 w 1848844"/>
              <a:gd name="connsiteY13" fmla="*/ 582142 h 2068235"/>
              <a:gd name="connsiteX14" fmla="*/ 1766899 w 1848844"/>
              <a:gd name="connsiteY14" fmla="*/ 442610 h 2068235"/>
              <a:gd name="connsiteX15" fmla="*/ 1748977 w 1848844"/>
              <a:gd name="connsiteY15" fmla="*/ 1576580 h 2068235"/>
              <a:gd name="connsiteX16" fmla="*/ 1748977 w 1848844"/>
              <a:gd name="connsiteY16" fmla="*/ 1576600 h 2068235"/>
              <a:gd name="connsiteX17" fmla="*/ 993405 w 1848844"/>
              <a:gd name="connsiteY17" fmla="*/ 2012395 h 2068235"/>
              <a:gd name="connsiteX18" fmla="*/ 949972 w 1848844"/>
              <a:gd name="connsiteY18" fmla="*/ 2027266 h 2068235"/>
              <a:gd name="connsiteX19" fmla="*/ 949972 w 1848844"/>
              <a:gd name="connsiteY19" fmla="*/ 1757081 h 2068235"/>
              <a:gd name="connsiteX20" fmla="*/ 930059 w 1848844"/>
              <a:gd name="connsiteY20" fmla="*/ 1737174 h 2068235"/>
              <a:gd name="connsiteX21" fmla="*/ 910145 w 1848844"/>
              <a:gd name="connsiteY21" fmla="*/ 1757081 h 2068235"/>
              <a:gd name="connsiteX22" fmla="*/ 910145 w 1848844"/>
              <a:gd name="connsiteY22" fmla="*/ 2026151 h 2068235"/>
              <a:gd name="connsiteX23" fmla="*/ 872726 w 1848844"/>
              <a:gd name="connsiteY23" fmla="*/ 2011997 h 2068235"/>
              <a:gd name="connsiteX24" fmla="*/ 102518 w 1848844"/>
              <a:gd name="connsiteY24" fmla="*/ 1560754 h 2068235"/>
              <a:gd name="connsiteX25" fmla="*/ 70735 w 1848844"/>
              <a:gd name="connsiteY25" fmla="*/ 1533620 h 2068235"/>
              <a:gd name="connsiteX26" fmla="*/ 539109 w 1848844"/>
              <a:gd name="connsiteY26" fmla="*/ 1239925 h 2068235"/>
              <a:gd name="connsiteX27" fmla="*/ 612731 w 1848844"/>
              <a:gd name="connsiteY27" fmla="*/ 1256806 h 2068235"/>
              <a:gd name="connsiteX28" fmla="*/ 613468 w 1848844"/>
              <a:gd name="connsiteY28" fmla="*/ 1256707 h 2068235"/>
              <a:gd name="connsiteX29" fmla="*/ 710807 w 1848844"/>
              <a:gd name="connsiteY29" fmla="*/ 1249441 h 2068235"/>
              <a:gd name="connsiteX30" fmla="*/ 717856 w 1848844"/>
              <a:gd name="connsiteY30" fmla="*/ 1250038 h 2068235"/>
              <a:gd name="connsiteX31" fmla="*/ 739941 w 1848844"/>
              <a:gd name="connsiteY31" fmla="*/ 1253940 h 2068235"/>
              <a:gd name="connsiteX32" fmla="*/ 758142 w 1848844"/>
              <a:gd name="connsiteY32" fmla="*/ 1266979 h 2068235"/>
              <a:gd name="connsiteX33" fmla="*/ 761288 w 1848844"/>
              <a:gd name="connsiteY33" fmla="*/ 1272553 h 2068235"/>
              <a:gd name="connsiteX34" fmla="*/ 772341 w 1848844"/>
              <a:gd name="connsiteY34" fmla="*/ 1294889 h 2068235"/>
              <a:gd name="connsiteX35" fmla="*/ 776941 w 1848844"/>
              <a:gd name="connsiteY35" fmla="*/ 1308646 h 2068235"/>
              <a:gd name="connsiteX36" fmla="*/ 780864 w 1848844"/>
              <a:gd name="connsiteY36" fmla="*/ 1320371 h 2068235"/>
              <a:gd name="connsiteX37" fmla="*/ 800778 w 1848844"/>
              <a:gd name="connsiteY37" fmla="*/ 1480965 h 2068235"/>
              <a:gd name="connsiteX38" fmla="*/ 802391 w 1848844"/>
              <a:gd name="connsiteY38" fmla="*/ 1513573 h 2068235"/>
              <a:gd name="connsiteX39" fmla="*/ 809406 w 1848844"/>
              <a:gd name="connsiteY39" fmla="*/ 1540598 h 2068235"/>
              <a:gd name="connsiteX40" fmla="*/ 844668 w 1848844"/>
              <a:gd name="connsiteY40" fmla="*/ 1573972 h 2068235"/>
              <a:gd name="connsiteX41" fmla="*/ 861395 w 1848844"/>
              <a:gd name="connsiteY41" fmla="*/ 1576839 h 2068235"/>
              <a:gd name="connsiteX42" fmla="*/ 877028 w 1848844"/>
              <a:gd name="connsiteY42" fmla="*/ 1575366 h 2068235"/>
              <a:gd name="connsiteX43" fmla="*/ 881688 w 1848844"/>
              <a:gd name="connsiteY43" fmla="*/ 1574709 h 2068235"/>
              <a:gd name="connsiteX44" fmla="*/ 882783 w 1848844"/>
              <a:gd name="connsiteY44" fmla="*/ 1574550 h 2068235"/>
              <a:gd name="connsiteX45" fmla="*/ 1000275 w 1848844"/>
              <a:gd name="connsiteY45" fmla="*/ 1538258 h 2068235"/>
              <a:gd name="connsiteX46" fmla="*/ 1009634 w 1848844"/>
              <a:gd name="connsiteY46" fmla="*/ 1534392 h 2068235"/>
              <a:gd name="connsiteX47" fmla="*/ 1195132 w 1848844"/>
              <a:gd name="connsiteY47" fmla="*/ 1427732 h 2068235"/>
              <a:gd name="connsiteX48" fmla="*/ 1197362 w 1848844"/>
              <a:gd name="connsiteY48" fmla="*/ 1425921 h 2068235"/>
              <a:gd name="connsiteX49" fmla="*/ 1210585 w 1848844"/>
              <a:gd name="connsiteY49" fmla="*/ 1413797 h 2068235"/>
              <a:gd name="connsiteX50" fmla="*/ 1261724 w 1848844"/>
              <a:gd name="connsiteY50" fmla="*/ 1355388 h 2068235"/>
              <a:gd name="connsiteX51" fmla="*/ 1270406 w 1848844"/>
              <a:gd name="connsiteY51" fmla="*/ 1340378 h 2068235"/>
              <a:gd name="connsiteX52" fmla="*/ 1278969 w 1848844"/>
              <a:gd name="connsiteY52" fmla="*/ 1310955 h 2068235"/>
              <a:gd name="connsiteX53" fmla="*/ 1279069 w 1848844"/>
              <a:gd name="connsiteY53" fmla="*/ 1309701 h 2068235"/>
              <a:gd name="connsiteX54" fmla="*/ 1271542 w 1848844"/>
              <a:gd name="connsiteY54" fmla="*/ 1246693 h 2068235"/>
              <a:gd name="connsiteX55" fmla="*/ 1790099 w 1848844"/>
              <a:gd name="connsiteY55" fmla="*/ 1537203 h 2068235"/>
              <a:gd name="connsiteX56" fmla="*/ 1748977 w 1848844"/>
              <a:gd name="connsiteY56" fmla="*/ 1576580 h 2068235"/>
              <a:gd name="connsiteX57" fmla="*/ 475696 w 1848844"/>
              <a:gd name="connsiteY57" fmla="*/ 988332 h 2068235"/>
              <a:gd name="connsiteX58" fmla="*/ 469825 w 1848844"/>
              <a:gd name="connsiteY58" fmla="*/ 984982 h 2068235"/>
              <a:gd name="connsiteX59" fmla="*/ 466045 w 1848844"/>
              <a:gd name="connsiteY59" fmla="*/ 983736 h 2068235"/>
              <a:gd name="connsiteX60" fmla="*/ 436493 w 1848844"/>
              <a:gd name="connsiteY60" fmla="*/ 973105 h 2068235"/>
              <a:gd name="connsiteX61" fmla="*/ 430838 w 1848844"/>
              <a:gd name="connsiteY61" fmla="*/ 969880 h 2068235"/>
              <a:gd name="connsiteX62" fmla="*/ 429882 w 1848844"/>
              <a:gd name="connsiteY62" fmla="*/ 969064 h 2068235"/>
              <a:gd name="connsiteX63" fmla="*/ 421299 w 1848844"/>
              <a:gd name="connsiteY63" fmla="*/ 936236 h 2068235"/>
              <a:gd name="connsiteX64" fmla="*/ 441014 w 1848844"/>
              <a:gd name="connsiteY64" fmla="*/ 908704 h 2068235"/>
              <a:gd name="connsiteX65" fmla="*/ 454575 w 1848844"/>
              <a:gd name="connsiteY65" fmla="*/ 892440 h 2068235"/>
              <a:gd name="connsiteX66" fmla="*/ 463496 w 1848844"/>
              <a:gd name="connsiteY66" fmla="*/ 880794 h 2068235"/>
              <a:gd name="connsiteX67" fmla="*/ 500397 w 1848844"/>
              <a:gd name="connsiteY67" fmla="*/ 890051 h 2068235"/>
              <a:gd name="connsiteX68" fmla="*/ 521386 w 1848844"/>
              <a:gd name="connsiteY68" fmla="*/ 887284 h 2068235"/>
              <a:gd name="connsiteX69" fmla="*/ 534011 w 1848844"/>
              <a:gd name="connsiteY69" fmla="*/ 883840 h 2068235"/>
              <a:gd name="connsiteX70" fmla="*/ 554682 w 1848844"/>
              <a:gd name="connsiteY70" fmla="*/ 878206 h 2068235"/>
              <a:gd name="connsiteX71" fmla="*/ 556295 w 1848844"/>
              <a:gd name="connsiteY71" fmla="*/ 877748 h 2068235"/>
              <a:gd name="connsiteX72" fmla="*/ 559420 w 1848844"/>
              <a:gd name="connsiteY72" fmla="*/ 876820 h 2068235"/>
              <a:gd name="connsiteX73" fmla="*/ 562309 w 1848844"/>
              <a:gd name="connsiteY73" fmla="*/ 875877 h 2068235"/>
              <a:gd name="connsiteX74" fmla="*/ 566272 w 1848844"/>
              <a:gd name="connsiteY74" fmla="*/ 874463 h 2068235"/>
              <a:gd name="connsiteX75" fmla="*/ 570175 w 1848844"/>
              <a:gd name="connsiteY75" fmla="*/ 872871 h 2068235"/>
              <a:gd name="connsiteX76" fmla="*/ 585190 w 1848844"/>
              <a:gd name="connsiteY76" fmla="*/ 865206 h 2068235"/>
              <a:gd name="connsiteX77" fmla="*/ 611178 w 1848844"/>
              <a:gd name="connsiteY77" fmla="*/ 843766 h 2068235"/>
              <a:gd name="connsiteX78" fmla="*/ 621593 w 1848844"/>
              <a:gd name="connsiteY78" fmla="*/ 830408 h 2068235"/>
              <a:gd name="connsiteX79" fmla="*/ 626014 w 1848844"/>
              <a:gd name="connsiteY79" fmla="*/ 823281 h 2068235"/>
              <a:gd name="connsiteX80" fmla="*/ 628662 w 1848844"/>
              <a:gd name="connsiteY80" fmla="*/ 818623 h 2068235"/>
              <a:gd name="connsiteX81" fmla="*/ 628821 w 1848844"/>
              <a:gd name="connsiteY81" fmla="*/ 818344 h 2068235"/>
              <a:gd name="connsiteX82" fmla="*/ 628841 w 1848844"/>
              <a:gd name="connsiteY82" fmla="*/ 818344 h 2068235"/>
              <a:gd name="connsiteX83" fmla="*/ 628881 w 1848844"/>
              <a:gd name="connsiteY83" fmla="*/ 818285 h 2068235"/>
              <a:gd name="connsiteX84" fmla="*/ 628941 w 1848844"/>
              <a:gd name="connsiteY84" fmla="*/ 818185 h 2068235"/>
              <a:gd name="connsiteX85" fmla="*/ 629060 w 1848844"/>
              <a:gd name="connsiteY85" fmla="*/ 818006 h 2068235"/>
              <a:gd name="connsiteX86" fmla="*/ 629200 w 1848844"/>
              <a:gd name="connsiteY86" fmla="*/ 817827 h 2068235"/>
              <a:gd name="connsiteX87" fmla="*/ 629339 w 1848844"/>
              <a:gd name="connsiteY87" fmla="*/ 817667 h 2068235"/>
              <a:gd name="connsiteX88" fmla="*/ 630036 w 1848844"/>
              <a:gd name="connsiteY88" fmla="*/ 817050 h 2068235"/>
              <a:gd name="connsiteX89" fmla="*/ 631948 w 1848844"/>
              <a:gd name="connsiteY89" fmla="*/ 816314 h 2068235"/>
              <a:gd name="connsiteX90" fmla="*/ 632207 w 1848844"/>
              <a:gd name="connsiteY90" fmla="*/ 816274 h 2068235"/>
              <a:gd name="connsiteX91" fmla="*/ 632346 w 1848844"/>
              <a:gd name="connsiteY91" fmla="*/ 816274 h 2068235"/>
              <a:gd name="connsiteX92" fmla="*/ 632406 w 1848844"/>
              <a:gd name="connsiteY92" fmla="*/ 816274 h 2068235"/>
              <a:gd name="connsiteX93" fmla="*/ 632983 w 1848844"/>
              <a:gd name="connsiteY93" fmla="*/ 816234 h 2068235"/>
              <a:gd name="connsiteX94" fmla="*/ 638340 w 1848844"/>
              <a:gd name="connsiteY94" fmla="*/ 815995 h 2068235"/>
              <a:gd name="connsiteX95" fmla="*/ 649034 w 1848844"/>
              <a:gd name="connsiteY95" fmla="*/ 815497 h 2068235"/>
              <a:gd name="connsiteX96" fmla="*/ 820234 w 1848844"/>
              <a:gd name="connsiteY96" fmla="*/ 807654 h 2068235"/>
              <a:gd name="connsiteX97" fmla="*/ 991433 w 1848844"/>
              <a:gd name="connsiteY97" fmla="*/ 799810 h 2068235"/>
              <a:gd name="connsiteX98" fmla="*/ 1162633 w 1848844"/>
              <a:gd name="connsiteY98" fmla="*/ 791967 h 2068235"/>
              <a:gd name="connsiteX99" fmla="*/ 1333832 w 1848844"/>
              <a:gd name="connsiteY99" fmla="*/ 784123 h 2068235"/>
              <a:gd name="connsiteX100" fmla="*/ 1374675 w 1848844"/>
              <a:gd name="connsiteY100" fmla="*/ 782252 h 2068235"/>
              <a:gd name="connsiteX101" fmla="*/ 1374675 w 1848844"/>
              <a:gd name="connsiteY101" fmla="*/ 782252 h 2068235"/>
              <a:gd name="connsiteX102" fmla="*/ 1373959 w 1848844"/>
              <a:gd name="connsiteY102" fmla="*/ 791210 h 2068235"/>
              <a:gd name="connsiteX103" fmla="*/ 1365973 w 1848844"/>
              <a:gd name="connsiteY103" fmla="*/ 837276 h 2068235"/>
              <a:gd name="connsiteX104" fmla="*/ 1364300 w 1848844"/>
              <a:gd name="connsiteY104" fmla="*/ 844642 h 2068235"/>
              <a:gd name="connsiteX105" fmla="*/ 1333633 w 1848844"/>
              <a:gd name="connsiteY105" fmla="*/ 912765 h 2068235"/>
              <a:gd name="connsiteX106" fmla="*/ 1322820 w 1848844"/>
              <a:gd name="connsiteY106" fmla="*/ 930782 h 2068235"/>
              <a:gd name="connsiteX107" fmla="*/ 1298923 w 1848844"/>
              <a:gd name="connsiteY107" fmla="*/ 963928 h 2068235"/>
              <a:gd name="connsiteX108" fmla="*/ 1267399 w 1848844"/>
              <a:gd name="connsiteY108" fmla="*/ 1008222 h 2068235"/>
              <a:gd name="connsiteX109" fmla="*/ 1218471 w 1848844"/>
              <a:gd name="connsiteY109" fmla="*/ 1121675 h 2068235"/>
              <a:gd name="connsiteX110" fmla="*/ 1218431 w 1848844"/>
              <a:gd name="connsiteY110" fmla="*/ 1121933 h 2068235"/>
              <a:gd name="connsiteX111" fmla="*/ 1227811 w 1848844"/>
              <a:gd name="connsiteY111" fmla="*/ 1238093 h 2068235"/>
              <a:gd name="connsiteX112" fmla="*/ 1239341 w 1848844"/>
              <a:gd name="connsiteY112" fmla="*/ 1307272 h 2068235"/>
              <a:gd name="connsiteX113" fmla="*/ 1233486 w 1848844"/>
              <a:gd name="connsiteY113" fmla="*/ 1325627 h 2068235"/>
              <a:gd name="connsiteX114" fmla="*/ 1233474 w 1848844"/>
              <a:gd name="connsiteY114" fmla="*/ 1325658 h 2068235"/>
              <a:gd name="connsiteX115" fmla="*/ 1230499 w 1848844"/>
              <a:gd name="connsiteY115" fmla="*/ 1331619 h 2068235"/>
              <a:gd name="connsiteX116" fmla="*/ 1229051 w 1848844"/>
              <a:gd name="connsiteY116" fmla="*/ 1334020 h 2068235"/>
              <a:gd name="connsiteX117" fmla="*/ 1183921 w 1848844"/>
              <a:gd name="connsiteY117" fmla="*/ 1384374 h 2068235"/>
              <a:gd name="connsiteX118" fmla="*/ 1171096 w 1848844"/>
              <a:gd name="connsiteY118" fmla="*/ 1396099 h 2068235"/>
              <a:gd name="connsiteX119" fmla="*/ 994639 w 1848844"/>
              <a:gd name="connsiteY119" fmla="*/ 1498802 h 2068235"/>
              <a:gd name="connsiteX120" fmla="*/ 994599 w 1848844"/>
              <a:gd name="connsiteY120" fmla="*/ 1498702 h 2068235"/>
              <a:gd name="connsiteX121" fmla="*/ 986112 w 1848844"/>
              <a:gd name="connsiteY121" fmla="*/ 1502288 h 2068235"/>
              <a:gd name="connsiteX122" fmla="*/ 876172 w 1848844"/>
              <a:gd name="connsiteY122" fmla="*/ 1535312 h 2068235"/>
              <a:gd name="connsiteX123" fmla="*/ 871253 w 1848844"/>
              <a:gd name="connsiteY123" fmla="*/ 1536009 h 2068235"/>
              <a:gd name="connsiteX124" fmla="*/ 858516 w 1848844"/>
              <a:gd name="connsiteY124" fmla="*/ 1536674 h 2068235"/>
              <a:gd name="connsiteX125" fmla="*/ 842204 w 1848844"/>
              <a:gd name="connsiteY125" fmla="*/ 1512719 h 2068235"/>
              <a:gd name="connsiteX126" fmla="*/ 842159 w 1848844"/>
              <a:gd name="connsiteY126" fmla="*/ 1511841 h 2068235"/>
              <a:gd name="connsiteX127" fmla="*/ 840546 w 1848844"/>
              <a:gd name="connsiteY127" fmla="*/ 1479153 h 2068235"/>
              <a:gd name="connsiteX128" fmla="*/ 819158 w 1848844"/>
              <a:gd name="connsiteY128" fmla="*/ 1309521 h 2068235"/>
              <a:gd name="connsiteX129" fmla="*/ 814439 w 1848844"/>
              <a:gd name="connsiteY129" fmla="*/ 1295307 h 2068235"/>
              <a:gd name="connsiteX130" fmla="*/ 810496 w 1848844"/>
              <a:gd name="connsiteY130" fmla="*/ 1283542 h 2068235"/>
              <a:gd name="connsiteX131" fmla="*/ 810237 w 1848844"/>
              <a:gd name="connsiteY131" fmla="*/ 1282706 h 2068235"/>
              <a:gd name="connsiteX132" fmla="*/ 795919 w 1848844"/>
              <a:gd name="connsiteY132" fmla="*/ 1252964 h 2068235"/>
              <a:gd name="connsiteX133" fmla="*/ 792653 w 1848844"/>
              <a:gd name="connsiteY133" fmla="*/ 1247171 h 2068235"/>
              <a:gd name="connsiteX134" fmla="*/ 792135 w 1848844"/>
              <a:gd name="connsiteY134" fmla="*/ 1246295 h 2068235"/>
              <a:gd name="connsiteX135" fmla="*/ 756111 w 1848844"/>
              <a:gd name="connsiteY135" fmla="*/ 1217629 h 2068235"/>
              <a:gd name="connsiteX136" fmla="*/ 721042 w 1848844"/>
              <a:gd name="connsiteY136" fmla="*/ 1210422 h 2068235"/>
              <a:gd name="connsiteX137" fmla="*/ 714134 w 1848844"/>
              <a:gd name="connsiteY137" fmla="*/ 1209825 h 2068235"/>
              <a:gd name="connsiteX138" fmla="*/ 713019 w 1848844"/>
              <a:gd name="connsiteY138" fmla="*/ 1209751 h 2068235"/>
              <a:gd name="connsiteX139" fmla="*/ 608230 w 1848844"/>
              <a:gd name="connsiteY139" fmla="*/ 1217310 h 2068235"/>
              <a:gd name="connsiteX140" fmla="*/ 556873 w 1848844"/>
              <a:gd name="connsiteY140" fmla="*/ 1203474 h 2068235"/>
              <a:gd name="connsiteX141" fmla="*/ 529969 w 1848844"/>
              <a:gd name="connsiteY141" fmla="*/ 1152889 h 2068235"/>
              <a:gd name="connsiteX142" fmla="*/ 531940 w 1848844"/>
              <a:gd name="connsiteY142" fmla="*/ 1110407 h 2068235"/>
              <a:gd name="connsiteX143" fmla="*/ 533892 w 1848844"/>
              <a:gd name="connsiteY143" fmla="*/ 1095894 h 2068235"/>
              <a:gd name="connsiteX144" fmla="*/ 533992 w 1848844"/>
              <a:gd name="connsiteY144" fmla="*/ 1094899 h 2068235"/>
              <a:gd name="connsiteX145" fmla="*/ 475696 w 1848844"/>
              <a:gd name="connsiteY145" fmla="*/ 988332 h 2068235"/>
              <a:gd name="connsiteX146" fmla="*/ 524911 w 1848844"/>
              <a:gd name="connsiteY146" fmla="*/ 608918 h 2068235"/>
              <a:gd name="connsiteX147" fmla="*/ 566750 w 1848844"/>
              <a:gd name="connsiteY147" fmla="*/ 616960 h 2068235"/>
              <a:gd name="connsiteX148" fmla="*/ 569359 w 1848844"/>
              <a:gd name="connsiteY148" fmla="*/ 617458 h 2068235"/>
              <a:gd name="connsiteX149" fmla="*/ 571609 w 1848844"/>
              <a:gd name="connsiteY149" fmla="*/ 617876 h 2068235"/>
              <a:gd name="connsiteX150" fmla="*/ 575950 w 1848844"/>
              <a:gd name="connsiteY150" fmla="*/ 618433 h 2068235"/>
              <a:gd name="connsiteX151" fmla="*/ 580311 w 1848844"/>
              <a:gd name="connsiteY151" fmla="*/ 618672 h 2068235"/>
              <a:gd name="connsiteX152" fmla="*/ 585608 w 1848844"/>
              <a:gd name="connsiteY152" fmla="*/ 618772 h 2068235"/>
              <a:gd name="connsiteX153" fmla="*/ 607036 w 1848844"/>
              <a:gd name="connsiteY153" fmla="*/ 619150 h 2068235"/>
              <a:gd name="connsiteX154" fmla="*/ 692705 w 1848844"/>
              <a:gd name="connsiteY154" fmla="*/ 620683 h 2068235"/>
              <a:gd name="connsiteX155" fmla="*/ 864044 w 1848844"/>
              <a:gd name="connsiteY155" fmla="*/ 623729 h 2068235"/>
              <a:gd name="connsiteX156" fmla="*/ 1035383 w 1848844"/>
              <a:gd name="connsiteY156" fmla="*/ 626775 h 2068235"/>
              <a:gd name="connsiteX157" fmla="*/ 1206722 w 1848844"/>
              <a:gd name="connsiteY157" fmla="*/ 629820 h 2068235"/>
              <a:gd name="connsiteX158" fmla="*/ 1292391 w 1848844"/>
              <a:gd name="connsiteY158" fmla="*/ 631353 h 2068235"/>
              <a:gd name="connsiteX159" fmla="*/ 1335226 w 1848844"/>
              <a:gd name="connsiteY159" fmla="*/ 632110 h 2068235"/>
              <a:gd name="connsiteX160" fmla="*/ 1356653 w 1848844"/>
              <a:gd name="connsiteY160" fmla="*/ 632488 h 2068235"/>
              <a:gd name="connsiteX161" fmla="*/ 1367845 w 1848844"/>
              <a:gd name="connsiteY161" fmla="*/ 632687 h 2068235"/>
              <a:gd name="connsiteX162" fmla="*/ 1381944 w 1848844"/>
              <a:gd name="connsiteY162" fmla="*/ 633264 h 2068235"/>
              <a:gd name="connsiteX163" fmla="*/ 1416156 w 1848844"/>
              <a:gd name="connsiteY163" fmla="*/ 655421 h 2068235"/>
              <a:gd name="connsiteX164" fmla="*/ 1421792 w 1848844"/>
              <a:gd name="connsiteY164" fmla="*/ 675608 h 2068235"/>
              <a:gd name="connsiteX165" fmla="*/ 1421792 w 1848844"/>
              <a:gd name="connsiteY165" fmla="*/ 680983 h 2068235"/>
              <a:gd name="connsiteX166" fmla="*/ 1421593 w 1848844"/>
              <a:gd name="connsiteY166" fmla="*/ 686397 h 2068235"/>
              <a:gd name="connsiteX167" fmla="*/ 1421115 w 1848844"/>
              <a:gd name="connsiteY167" fmla="*/ 695973 h 2068235"/>
              <a:gd name="connsiteX168" fmla="*/ 1420637 w 1848844"/>
              <a:gd name="connsiteY168" fmla="*/ 705529 h 2068235"/>
              <a:gd name="connsiteX169" fmla="*/ 1419621 w 1848844"/>
              <a:gd name="connsiteY169" fmla="*/ 716259 h 2068235"/>
              <a:gd name="connsiteX170" fmla="*/ 1411297 w 1848844"/>
              <a:gd name="connsiteY170" fmla="*/ 735609 h 2068235"/>
              <a:gd name="connsiteX171" fmla="*/ 1394888 w 1848844"/>
              <a:gd name="connsiteY171" fmla="*/ 748847 h 2068235"/>
              <a:gd name="connsiteX172" fmla="*/ 1384792 w 1848844"/>
              <a:gd name="connsiteY172" fmla="*/ 752172 h 2068235"/>
              <a:gd name="connsiteX173" fmla="*/ 1379515 w 1848844"/>
              <a:gd name="connsiteY173" fmla="*/ 752928 h 2068235"/>
              <a:gd name="connsiteX174" fmla="*/ 1374118 w 1848844"/>
              <a:gd name="connsiteY174" fmla="*/ 753326 h 2068235"/>
              <a:gd name="connsiteX175" fmla="*/ 1332398 w 1848844"/>
              <a:gd name="connsiteY175" fmla="*/ 755238 h 2068235"/>
              <a:gd name="connsiteX176" fmla="*/ 1161199 w 1848844"/>
              <a:gd name="connsiteY176" fmla="*/ 763081 h 2068235"/>
              <a:gd name="connsiteX177" fmla="*/ 989999 w 1848844"/>
              <a:gd name="connsiteY177" fmla="*/ 770925 h 2068235"/>
              <a:gd name="connsiteX178" fmla="*/ 818800 w 1848844"/>
              <a:gd name="connsiteY178" fmla="*/ 778768 h 2068235"/>
              <a:gd name="connsiteX179" fmla="*/ 647600 w 1848844"/>
              <a:gd name="connsiteY179" fmla="*/ 786612 h 2068235"/>
              <a:gd name="connsiteX180" fmla="*/ 636906 w 1848844"/>
              <a:gd name="connsiteY180" fmla="*/ 787109 h 2068235"/>
              <a:gd name="connsiteX181" fmla="*/ 631550 w 1848844"/>
              <a:gd name="connsiteY181" fmla="*/ 787348 h 2068235"/>
              <a:gd name="connsiteX182" fmla="*/ 630434 w 1848844"/>
              <a:gd name="connsiteY182" fmla="*/ 787428 h 2068235"/>
              <a:gd name="connsiteX183" fmla="*/ 629498 w 1848844"/>
              <a:gd name="connsiteY183" fmla="*/ 787508 h 2068235"/>
              <a:gd name="connsiteX184" fmla="*/ 627627 w 1848844"/>
              <a:gd name="connsiteY184" fmla="*/ 787727 h 2068235"/>
              <a:gd name="connsiteX185" fmla="*/ 613667 w 1848844"/>
              <a:gd name="connsiteY185" fmla="*/ 793181 h 2068235"/>
              <a:gd name="connsiteX186" fmla="*/ 603551 w 1848844"/>
              <a:gd name="connsiteY186" fmla="*/ 804250 h 2068235"/>
              <a:gd name="connsiteX187" fmla="*/ 600902 w 1848844"/>
              <a:gd name="connsiteY187" fmla="*/ 808908 h 2068235"/>
              <a:gd name="connsiteX188" fmla="*/ 597557 w 1848844"/>
              <a:gd name="connsiteY188" fmla="*/ 814303 h 2068235"/>
              <a:gd name="connsiteX189" fmla="*/ 589731 w 1848844"/>
              <a:gd name="connsiteY189" fmla="*/ 824336 h 2068235"/>
              <a:gd name="connsiteX190" fmla="*/ 570155 w 1848844"/>
              <a:gd name="connsiteY190" fmla="*/ 840481 h 2068235"/>
              <a:gd name="connsiteX191" fmla="*/ 558844 w 1848844"/>
              <a:gd name="connsiteY191" fmla="*/ 846255 h 2068235"/>
              <a:gd name="connsiteX192" fmla="*/ 555897 w 1848844"/>
              <a:gd name="connsiteY192" fmla="*/ 847449 h 2068235"/>
              <a:gd name="connsiteX193" fmla="*/ 552910 w 1848844"/>
              <a:gd name="connsiteY193" fmla="*/ 848504 h 2068235"/>
              <a:gd name="connsiteX194" fmla="*/ 549883 w 1848844"/>
              <a:gd name="connsiteY194" fmla="*/ 849460 h 2068235"/>
              <a:gd name="connsiteX195" fmla="*/ 546975 w 1848844"/>
              <a:gd name="connsiteY195" fmla="*/ 850316 h 2068235"/>
              <a:gd name="connsiteX196" fmla="*/ 526305 w 1848844"/>
              <a:gd name="connsiteY196" fmla="*/ 855949 h 2068235"/>
              <a:gd name="connsiteX197" fmla="*/ 515233 w 1848844"/>
              <a:gd name="connsiteY197" fmla="*/ 858975 h 2068235"/>
              <a:gd name="connsiteX198" fmla="*/ 501313 w 1848844"/>
              <a:gd name="connsiteY198" fmla="*/ 861145 h 2068235"/>
              <a:gd name="connsiteX199" fmla="*/ 476361 w 1848844"/>
              <a:gd name="connsiteY199" fmla="*/ 854994 h 2068235"/>
              <a:gd name="connsiteX200" fmla="*/ 457721 w 1848844"/>
              <a:gd name="connsiteY200" fmla="*/ 837236 h 2068235"/>
              <a:gd name="connsiteX201" fmla="*/ 454914 w 1848844"/>
              <a:gd name="connsiteY201" fmla="*/ 832737 h 2068235"/>
              <a:gd name="connsiteX202" fmla="*/ 452623 w 1848844"/>
              <a:gd name="connsiteY202" fmla="*/ 828975 h 2068235"/>
              <a:gd name="connsiteX203" fmla="*/ 448342 w 1848844"/>
              <a:gd name="connsiteY203" fmla="*/ 821310 h 2068235"/>
              <a:gd name="connsiteX204" fmla="*/ 440715 w 1848844"/>
              <a:gd name="connsiteY204" fmla="*/ 805564 h 2068235"/>
              <a:gd name="connsiteX205" fmla="*/ 428826 w 1848844"/>
              <a:gd name="connsiteY205" fmla="*/ 772895 h 2068235"/>
              <a:gd name="connsiteX206" fmla="*/ 416998 w 1848844"/>
              <a:gd name="connsiteY206" fmla="*/ 705210 h 2068235"/>
              <a:gd name="connsiteX207" fmla="*/ 416121 w 1848844"/>
              <a:gd name="connsiteY207" fmla="*/ 666868 h 2068235"/>
              <a:gd name="connsiteX208" fmla="*/ 416221 w 1848844"/>
              <a:gd name="connsiteY208" fmla="*/ 666948 h 2068235"/>
              <a:gd name="connsiteX209" fmla="*/ 416579 w 1848844"/>
              <a:gd name="connsiteY209" fmla="*/ 657372 h 2068235"/>
              <a:gd name="connsiteX210" fmla="*/ 416878 w 1848844"/>
              <a:gd name="connsiteY210" fmla="*/ 651977 h 2068235"/>
              <a:gd name="connsiteX211" fmla="*/ 417336 w 1848844"/>
              <a:gd name="connsiteY211" fmla="*/ 645866 h 2068235"/>
              <a:gd name="connsiteX212" fmla="*/ 420283 w 1848844"/>
              <a:gd name="connsiteY212" fmla="*/ 621798 h 2068235"/>
              <a:gd name="connsiteX213" fmla="*/ 423450 w 1848844"/>
              <a:gd name="connsiteY213" fmla="*/ 614512 h 2068235"/>
              <a:gd name="connsiteX214" fmla="*/ 424087 w 1848844"/>
              <a:gd name="connsiteY214" fmla="*/ 613815 h 2068235"/>
              <a:gd name="connsiteX215" fmla="*/ 425501 w 1848844"/>
              <a:gd name="connsiteY215" fmla="*/ 612541 h 2068235"/>
              <a:gd name="connsiteX216" fmla="*/ 428607 w 1848844"/>
              <a:gd name="connsiteY216" fmla="*/ 610331 h 2068235"/>
              <a:gd name="connsiteX217" fmla="*/ 442667 w 1848844"/>
              <a:gd name="connsiteY217" fmla="*/ 604379 h 2068235"/>
              <a:gd name="connsiteX218" fmla="*/ 448326 w 1848844"/>
              <a:gd name="connsiteY218" fmla="*/ 603109 h 2068235"/>
              <a:gd name="connsiteX219" fmla="*/ 452325 w 1848844"/>
              <a:gd name="connsiteY219" fmla="*/ 602450 h 2068235"/>
              <a:gd name="connsiteX220" fmla="*/ 456929 w 1848844"/>
              <a:gd name="connsiteY220" fmla="*/ 601852 h 2068235"/>
              <a:gd name="connsiteX221" fmla="*/ 459434 w 1848844"/>
              <a:gd name="connsiteY221" fmla="*/ 601651 h 2068235"/>
              <a:gd name="connsiteX222" fmla="*/ 466185 w 1848844"/>
              <a:gd name="connsiteY222" fmla="*/ 601333 h 2068235"/>
              <a:gd name="connsiteX223" fmla="*/ 470207 w 1848844"/>
              <a:gd name="connsiteY223" fmla="*/ 601313 h 2068235"/>
              <a:gd name="connsiteX224" fmla="*/ 474389 w 1848844"/>
              <a:gd name="connsiteY224" fmla="*/ 601432 h 2068235"/>
              <a:gd name="connsiteX225" fmla="*/ 481080 w 1848844"/>
              <a:gd name="connsiteY225" fmla="*/ 601830 h 2068235"/>
              <a:gd name="connsiteX226" fmla="*/ 487592 w 1848844"/>
              <a:gd name="connsiteY226" fmla="*/ 602388 h 2068235"/>
              <a:gd name="connsiteX227" fmla="*/ 500357 w 1848844"/>
              <a:gd name="connsiteY227" fmla="*/ 604140 h 2068235"/>
              <a:gd name="connsiteX228" fmla="*/ 506650 w 1848844"/>
              <a:gd name="connsiteY228" fmla="*/ 605215 h 2068235"/>
              <a:gd name="connsiteX229" fmla="*/ 509796 w 1848844"/>
              <a:gd name="connsiteY229" fmla="*/ 605752 h 2068235"/>
              <a:gd name="connsiteX230" fmla="*/ 512823 w 1848844"/>
              <a:gd name="connsiteY230" fmla="*/ 606389 h 2068235"/>
              <a:gd name="connsiteX231" fmla="*/ 524911 w 1848844"/>
              <a:gd name="connsiteY231" fmla="*/ 608918 h 2068235"/>
              <a:gd name="connsiteX232" fmla="*/ 524712 w 1848844"/>
              <a:gd name="connsiteY232" fmla="*/ 579554 h 2068235"/>
              <a:gd name="connsiteX233" fmla="*/ 584792 w 1848844"/>
              <a:gd name="connsiteY233" fmla="*/ 471815 h 2068235"/>
              <a:gd name="connsiteX234" fmla="*/ 587978 w 1848844"/>
              <a:gd name="connsiteY234" fmla="*/ 468092 h 2068235"/>
              <a:gd name="connsiteX235" fmla="*/ 588376 w 1848844"/>
              <a:gd name="connsiteY235" fmla="*/ 467634 h 2068235"/>
              <a:gd name="connsiteX236" fmla="*/ 625038 w 1848844"/>
              <a:gd name="connsiteY236" fmla="*/ 431502 h 2068235"/>
              <a:gd name="connsiteX237" fmla="*/ 710926 w 1848844"/>
              <a:gd name="connsiteY237" fmla="*/ 371302 h 2068235"/>
              <a:gd name="connsiteX238" fmla="*/ 807967 w 1848844"/>
              <a:gd name="connsiteY238" fmla="*/ 331626 h 2068235"/>
              <a:gd name="connsiteX239" fmla="*/ 910782 w 1848844"/>
              <a:gd name="connsiteY239" fmla="*/ 312535 h 2068235"/>
              <a:gd name="connsiteX240" fmla="*/ 1015031 w 1848844"/>
              <a:gd name="connsiteY240" fmla="*/ 313431 h 2068235"/>
              <a:gd name="connsiteX241" fmla="*/ 1118284 w 1848844"/>
              <a:gd name="connsiteY241" fmla="*/ 334632 h 2068235"/>
              <a:gd name="connsiteX242" fmla="*/ 1211143 w 1848844"/>
              <a:gd name="connsiteY242" fmla="*/ 381415 h 2068235"/>
              <a:gd name="connsiteX243" fmla="*/ 1278133 w 1848844"/>
              <a:gd name="connsiteY243" fmla="*/ 438928 h 2068235"/>
              <a:gd name="connsiteX244" fmla="*/ 1329810 w 1848844"/>
              <a:gd name="connsiteY244" fmla="*/ 508186 h 2068235"/>
              <a:gd name="connsiteX245" fmla="*/ 1365396 w 1848844"/>
              <a:gd name="connsiteY245" fmla="*/ 585984 h 2068235"/>
              <a:gd name="connsiteX246" fmla="*/ 1369936 w 1848844"/>
              <a:gd name="connsiteY246" fmla="*/ 603981 h 2068235"/>
              <a:gd name="connsiteX247" fmla="*/ 1369458 w 1848844"/>
              <a:gd name="connsiteY247" fmla="*/ 603981 h 2068235"/>
              <a:gd name="connsiteX248" fmla="*/ 1357231 w 1848844"/>
              <a:gd name="connsiteY248" fmla="*/ 603762 h 2068235"/>
              <a:gd name="connsiteX249" fmla="*/ 1335804 w 1848844"/>
              <a:gd name="connsiteY249" fmla="*/ 603383 h 2068235"/>
              <a:gd name="connsiteX250" fmla="*/ 1292969 w 1848844"/>
              <a:gd name="connsiteY250" fmla="*/ 602627 h 2068235"/>
              <a:gd name="connsiteX251" fmla="*/ 1207299 w 1848844"/>
              <a:gd name="connsiteY251" fmla="*/ 601094 h 2068235"/>
              <a:gd name="connsiteX252" fmla="*/ 1035960 w 1848844"/>
              <a:gd name="connsiteY252" fmla="*/ 598048 h 2068235"/>
              <a:gd name="connsiteX253" fmla="*/ 864621 w 1848844"/>
              <a:gd name="connsiteY253" fmla="*/ 595002 h 2068235"/>
              <a:gd name="connsiteX254" fmla="*/ 693283 w 1848844"/>
              <a:gd name="connsiteY254" fmla="*/ 591956 h 2068235"/>
              <a:gd name="connsiteX255" fmla="*/ 607613 w 1848844"/>
              <a:gd name="connsiteY255" fmla="*/ 590423 h 2068235"/>
              <a:gd name="connsiteX256" fmla="*/ 586186 w 1848844"/>
              <a:gd name="connsiteY256" fmla="*/ 590045 h 2068235"/>
              <a:gd name="connsiteX257" fmla="*/ 580988 w 1848844"/>
              <a:gd name="connsiteY257" fmla="*/ 589946 h 2068235"/>
              <a:gd name="connsiteX258" fmla="*/ 578658 w 1848844"/>
              <a:gd name="connsiteY258" fmla="*/ 589806 h 2068235"/>
              <a:gd name="connsiteX259" fmla="*/ 576328 w 1848844"/>
              <a:gd name="connsiteY259" fmla="*/ 589508 h 2068235"/>
              <a:gd name="connsiteX260" fmla="*/ 572266 w 1848844"/>
              <a:gd name="connsiteY260" fmla="*/ 588731 h 2068235"/>
              <a:gd name="connsiteX261" fmla="*/ 530885 w 1848844"/>
              <a:gd name="connsiteY261" fmla="*/ 580788 h 2068235"/>
              <a:gd name="connsiteX262" fmla="*/ 524752 w 1848844"/>
              <a:gd name="connsiteY262" fmla="*/ 579534 h 2068235"/>
              <a:gd name="connsiteX263" fmla="*/ 524732 w 1848844"/>
              <a:gd name="connsiteY263" fmla="*/ 579534 h 2068235"/>
              <a:gd name="connsiteX264" fmla="*/ 524712 w 1848844"/>
              <a:gd name="connsiteY264" fmla="*/ 579554 h 2068235"/>
              <a:gd name="connsiteX265" fmla="*/ 1808997 w 1848844"/>
              <a:gd name="connsiteY265" fmla="*/ 1472663 h 2068235"/>
              <a:gd name="connsiteX266" fmla="*/ 1805731 w 1848844"/>
              <a:gd name="connsiteY266" fmla="*/ 1500355 h 2068235"/>
              <a:gd name="connsiteX267" fmla="*/ 1258080 w 1848844"/>
              <a:gd name="connsiteY267" fmla="*/ 1193560 h 2068235"/>
              <a:gd name="connsiteX268" fmla="*/ 1257821 w 1848844"/>
              <a:gd name="connsiteY268" fmla="*/ 1127189 h 2068235"/>
              <a:gd name="connsiteX269" fmla="*/ 1301193 w 1848844"/>
              <a:gd name="connsiteY269" fmla="*/ 1029045 h 2068235"/>
              <a:gd name="connsiteX270" fmla="*/ 1329551 w 1848844"/>
              <a:gd name="connsiteY270" fmla="*/ 989170 h 2068235"/>
              <a:gd name="connsiteX271" fmla="*/ 1356156 w 1848844"/>
              <a:gd name="connsiteY271" fmla="*/ 952361 h 2068235"/>
              <a:gd name="connsiteX272" fmla="*/ 1356653 w 1848844"/>
              <a:gd name="connsiteY272" fmla="*/ 951565 h 2068235"/>
              <a:gd name="connsiteX273" fmla="*/ 1367785 w 1848844"/>
              <a:gd name="connsiteY273" fmla="*/ 933011 h 2068235"/>
              <a:gd name="connsiteX274" fmla="*/ 1367945 w 1848844"/>
              <a:gd name="connsiteY274" fmla="*/ 932753 h 2068235"/>
              <a:gd name="connsiteX275" fmla="*/ 1402613 w 1848844"/>
              <a:gd name="connsiteY275" fmla="*/ 855211 h 2068235"/>
              <a:gd name="connsiteX276" fmla="*/ 1402913 w 1848844"/>
              <a:gd name="connsiteY276" fmla="*/ 854078 h 2068235"/>
              <a:gd name="connsiteX277" fmla="*/ 1404745 w 1848844"/>
              <a:gd name="connsiteY277" fmla="*/ 845956 h 2068235"/>
              <a:gd name="connsiteX278" fmla="*/ 1413468 w 1848844"/>
              <a:gd name="connsiteY278" fmla="*/ 795510 h 2068235"/>
              <a:gd name="connsiteX279" fmla="*/ 1413547 w 1848844"/>
              <a:gd name="connsiteY279" fmla="*/ 794734 h 2068235"/>
              <a:gd name="connsiteX280" fmla="*/ 1415280 w 1848844"/>
              <a:gd name="connsiteY280" fmla="*/ 773234 h 2068235"/>
              <a:gd name="connsiteX281" fmla="*/ 1415280 w 1848844"/>
              <a:gd name="connsiteY281" fmla="*/ 770427 h 2068235"/>
              <a:gd name="connsiteX282" fmla="*/ 1433581 w 1848844"/>
              <a:gd name="connsiteY282" fmla="*/ 753904 h 2068235"/>
              <a:gd name="connsiteX283" fmla="*/ 1447142 w 1848844"/>
              <a:gd name="connsiteY283" fmla="*/ 725814 h 2068235"/>
              <a:gd name="connsiteX284" fmla="*/ 1449273 w 1848844"/>
              <a:gd name="connsiteY284" fmla="*/ 709848 h 2068235"/>
              <a:gd name="connsiteX285" fmla="*/ 1449890 w 1848844"/>
              <a:gd name="connsiteY285" fmla="*/ 697466 h 2068235"/>
              <a:gd name="connsiteX286" fmla="*/ 1450507 w 1848844"/>
              <a:gd name="connsiteY286" fmla="*/ 685044 h 2068235"/>
              <a:gd name="connsiteX287" fmla="*/ 1450707 w 1848844"/>
              <a:gd name="connsiteY287" fmla="*/ 680943 h 2068235"/>
              <a:gd name="connsiteX288" fmla="*/ 1450707 w 1848844"/>
              <a:gd name="connsiteY288" fmla="*/ 676882 h 2068235"/>
              <a:gd name="connsiteX289" fmla="*/ 1450647 w 1848844"/>
              <a:gd name="connsiteY289" fmla="*/ 672840 h 2068235"/>
              <a:gd name="connsiteX290" fmla="*/ 1450269 w 1848844"/>
              <a:gd name="connsiteY290" fmla="*/ 668899 h 2068235"/>
              <a:gd name="connsiteX291" fmla="*/ 1440232 w 1848844"/>
              <a:gd name="connsiteY291" fmla="*/ 639655 h 2068235"/>
              <a:gd name="connsiteX292" fmla="*/ 1413161 w 1848844"/>
              <a:gd name="connsiteY292" fmla="*/ 613576 h 2068235"/>
              <a:gd name="connsiteX293" fmla="*/ 1411466 w 1848844"/>
              <a:gd name="connsiteY293" fmla="*/ 610454 h 2068235"/>
              <a:gd name="connsiteX294" fmla="*/ 1410937 w 1848844"/>
              <a:gd name="connsiteY294" fmla="*/ 604040 h 2068235"/>
              <a:gd name="connsiteX295" fmla="*/ 1403748 w 1848844"/>
              <a:gd name="connsiteY295" fmla="*/ 575513 h 2068235"/>
              <a:gd name="connsiteX296" fmla="*/ 1403310 w 1848844"/>
              <a:gd name="connsiteY296" fmla="*/ 574000 h 2068235"/>
              <a:gd name="connsiteX297" fmla="*/ 1364059 w 1848844"/>
              <a:gd name="connsiteY297" fmla="*/ 488000 h 2068235"/>
              <a:gd name="connsiteX298" fmla="*/ 1307205 w 1848844"/>
              <a:gd name="connsiteY298" fmla="*/ 411814 h 2068235"/>
              <a:gd name="connsiteX299" fmla="*/ 1233564 w 1848844"/>
              <a:gd name="connsiteY299" fmla="*/ 348587 h 2068235"/>
              <a:gd name="connsiteX300" fmla="*/ 1131027 w 1848844"/>
              <a:gd name="connsiteY300" fmla="*/ 296967 h 2068235"/>
              <a:gd name="connsiteX301" fmla="*/ 1019052 w 1848844"/>
              <a:gd name="connsiteY301" fmla="*/ 273875 h 2068235"/>
              <a:gd name="connsiteX302" fmla="*/ 907255 w 1848844"/>
              <a:gd name="connsiteY302" fmla="*/ 272919 h 2068235"/>
              <a:gd name="connsiteX303" fmla="*/ 796853 w 1848844"/>
              <a:gd name="connsiteY303" fmla="*/ 293424 h 2068235"/>
              <a:gd name="connsiteX304" fmla="*/ 691867 w 1848844"/>
              <a:gd name="connsiteY304" fmla="*/ 336344 h 2068235"/>
              <a:gd name="connsiteX305" fmla="*/ 598789 w 1848844"/>
              <a:gd name="connsiteY305" fmla="*/ 401541 h 2068235"/>
              <a:gd name="connsiteX306" fmla="*/ 558205 w 1848844"/>
              <a:gd name="connsiteY306" fmla="*/ 441615 h 2068235"/>
              <a:gd name="connsiteX307" fmla="*/ 557926 w 1848844"/>
              <a:gd name="connsiteY307" fmla="*/ 441954 h 2068235"/>
              <a:gd name="connsiteX308" fmla="*/ 554282 w 1848844"/>
              <a:gd name="connsiteY308" fmla="*/ 446214 h 2068235"/>
              <a:gd name="connsiteX309" fmla="*/ 484665 w 1848844"/>
              <a:gd name="connsiteY309" fmla="*/ 572340 h 2068235"/>
              <a:gd name="connsiteX310" fmla="*/ 483209 w 1848844"/>
              <a:gd name="connsiteY310" fmla="*/ 573243 h 2068235"/>
              <a:gd name="connsiteX311" fmla="*/ 479485 w 1848844"/>
              <a:gd name="connsiteY311" fmla="*/ 572945 h 2068235"/>
              <a:gd name="connsiteX312" fmla="*/ 477554 w 1848844"/>
              <a:gd name="connsiteY312" fmla="*/ 572845 h 2068235"/>
              <a:gd name="connsiteX313" fmla="*/ 475204 w 1848844"/>
              <a:gd name="connsiteY313" fmla="*/ 572766 h 2068235"/>
              <a:gd name="connsiteX314" fmla="*/ 468672 w 1848844"/>
              <a:gd name="connsiteY314" fmla="*/ 572586 h 2068235"/>
              <a:gd name="connsiteX315" fmla="*/ 462618 w 1848844"/>
              <a:gd name="connsiteY315" fmla="*/ 572766 h 2068235"/>
              <a:gd name="connsiteX316" fmla="*/ 450630 w 1848844"/>
              <a:gd name="connsiteY316" fmla="*/ 573602 h 2068235"/>
              <a:gd name="connsiteX317" fmla="*/ 439020 w 1848844"/>
              <a:gd name="connsiteY317" fmla="*/ 575592 h 2068235"/>
              <a:gd name="connsiteX318" fmla="*/ 433464 w 1848844"/>
              <a:gd name="connsiteY318" fmla="*/ 577105 h 2068235"/>
              <a:gd name="connsiteX319" fmla="*/ 427988 w 1848844"/>
              <a:gd name="connsiteY319" fmla="*/ 578738 h 2068235"/>
              <a:gd name="connsiteX320" fmla="*/ 417832 w 1848844"/>
              <a:gd name="connsiteY320" fmla="*/ 583257 h 2068235"/>
              <a:gd name="connsiteX321" fmla="*/ 415402 w 1848844"/>
              <a:gd name="connsiteY321" fmla="*/ 584531 h 2068235"/>
              <a:gd name="connsiteX322" fmla="*/ 413112 w 1848844"/>
              <a:gd name="connsiteY322" fmla="*/ 586004 h 2068235"/>
              <a:gd name="connsiteX323" fmla="*/ 410822 w 1848844"/>
              <a:gd name="connsiteY323" fmla="*/ 587477 h 2068235"/>
              <a:gd name="connsiteX324" fmla="*/ 408672 w 1848844"/>
              <a:gd name="connsiteY324" fmla="*/ 589130 h 2068235"/>
              <a:gd name="connsiteX325" fmla="*/ 404549 w 1848844"/>
              <a:gd name="connsiteY325" fmla="*/ 592673 h 2068235"/>
              <a:gd name="connsiteX326" fmla="*/ 402658 w 1848844"/>
              <a:gd name="connsiteY326" fmla="*/ 594644 h 2068235"/>
              <a:gd name="connsiteX327" fmla="*/ 401722 w 1848844"/>
              <a:gd name="connsiteY327" fmla="*/ 595619 h 2068235"/>
              <a:gd name="connsiteX328" fmla="*/ 400925 w 1848844"/>
              <a:gd name="connsiteY328" fmla="*/ 596515 h 2068235"/>
              <a:gd name="connsiteX329" fmla="*/ 400808 w 1848844"/>
              <a:gd name="connsiteY329" fmla="*/ 596643 h 2068235"/>
              <a:gd name="connsiteX330" fmla="*/ 392308 w 1848844"/>
              <a:gd name="connsiteY330" fmla="*/ 613849 h 2068235"/>
              <a:gd name="connsiteX331" fmla="*/ 391048 w 1848844"/>
              <a:gd name="connsiteY331" fmla="*/ 621599 h 2068235"/>
              <a:gd name="connsiteX332" fmla="*/ 389873 w 1848844"/>
              <a:gd name="connsiteY332" fmla="*/ 630637 h 2068235"/>
              <a:gd name="connsiteX333" fmla="*/ 388937 w 1848844"/>
              <a:gd name="connsiteY333" fmla="*/ 639774 h 2068235"/>
              <a:gd name="connsiteX334" fmla="*/ 388220 w 1848844"/>
              <a:gd name="connsiteY334" fmla="*/ 648971 h 2068235"/>
              <a:gd name="connsiteX335" fmla="*/ 387941 w 1848844"/>
              <a:gd name="connsiteY335" fmla="*/ 653391 h 2068235"/>
              <a:gd name="connsiteX336" fmla="*/ 387802 w 1848844"/>
              <a:gd name="connsiteY336" fmla="*/ 655959 h 2068235"/>
              <a:gd name="connsiteX337" fmla="*/ 387404 w 1848844"/>
              <a:gd name="connsiteY337" fmla="*/ 666231 h 2068235"/>
              <a:gd name="connsiteX338" fmla="*/ 388340 w 1848844"/>
              <a:gd name="connsiteY338" fmla="*/ 707400 h 2068235"/>
              <a:gd name="connsiteX339" fmla="*/ 401244 w 1848844"/>
              <a:gd name="connsiteY339" fmla="*/ 781038 h 2068235"/>
              <a:gd name="connsiteX340" fmla="*/ 414447 w 1848844"/>
              <a:gd name="connsiteY340" fmla="*/ 817289 h 2068235"/>
              <a:gd name="connsiteX341" fmla="*/ 423010 w 1848844"/>
              <a:gd name="connsiteY341" fmla="*/ 834947 h 2068235"/>
              <a:gd name="connsiteX342" fmla="*/ 427829 w 1848844"/>
              <a:gd name="connsiteY342" fmla="*/ 843587 h 2068235"/>
              <a:gd name="connsiteX343" fmla="*/ 430418 w 1848844"/>
              <a:gd name="connsiteY343" fmla="*/ 847827 h 2068235"/>
              <a:gd name="connsiteX344" fmla="*/ 434042 w 1848844"/>
              <a:gd name="connsiteY344" fmla="*/ 853640 h 2068235"/>
              <a:gd name="connsiteX345" fmla="*/ 433743 w 1848844"/>
              <a:gd name="connsiteY345" fmla="*/ 853979 h 2068235"/>
              <a:gd name="connsiteX346" fmla="*/ 422810 w 1848844"/>
              <a:gd name="connsiteY346" fmla="*/ 868252 h 2068235"/>
              <a:gd name="connsiteX347" fmla="*/ 410982 w 1848844"/>
              <a:gd name="connsiteY347" fmla="*/ 882406 h 2068235"/>
              <a:gd name="connsiteX348" fmla="*/ 384178 w 1848844"/>
              <a:gd name="connsiteY348" fmla="*/ 921584 h 2068235"/>
              <a:gd name="connsiteX349" fmla="*/ 384018 w 1848844"/>
              <a:gd name="connsiteY349" fmla="*/ 921983 h 2068235"/>
              <a:gd name="connsiteX350" fmla="*/ 404052 w 1848844"/>
              <a:gd name="connsiteY350" fmla="*/ 999303 h 2068235"/>
              <a:gd name="connsiteX351" fmla="*/ 408871 w 1848844"/>
              <a:gd name="connsiteY351" fmla="*/ 1003165 h 2068235"/>
              <a:gd name="connsiteX352" fmla="*/ 417533 w 1848844"/>
              <a:gd name="connsiteY352" fmla="*/ 1008122 h 2068235"/>
              <a:gd name="connsiteX353" fmla="*/ 419345 w 1848844"/>
              <a:gd name="connsiteY353" fmla="*/ 1009038 h 2068235"/>
              <a:gd name="connsiteX354" fmla="*/ 443043 w 1848844"/>
              <a:gd name="connsiteY354" fmla="*/ 1018657 h 2068235"/>
              <a:gd name="connsiteX355" fmla="*/ 469297 w 1848844"/>
              <a:gd name="connsiteY355" fmla="*/ 1034366 h 2068235"/>
              <a:gd name="connsiteX356" fmla="*/ 494222 w 1848844"/>
              <a:gd name="connsiteY356" fmla="*/ 1091736 h 2068235"/>
              <a:gd name="connsiteX357" fmla="*/ 492449 w 1848844"/>
              <a:gd name="connsiteY357" fmla="*/ 1104715 h 2068235"/>
              <a:gd name="connsiteX358" fmla="*/ 490737 w 1848844"/>
              <a:gd name="connsiteY358" fmla="*/ 1160098 h 2068235"/>
              <a:gd name="connsiteX359" fmla="*/ 490856 w 1848844"/>
              <a:gd name="connsiteY359" fmla="*/ 1160735 h 2068235"/>
              <a:gd name="connsiteX360" fmla="*/ 510810 w 1848844"/>
              <a:gd name="connsiteY360" fmla="*/ 1210663 h 2068235"/>
              <a:gd name="connsiteX361" fmla="*/ 50799 w 1848844"/>
              <a:gd name="connsiteY361" fmla="*/ 1499102 h 2068235"/>
              <a:gd name="connsiteX362" fmla="*/ 43172 w 1848844"/>
              <a:gd name="connsiteY362" fmla="*/ 1457675 h 2068235"/>
              <a:gd name="connsiteX363" fmla="*/ 39829 w 1848844"/>
              <a:gd name="connsiteY363" fmla="*/ 590463 h 2068235"/>
              <a:gd name="connsiteX364" fmla="*/ 43632 w 1848844"/>
              <a:gd name="connsiteY364" fmla="*/ 560065 h 2068235"/>
              <a:gd name="connsiteX365" fmla="*/ 277879 w 1848844"/>
              <a:gd name="connsiteY365" fmla="*/ 678554 h 2068235"/>
              <a:gd name="connsiteX366" fmla="*/ 286860 w 1848844"/>
              <a:gd name="connsiteY366" fmla="*/ 680704 h 2068235"/>
              <a:gd name="connsiteX367" fmla="*/ 304644 w 1848844"/>
              <a:gd name="connsiteY367" fmla="*/ 669775 h 2068235"/>
              <a:gd name="connsiteX368" fmla="*/ 295862 w 1848844"/>
              <a:gd name="connsiteY368" fmla="*/ 643019 h 2068235"/>
              <a:gd name="connsiteX369" fmla="*/ 59862 w 1848844"/>
              <a:gd name="connsiteY369" fmla="*/ 523634 h 2068235"/>
              <a:gd name="connsiteX370" fmla="*/ 101462 w 1848844"/>
              <a:gd name="connsiteY370" fmla="*/ 485153 h 2068235"/>
              <a:gd name="connsiteX371" fmla="*/ 101462 w 1848844"/>
              <a:gd name="connsiteY371" fmla="*/ 485193 h 2068235"/>
              <a:gd name="connsiteX372" fmla="*/ 874021 w 1848844"/>
              <a:gd name="connsiteY372" fmla="*/ 55131 h 2068235"/>
              <a:gd name="connsiteX373" fmla="*/ 990915 w 1848844"/>
              <a:gd name="connsiteY373" fmla="*/ 55191 h 2068235"/>
              <a:gd name="connsiteX374" fmla="*/ 1747483 w 1848844"/>
              <a:gd name="connsiteY374" fmla="*/ 477369 h 2068235"/>
              <a:gd name="connsiteX375" fmla="*/ 1763613 w 1848844"/>
              <a:gd name="connsiteY375" fmla="*/ 488199 h 2068235"/>
              <a:gd name="connsiteX376" fmla="*/ 1532413 w 1848844"/>
              <a:gd name="connsiteY376" fmla="*/ 622415 h 2068235"/>
              <a:gd name="connsiteX377" fmla="*/ 1525185 w 1848844"/>
              <a:gd name="connsiteY377" fmla="*/ 649628 h 2068235"/>
              <a:gd name="connsiteX378" fmla="*/ 1542430 w 1848844"/>
              <a:gd name="connsiteY378" fmla="*/ 659542 h 2068235"/>
              <a:gd name="connsiteX379" fmla="*/ 1552407 w 1848844"/>
              <a:gd name="connsiteY379" fmla="*/ 656855 h 2068235"/>
              <a:gd name="connsiteX380" fmla="*/ 1788227 w 1848844"/>
              <a:gd name="connsiteY380" fmla="*/ 519951 h 2068235"/>
              <a:gd name="connsiteX381" fmla="*/ 1790577 w 1848844"/>
              <a:gd name="connsiteY381" fmla="*/ 518319 h 2068235"/>
              <a:gd name="connsiteX382" fmla="*/ 1808997 w 1848844"/>
              <a:gd name="connsiteY382" fmla="*/ 582142 h 2068235"/>
              <a:gd name="connsiteX383" fmla="*/ 1808997 w 1848844"/>
              <a:gd name="connsiteY383" fmla="*/ 1472663 h 2068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</a:cxnLst>
            <a:rect l="l" t="t" r="r" b="b"/>
            <a:pathLst>
              <a:path w="1848844" h="2068235">
                <a:moveTo>
                  <a:pt x="1766899" y="442610"/>
                </a:moveTo>
                <a:lnTo>
                  <a:pt x="1766899" y="442610"/>
                </a:lnTo>
                <a:lnTo>
                  <a:pt x="1010331" y="20413"/>
                </a:lnTo>
                <a:cubicBezTo>
                  <a:pt x="961602" y="-6781"/>
                  <a:pt x="903394" y="-6801"/>
                  <a:pt x="854645" y="20333"/>
                </a:cubicBezTo>
                <a:lnTo>
                  <a:pt x="82086" y="450394"/>
                </a:lnTo>
                <a:cubicBezTo>
                  <a:pt x="31226" y="478703"/>
                  <a:pt x="-218" y="532433"/>
                  <a:pt x="1" y="590642"/>
                </a:cubicBezTo>
                <a:lnTo>
                  <a:pt x="3347" y="1457852"/>
                </a:lnTo>
                <a:cubicBezTo>
                  <a:pt x="3566" y="1514091"/>
                  <a:pt x="33855" y="1566686"/>
                  <a:pt x="82365" y="1595114"/>
                </a:cubicBezTo>
                <a:lnTo>
                  <a:pt x="852574" y="2046357"/>
                </a:lnTo>
                <a:cubicBezTo>
                  <a:pt x="877466" y="2060949"/>
                  <a:pt x="905425" y="2068235"/>
                  <a:pt x="933404" y="2068235"/>
                </a:cubicBezTo>
                <a:cubicBezTo>
                  <a:pt x="961383" y="2068235"/>
                  <a:pt x="988625" y="2061128"/>
                  <a:pt x="1013298" y="2046894"/>
                </a:cubicBezTo>
                <a:lnTo>
                  <a:pt x="1768871" y="1611100"/>
                </a:lnTo>
                <a:cubicBezTo>
                  <a:pt x="1818197" y="1582652"/>
                  <a:pt x="1848845" y="1529619"/>
                  <a:pt x="1848845" y="1472683"/>
                </a:cubicBezTo>
                <a:lnTo>
                  <a:pt x="1848845" y="582142"/>
                </a:lnTo>
                <a:cubicBezTo>
                  <a:pt x="1848845" y="524271"/>
                  <a:pt x="1817440" y="470799"/>
                  <a:pt x="1766899" y="442610"/>
                </a:cubicBezTo>
                <a:close/>
                <a:moveTo>
                  <a:pt x="1748977" y="1576580"/>
                </a:moveTo>
                <a:lnTo>
                  <a:pt x="1748977" y="1576600"/>
                </a:lnTo>
                <a:lnTo>
                  <a:pt x="993405" y="2012395"/>
                </a:lnTo>
                <a:cubicBezTo>
                  <a:pt x="979823" y="2020238"/>
                  <a:pt x="965047" y="2025175"/>
                  <a:pt x="949972" y="2027266"/>
                </a:cubicBezTo>
                <a:lnTo>
                  <a:pt x="949972" y="1757081"/>
                </a:lnTo>
                <a:cubicBezTo>
                  <a:pt x="949972" y="1746092"/>
                  <a:pt x="941051" y="1737174"/>
                  <a:pt x="930059" y="1737174"/>
                </a:cubicBezTo>
                <a:cubicBezTo>
                  <a:pt x="919066" y="1737174"/>
                  <a:pt x="910145" y="1746092"/>
                  <a:pt x="910145" y="1757081"/>
                </a:cubicBezTo>
                <a:lnTo>
                  <a:pt x="910145" y="2026151"/>
                </a:lnTo>
                <a:cubicBezTo>
                  <a:pt x="897141" y="2023583"/>
                  <a:pt x="884476" y="2018885"/>
                  <a:pt x="872726" y="2011997"/>
                </a:cubicBezTo>
                <a:lnTo>
                  <a:pt x="102518" y="1560754"/>
                </a:lnTo>
                <a:cubicBezTo>
                  <a:pt x="90251" y="1553567"/>
                  <a:pt x="79557" y="1544330"/>
                  <a:pt x="70735" y="1533620"/>
                </a:cubicBezTo>
                <a:lnTo>
                  <a:pt x="539109" y="1239925"/>
                </a:lnTo>
                <a:cubicBezTo>
                  <a:pt x="559322" y="1253761"/>
                  <a:pt x="585051" y="1259733"/>
                  <a:pt x="612731" y="1256806"/>
                </a:cubicBezTo>
                <a:cubicBezTo>
                  <a:pt x="612970" y="1256787"/>
                  <a:pt x="613229" y="1256747"/>
                  <a:pt x="613468" y="1256707"/>
                </a:cubicBezTo>
                <a:cubicBezTo>
                  <a:pt x="644653" y="1252248"/>
                  <a:pt x="678029" y="1248286"/>
                  <a:pt x="710807" y="1249441"/>
                </a:cubicBezTo>
                <a:cubicBezTo>
                  <a:pt x="713157" y="1249660"/>
                  <a:pt x="715506" y="1249859"/>
                  <a:pt x="717856" y="1250038"/>
                </a:cubicBezTo>
                <a:cubicBezTo>
                  <a:pt x="726579" y="1250735"/>
                  <a:pt x="734106" y="1251352"/>
                  <a:pt x="739941" y="1253940"/>
                </a:cubicBezTo>
                <a:cubicBezTo>
                  <a:pt x="749340" y="1258120"/>
                  <a:pt x="754976" y="1262162"/>
                  <a:pt x="758142" y="1266979"/>
                </a:cubicBezTo>
                <a:cubicBezTo>
                  <a:pt x="759197" y="1268870"/>
                  <a:pt x="760253" y="1270722"/>
                  <a:pt x="761288" y="1272553"/>
                </a:cubicBezTo>
                <a:cubicBezTo>
                  <a:pt x="765908" y="1280695"/>
                  <a:pt x="769891" y="1287723"/>
                  <a:pt x="772341" y="1294889"/>
                </a:cubicBezTo>
                <a:cubicBezTo>
                  <a:pt x="773735" y="1299667"/>
                  <a:pt x="775348" y="1304226"/>
                  <a:pt x="776941" y="1308646"/>
                </a:cubicBezTo>
                <a:cubicBezTo>
                  <a:pt x="778414" y="1312786"/>
                  <a:pt x="779828" y="1316708"/>
                  <a:pt x="780864" y="1320371"/>
                </a:cubicBezTo>
                <a:cubicBezTo>
                  <a:pt x="795759" y="1372947"/>
                  <a:pt x="798189" y="1425423"/>
                  <a:pt x="800778" y="1480965"/>
                </a:cubicBezTo>
                <a:cubicBezTo>
                  <a:pt x="801275" y="1491615"/>
                  <a:pt x="801793" y="1502644"/>
                  <a:pt x="802391" y="1513573"/>
                </a:cubicBezTo>
                <a:cubicBezTo>
                  <a:pt x="802391" y="1513573"/>
                  <a:pt x="802610" y="1525649"/>
                  <a:pt x="809406" y="1540598"/>
                </a:cubicBezTo>
                <a:cubicBezTo>
                  <a:pt x="818511" y="1557644"/>
                  <a:pt x="829438" y="1567739"/>
                  <a:pt x="844668" y="1573972"/>
                </a:cubicBezTo>
                <a:cubicBezTo>
                  <a:pt x="850403" y="1576122"/>
                  <a:pt x="856039" y="1576839"/>
                  <a:pt x="861395" y="1576839"/>
                </a:cubicBezTo>
                <a:cubicBezTo>
                  <a:pt x="867011" y="1576839"/>
                  <a:pt x="872288" y="1576063"/>
                  <a:pt x="877028" y="1575366"/>
                </a:cubicBezTo>
                <a:cubicBezTo>
                  <a:pt x="878581" y="1575147"/>
                  <a:pt x="880134" y="1574908"/>
                  <a:pt x="881688" y="1574709"/>
                </a:cubicBezTo>
                <a:cubicBezTo>
                  <a:pt x="882046" y="1574669"/>
                  <a:pt x="882425" y="1574609"/>
                  <a:pt x="882783" y="1574550"/>
                </a:cubicBezTo>
                <a:cubicBezTo>
                  <a:pt x="926215" y="1566647"/>
                  <a:pt x="963633" y="1555100"/>
                  <a:pt x="1000275" y="1538258"/>
                </a:cubicBezTo>
                <a:lnTo>
                  <a:pt x="1009634" y="1534392"/>
                </a:lnTo>
                <a:cubicBezTo>
                  <a:pt x="1071387" y="1506422"/>
                  <a:pt x="1129874" y="1473519"/>
                  <a:pt x="1195132" y="1427732"/>
                </a:cubicBezTo>
                <a:cubicBezTo>
                  <a:pt x="1195929" y="1427175"/>
                  <a:pt x="1196665" y="1426577"/>
                  <a:pt x="1197362" y="1425921"/>
                </a:cubicBezTo>
                <a:cubicBezTo>
                  <a:pt x="1201644" y="1421859"/>
                  <a:pt x="1206005" y="1417958"/>
                  <a:pt x="1210585" y="1413797"/>
                </a:cubicBezTo>
                <a:cubicBezTo>
                  <a:pt x="1229105" y="1397094"/>
                  <a:pt x="1248242" y="1379835"/>
                  <a:pt x="1261724" y="1355388"/>
                </a:cubicBezTo>
                <a:cubicBezTo>
                  <a:pt x="1264886" y="1351146"/>
                  <a:pt x="1270406" y="1340378"/>
                  <a:pt x="1270406" y="1340378"/>
                </a:cubicBezTo>
                <a:cubicBezTo>
                  <a:pt x="1273832" y="1331897"/>
                  <a:pt x="1277715" y="1322282"/>
                  <a:pt x="1278969" y="1310955"/>
                </a:cubicBezTo>
                <a:cubicBezTo>
                  <a:pt x="1279009" y="1310537"/>
                  <a:pt x="1279049" y="1310119"/>
                  <a:pt x="1279069" y="1309701"/>
                </a:cubicBezTo>
                <a:cubicBezTo>
                  <a:pt x="1280124" y="1287703"/>
                  <a:pt x="1276460" y="1266223"/>
                  <a:pt x="1271542" y="1246693"/>
                </a:cubicBezTo>
                <a:lnTo>
                  <a:pt x="1790099" y="1537203"/>
                </a:lnTo>
                <a:cubicBezTo>
                  <a:pt x="1779883" y="1553189"/>
                  <a:pt x="1765903" y="1566826"/>
                  <a:pt x="1748977" y="1576580"/>
                </a:cubicBezTo>
                <a:close/>
                <a:moveTo>
                  <a:pt x="475696" y="988332"/>
                </a:moveTo>
                <a:cubicBezTo>
                  <a:pt x="473824" y="987076"/>
                  <a:pt x="471862" y="985947"/>
                  <a:pt x="469825" y="984982"/>
                </a:cubicBezTo>
                <a:cubicBezTo>
                  <a:pt x="468833" y="984510"/>
                  <a:pt x="467720" y="984082"/>
                  <a:pt x="466045" y="983736"/>
                </a:cubicBezTo>
                <a:cubicBezTo>
                  <a:pt x="456128" y="981745"/>
                  <a:pt x="446570" y="977584"/>
                  <a:pt x="436493" y="973105"/>
                </a:cubicBezTo>
                <a:lnTo>
                  <a:pt x="430838" y="969880"/>
                </a:lnTo>
                <a:cubicBezTo>
                  <a:pt x="430519" y="969601"/>
                  <a:pt x="430220" y="969323"/>
                  <a:pt x="429882" y="969064"/>
                </a:cubicBezTo>
                <a:cubicBezTo>
                  <a:pt x="420124" y="961399"/>
                  <a:pt x="416778" y="948539"/>
                  <a:pt x="421299" y="936236"/>
                </a:cubicBezTo>
                <a:cubicBezTo>
                  <a:pt x="425103" y="926860"/>
                  <a:pt x="432829" y="918041"/>
                  <a:pt x="441014" y="908704"/>
                </a:cubicBezTo>
                <a:cubicBezTo>
                  <a:pt x="445534" y="903548"/>
                  <a:pt x="450194" y="898213"/>
                  <a:pt x="454575" y="892440"/>
                </a:cubicBezTo>
                <a:lnTo>
                  <a:pt x="463496" y="880794"/>
                </a:lnTo>
                <a:cubicBezTo>
                  <a:pt x="474768" y="886866"/>
                  <a:pt x="487552" y="889991"/>
                  <a:pt x="500397" y="890051"/>
                </a:cubicBezTo>
                <a:cubicBezTo>
                  <a:pt x="507446" y="890091"/>
                  <a:pt x="514496" y="889115"/>
                  <a:pt x="521386" y="887284"/>
                </a:cubicBezTo>
                <a:lnTo>
                  <a:pt x="534011" y="883840"/>
                </a:lnTo>
                <a:lnTo>
                  <a:pt x="554682" y="878206"/>
                </a:lnTo>
                <a:lnTo>
                  <a:pt x="556295" y="877748"/>
                </a:lnTo>
                <a:lnTo>
                  <a:pt x="559420" y="876820"/>
                </a:lnTo>
                <a:cubicBezTo>
                  <a:pt x="560391" y="876532"/>
                  <a:pt x="561355" y="876217"/>
                  <a:pt x="562309" y="875877"/>
                </a:cubicBezTo>
                <a:lnTo>
                  <a:pt x="566272" y="874463"/>
                </a:lnTo>
                <a:lnTo>
                  <a:pt x="570175" y="872871"/>
                </a:lnTo>
                <a:cubicBezTo>
                  <a:pt x="575333" y="870661"/>
                  <a:pt x="580391" y="868153"/>
                  <a:pt x="585190" y="865206"/>
                </a:cubicBezTo>
                <a:cubicBezTo>
                  <a:pt x="594828" y="859374"/>
                  <a:pt x="603610" y="852147"/>
                  <a:pt x="611178" y="843766"/>
                </a:cubicBezTo>
                <a:cubicBezTo>
                  <a:pt x="614961" y="839585"/>
                  <a:pt x="618486" y="835126"/>
                  <a:pt x="621593" y="830408"/>
                </a:cubicBezTo>
                <a:cubicBezTo>
                  <a:pt x="623186" y="828119"/>
                  <a:pt x="624659" y="825551"/>
                  <a:pt x="626014" y="823281"/>
                </a:cubicBezTo>
                <a:lnTo>
                  <a:pt x="628662" y="818623"/>
                </a:lnTo>
                <a:lnTo>
                  <a:pt x="628821" y="818344"/>
                </a:lnTo>
                <a:lnTo>
                  <a:pt x="628841" y="818344"/>
                </a:lnTo>
                <a:lnTo>
                  <a:pt x="628881" y="818285"/>
                </a:lnTo>
                <a:cubicBezTo>
                  <a:pt x="628881" y="818285"/>
                  <a:pt x="628921" y="818225"/>
                  <a:pt x="628941" y="818185"/>
                </a:cubicBezTo>
                <a:cubicBezTo>
                  <a:pt x="628941" y="818105"/>
                  <a:pt x="629040" y="818085"/>
                  <a:pt x="629060" y="818006"/>
                </a:cubicBezTo>
                <a:cubicBezTo>
                  <a:pt x="629060" y="817926"/>
                  <a:pt x="629160" y="817906"/>
                  <a:pt x="629200" y="817827"/>
                </a:cubicBezTo>
                <a:cubicBezTo>
                  <a:pt x="629220" y="817747"/>
                  <a:pt x="629279" y="817707"/>
                  <a:pt x="629339" y="817667"/>
                </a:cubicBezTo>
                <a:cubicBezTo>
                  <a:pt x="629538" y="817448"/>
                  <a:pt x="629777" y="817229"/>
                  <a:pt x="630036" y="817050"/>
                </a:cubicBezTo>
                <a:cubicBezTo>
                  <a:pt x="630574" y="816652"/>
                  <a:pt x="631251" y="816433"/>
                  <a:pt x="631948" y="816314"/>
                </a:cubicBezTo>
                <a:cubicBezTo>
                  <a:pt x="632028" y="816314"/>
                  <a:pt x="632127" y="816254"/>
                  <a:pt x="632207" y="816274"/>
                </a:cubicBezTo>
                <a:cubicBezTo>
                  <a:pt x="632247" y="816274"/>
                  <a:pt x="632306" y="816274"/>
                  <a:pt x="632346" y="816274"/>
                </a:cubicBezTo>
                <a:lnTo>
                  <a:pt x="632406" y="816274"/>
                </a:lnTo>
                <a:lnTo>
                  <a:pt x="632983" y="816234"/>
                </a:lnTo>
                <a:lnTo>
                  <a:pt x="638340" y="815995"/>
                </a:lnTo>
                <a:lnTo>
                  <a:pt x="649034" y="815497"/>
                </a:lnTo>
                <a:lnTo>
                  <a:pt x="820234" y="807654"/>
                </a:lnTo>
                <a:lnTo>
                  <a:pt x="991433" y="799810"/>
                </a:lnTo>
                <a:lnTo>
                  <a:pt x="1162633" y="791967"/>
                </a:lnTo>
                <a:lnTo>
                  <a:pt x="1333832" y="784123"/>
                </a:lnTo>
                <a:lnTo>
                  <a:pt x="1374675" y="782252"/>
                </a:lnTo>
                <a:cubicBezTo>
                  <a:pt x="1374675" y="782252"/>
                  <a:pt x="1374675" y="782252"/>
                  <a:pt x="1374675" y="782252"/>
                </a:cubicBezTo>
                <a:lnTo>
                  <a:pt x="1373959" y="791210"/>
                </a:lnTo>
                <a:cubicBezTo>
                  <a:pt x="1372087" y="806619"/>
                  <a:pt x="1369398" y="822107"/>
                  <a:pt x="1365973" y="837276"/>
                </a:cubicBezTo>
                <a:lnTo>
                  <a:pt x="1364300" y="844642"/>
                </a:lnTo>
                <a:cubicBezTo>
                  <a:pt x="1357390" y="866879"/>
                  <a:pt x="1347632" y="888558"/>
                  <a:pt x="1333633" y="912765"/>
                </a:cubicBezTo>
                <a:lnTo>
                  <a:pt x="1322820" y="930782"/>
                </a:lnTo>
                <a:cubicBezTo>
                  <a:pt x="1315073" y="942388"/>
                  <a:pt x="1307406" y="953655"/>
                  <a:pt x="1298923" y="963928"/>
                </a:cubicBezTo>
                <a:cubicBezTo>
                  <a:pt x="1287911" y="977246"/>
                  <a:pt x="1277595" y="991738"/>
                  <a:pt x="1267399" y="1008222"/>
                </a:cubicBezTo>
                <a:cubicBezTo>
                  <a:pt x="1248541" y="1038680"/>
                  <a:pt x="1225063" y="1076604"/>
                  <a:pt x="1218471" y="1121675"/>
                </a:cubicBezTo>
                <a:lnTo>
                  <a:pt x="1218431" y="1121933"/>
                </a:lnTo>
                <a:cubicBezTo>
                  <a:pt x="1212995" y="1162664"/>
                  <a:pt x="1216161" y="1201742"/>
                  <a:pt x="1227811" y="1238093"/>
                </a:cubicBezTo>
                <a:cubicBezTo>
                  <a:pt x="1234084" y="1259036"/>
                  <a:pt x="1240336" y="1283582"/>
                  <a:pt x="1239341" y="1307272"/>
                </a:cubicBezTo>
                <a:cubicBezTo>
                  <a:pt x="1238584" y="1313005"/>
                  <a:pt x="1236115" y="1319137"/>
                  <a:pt x="1233486" y="1325627"/>
                </a:cubicBezTo>
                <a:cubicBezTo>
                  <a:pt x="1233482" y="1325637"/>
                  <a:pt x="1233478" y="1325647"/>
                  <a:pt x="1233474" y="1325658"/>
                </a:cubicBezTo>
                <a:cubicBezTo>
                  <a:pt x="1232642" y="1327721"/>
                  <a:pt x="1231648" y="1329714"/>
                  <a:pt x="1230499" y="1331619"/>
                </a:cubicBezTo>
                <a:lnTo>
                  <a:pt x="1229051" y="1334020"/>
                </a:lnTo>
                <a:cubicBezTo>
                  <a:pt x="1218835" y="1353609"/>
                  <a:pt x="1201285" y="1368706"/>
                  <a:pt x="1183921" y="1384374"/>
                </a:cubicBezTo>
                <a:cubicBezTo>
                  <a:pt x="1179719" y="1388176"/>
                  <a:pt x="1175357" y="1392098"/>
                  <a:pt x="1171096" y="1396099"/>
                </a:cubicBezTo>
                <a:cubicBezTo>
                  <a:pt x="1109124" y="1439517"/>
                  <a:pt x="1052947" y="1472205"/>
                  <a:pt x="994639" y="1498802"/>
                </a:cubicBezTo>
                <a:lnTo>
                  <a:pt x="994599" y="1498702"/>
                </a:lnTo>
                <a:lnTo>
                  <a:pt x="986112" y="1502288"/>
                </a:lnTo>
                <a:cubicBezTo>
                  <a:pt x="952059" y="1518154"/>
                  <a:pt x="916856" y="1527887"/>
                  <a:pt x="876172" y="1535312"/>
                </a:cubicBezTo>
                <a:cubicBezTo>
                  <a:pt x="874539" y="1535531"/>
                  <a:pt x="872886" y="1535770"/>
                  <a:pt x="871253" y="1536009"/>
                </a:cubicBezTo>
                <a:cubicBezTo>
                  <a:pt x="866456" y="1536714"/>
                  <a:pt x="860519" y="1537430"/>
                  <a:pt x="858516" y="1536674"/>
                </a:cubicBezTo>
                <a:cubicBezTo>
                  <a:pt x="844520" y="1531390"/>
                  <a:pt x="842204" y="1512719"/>
                  <a:pt x="842204" y="1512719"/>
                </a:cubicBezTo>
                <a:lnTo>
                  <a:pt x="842159" y="1511841"/>
                </a:lnTo>
                <a:cubicBezTo>
                  <a:pt x="841561" y="1500932"/>
                  <a:pt x="841043" y="1489863"/>
                  <a:pt x="840546" y="1479153"/>
                </a:cubicBezTo>
                <a:cubicBezTo>
                  <a:pt x="837977" y="1423810"/>
                  <a:pt x="835308" y="1366576"/>
                  <a:pt x="819158" y="1309521"/>
                </a:cubicBezTo>
                <a:cubicBezTo>
                  <a:pt x="817744" y="1304565"/>
                  <a:pt x="816052" y="1299866"/>
                  <a:pt x="814439" y="1295307"/>
                </a:cubicBezTo>
                <a:cubicBezTo>
                  <a:pt x="812965" y="1291167"/>
                  <a:pt x="811551" y="1287245"/>
                  <a:pt x="810496" y="1283542"/>
                </a:cubicBezTo>
                <a:cubicBezTo>
                  <a:pt x="810416" y="1283263"/>
                  <a:pt x="810336" y="1282985"/>
                  <a:pt x="810237" y="1282706"/>
                </a:cubicBezTo>
                <a:cubicBezTo>
                  <a:pt x="806593" y="1271757"/>
                  <a:pt x="801176" y="1262201"/>
                  <a:pt x="795919" y="1252964"/>
                </a:cubicBezTo>
                <a:cubicBezTo>
                  <a:pt x="794843" y="1251053"/>
                  <a:pt x="793748" y="1249142"/>
                  <a:pt x="792653" y="1247171"/>
                </a:cubicBezTo>
                <a:cubicBezTo>
                  <a:pt x="792493" y="1246873"/>
                  <a:pt x="792314" y="1246574"/>
                  <a:pt x="792135" y="1246295"/>
                </a:cubicBezTo>
                <a:cubicBezTo>
                  <a:pt x="782318" y="1230568"/>
                  <a:pt x="766864" y="1222406"/>
                  <a:pt x="756111" y="1217629"/>
                </a:cubicBezTo>
                <a:cubicBezTo>
                  <a:pt x="744063" y="1212273"/>
                  <a:pt x="731836" y="1211298"/>
                  <a:pt x="721042" y="1210422"/>
                </a:cubicBezTo>
                <a:cubicBezTo>
                  <a:pt x="718752" y="1210243"/>
                  <a:pt x="716442" y="1210044"/>
                  <a:pt x="714134" y="1209825"/>
                </a:cubicBezTo>
                <a:cubicBezTo>
                  <a:pt x="713762" y="1209801"/>
                  <a:pt x="713392" y="1209775"/>
                  <a:pt x="713019" y="1209751"/>
                </a:cubicBezTo>
                <a:cubicBezTo>
                  <a:pt x="676967" y="1208401"/>
                  <a:pt x="641371" y="1212566"/>
                  <a:pt x="608230" y="1217310"/>
                </a:cubicBezTo>
                <a:cubicBezTo>
                  <a:pt x="596242" y="1218524"/>
                  <a:pt x="573939" y="1218266"/>
                  <a:pt x="556873" y="1203474"/>
                </a:cubicBezTo>
                <a:cubicBezTo>
                  <a:pt x="543570" y="1191948"/>
                  <a:pt x="534768" y="1175405"/>
                  <a:pt x="529969" y="1152889"/>
                </a:cubicBezTo>
                <a:cubicBezTo>
                  <a:pt x="527719" y="1139751"/>
                  <a:pt x="529770" y="1125497"/>
                  <a:pt x="531940" y="1110407"/>
                </a:cubicBezTo>
                <a:cubicBezTo>
                  <a:pt x="532617" y="1105689"/>
                  <a:pt x="533314" y="1100812"/>
                  <a:pt x="533892" y="1095894"/>
                </a:cubicBezTo>
                <a:cubicBezTo>
                  <a:pt x="533932" y="1095556"/>
                  <a:pt x="533972" y="1095218"/>
                  <a:pt x="533992" y="1094899"/>
                </a:cubicBezTo>
                <a:cubicBezTo>
                  <a:pt x="536656" y="1054853"/>
                  <a:pt x="514386" y="1014313"/>
                  <a:pt x="475696" y="988332"/>
                </a:cubicBezTo>
                <a:close/>
                <a:moveTo>
                  <a:pt x="524911" y="608918"/>
                </a:moveTo>
                <a:lnTo>
                  <a:pt x="566750" y="616960"/>
                </a:lnTo>
                <a:lnTo>
                  <a:pt x="569359" y="617458"/>
                </a:lnTo>
                <a:lnTo>
                  <a:pt x="571609" y="617876"/>
                </a:lnTo>
                <a:cubicBezTo>
                  <a:pt x="573043" y="618115"/>
                  <a:pt x="574496" y="618294"/>
                  <a:pt x="575950" y="618433"/>
                </a:cubicBezTo>
                <a:cubicBezTo>
                  <a:pt x="577404" y="618573"/>
                  <a:pt x="578857" y="618652"/>
                  <a:pt x="580311" y="618672"/>
                </a:cubicBezTo>
                <a:lnTo>
                  <a:pt x="585608" y="618772"/>
                </a:lnTo>
                <a:lnTo>
                  <a:pt x="607036" y="619150"/>
                </a:lnTo>
                <a:lnTo>
                  <a:pt x="692705" y="620683"/>
                </a:lnTo>
                <a:lnTo>
                  <a:pt x="864044" y="623729"/>
                </a:lnTo>
                <a:lnTo>
                  <a:pt x="1035383" y="626775"/>
                </a:lnTo>
                <a:lnTo>
                  <a:pt x="1206722" y="629820"/>
                </a:lnTo>
                <a:lnTo>
                  <a:pt x="1292391" y="631353"/>
                </a:lnTo>
                <a:lnTo>
                  <a:pt x="1335226" y="632110"/>
                </a:lnTo>
                <a:lnTo>
                  <a:pt x="1356653" y="632488"/>
                </a:lnTo>
                <a:lnTo>
                  <a:pt x="1367845" y="632687"/>
                </a:lnTo>
                <a:cubicBezTo>
                  <a:pt x="1372565" y="632787"/>
                  <a:pt x="1377344" y="632787"/>
                  <a:pt x="1381944" y="633264"/>
                </a:cubicBezTo>
                <a:cubicBezTo>
                  <a:pt x="1396023" y="634618"/>
                  <a:pt x="1409326" y="642979"/>
                  <a:pt x="1416156" y="655421"/>
                </a:cubicBezTo>
                <a:cubicBezTo>
                  <a:pt x="1419701" y="661533"/>
                  <a:pt x="1421513" y="668560"/>
                  <a:pt x="1421792" y="675608"/>
                </a:cubicBezTo>
                <a:cubicBezTo>
                  <a:pt x="1421851" y="677379"/>
                  <a:pt x="1421851" y="679171"/>
                  <a:pt x="1421792" y="680983"/>
                </a:cubicBezTo>
                <a:cubicBezTo>
                  <a:pt x="1421772" y="682774"/>
                  <a:pt x="1421692" y="684586"/>
                  <a:pt x="1421593" y="686397"/>
                </a:cubicBezTo>
                <a:lnTo>
                  <a:pt x="1421115" y="695973"/>
                </a:lnTo>
                <a:lnTo>
                  <a:pt x="1420637" y="705529"/>
                </a:lnTo>
                <a:cubicBezTo>
                  <a:pt x="1420418" y="709152"/>
                  <a:pt x="1420258" y="712775"/>
                  <a:pt x="1419621" y="716259"/>
                </a:cubicBezTo>
                <a:cubicBezTo>
                  <a:pt x="1418546" y="723286"/>
                  <a:pt x="1415578" y="729975"/>
                  <a:pt x="1411297" y="735609"/>
                </a:cubicBezTo>
                <a:cubicBezTo>
                  <a:pt x="1407016" y="741282"/>
                  <a:pt x="1401300" y="745821"/>
                  <a:pt x="1394888" y="748847"/>
                </a:cubicBezTo>
                <a:cubicBezTo>
                  <a:pt x="1391682" y="750400"/>
                  <a:pt x="1388257" y="751395"/>
                  <a:pt x="1384792" y="752172"/>
                </a:cubicBezTo>
                <a:cubicBezTo>
                  <a:pt x="1383039" y="752431"/>
                  <a:pt x="1381287" y="752769"/>
                  <a:pt x="1379515" y="752928"/>
                </a:cubicBezTo>
                <a:cubicBezTo>
                  <a:pt x="1377742" y="753107"/>
                  <a:pt x="1375910" y="753187"/>
                  <a:pt x="1374118" y="753326"/>
                </a:cubicBezTo>
                <a:lnTo>
                  <a:pt x="1332398" y="755238"/>
                </a:lnTo>
                <a:lnTo>
                  <a:pt x="1161199" y="763081"/>
                </a:lnTo>
                <a:lnTo>
                  <a:pt x="989999" y="770925"/>
                </a:lnTo>
                <a:lnTo>
                  <a:pt x="818800" y="778768"/>
                </a:lnTo>
                <a:lnTo>
                  <a:pt x="647600" y="786612"/>
                </a:lnTo>
                <a:lnTo>
                  <a:pt x="636906" y="787109"/>
                </a:lnTo>
                <a:lnTo>
                  <a:pt x="631550" y="787348"/>
                </a:lnTo>
                <a:cubicBezTo>
                  <a:pt x="631052" y="787348"/>
                  <a:pt x="630733" y="787388"/>
                  <a:pt x="630434" y="787428"/>
                </a:cubicBezTo>
                <a:lnTo>
                  <a:pt x="629498" y="787508"/>
                </a:lnTo>
                <a:cubicBezTo>
                  <a:pt x="628861" y="787527"/>
                  <a:pt x="628244" y="787647"/>
                  <a:pt x="627627" y="787727"/>
                </a:cubicBezTo>
                <a:cubicBezTo>
                  <a:pt x="622648" y="788463"/>
                  <a:pt x="617809" y="790314"/>
                  <a:pt x="613667" y="793181"/>
                </a:cubicBezTo>
                <a:cubicBezTo>
                  <a:pt x="609505" y="796068"/>
                  <a:pt x="606120" y="799731"/>
                  <a:pt x="603551" y="804250"/>
                </a:cubicBezTo>
                <a:lnTo>
                  <a:pt x="600902" y="808908"/>
                </a:lnTo>
                <a:cubicBezTo>
                  <a:pt x="599827" y="810680"/>
                  <a:pt x="598771" y="812571"/>
                  <a:pt x="597557" y="814303"/>
                </a:cubicBezTo>
                <a:cubicBezTo>
                  <a:pt x="595227" y="817847"/>
                  <a:pt x="592578" y="821191"/>
                  <a:pt x="589731" y="824336"/>
                </a:cubicBezTo>
                <a:cubicBezTo>
                  <a:pt x="584035" y="830647"/>
                  <a:pt x="577424" y="836082"/>
                  <a:pt x="570155" y="840481"/>
                </a:cubicBezTo>
                <a:cubicBezTo>
                  <a:pt x="566551" y="842711"/>
                  <a:pt x="562727" y="844582"/>
                  <a:pt x="558844" y="846255"/>
                </a:cubicBezTo>
                <a:lnTo>
                  <a:pt x="555897" y="847449"/>
                </a:lnTo>
                <a:lnTo>
                  <a:pt x="552910" y="848504"/>
                </a:lnTo>
                <a:cubicBezTo>
                  <a:pt x="551914" y="848882"/>
                  <a:pt x="550898" y="849161"/>
                  <a:pt x="549883" y="849460"/>
                </a:cubicBezTo>
                <a:cubicBezTo>
                  <a:pt x="548907" y="849738"/>
                  <a:pt x="547752" y="850097"/>
                  <a:pt x="546975" y="850316"/>
                </a:cubicBezTo>
                <a:lnTo>
                  <a:pt x="526305" y="855949"/>
                </a:lnTo>
                <a:lnTo>
                  <a:pt x="515233" y="858975"/>
                </a:lnTo>
                <a:cubicBezTo>
                  <a:pt x="510672" y="860249"/>
                  <a:pt x="506013" y="861105"/>
                  <a:pt x="501313" y="861145"/>
                </a:cubicBezTo>
                <a:cubicBezTo>
                  <a:pt x="492650" y="861265"/>
                  <a:pt x="483948" y="859194"/>
                  <a:pt x="476361" y="854994"/>
                </a:cubicBezTo>
                <a:cubicBezTo>
                  <a:pt x="468774" y="850813"/>
                  <a:pt x="462302" y="844642"/>
                  <a:pt x="457721" y="837236"/>
                </a:cubicBezTo>
                <a:lnTo>
                  <a:pt x="454914" y="832737"/>
                </a:lnTo>
                <a:cubicBezTo>
                  <a:pt x="454157" y="831483"/>
                  <a:pt x="453340" y="830269"/>
                  <a:pt x="452623" y="828975"/>
                </a:cubicBezTo>
                <a:lnTo>
                  <a:pt x="448342" y="821310"/>
                </a:lnTo>
                <a:cubicBezTo>
                  <a:pt x="445654" y="816115"/>
                  <a:pt x="443005" y="810919"/>
                  <a:pt x="440715" y="805564"/>
                </a:cubicBezTo>
                <a:cubicBezTo>
                  <a:pt x="436015" y="794913"/>
                  <a:pt x="432072" y="783984"/>
                  <a:pt x="428826" y="772895"/>
                </a:cubicBezTo>
                <a:cubicBezTo>
                  <a:pt x="422354" y="750699"/>
                  <a:pt x="418670" y="727964"/>
                  <a:pt x="416998" y="705210"/>
                </a:cubicBezTo>
                <a:cubicBezTo>
                  <a:pt x="416042" y="692429"/>
                  <a:pt x="415803" y="679649"/>
                  <a:pt x="416121" y="666868"/>
                </a:cubicBezTo>
                <a:lnTo>
                  <a:pt x="416221" y="666948"/>
                </a:lnTo>
                <a:cubicBezTo>
                  <a:pt x="416301" y="663763"/>
                  <a:pt x="416420" y="660558"/>
                  <a:pt x="416579" y="657372"/>
                </a:cubicBezTo>
                <a:lnTo>
                  <a:pt x="416878" y="651977"/>
                </a:lnTo>
                <a:lnTo>
                  <a:pt x="417336" y="645866"/>
                </a:lnTo>
                <a:cubicBezTo>
                  <a:pt x="417993" y="637724"/>
                  <a:pt x="419029" y="629701"/>
                  <a:pt x="420283" y="621798"/>
                </a:cubicBezTo>
                <a:cubicBezTo>
                  <a:pt x="421490" y="616162"/>
                  <a:pt x="423450" y="614512"/>
                  <a:pt x="423450" y="614512"/>
                </a:cubicBezTo>
                <a:cubicBezTo>
                  <a:pt x="423589" y="614253"/>
                  <a:pt x="423868" y="614034"/>
                  <a:pt x="424087" y="613815"/>
                </a:cubicBezTo>
                <a:cubicBezTo>
                  <a:pt x="424525" y="613357"/>
                  <a:pt x="425043" y="612959"/>
                  <a:pt x="425501" y="612541"/>
                </a:cubicBezTo>
                <a:cubicBezTo>
                  <a:pt x="426496" y="611764"/>
                  <a:pt x="427512" y="610968"/>
                  <a:pt x="428607" y="610331"/>
                </a:cubicBezTo>
                <a:cubicBezTo>
                  <a:pt x="432929" y="607663"/>
                  <a:pt x="437688" y="605772"/>
                  <a:pt x="442667" y="604379"/>
                </a:cubicBezTo>
                <a:cubicBezTo>
                  <a:pt x="444528" y="603907"/>
                  <a:pt x="446422" y="603499"/>
                  <a:pt x="448326" y="603109"/>
                </a:cubicBezTo>
                <a:cubicBezTo>
                  <a:pt x="449650" y="602838"/>
                  <a:pt x="450987" y="602627"/>
                  <a:pt x="452325" y="602450"/>
                </a:cubicBezTo>
                <a:cubicBezTo>
                  <a:pt x="453860" y="602247"/>
                  <a:pt x="455393" y="602034"/>
                  <a:pt x="456929" y="601852"/>
                </a:cubicBezTo>
                <a:cubicBezTo>
                  <a:pt x="457761" y="601753"/>
                  <a:pt x="458596" y="601691"/>
                  <a:pt x="459434" y="601651"/>
                </a:cubicBezTo>
                <a:lnTo>
                  <a:pt x="466185" y="601333"/>
                </a:lnTo>
                <a:cubicBezTo>
                  <a:pt x="467519" y="601253"/>
                  <a:pt x="468853" y="601313"/>
                  <a:pt x="470207" y="601313"/>
                </a:cubicBezTo>
                <a:lnTo>
                  <a:pt x="474389" y="601432"/>
                </a:lnTo>
                <a:cubicBezTo>
                  <a:pt x="476879" y="601472"/>
                  <a:pt x="478870" y="601651"/>
                  <a:pt x="481080" y="601830"/>
                </a:cubicBezTo>
                <a:cubicBezTo>
                  <a:pt x="483251" y="602010"/>
                  <a:pt x="485442" y="602149"/>
                  <a:pt x="487592" y="602388"/>
                </a:cubicBezTo>
                <a:cubicBezTo>
                  <a:pt x="491834" y="602985"/>
                  <a:pt x="496175" y="603383"/>
                  <a:pt x="500357" y="604140"/>
                </a:cubicBezTo>
                <a:lnTo>
                  <a:pt x="506650" y="605215"/>
                </a:lnTo>
                <a:lnTo>
                  <a:pt x="509796" y="605752"/>
                </a:lnTo>
                <a:lnTo>
                  <a:pt x="512823" y="606389"/>
                </a:lnTo>
                <a:cubicBezTo>
                  <a:pt x="516846" y="607225"/>
                  <a:pt x="520968" y="608161"/>
                  <a:pt x="524911" y="608918"/>
                </a:cubicBezTo>
                <a:close/>
                <a:moveTo>
                  <a:pt x="524712" y="579554"/>
                </a:moveTo>
                <a:cubicBezTo>
                  <a:pt x="539289" y="544378"/>
                  <a:pt x="566471" y="493554"/>
                  <a:pt x="584792" y="471815"/>
                </a:cubicBezTo>
                <a:cubicBezTo>
                  <a:pt x="585847" y="470561"/>
                  <a:pt x="586923" y="469306"/>
                  <a:pt x="587978" y="468092"/>
                </a:cubicBezTo>
                <a:lnTo>
                  <a:pt x="588376" y="467634"/>
                </a:lnTo>
                <a:cubicBezTo>
                  <a:pt x="598413" y="456108"/>
                  <a:pt x="610740" y="443964"/>
                  <a:pt x="625038" y="431502"/>
                </a:cubicBezTo>
                <a:cubicBezTo>
                  <a:pt x="652499" y="407553"/>
                  <a:pt x="681394" y="387307"/>
                  <a:pt x="710926" y="371302"/>
                </a:cubicBezTo>
                <a:cubicBezTo>
                  <a:pt x="741494" y="354739"/>
                  <a:pt x="774153" y="341381"/>
                  <a:pt x="807967" y="331626"/>
                </a:cubicBezTo>
                <a:cubicBezTo>
                  <a:pt x="841422" y="321971"/>
                  <a:pt x="876012" y="315561"/>
                  <a:pt x="910782" y="312535"/>
                </a:cubicBezTo>
                <a:cubicBezTo>
                  <a:pt x="945213" y="309549"/>
                  <a:pt x="980301" y="309847"/>
                  <a:pt x="1015031" y="313431"/>
                </a:cubicBezTo>
                <a:cubicBezTo>
                  <a:pt x="1054520" y="317512"/>
                  <a:pt x="1088294" y="324440"/>
                  <a:pt x="1118284" y="334632"/>
                </a:cubicBezTo>
                <a:cubicBezTo>
                  <a:pt x="1150047" y="345422"/>
                  <a:pt x="1182168" y="361587"/>
                  <a:pt x="1211143" y="381415"/>
                </a:cubicBezTo>
                <a:cubicBezTo>
                  <a:pt x="1235637" y="398157"/>
                  <a:pt x="1258179" y="417507"/>
                  <a:pt x="1278133" y="438928"/>
                </a:cubicBezTo>
                <a:cubicBezTo>
                  <a:pt x="1297708" y="459930"/>
                  <a:pt x="1315093" y="483242"/>
                  <a:pt x="1329810" y="508186"/>
                </a:cubicBezTo>
                <a:cubicBezTo>
                  <a:pt x="1344128" y="532473"/>
                  <a:pt x="1356096" y="558651"/>
                  <a:pt x="1365396" y="585984"/>
                </a:cubicBezTo>
                <a:lnTo>
                  <a:pt x="1369936" y="603981"/>
                </a:lnTo>
                <a:cubicBezTo>
                  <a:pt x="1369777" y="603981"/>
                  <a:pt x="1369617" y="603981"/>
                  <a:pt x="1369458" y="603981"/>
                </a:cubicBezTo>
                <a:lnTo>
                  <a:pt x="1357231" y="603762"/>
                </a:lnTo>
                <a:lnTo>
                  <a:pt x="1335804" y="603383"/>
                </a:lnTo>
                <a:lnTo>
                  <a:pt x="1292969" y="602627"/>
                </a:lnTo>
                <a:lnTo>
                  <a:pt x="1207299" y="601094"/>
                </a:lnTo>
                <a:lnTo>
                  <a:pt x="1035960" y="598048"/>
                </a:lnTo>
                <a:lnTo>
                  <a:pt x="864621" y="595002"/>
                </a:lnTo>
                <a:lnTo>
                  <a:pt x="693283" y="591956"/>
                </a:lnTo>
                <a:lnTo>
                  <a:pt x="607613" y="590423"/>
                </a:lnTo>
                <a:lnTo>
                  <a:pt x="586186" y="590045"/>
                </a:lnTo>
                <a:lnTo>
                  <a:pt x="580988" y="589946"/>
                </a:lnTo>
                <a:cubicBezTo>
                  <a:pt x="580212" y="589946"/>
                  <a:pt x="579435" y="589886"/>
                  <a:pt x="578658" y="589806"/>
                </a:cubicBezTo>
                <a:cubicBezTo>
                  <a:pt x="577882" y="589727"/>
                  <a:pt x="577105" y="589627"/>
                  <a:pt x="576328" y="589508"/>
                </a:cubicBezTo>
                <a:lnTo>
                  <a:pt x="572266" y="588731"/>
                </a:lnTo>
                <a:lnTo>
                  <a:pt x="530885" y="580788"/>
                </a:lnTo>
                <a:cubicBezTo>
                  <a:pt x="528993" y="580450"/>
                  <a:pt x="526862" y="579992"/>
                  <a:pt x="524752" y="579534"/>
                </a:cubicBezTo>
                <a:lnTo>
                  <a:pt x="524732" y="579534"/>
                </a:lnTo>
                <a:lnTo>
                  <a:pt x="524712" y="579554"/>
                </a:lnTo>
                <a:close/>
                <a:moveTo>
                  <a:pt x="1808997" y="1472663"/>
                </a:moveTo>
                <a:cubicBezTo>
                  <a:pt x="1808997" y="1482099"/>
                  <a:pt x="1807882" y="1491376"/>
                  <a:pt x="1805731" y="1500355"/>
                </a:cubicBezTo>
                <a:lnTo>
                  <a:pt x="1258080" y="1193560"/>
                </a:lnTo>
                <a:cubicBezTo>
                  <a:pt x="1254814" y="1172399"/>
                  <a:pt x="1254734" y="1150441"/>
                  <a:pt x="1257821" y="1127189"/>
                </a:cubicBezTo>
                <a:cubicBezTo>
                  <a:pt x="1262839" y="1093067"/>
                  <a:pt x="1279686" y="1063784"/>
                  <a:pt x="1301193" y="1029045"/>
                </a:cubicBezTo>
                <a:cubicBezTo>
                  <a:pt x="1310433" y="1014114"/>
                  <a:pt x="1319713" y="1001075"/>
                  <a:pt x="1329551" y="989170"/>
                </a:cubicBezTo>
                <a:cubicBezTo>
                  <a:pt x="1339328" y="977325"/>
                  <a:pt x="1347712" y="965003"/>
                  <a:pt x="1356156" y="952361"/>
                </a:cubicBezTo>
                <a:cubicBezTo>
                  <a:pt x="1356335" y="952103"/>
                  <a:pt x="1356494" y="951824"/>
                  <a:pt x="1356653" y="951565"/>
                </a:cubicBezTo>
                <a:lnTo>
                  <a:pt x="1367785" y="933011"/>
                </a:lnTo>
                <a:lnTo>
                  <a:pt x="1367945" y="932753"/>
                </a:lnTo>
                <a:cubicBezTo>
                  <a:pt x="1383762" y="905445"/>
                  <a:pt x="1394781" y="880808"/>
                  <a:pt x="1402613" y="855211"/>
                </a:cubicBezTo>
                <a:cubicBezTo>
                  <a:pt x="1402712" y="854833"/>
                  <a:pt x="1402812" y="854456"/>
                  <a:pt x="1402913" y="854078"/>
                </a:cubicBezTo>
                <a:lnTo>
                  <a:pt x="1404745" y="845956"/>
                </a:lnTo>
                <a:cubicBezTo>
                  <a:pt x="1408489" y="829353"/>
                  <a:pt x="1411436" y="812392"/>
                  <a:pt x="1413468" y="795510"/>
                </a:cubicBezTo>
                <a:cubicBezTo>
                  <a:pt x="1413507" y="795252"/>
                  <a:pt x="1413527" y="794993"/>
                  <a:pt x="1413547" y="794734"/>
                </a:cubicBezTo>
                <a:lnTo>
                  <a:pt x="1415280" y="773234"/>
                </a:lnTo>
                <a:cubicBezTo>
                  <a:pt x="1415359" y="772278"/>
                  <a:pt x="1415340" y="771363"/>
                  <a:pt x="1415280" y="770427"/>
                </a:cubicBezTo>
                <a:cubicBezTo>
                  <a:pt x="1422250" y="765988"/>
                  <a:pt x="1428503" y="760433"/>
                  <a:pt x="1433581" y="753904"/>
                </a:cubicBezTo>
                <a:cubicBezTo>
                  <a:pt x="1440013" y="745682"/>
                  <a:pt x="1444772" y="736087"/>
                  <a:pt x="1447142" y="725814"/>
                </a:cubicBezTo>
                <a:cubicBezTo>
                  <a:pt x="1448516" y="720758"/>
                  <a:pt x="1448954" y="715303"/>
                  <a:pt x="1449273" y="709848"/>
                </a:cubicBezTo>
                <a:lnTo>
                  <a:pt x="1449890" y="697466"/>
                </a:lnTo>
                <a:lnTo>
                  <a:pt x="1450507" y="685044"/>
                </a:lnTo>
                <a:lnTo>
                  <a:pt x="1450707" y="680943"/>
                </a:lnTo>
                <a:lnTo>
                  <a:pt x="1450707" y="676882"/>
                </a:lnTo>
                <a:cubicBezTo>
                  <a:pt x="1450687" y="675528"/>
                  <a:pt x="1450727" y="674154"/>
                  <a:pt x="1450647" y="672840"/>
                </a:cubicBezTo>
                <a:lnTo>
                  <a:pt x="1450269" y="668899"/>
                </a:lnTo>
                <a:cubicBezTo>
                  <a:pt x="1448954" y="658547"/>
                  <a:pt x="1445668" y="648474"/>
                  <a:pt x="1440232" y="639655"/>
                </a:cubicBezTo>
                <a:cubicBezTo>
                  <a:pt x="1433760" y="628708"/>
                  <a:pt x="1424267" y="619753"/>
                  <a:pt x="1413161" y="613576"/>
                </a:cubicBezTo>
                <a:cubicBezTo>
                  <a:pt x="1412032" y="612947"/>
                  <a:pt x="1411365" y="611742"/>
                  <a:pt x="1411466" y="610454"/>
                </a:cubicBezTo>
                <a:cubicBezTo>
                  <a:pt x="1411632" y="608362"/>
                  <a:pt x="1411476" y="606206"/>
                  <a:pt x="1410937" y="604040"/>
                </a:cubicBezTo>
                <a:lnTo>
                  <a:pt x="1403748" y="575513"/>
                </a:lnTo>
                <a:cubicBezTo>
                  <a:pt x="1403628" y="574995"/>
                  <a:pt x="1403469" y="574497"/>
                  <a:pt x="1403310" y="574000"/>
                </a:cubicBezTo>
                <a:cubicBezTo>
                  <a:pt x="1393114" y="543800"/>
                  <a:pt x="1379911" y="514875"/>
                  <a:pt x="1364059" y="488000"/>
                </a:cubicBezTo>
                <a:cubicBezTo>
                  <a:pt x="1347889" y="460567"/>
                  <a:pt x="1328752" y="434926"/>
                  <a:pt x="1307205" y="411814"/>
                </a:cubicBezTo>
                <a:cubicBezTo>
                  <a:pt x="1285240" y="388263"/>
                  <a:pt x="1260467" y="366982"/>
                  <a:pt x="1233564" y="348587"/>
                </a:cubicBezTo>
                <a:cubicBezTo>
                  <a:pt x="1201622" y="326749"/>
                  <a:pt x="1166155" y="308892"/>
                  <a:pt x="1131027" y="296967"/>
                </a:cubicBezTo>
                <a:cubicBezTo>
                  <a:pt x="1098169" y="285799"/>
                  <a:pt x="1061528" y="278254"/>
                  <a:pt x="1019052" y="273875"/>
                </a:cubicBezTo>
                <a:cubicBezTo>
                  <a:pt x="981813" y="270033"/>
                  <a:pt x="944195" y="269714"/>
                  <a:pt x="907255" y="272919"/>
                </a:cubicBezTo>
                <a:cubicBezTo>
                  <a:pt x="869917" y="276164"/>
                  <a:pt x="832757" y="283052"/>
                  <a:pt x="796853" y="293424"/>
                </a:cubicBezTo>
                <a:cubicBezTo>
                  <a:pt x="760291" y="303975"/>
                  <a:pt x="724964" y="318408"/>
                  <a:pt x="691867" y="336344"/>
                </a:cubicBezTo>
                <a:cubicBezTo>
                  <a:pt x="659785" y="353743"/>
                  <a:pt x="628461" y="375662"/>
                  <a:pt x="598789" y="401541"/>
                </a:cubicBezTo>
                <a:cubicBezTo>
                  <a:pt x="583137" y="415198"/>
                  <a:pt x="569496" y="428655"/>
                  <a:pt x="558205" y="441615"/>
                </a:cubicBezTo>
                <a:lnTo>
                  <a:pt x="557926" y="441954"/>
                </a:lnTo>
                <a:cubicBezTo>
                  <a:pt x="556691" y="443367"/>
                  <a:pt x="555477" y="444780"/>
                  <a:pt x="554282" y="446214"/>
                </a:cubicBezTo>
                <a:cubicBezTo>
                  <a:pt x="529214" y="475948"/>
                  <a:pt x="497973" y="538194"/>
                  <a:pt x="484665" y="572340"/>
                </a:cubicBezTo>
                <a:cubicBezTo>
                  <a:pt x="484161" y="572652"/>
                  <a:pt x="483711" y="572931"/>
                  <a:pt x="483209" y="573243"/>
                </a:cubicBezTo>
                <a:lnTo>
                  <a:pt x="479485" y="572945"/>
                </a:lnTo>
                <a:cubicBezTo>
                  <a:pt x="478868" y="572885"/>
                  <a:pt x="478211" y="572865"/>
                  <a:pt x="477554" y="572845"/>
                </a:cubicBezTo>
                <a:lnTo>
                  <a:pt x="475204" y="572766"/>
                </a:lnTo>
                <a:lnTo>
                  <a:pt x="468672" y="572586"/>
                </a:lnTo>
                <a:cubicBezTo>
                  <a:pt x="466641" y="572586"/>
                  <a:pt x="464630" y="572626"/>
                  <a:pt x="462618" y="572766"/>
                </a:cubicBezTo>
                <a:lnTo>
                  <a:pt x="450630" y="573602"/>
                </a:lnTo>
                <a:cubicBezTo>
                  <a:pt x="446727" y="574159"/>
                  <a:pt x="442904" y="574935"/>
                  <a:pt x="439020" y="575592"/>
                </a:cubicBezTo>
                <a:cubicBezTo>
                  <a:pt x="437128" y="576010"/>
                  <a:pt x="435316" y="576608"/>
                  <a:pt x="433464" y="577105"/>
                </a:cubicBezTo>
                <a:cubicBezTo>
                  <a:pt x="431652" y="577663"/>
                  <a:pt x="429721" y="578061"/>
                  <a:pt x="427988" y="578738"/>
                </a:cubicBezTo>
                <a:cubicBezTo>
                  <a:pt x="424483" y="580072"/>
                  <a:pt x="420998" y="581445"/>
                  <a:pt x="417832" y="583257"/>
                </a:cubicBezTo>
                <a:lnTo>
                  <a:pt x="415402" y="584531"/>
                </a:lnTo>
                <a:lnTo>
                  <a:pt x="413112" y="586004"/>
                </a:lnTo>
                <a:lnTo>
                  <a:pt x="410822" y="587477"/>
                </a:lnTo>
                <a:lnTo>
                  <a:pt x="408672" y="589130"/>
                </a:lnTo>
                <a:cubicBezTo>
                  <a:pt x="407198" y="590185"/>
                  <a:pt x="405884" y="591439"/>
                  <a:pt x="404549" y="592673"/>
                </a:cubicBezTo>
                <a:cubicBezTo>
                  <a:pt x="403912" y="593330"/>
                  <a:pt x="403255" y="593967"/>
                  <a:pt x="402658" y="594644"/>
                </a:cubicBezTo>
                <a:cubicBezTo>
                  <a:pt x="402339" y="594962"/>
                  <a:pt x="402040" y="595361"/>
                  <a:pt x="401722" y="595619"/>
                </a:cubicBezTo>
                <a:lnTo>
                  <a:pt x="400925" y="596515"/>
                </a:lnTo>
                <a:lnTo>
                  <a:pt x="400808" y="596643"/>
                </a:lnTo>
                <a:cubicBezTo>
                  <a:pt x="396379" y="601442"/>
                  <a:pt x="393416" y="607413"/>
                  <a:pt x="392308" y="613849"/>
                </a:cubicBezTo>
                <a:cubicBezTo>
                  <a:pt x="391866" y="616417"/>
                  <a:pt x="391440" y="618997"/>
                  <a:pt x="391048" y="621599"/>
                </a:cubicBezTo>
                <a:cubicBezTo>
                  <a:pt x="390669" y="624605"/>
                  <a:pt x="390211" y="627591"/>
                  <a:pt x="389873" y="630637"/>
                </a:cubicBezTo>
                <a:lnTo>
                  <a:pt x="388937" y="639774"/>
                </a:lnTo>
                <a:lnTo>
                  <a:pt x="388220" y="648971"/>
                </a:lnTo>
                <a:cubicBezTo>
                  <a:pt x="388101" y="650504"/>
                  <a:pt x="388001" y="652097"/>
                  <a:pt x="387941" y="653391"/>
                </a:cubicBezTo>
                <a:lnTo>
                  <a:pt x="387802" y="655959"/>
                </a:lnTo>
                <a:cubicBezTo>
                  <a:pt x="387623" y="659383"/>
                  <a:pt x="387503" y="662807"/>
                  <a:pt x="387404" y="666231"/>
                </a:cubicBezTo>
                <a:cubicBezTo>
                  <a:pt x="387065" y="679928"/>
                  <a:pt x="387324" y="693644"/>
                  <a:pt x="388340" y="707400"/>
                </a:cubicBezTo>
                <a:cubicBezTo>
                  <a:pt x="390152" y="731906"/>
                  <a:pt x="394115" y="756591"/>
                  <a:pt x="401244" y="781038"/>
                </a:cubicBezTo>
                <a:cubicBezTo>
                  <a:pt x="404828" y="793241"/>
                  <a:pt x="409189" y="805384"/>
                  <a:pt x="414447" y="817289"/>
                </a:cubicBezTo>
                <a:cubicBezTo>
                  <a:pt x="417015" y="823261"/>
                  <a:pt x="419983" y="829114"/>
                  <a:pt x="423010" y="834947"/>
                </a:cubicBezTo>
                <a:lnTo>
                  <a:pt x="427829" y="843587"/>
                </a:lnTo>
                <a:cubicBezTo>
                  <a:pt x="428645" y="845020"/>
                  <a:pt x="429561" y="846414"/>
                  <a:pt x="430418" y="847827"/>
                </a:cubicBezTo>
                <a:lnTo>
                  <a:pt x="434042" y="853640"/>
                </a:lnTo>
                <a:cubicBezTo>
                  <a:pt x="433942" y="853760"/>
                  <a:pt x="433843" y="853859"/>
                  <a:pt x="433743" y="853979"/>
                </a:cubicBezTo>
                <a:lnTo>
                  <a:pt x="422810" y="868252"/>
                </a:lnTo>
                <a:cubicBezTo>
                  <a:pt x="419226" y="872990"/>
                  <a:pt x="415223" y="877549"/>
                  <a:pt x="410982" y="882406"/>
                </a:cubicBezTo>
                <a:cubicBezTo>
                  <a:pt x="400905" y="893913"/>
                  <a:pt x="390490" y="905798"/>
                  <a:pt x="384178" y="921584"/>
                </a:cubicBezTo>
                <a:cubicBezTo>
                  <a:pt x="384118" y="921724"/>
                  <a:pt x="384078" y="921863"/>
                  <a:pt x="384018" y="921983"/>
                </a:cubicBezTo>
                <a:cubicBezTo>
                  <a:pt x="373524" y="949992"/>
                  <a:pt x="381589" y="980829"/>
                  <a:pt x="404052" y="999303"/>
                </a:cubicBezTo>
                <a:cubicBezTo>
                  <a:pt x="405406" y="1000796"/>
                  <a:pt x="407019" y="1002110"/>
                  <a:pt x="408871" y="1003165"/>
                </a:cubicBezTo>
                <a:lnTo>
                  <a:pt x="417533" y="1008122"/>
                </a:lnTo>
                <a:cubicBezTo>
                  <a:pt x="418111" y="1008461"/>
                  <a:pt x="418728" y="1008759"/>
                  <a:pt x="419345" y="1009038"/>
                </a:cubicBezTo>
                <a:cubicBezTo>
                  <a:pt x="426929" y="1012410"/>
                  <a:pt x="434677" y="1015850"/>
                  <a:pt x="443043" y="1018657"/>
                </a:cubicBezTo>
                <a:cubicBezTo>
                  <a:pt x="452841" y="1021944"/>
                  <a:pt x="461959" y="1027090"/>
                  <a:pt x="469297" y="1034366"/>
                </a:cubicBezTo>
                <a:cubicBezTo>
                  <a:pt x="484069" y="1049012"/>
                  <a:pt x="495558" y="1068991"/>
                  <a:pt x="494222" y="1091736"/>
                </a:cubicBezTo>
                <a:cubicBezTo>
                  <a:pt x="493724" y="1095976"/>
                  <a:pt x="493106" y="1100236"/>
                  <a:pt x="492449" y="1104715"/>
                </a:cubicBezTo>
                <a:cubicBezTo>
                  <a:pt x="489920" y="1122353"/>
                  <a:pt x="487292" y="1140589"/>
                  <a:pt x="490737" y="1160098"/>
                </a:cubicBezTo>
                <a:cubicBezTo>
                  <a:pt x="490776" y="1160317"/>
                  <a:pt x="490816" y="1160536"/>
                  <a:pt x="490856" y="1160735"/>
                </a:cubicBezTo>
                <a:cubicBezTo>
                  <a:pt x="494899" y="1179946"/>
                  <a:pt x="501590" y="1196648"/>
                  <a:pt x="510810" y="1210663"/>
                </a:cubicBezTo>
                <a:lnTo>
                  <a:pt x="50799" y="1499102"/>
                </a:lnTo>
                <a:cubicBezTo>
                  <a:pt x="45901" y="1486003"/>
                  <a:pt x="43232" y="1472008"/>
                  <a:pt x="43172" y="1457675"/>
                </a:cubicBezTo>
                <a:lnTo>
                  <a:pt x="39829" y="590463"/>
                </a:lnTo>
                <a:cubicBezTo>
                  <a:pt x="39789" y="580072"/>
                  <a:pt x="41103" y="569859"/>
                  <a:pt x="43632" y="560065"/>
                </a:cubicBezTo>
                <a:lnTo>
                  <a:pt x="277879" y="678554"/>
                </a:lnTo>
                <a:cubicBezTo>
                  <a:pt x="280767" y="680007"/>
                  <a:pt x="283834" y="680704"/>
                  <a:pt x="286860" y="680704"/>
                </a:cubicBezTo>
                <a:cubicBezTo>
                  <a:pt x="294129" y="680704"/>
                  <a:pt x="301139" y="676703"/>
                  <a:pt x="304644" y="669775"/>
                </a:cubicBezTo>
                <a:cubicBezTo>
                  <a:pt x="309602" y="659960"/>
                  <a:pt x="305679" y="647996"/>
                  <a:pt x="295862" y="643019"/>
                </a:cubicBezTo>
                <a:lnTo>
                  <a:pt x="59862" y="523634"/>
                </a:lnTo>
                <a:cubicBezTo>
                  <a:pt x="70277" y="507947"/>
                  <a:pt x="84416" y="494649"/>
                  <a:pt x="101462" y="485153"/>
                </a:cubicBezTo>
                <a:lnTo>
                  <a:pt x="101462" y="485193"/>
                </a:lnTo>
                <a:lnTo>
                  <a:pt x="874021" y="55131"/>
                </a:lnTo>
                <a:cubicBezTo>
                  <a:pt x="910623" y="34746"/>
                  <a:pt x="954334" y="34766"/>
                  <a:pt x="990915" y="55191"/>
                </a:cubicBezTo>
                <a:lnTo>
                  <a:pt x="1747483" y="477369"/>
                </a:lnTo>
                <a:cubicBezTo>
                  <a:pt x="1753198" y="480554"/>
                  <a:pt x="1758595" y="484197"/>
                  <a:pt x="1763613" y="488199"/>
                </a:cubicBezTo>
                <a:lnTo>
                  <a:pt x="1532413" y="622415"/>
                </a:lnTo>
                <a:cubicBezTo>
                  <a:pt x="1522894" y="627929"/>
                  <a:pt x="1519668" y="640113"/>
                  <a:pt x="1525185" y="649628"/>
                </a:cubicBezTo>
                <a:cubicBezTo>
                  <a:pt x="1528888" y="655999"/>
                  <a:pt x="1535560" y="659542"/>
                  <a:pt x="1542430" y="659542"/>
                </a:cubicBezTo>
                <a:cubicBezTo>
                  <a:pt x="1545815" y="659542"/>
                  <a:pt x="1549260" y="658666"/>
                  <a:pt x="1552407" y="656855"/>
                </a:cubicBezTo>
                <a:lnTo>
                  <a:pt x="1788227" y="519951"/>
                </a:lnTo>
                <a:cubicBezTo>
                  <a:pt x="1789063" y="519473"/>
                  <a:pt x="1789840" y="518916"/>
                  <a:pt x="1790577" y="518319"/>
                </a:cubicBezTo>
                <a:cubicBezTo>
                  <a:pt x="1802405" y="537131"/>
                  <a:pt x="1808997" y="559169"/>
                  <a:pt x="1808997" y="582142"/>
                </a:cubicBezTo>
                <a:lnTo>
                  <a:pt x="1808997" y="1472663"/>
                </a:lnTo>
                <a:close/>
              </a:path>
            </a:pathLst>
          </a:custGeom>
          <a:solidFill>
            <a:schemeClr val="accent2"/>
          </a:solidFill>
          <a:ln w="1986" cap="flat">
            <a:noFill/>
            <a:prstDash val="solid"/>
            <a:miter/>
          </a:ln>
        </p:spPr>
        <p:txBody>
          <a:bodyPr rtlCol="0" anchor="ctr"/>
          <a:lstStyle/>
          <a:p>
            <a:pPr algn="r" defTabSz="743407">
              <a:defRPr/>
            </a:pPr>
            <a:endParaRPr lang="en-US" sz="976">
              <a:solidFill>
                <a:srgbClr val="13161E"/>
              </a:solidFill>
              <a:latin typeface="Calibri"/>
            </a:endParaRPr>
          </a:p>
        </p:txBody>
      </p:sp>
      <p:sp>
        <p:nvSpPr>
          <p:cNvPr id="225" name="Freeform 5">
            <a:extLst>
              <a:ext uri="{FF2B5EF4-FFF2-40B4-BE49-F238E27FC236}">
                <a16:creationId xmlns:a16="http://schemas.microsoft.com/office/drawing/2014/main" id="{AFBE7873-733C-7577-2E88-93974B27B73F}"/>
              </a:ext>
            </a:extLst>
          </p:cNvPr>
          <p:cNvSpPr/>
          <p:nvPr/>
        </p:nvSpPr>
        <p:spPr>
          <a:xfrm>
            <a:off x="5691397" y="4986695"/>
            <a:ext cx="196032" cy="42074"/>
          </a:xfrm>
          <a:custGeom>
            <a:avLst/>
            <a:gdLst>
              <a:gd name="connsiteX0" fmla="*/ 11696 w 950153"/>
              <a:gd name="connsiteY0" fmla="*/ 136012 h 203932"/>
              <a:gd name="connsiteX1" fmla="*/ 22330 w 950153"/>
              <a:gd name="connsiteY1" fmla="*/ 165216 h 203932"/>
              <a:gd name="connsiteX2" fmla="*/ 29061 w 950153"/>
              <a:gd name="connsiteY2" fmla="*/ 179112 h 203932"/>
              <a:gd name="connsiteX3" fmla="*/ 32804 w 950153"/>
              <a:gd name="connsiteY3" fmla="*/ 185840 h 203932"/>
              <a:gd name="connsiteX4" fmla="*/ 34816 w 950153"/>
              <a:gd name="connsiteY4" fmla="*/ 189105 h 203932"/>
              <a:gd name="connsiteX5" fmla="*/ 36349 w 950153"/>
              <a:gd name="connsiteY5" fmla="*/ 191594 h 203932"/>
              <a:gd name="connsiteX6" fmla="*/ 45708 w 950153"/>
              <a:gd name="connsiteY6" fmla="*/ 200851 h 203932"/>
              <a:gd name="connsiteX7" fmla="*/ 58493 w 950153"/>
              <a:gd name="connsiteY7" fmla="*/ 203916 h 203932"/>
              <a:gd name="connsiteX8" fmla="*/ 65583 w 950153"/>
              <a:gd name="connsiteY8" fmla="*/ 202642 h 203932"/>
              <a:gd name="connsiteX9" fmla="*/ 75161 w 950153"/>
              <a:gd name="connsiteY9" fmla="*/ 200034 h 203932"/>
              <a:gd name="connsiteX10" fmla="*/ 95832 w 950153"/>
              <a:gd name="connsiteY10" fmla="*/ 194401 h 203932"/>
              <a:gd name="connsiteX11" fmla="*/ 98062 w 950153"/>
              <a:gd name="connsiteY11" fmla="*/ 193744 h 203932"/>
              <a:gd name="connsiteX12" fmla="*/ 100133 w 950153"/>
              <a:gd name="connsiteY12" fmla="*/ 193087 h 203932"/>
              <a:gd name="connsiteX13" fmla="*/ 102184 w 950153"/>
              <a:gd name="connsiteY13" fmla="*/ 192370 h 203932"/>
              <a:gd name="connsiteX14" fmla="*/ 104196 w 950153"/>
              <a:gd name="connsiteY14" fmla="*/ 191534 h 203932"/>
              <a:gd name="connsiteX15" fmla="*/ 111942 w 950153"/>
              <a:gd name="connsiteY15" fmla="*/ 187572 h 203932"/>
              <a:gd name="connsiteX16" fmla="*/ 125304 w 950153"/>
              <a:gd name="connsiteY16" fmla="*/ 176563 h 203932"/>
              <a:gd name="connsiteX17" fmla="*/ 130621 w 950153"/>
              <a:gd name="connsiteY17" fmla="*/ 169735 h 203932"/>
              <a:gd name="connsiteX18" fmla="*/ 132931 w 950153"/>
              <a:gd name="connsiteY18" fmla="*/ 166032 h 203932"/>
              <a:gd name="connsiteX19" fmla="*/ 135580 w 950153"/>
              <a:gd name="connsiteY19" fmla="*/ 161374 h 203932"/>
              <a:gd name="connsiteX20" fmla="*/ 154140 w 950153"/>
              <a:gd name="connsiteY20" fmla="*/ 141128 h 203932"/>
              <a:gd name="connsiteX21" fmla="*/ 179729 w 950153"/>
              <a:gd name="connsiteY21" fmla="*/ 131115 h 203932"/>
              <a:gd name="connsiteX22" fmla="*/ 183174 w 950153"/>
              <a:gd name="connsiteY22" fmla="*/ 130697 h 203932"/>
              <a:gd name="connsiteX23" fmla="*/ 184906 w 950153"/>
              <a:gd name="connsiteY23" fmla="*/ 130557 h 203932"/>
              <a:gd name="connsiteX24" fmla="*/ 186460 w 950153"/>
              <a:gd name="connsiteY24" fmla="*/ 130458 h 203932"/>
              <a:gd name="connsiteX25" fmla="*/ 191817 w 950153"/>
              <a:gd name="connsiteY25" fmla="*/ 130219 h 203932"/>
              <a:gd name="connsiteX26" fmla="*/ 202510 w 950153"/>
              <a:gd name="connsiteY26" fmla="*/ 129721 h 203932"/>
              <a:gd name="connsiteX27" fmla="*/ 373710 w 950153"/>
              <a:gd name="connsiteY27" fmla="*/ 121878 h 203932"/>
              <a:gd name="connsiteX28" fmla="*/ 544909 w 950153"/>
              <a:gd name="connsiteY28" fmla="*/ 114034 h 203932"/>
              <a:gd name="connsiteX29" fmla="*/ 716109 w 950153"/>
              <a:gd name="connsiteY29" fmla="*/ 106191 h 203932"/>
              <a:gd name="connsiteX30" fmla="*/ 887308 w 950153"/>
              <a:gd name="connsiteY30" fmla="*/ 98347 h 203932"/>
              <a:gd name="connsiteX31" fmla="*/ 925543 w 950153"/>
              <a:gd name="connsiteY31" fmla="*/ 96595 h 203932"/>
              <a:gd name="connsiteX32" fmla="*/ 931059 w 950153"/>
              <a:gd name="connsiteY32" fmla="*/ 96257 h 203932"/>
              <a:gd name="connsiteX33" fmla="*/ 936376 w 950153"/>
              <a:gd name="connsiteY33" fmla="*/ 94784 h 203932"/>
              <a:gd name="connsiteX34" fmla="*/ 944959 w 950153"/>
              <a:gd name="connsiteY34" fmla="*/ 88015 h 203932"/>
              <a:gd name="connsiteX35" fmla="*/ 948862 w 950153"/>
              <a:gd name="connsiteY35" fmla="*/ 77822 h 203932"/>
              <a:gd name="connsiteX36" fmla="*/ 949181 w 950153"/>
              <a:gd name="connsiteY36" fmla="*/ 72308 h 203932"/>
              <a:gd name="connsiteX37" fmla="*/ 949519 w 950153"/>
              <a:gd name="connsiteY37" fmla="*/ 65480 h 203932"/>
              <a:gd name="connsiteX38" fmla="*/ 950137 w 950153"/>
              <a:gd name="connsiteY38" fmla="*/ 53137 h 203932"/>
              <a:gd name="connsiteX39" fmla="*/ 947767 w 950153"/>
              <a:gd name="connsiteY39" fmla="*/ 42467 h 203932"/>
              <a:gd name="connsiteX40" fmla="*/ 929745 w 950153"/>
              <a:gd name="connsiteY40" fmla="*/ 31478 h 203932"/>
              <a:gd name="connsiteX41" fmla="*/ 762389 w 950153"/>
              <a:gd name="connsiteY41" fmla="*/ 28512 h 203932"/>
              <a:gd name="connsiteX42" fmla="*/ 591050 w 950153"/>
              <a:gd name="connsiteY42" fmla="*/ 25466 h 203932"/>
              <a:gd name="connsiteX43" fmla="*/ 419711 w 950153"/>
              <a:gd name="connsiteY43" fmla="*/ 22420 h 203932"/>
              <a:gd name="connsiteX44" fmla="*/ 248372 w 950153"/>
              <a:gd name="connsiteY44" fmla="*/ 19374 h 203932"/>
              <a:gd name="connsiteX45" fmla="*/ 162702 w 950153"/>
              <a:gd name="connsiteY45" fmla="*/ 17841 h 203932"/>
              <a:gd name="connsiteX46" fmla="*/ 141275 w 950153"/>
              <a:gd name="connsiteY46" fmla="*/ 17463 h 203932"/>
              <a:gd name="connsiteX47" fmla="*/ 135878 w 950153"/>
              <a:gd name="connsiteY47" fmla="*/ 17363 h 203932"/>
              <a:gd name="connsiteX48" fmla="*/ 129546 w 950153"/>
              <a:gd name="connsiteY48" fmla="*/ 17005 h 203932"/>
              <a:gd name="connsiteX49" fmla="*/ 123253 w 950153"/>
              <a:gd name="connsiteY49" fmla="*/ 16209 h 203932"/>
              <a:gd name="connsiteX50" fmla="*/ 120246 w 950153"/>
              <a:gd name="connsiteY50" fmla="*/ 15671 h 203932"/>
              <a:gd name="connsiteX51" fmla="*/ 117598 w 950153"/>
              <a:gd name="connsiteY51" fmla="*/ 15154 h 203932"/>
              <a:gd name="connsiteX52" fmla="*/ 75301 w 950153"/>
              <a:gd name="connsiteY52" fmla="*/ 7012 h 203932"/>
              <a:gd name="connsiteX53" fmla="*/ 63571 w 950153"/>
              <a:gd name="connsiteY53" fmla="*/ 4563 h 203932"/>
              <a:gd name="connsiteX54" fmla="*/ 60664 w 950153"/>
              <a:gd name="connsiteY54" fmla="*/ 3946 h 203932"/>
              <a:gd name="connsiteX55" fmla="*/ 57816 w 950153"/>
              <a:gd name="connsiteY55" fmla="*/ 3448 h 203932"/>
              <a:gd name="connsiteX56" fmla="*/ 52121 w 950153"/>
              <a:gd name="connsiteY56" fmla="*/ 2473 h 203932"/>
              <a:gd name="connsiteX57" fmla="*/ 40770 w 950153"/>
              <a:gd name="connsiteY57" fmla="*/ 920 h 203932"/>
              <a:gd name="connsiteX58" fmla="*/ 35154 w 950153"/>
              <a:gd name="connsiteY58" fmla="*/ 442 h 203932"/>
              <a:gd name="connsiteX59" fmla="*/ 32346 w 950153"/>
              <a:gd name="connsiteY59" fmla="*/ 203 h 203932"/>
              <a:gd name="connsiteX60" fmla="*/ 30952 w 950153"/>
              <a:gd name="connsiteY60" fmla="*/ 143 h 203932"/>
              <a:gd name="connsiteX61" fmla="*/ 29698 w 950153"/>
              <a:gd name="connsiteY61" fmla="*/ 104 h 203932"/>
              <a:gd name="connsiteX62" fmla="*/ 27786 w 950153"/>
              <a:gd name="connsiteY62" fmla="*/ 44 h 203932"/>
              <a:gd name="connsiteX63" fmla="*/ 25735 w 950153"/>
              <a:gd name="connsiteY63" fmla="*/ 4 h 203932"/>
              <a:gd name="connsiteX64" fmla="*/ 21633 w 950153"/>
              <a:gd name="connsiteY64" fmla="*/ 104 h 203932"/>
              <a:gd name="connsiteX65" fmla="*/ 17550 w 950153"/>
              <a:gd name="connsiteY65" fmla="*/ 442 h 203932"/>
              <a:gd name="connsiteX66" fmla="*/ 13508 w 950153"/>
              <a:gd name="connsiteY66" fmla="*/ 1079 h 203932"/>
              <a:gd name="connsiteX67" fmla="*/ 5741 w 950153"/>
              <a:gd name="connsiteY67" fmla="*/ 3647 h 203932"/>
              <a:gd name="connsiteX68" fmla="*/ 3989 w 950153"/>
              <a:gd name="connsiteY68" fmla="*/ 4702 h 203932"/>
              <a:gd name="connsiteX69" fmla="*/ 3192 w 950153"/>
              <a:gd name="connsiteY69" fmla="*/ 5339 h 203932"/>
              <a:gd name="connsiteX70" fmla="*/ 2854 w 950153"/>
              <a:gd name="connsiteY70" fmla="*/ 5718 h 203932"/>
              <a:gd name="connsiteX71" fmla="*/ 2774 w 950153"/>
              <a:gd name="connsiteY71" fmla="*/ 6215 h 203932"/>
              <a:gd name="connsiteX72" fmla="*/ 2177 w 950153"/>
              <a:gd name="connsiteY72" fmla="*/ 10276 h 203932"/>
              <a:gd name="connsiteX73" fmla="*/ 902 w 950153"/>
              <a:gd name="connsiteY73" fmla="*/ 22679 h 203932"/>
              <a:gd name="connsiteX74" fmla="*/ 683 w 950153"/>
              <a:gd name="connsiteY74" fmla="*/ 25784 h 203932"/>
              <a:gd name="connsiteX75" fmla="*/ 464 w 950153"/>
              <a:gd name="connsiteY75" fmla="*/ 29626 h 203932"/>
              <a:gd name="connsiteX76" fmla="*/ 126 w 950153"/>
              <a:gd name="connsiteY76" fmla="*/ 38525 h 203932"/>
              <a:gd name="connsiteX77" fmla="*/ 942 w 950153"/>
              <a:gd name="connsiteY77" fmla="*/ 74120 h 203932"/>
              <a:gd name="connsiteX78" fmla="*/ 11735 w 950153"/>
              <a:gd name="connsiteY78" fmla="*/ 136032 h 203932"/>
              <a:gd name="connsiteX79" fmla="*/ 11696 w 950153"/>
              <a:gd name="connsiteY79" fmla="*/ 136012 h 203932"/>
              <a:gd name="connsiteX80" fmla="*/ 28841 w 950153"/>
              <a:gd name="connsiteY80" fmla="*/ 39242 h 203932"/>
              <a:gd name="connsiteX81" fmla="*/ 29160 w 950153"/>
              <a:gd name="connsiteY81" fmla="*/ 31040 h 203932"/>
              <a:gd name="connsiteX82" fmla="*/ 29280 w 950153"/>
              <a:gd name="connsiteY82" fmla="*/ 28810 h 203932"/>
              <a:gd name="connsiteX83" fmla="*/ 29519 w 950153"/>
              <a:gd name="connsiteY83" fmla="*/ 28810 h 203932"/>
              <a:gd name="connsiteX84" fmla="*/ 30634 w 950153"/>
              <a:gd name="connsiteY84" fmla="*/ 28870 h 203932"/>
              <a:gd name="connsiteX85" fmla="*/ 32964 w 950153"/>
              <a:gd name="connsiteY85" fmla="*/ 29069 h 203932"/>
              <a:gd name="connsiteX86" fmla="*/ 37663 w 950153"/>
              <a:gd name="connsiteY86" fmla="*/ 29467 h 203932"/>
              <a:gd name="connsiteX87" fmla="*/ 42582 w 950153"/>
              <a:gd name="connsiteY87" fmla="*/ 30104 h 203932"/>
              <a:gd name="connsiteX88" fmla="*/ 47561 w 950153"/>
              <a:gd name="connsiteY88" fmla="*/ 30841 h 203932"/>
              <a:gd name="connsiteX89" fmla="*/ 52639 w 950153"/>
              <a:gd name="connsiteY89" fmla="*/ 31717 h 203932"/>
              <a:gd name="connsiteX90" fmla="*/ 55188 w 950153"/>
              <a:gd name="connsiteY90" fmla="*/ 32155 h 203932"/>
              <a:gd name="connsiteX91" fmla="*/ 57975 w 950153"/>
              <a:gd name="connsiteY91" fmla="*/ 32752 h 203932"/>
              <a:gd name="connsiteX92" fmla="*/ 63551 w 950153"/>
              <a:gd name="connsiteY92" fmla="*/ 33946 h 203932"/>
              <a:gd name="connsiteX93" fmla="*/ 69326 w 950153"/>
              <a:gd name="connsiteY93" fmla="*/ 35121 h 203932"/>
              <a:gd name="connsiteX94" fmla="*/ 112081 w 950153"/>
              <a:gd name="connsiteY94" fmla="*/ 43343 h 203932"/>
              <a:gd name="connsiteX95" fmla="*/ 114750 w 950153"/>
              <a:gd name="connsiteY95" fmla="*/ 43860 h 203932"/>
              <a:gd name="connsiteX96" fmla="*/ 116482 w 950153"/>
              <a:gd name="connsiteY96" fmla="*/ 44179 h 203932"/>
              <a:gd name="connsiteX97" fmla="*/ 118553 w 950153"/>
              <a:gd name="connsiteY97" fmla="*/ 44537 h 203932"/>
              <a:gd name="connsiteX98" fmla="*/ 126858 w 950153"/>
              <a:gd name="connsiteY98" fmla="*/ 45592 h 203932"/>
              <a:gd name="connsiteX99" fmla="*/ 135221 w 950153"/>
              <a:gd name="connsiteY99" fmla="*/ 46070 h 203932"/>
              <a:gd name="connsiteX100" fmla="*/ 140718 w 950153"/>
              <a:gd name="connsiteY100" fmla="*/ 46169 h 203932"/>
              <a:gd name="connsiteX101" fmla="*/ 162145 w 950153"/>
              <a:gd name="connsiteY101" fmla="*/ 46548 h 203932"/>
              <a:gd name="connsiteX102" fmla="*/ 247814 w 950153"/>
              <a:gd name="connsiteY102" fmla="*/ 48081 h 203932"/>
              <a:gd name="connsiteX103" fmla="*/ 419153 w 950153"/>
              <a:gd name="connsiteY103" fmla="*/ 51127 h 203932"/>
              <a:gd name="connsiteX104" fmla="*/ 590492 w 950153"/>
              <a:gd name="connsiteY104" fmla="*/ 54172 h 203932"/>
              <a:gd name="connsiteX105" fmla="*/ 761831 w 950153"/>
              <a:gd name="connsiteY105" fmla="*/ 57218 h 203932"/>
              <a:gd name="connsiteX106" fmla="*/ 918079 w 950153"/>
              <a:gd name="connsiteY106" fmla="*/ 59993 h 203932"/>
              <a:gd name="connsiteX107" fmla="*/ 920819 w 950153"/>
              <a:gd name="connsiteY107" fmla="*/ 62926 h 203932"/>
              <a:gd name="connsiteX108" fmla="*/ 920710 w 950153"/>
              <a:gd name="connsiteY108" fmla="*/ 65117 h 203932"/>
              <a:gd name="connsiteX109" fmla="*/ 917653 w 950153"/>
              <a:gd name="connsiteY109" fmla="*/ 68161 h 203932"/>
              <a:gd name="connsiteX110" fmla="*/ 885954 w 950153"/>
              <a:gd name="connsiteY110" fmla="*/ 69621 h 203932"/>
              <a:gd name="connsiteX111" fmla="*/ 714755 w 950153"/>
              <a:gd name="connsiteY111" fmla="*/ 77464 h 203932"/>
              <a:gd name="connsiteX112" fmla="*/ 543555 w 950153"/>
              <a:gd name="connsiteY112" fmla="*/ 85308 h 203932"/>
              <a:gd name="connsiteX113" fmla="*/ 372356 w 950153"/>
              <a:gd name="connsiteY113" fmla="*/ 93151 h 203932"/>
              <a:gd name="connsiteX114" fmla="*/ 201156 w 950153"/>
              <a:gd name="connsiteY114" fmla="*/ 100995 h 203932"/>
              <a:gd name="connsiteX115" fmla="*/ 190462 w 950153"/>
              <a:gd name="connsiteY115" fmla="*/ 101492 h 203932"/>
              <a:gd name="connsiteX116" fmla="*/ 185106 w 950153"/>
              <a:gd name="connsiteY116" fmla="*/ 101731 h 203932"/>
              <a:gd name="connsiteX117" fmla="*/ 183074 w 950153"/>
              <a:gd name="connsiteY117" fmla="*/ 101851 h 203932"/>
              <a:gd name="connsiteX118" fmla="*/ 180545 w 950153"/>
              <a:gd name="connsiteY118" fmla="*/ 102050 h 203932"/>
              <a:gd name="connsiteX119" fmla="*/ 175507 w 950153"/>
              <a:gd name="connsiteY119" fmla="*/ 102647 h 203932"/>
              <a:gd name="connsiteX120" fmla="*/ 137870 w 950153"/>
              <a:gd name="connsiteY120" fmla="*/ 117379 h 203932"/>
              <a:gd name="connsiteX121" fmla="*/ 122457 w 950153"/>
              <a:gd name="connsiteY121" fmla="*/ 130776 h 203932"/>
              <a:gd name="connsiteX122" fmla="*/ 119091 w 950153"/>
              <a:gd name="connsiteY122" fmla="*/ 134658 h 203932"/>
              <a:gd name="connsiteX123" fmla="*/ 115965 w 950153"/>
              <a:gd name="connsiteY123" fmla="*/ 138739 h 203932"/>
              <a:gd name="connsiteX124" fmla="*/ 113077 w 950153"/>
              <a:gd name="connsiteY124" fmla="*/ 142980 h 203932"/>
              <a:gd name="connsiteX125" fmla="*/ 111723 w 950153"/>
              <a:gd name="connsiteY125" fmla="*/ 145169 h 203932"/>
              <a:gd name="connsiteX126" fmla="*/ 110568 w 950153"/>
              <a:gd name="connsiteY126" fmla="*/ 147120 h 203932"/>
              <a:gd name="connsiteX127" fmla="*/ 107919 w 950153"/>
              <a:gd name="connsiteY127" fmla="*/ 151779 h 203932"/>
              <a:gd name="connsiteX128" fmla="*/ 106685 w 950153"/>
              <a:gd name="connsiteY128" fmla="*/ 153730 h 203932"/>
              <a:gd name="connsiteX129" fmla="*/ 103937 w 950153"/>
              <a:gd name="connsiteY129" fmla="*/ 157233 h 203932"/>
              <a:gd name="connsiteX130" fmla="*/ 97007 w 950153"/>
              <a:gd name="connsiteY130" fmla="*/ 162947 h 203932"/>
              <a:gd name="connsiteX131" fmla="*/ 92964 w 950153"/>
              <a:gd name="connsiteY131" fmla="*/ 165017 h 203932"/>
              <a:gd name="connsiteX132" fmla="*/ 91909 w 950153"/>
              <a:gd name="connsiteY132" fmla="*/ 165455 h 203932"/>
              <a:gd name="connsiteX133" fmla="*/ 90833 w 950153"/>
              <a:gd name="connsiteY133" fmla="*/ 165833 h 203932"/>
              <a:gd name="connsiteX134" fmla="*/ 89738 w 950153"/>
              <a:gd name="connsiteY134" fmla="*/ 166172 h 203932"/>
              <a:gd name="connsiteX135" fmla="*/ 89200 w 950153"/>
              <a:gd name="connsiteY135" fmla="*/ 166351 h 203932"/>
              <a:gd name="connsiteX136" fmla="*/ 88882 w 950153"/>
              <a:gd name="connsiteY136" fmla="*/ 166451 h 203932"/>
              <a:gd name="connsiteX137" fmla="*/ 88245 w 950153"/>
              <a:gd name="connsiteY137" fmla="*/ 166630 h 203932"/>
              <a:gd name="connsiteX138" fmla="*/ 67574 w 950153"/>
              <a:gd name="connsiteY138" fmla="*/ 172263 h 203932"/>
              <a:gd name="connsiteX139" fmla="*/ 59549 w 950153"/>
              <a:gd name="connsiteY139" fmla="*/ 174453 h 203932"/>
              <a:gd name="connsiteX140" fmla="*/ 59549 w 950153"/>
              <a:gd name="connsiteY140" fmla="*/ 174414 h 203932"/>
              <a:gd name="connsiteX141" fmla="*/ 59310 w 950153"/>
              <a:gd name="connsiteY141" fmla="*/ 174075 h 203932"/>
              <a:gd name="connsiteX142" fmla="*/ 57597 w 950153"/>
              <a:gd name="connsiteY142" fmla="*/ 171288 h 203932"/>
              <a:gd name="connsiteX143" fmla="*/ 54391 w 950153"/>
              <a:gd name="connsiteY143" fmla="*/ 165555 h 203932"/>
              <a:gd name="connsiteX144" fmla="*/ 48596 w 950153"/>
              <a:gd name="connsiteY144" fmla="*/ 153570 h 203932"/>
              <a:gd name="connsiteX145" fmla="*/ 39276 w 950153"/>
              <a:gd name="connsiteY145" fmla="*/ 127949 h 203932"/>
              <a:gd name="connsiteX146" fmla="*/ 29558 w 950153"/>
              <a:gd name="connsiteY146" fmla="*/ 71990 h 203932"/>
              <a:gd name="connsiteX147" fmla="*/ 28802 w 950153"/>
              <a:gd name="connsiteY147" fmla="*/ 39222 h 203932"/>
              <a:gd name="connsiteX148" fmla="*/ 28841 w 950153"/>
              <a:gd name="connsiteY148" fmla="*/ 39242 h 203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</a:cxnLst>
            <a:rect l="l" t="t" r="r" b="b"/>
            <a:pathLst>
              <a:path w="950153" h="203932">
                <a:moveTo>
                  <a:pt x="11696" y="136012"/>
                </a:moveTo>
                <a:cubicBezTo>
                  <a:pt x="14623" y="146006"/>
                  <a:pt x="18148" y="155780"/>
                  <a:pt x="22330" y="165216"/>
                </a:cubicBezTo>
                <a:cubicBezTo>
                  <a:pt x="24361" y="169954"/>
                  <a:pt x="26711" y="174553"/>
                  <a:pt x="29061" y="179112"/>
                </a:cubicBezTo>
                <a:lnTo>
                  <a:pt x="32804" y="185840"/>
                </a:lnTo>
                <a:cubicBezTo>
                  <a:pt x="33422" y="186955"/>
                  <a:pt x="34139" y="188030"/>
                  <a:pt x="34816" y="189105"/>
                </a:cubicBezTo>
                <a:lnTo>
                  <a:pt x="36349" y="191594"/>
                </a:lnTo>
                <a:cubicBezTo>
                  <a:pt x="38559" y="195436"/>
                  <a:pt x="41825" y="198681"/>
                  <a:pt x="45708" y="200851"/>
                </a:cubicBezTo>
                <a:cubicBezTo>
                  <a:pt x="49592" y="203021"/>
                  <a:pt x="54072" y="204076"/>
                  <a:pt x="58493" y="203916"/>
                </a:cubicBezTo>
                <a:cubicBezTo>
                  <a:pt x="60903" y="203857"/>
                  <a:pt x="63273" y="203319"/>
                  <a:pt x="65583" y="202642"/>
                </a:cubicBezTo>
                <a:lnTo>
                  <a:pt x="75161" y="200034"/>
                </a:lnTo>
                <a:lnTo>
                  <a:pt x="95832" y="194401"/>
                </a:lnTo>
                <a:cubicBezTo>
                  <a:pt x="96768" y="194162"/>
                  <a:pt x="97325" y="193963"/>
                  <a:pt x="98062" y="193744"/>
                </a:cubicBezTo>
                <a:cubicBezTo>
                  <a:pt x="98759" y="193525"/>
                  <a:pt x="99456" y="193346"/>
                  <a:pt x="100133" y="193087"/>
                </a:cubicBezTo>
                <a:lnTo>
                  <a:pt x="102184" y="192370"/>
                </a:lnTo>
                <a:lnTo>
                  <a:pt x="104196" y="191534"/>
                </a:lnTo>
                <a:cubicBezTo>
                  <a:pt x="106864" y="190379"/>
                  <a:pt x="109473" y="189105"/>
                  <a:pt x="111942" y="187572"/>
                </a:cubicBezTo>
                <a:cubicBezTo>
                  <a:pt x="116901" y="184566"/>
                  <a:pt x="121421" y="180864"/>
                  <a:pt x="125304" y="176563"/>
                </a:cubicBezTo>
                <a:cubicBezTo>
                  <a:pt x="127236" y="174414"/>
                  <a:pt x="129048" y="172144"/>
                  <a:pt x="130621" y="169735"/>
                </a:cubicBezTo>
                <a:cubicBezTo>
                  <a:pt x="131478" y="168541"/>
                  <a:pt x="132135" y="167307"/>
                  <a:pt x="132931" y="166032"/>
                </a:cubicBezTo>
                <a:lnTo>
                  <a:pt x="135580" y="161374"/>
                </a:lnTo>
                <a:cubicBezTo>
                  <a:pt x="140040" y="153471"/>
                  <a:pt x="146532" y="146324"/>
                  <a:pt x="154140" y="141128"/>
                </a:cubicBezTo>
                <a:cubicBezTo>
                  <a:pt x="161767" y="135873"/>
                  <a:pt x="170608" y="132468"/>
                  <a:pt x="179729" y="131115"/>
                </a:cubicBezTo>
                <a:cubicBezTo>
                  <a:pt x="180864" y="130955"/>
                  <a:pt x="182019" y="130776"/>
                  <a:pt x="183174" y="130697"/>
                </a:cubicBezTo>
                <a:lnTo>
                  <a:pt x="184906" y="130557"/>
                </a:lnTo>
                <a:lnTo>
                  <a:pt x="186460" y="130458"/>
                </a:lnTo>
                <a:lnTo>
                  <a:pt x="191817" y="130219"/>
                </a:lnTo>
                <a:lnTo>
                  <a:pt x="202510" y="129721"/>
                </a:lnTo>
                <a:lnTo>
                  <a:pt x="373710" y="121878"/>
                </a:lnTo>
                <a:lnTo>
                  <a:pt x="544909" y="114034"/>
                </a:lnTo>
                <a:lnTo>
                  <a:pt x="716109" y="106191"/>
                </a:lnTo>
                <a:lnTo>
                  <a:pt x="887308" y="98347"/>
                </a:lnTo>
                <a:lnTo>
                  <a:pt x="925543" y="96595"/>
                </a:lnTo>
                <a:cubicBezTo>
                  <a:pt x="927395" y="96496"/>
                  <a:pt x="929227" y="96456"/>
                  <a:pt x="931059" y="96257"/>
                </a:cubicBezTo>
                <a:cubicBezTo>
                  <a:pt x="932871" y="95958"/>
                  <a:pt x="934684" y="95520"/>
                  <a:pt x="936376" y="94784"/>
                </a:cubicBezTo>
                <a:cubicBezTo>
                  <a:pt x="939782" y="93350"/>
                  <a:pt x="942769" y="90981"/>
                  <a:pt x="944959" y="88015"/>
                </a:cubicBezTo>
                <a:cubicBezTo>
                  <a:pt x="947150" y="85049"/>
                  <a:pt x="948544" y="81485"/>
                  <a:pt x="948862" y="77822"/>
                </a:cubicBezTo>
                <a:cubicBezTo>
                  <a:pt x="949041" y="75991"/>
                  <a:pt x="949061" y="74140"/>
                  <a:pt x="949181" y="72308"/>
                </a:cubicBezTo>
                <a:lnTo>
                  <a:pt x="949519" y="65480"/>
                </a:lnTo>
                <a:lnTo>
                  <a:pt x="950137" y="53137"/>
                </a:lnTo>
                <a:cubicBezTo>
                  <a:pt x="950276" y="49454"/>
                  <a:pt x="949539" y="45712"/>
                  <a:pt x="947767" y="42467"/>
                </a:cubicBezTo>
                <a:cubicBezTo>
                  <a:pt x="944362" y="35857"/>
                  <a:pt x="937133" y="31597"/>
                  <a:pt x="929745" y="31478"/>
                </a:cubicBezTo>
                <a:lnTo>
                  <a:pt x="762389" y="28512"/>
                </a:lnTo>
                <a:lnTo>
                  <a:pt x="591050" y="25466"/>
                </a:lnTo>
                <a:lnTo>
                  <a:pt x="419711" y="22420"/>
                </a:lnTo>
                <a:lnTo>
                  <a:pt x="248372" y="19374"/>
                </a:lnTo>
                <a:lnTo>
                  <a:pt x="162702" y="17841"/>
                </a:lnTo>
                <a:lnTo>
                  <a:pt x="141275" y="17463"/>
                </a:lnTo>
                <a:lnTo>
                  <a:pt x="135878" y="17363"/>
                </a:lnTo>
                <a:cubicBezTo>
                  <a:pt x="133768" y="17324"/>
                  <a:pt x="131657" y="17204"/>
                  <a:pt x="129546" y="17005"/>
                </a:cubicBezTo>
                <a:cubicBezTo>
                  <a:pt x="127435" y="16806"/>
                  <a:pt x="125344" y="16547"/>
                  <a:pt x="123253" y="16209"/>
                </a:cubicBezTo>
                <a:lnTo>
                  <a:pt x="120246" y="15671"/>
                </a:lnTo>
                <a:lnTo>
                  <a:pt x="117598" y="15154"/>
                </a:lnTo>
                <a:lnTo>
                  <a:pt x="75301" y="7012"/>
                </a:lnTo>
                <a:cubicBezTo>
                  <a:pt x="71278" y="6255"/>
                  <a:pt x="67494" y="5379"/>
                  <a:pt x="63571" y="4563"/>
                </a:cubicBezTo>
                <a:lnTo>
                  <a:pt x="60664" y="3946"/>
                </a:lnTo>
                <a:lnTo>
                  <a:pt x="57816" y="3448"/>
                </a:lnTo>
                <a:lnTo>
                  <a:pt x="52121" y="2473"/>
                </a:lnTo>
                <a:cubicBezTo>
                  <a:pt x="48317" y="1776"/>
                  <a:pt x="44553" y="1457"/>
                  <a:pt x="40770" y="920"/>
                </a:cubicBezTo>
                <a:cubicBezTo>
                  <a:pt x="38878" y="721"/>
                  <a:pt x="37026" y="601"/>
                  <a:pt x="35154" y="442"/>
                </a:cubicBezTo>
                <a:lnTo>
                  <a:pt x="32346" y="203"/>
                </a:lnTo>
                <a:cubicBezTo>
                  <a:pt x="31868" y="163"/>
                  <a:pt x="31410" y="143"/>
                  <a:pt x="30952" y="143"/>
                </a:cubicBezTo>
                <a:lnTo>
                  <a:pt x="29698" y="104"/>
                </a:lnTo>
                <a:lnTo>
                  <a:pt x="27786" y="44"/>
                </a:lnTo>
                <a:cubicBezTo>
                  <a:pt x="27109" y="44"/>
                  <a:pt x="26412" y="-16"/>
                  <a:pt x="25735" y="4"/>
                </a:cubicBezTo>
                <a:lnTo>
                  <a:pt x="21633" y="104"/>
                </a:lnTo>
                <a:lnTo>
                  <a:pt x="17550" y="442"/>
                </a:lnTo>
                <a:cubicBezTo>
                  <a:pt x="16196" y="641"/>
                  <a:pt x="14842" y="820"/>
                  <a:pt x="13508" y="1079"/>
                </a:cubicBezTo>
                <a:cubicBezTo>
                  <a:pt x="10839" y="1636"/>
                  <a:pt x="8191" y="2413"/>
                  <a:pt x="5741" y="3647"/>
                </a:cubicBezTo>
                <a:cubicBezTo>
                  <a:pt x="5124" y="3946"/>
                  <a:pt x="4547" y="4324"/>
                  <a:pt x="3989" y="4702"/>
                </a:cubicBezTo>
                <a:cubicBezTo>
                  <a:pt x="3730" y="4921"/>
                  <a:pt x="3431" y="5100"/>
                  <a:pt x="3192" y="5339"/>
                </a:cubicBezTo>
                <a:cubicBezTo>
                  <a:pt x="3073" y="5459"/>
                  <a:pt x="2894" y="5558"/>
                  <a:pt x="2854" y="5718"/>
                </a:cubicBezTo>
                <a:lnTo>
                  <a:pt x="2774" y="6215"/>
                </a:lnTo>
                <a:cubicBezTo>
                  <a:pt x="2555" y="7569"/>
                  <a:pt x="2356" y="8923"/>
                  <a:pt x="2177" y="10276"/>
                </a:cubicBezTo>
                <a:cubicBezTo>
                  <a:pt x="1619" y="14397"/>
                  <a:pt x="1221" y="18538"/>
                  <a:pt x="902" y="22679"/>
                </a:cubicBezTo>
                <a:lnTo>
                  <a:pt x="683" y="25784"/>
                </a:lnTo>
                <a:lnTo>
                  <a:pt x="464" y="29626"/>
                </a:lnTo>
                <a:cubicBezTo>
                  <a:pt x="305" y="32593"/>
                  <a:pt x="205" y="35559"/>
                  <a:pt x="126" y="38525"/>
                </a:cubicBezTo>
                <a:cubicBezTo>
                  <a:pt x="-173" y="50410"/>
                  <a:pt x="46" y="62295"/>
                  <a:pt x="942" y="74120"/>
                </a:cubicBezTo>
                <a:cubicBezTo>
                  <a:pt x="2495" y="95162"/>
                  <a:pt x="5881" y="116025"/>
                  <a:pt x="11735" y="136032"/>
                </a:cubicBezTo>
                <a:lnTo>
                  <a:pt x="11696" y="136012"/>
                </a:lnTo>
                <a:close/>
                <a:moveTo>
                  <a:pt x="28841" y="39242"/>
                </a:moveTo>
                <a:cubicBezTo>
                  <a:pt x="28921" y="36494"/>
                  <a:pt x="29021" y="33767"/>
                  <a:pt x="29160" y="31040"/>
                </a:cubicBezTo>
                <a:lnTo>
                  <a:pt x="29280" y="28810"/>
                </a:lnTo>
                <a:lnTo>
                  <a:pt x="29519" y="28810"/>
                </a:lnTo>
                <a:cubicBezTo>
                  <a:pt x="29877" y="28810"/>
                  <a:pt x="30235" y="28810"/>
                  <a:pt x="30634" y="28870"/>
                </a:cubicBezTo>
                <a:lnTo>
                  <a:pt x="32964" y="29069"/>
                </a:lnTo>
                <a:cubicBezTo>
                  <a:pt x="34537" y="29208"/>
                  <a:pt x="36050" y="29288"/>
                  <a:pt x="37663" y="29467"/>
                </a:cubicBezTo>
                <a:lnTo>
                  <a:pt x="42582" y="30104"/>
                </a:lnTo>
                <a:cubicBezTo>
                  <a:pt x="44215" y="30303"/>
                  <a:pt x="45848" y="30502"/>
                  <a:pt x="47561" y="30841"/>
                </a:cubicBezTo>
                <a:lnTo>
                  <a:pt x="52639" y="31717"/>
                </a:lnTo>
                <a:lnTo>
                  <a:pt x="55188" y="32155"/>
                </a:lnTo>
                <a:lnTo>
                  <a:pt x="57975" y="32752"/>
                </a:lnTo>
                <a:lnTo>
                  <a:pt x="63551" y="33946"/>
                </a:lnTo>
                <a:cubicBezTo>
                  <a:pt x="65403" y="34344"/>
                  <a:pt x="67235" y="34743"/>
                  <a:pt x="69326" y="35121"/>
                </a:cubicBezTo>
                <a:lnTo>
                  <a:pt x="112081" y="43343"/>
                </a:lnTo>
                <a:lnTo>
                  <a:pt x="114750" y="43860"/>
                </a:lnTo>
                <a:lnTo>
                  <a:pt x="116482" y="44179"/>
                </a:lnTo>
                <a:lnTo>
                  <a:pt x="118553" y="44537"/>
                </a:lnTo>
                <a:cubicBezTo>
                  <a:pt x="121302" y="44995"/>
                  <a:pt x="124070" y="45333"/>
                  <a:pt x="126858" y="45592"/>
                </a:cubicBezTo>
                <a:cubicBezTo>
                  <a:pt x="129645" y="45851"/>
                  <a:pt x="132414" y="46010"/>
                  <a:pt x="135221" y="46070"/>
                </a:cubicBezTo>
                <a:lnTo>
                  <a:pt x="140718" y="46169"/>
                </a:lnTo>
                <a:lnTo>
                  <a:pt x="162145" y="46548"/>
                </a:lnTo>
                <a:lnTo>
                  <a:pt x="247814" y="48081"/>
                </a:lnTo>
                <a:lnTo>
                  <a:pt x="419153" y="51127"/>
                </a:lnTo>
                <a:lnTo>
                  <a:pt x="590492" y="54172"/>
                </a:lnTo>
                <a:lnTo>
                  <a:pt x="761831" y="57218"/>
                </a:lnTo>
                <a:lnTo>
                  <a:pt x="918079" y="59993"/>
                </a:lnTo>
                <a:cubicBezTo>
                  <a:pt x="919657" y="60021"/>
                  <a:pt x="920899" y="61349"/>
                  <a:pt x="920819" y="62926"/>
                </a:cubicBezTo>
                <a:lnTo>
                  <a:pt x="920710" y="65117"/>
                </a:lnTo>
                <a:cubicBezTo>
                  <a:pt x="920628" y="66768"/>
                  <a:pt x="919304" y="68086"/>
                  <a:pt x="917653" y="68161"/>
                </a:cubicBezTo>
                <a:lnTo>
                  <a:pt x="885954" y="69621"/>
                </a:lnTo>
                <a:lnTo>
                  <a:pt x="714755" y="77464"/>
                </a:lnTo>
                <a:lnTo>
                  <a:pt x="543555" y="85308"/>
                </a:lnTo>
                <a:lnTo>
                  <a:pt x="372356" y="93151"/>
                </a:lnTo>
                <a:lnTo>
                  <a:pt x="201156" y="100995"/>
                </a:lnTo>
                <a:lnTo>
                  <a:pt x="190462" y="101492"/>
                </a:lnTo>
                <a:lnTo>
                  <a:pt x="185106" y="101731"/>
                </a:lnTo>
                <a:lnTo>
                  <a:pt x="183074" y="101851"/>
                </a:lnTo>
                <a:lnTo>
                  <a:pt x="180545" y="102050"/>
                </a:lnTo>
                <a:cubicBezTo>
                  <a:pt x="178853" y="102169"/>
                  <a:pt x="177180" y="102408"/>
                  <a:pt x="175507" y="102647"/>
                </a:cubicBezTo>
                <a:cubicBezTo>
                  <a:pt x="162085" y="104638"/>
                  <a:pt x="149081" y="109654"/>
                  <a:pt x="137870" y="117379"/>
                </a:cubicBezTo>
                <a:cubicBezTo>
                  <a:pt x="132254" y="121241"/>
                  <a:pt x="127057" y="125740"/>
                  <a:pt x="122457" y="130776"/>
                </a:cubicBezTo>
                <a:cubicBezTo>
                  <a:pt x="121302" y="132030"/>
                  <a:pt x="120166" y="133324"/>
                  <a:pt x="119091" y="134658"/>
                </a:cubicBezTo>
                <a:cubicBezTo>
                  <a:pt x="118016" y="135992"/>
                  <a:pt x="116940" y="137326"/>
                  <a:pt x="115965" y="138739"/>
                </a:cubicBezTo>
                <a:cubicBezTo>
                  <a:pt x="114989" y="140153"/>
                  <a:pt x="113953" y="141526"/>
                  <a:pt x="113077" y="142980"/>
                </a:cubicBezTo>
                <a:lnTo>
                  <a:pt x="111723" y="145169"/>
                </a:lnTo>
                <a:lnTo>
                  <a:pt x="110568" y="147120"/>
                </a:lnTo>
                <a:lnTo>
                  <a:pt x="107919" y="151779"/>
                </a:lnTo>
                <a:cubicBezTo>
                  <a:pt x="107422" y="152535"/>
                  <a:pt x="107163" y="153112"/>
                  <a:pt x="106685" y="153730"/>
                </a:cubicBezTo>
                <a:cubicBezTo>
                  <a:pt x="105888" y="154984"/>
                  <a:pt x="104952" y="156138"/>
                  <a:pt x="103937" y="157233"/>
                </a:cubicBezTo>
                <a:cubicBezTo>
                  <a:pt x="101945" y="159443"/>
                  <a:pt x="99595" y="161394"/>
                  <a:pt x="97007" y="162947"/>
                </a:cubicBezTo>
                <a:cubicBezTo>
                  <a:pt x="95732" y="163763"/>
                  <a:pt x="94358" y="164400"/>
                  <a:pt x="92964" y="165017"/>
                </a:cubicBezTo>
                <a:lnTo>
                  <a:pt x="91909" y="165455"/>
                </a:lnTo>
                <a:lnTo>
                  <a:pt x="90833" y="165833"/>
                </a:lnTo>
                <a:cubicBezTo>
                  <a:pt x="90475" y="165993"/>
                  <a:pt x="90116" y="166072"/>
                  <a:pt x="89738" y="166172"/>
                </a:cubicBezTo>
                <a:lnTo>
                  <a:pt x="89200" y="166351"/>
                </a:lnTo>
                <a:lnTo>
                  <a:pt x="88882" y="166451"/>
                </a:lnTo>
                <a:lnTo>
                  <a:pt x="88245" y="166630"/>
                </a:lnTo>
                <a:lnTo>
                  <a:pt x="67574" y="172263"/>
                </a:lnTo>
                <a:lnTo>
                  <a:pt x="59549" y="174453"/>
                </a:lnTo>
                <a:lnTo>
                  <a:pt x="59549" y="174414"/>
                </a:lnTo>
                <a:lnTo>
                  <a:pt x="59310" y="174075"/>
                </a:lnTo>
                <a:cubicBezTo>
                  <a:pt x="58752" y="173139"/>
                  <a:pt x="58135" y="172263"/>
                  <a:pt x="57597" y="171288"/>
                </a:cubicBezTo>
                <a:lnTo>
                  <a:pt x="54391" y="165555"/>
                </a:lnTo>
                <a:cubicBezTo>
                  <a:pt x="52380" y="161633"/>
                  <a:pt x="50348" y="157691"/>
                  <a:pt x="48596" y="153570"/>
                </a:cubicBezTo>
                <a:cubicBezTo>
                  <a:pt x="44992" y="145388"/>
                  <a:pt x="41885" y="136808"/>
                  <a:pt x="39276" y="127949"/>
                </a:cubicBezTo>
                <a:cubicBezTo>
                  <a:pt x="34099" y="110212"/>
                  <a:pt x="30972" y="91300"/>
                  <a:pt x="29558" y="71990"/>
                </a:cubicBezTo>
                <a:cubicBezTo>
                  <a:pt x="28742" y="61160"/>
                  <a:pt x="28543" y="50191"/>
                  <a:pt x="28802" y="39222"/>
                </a:cubicBezTo>
                <a:lnTo>
                  <a:pt x="28841" y="39242"/>
                </a:lnTo>
                <a:close/>
              </a:path>
            </a:pathLst>
          </a:custGeom>
          <a:solidFill>
            <a:schemeClr val="accent2"/>
          </a:solidFill>
          <a:ln w="1986" cap="flat">
            <a:noFill/>
            <a:prstDash val="solid"/>
            <a:miter/>
          </a:ln>
        </p:spPr>
        <p:txBody>
          <a:bodyPr rtlCol="0" anchor="ctr"/>
          <a:lstStyle/>
          <a:p>
            <a:pPr algn="r" defTabSz="743407">
              <a:defRPr/>
            </a:pPr>
            <a:endParaRPr lang="en-US" sz="976">
              <a:solidFill>
                <a:srgbClr val="13161E"/>
              </a:solidFill>
              <a:latin typeface="Calibri"/>
            </a:endParaRPr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9E7CDDA3-098A-8C3E-A267-691C69B7B5D4}"/>
              </a:ext>
            </a:extLst>
          </p:cNvPr>
          <p:cNvSpPr txBox="1"/>
          <p:nvPr/>
        </p:nvSpPr>
        <p:spPr>
          <a:xfrm>
            <a:off x="5331273" y="5333072"/>
            <a:ext cx="918521" cy="135165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 defTabSz="743407">
              <a:lnSpc>
                <a:spcPct val="90000"/>
              </a:lnSpc>
              <a:defRPr/>
            </a:pPr>
            <a:r>
              <a:rPr lang="en-US" sz="976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XR and metaverse</a:t>
            </a: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81D08238-EF95-9538-1694-12A68662C13D}"/>
              </a:ext>
            </a:extLst>
          </p:cNvPr>
          <p:cNvSpPr txBox="1"/>
          <p:nvPr/>
        </p:nvSpPr>
        <p:spPr>
          <a:xfrm>
            <a:off x="5305033" y="3843041"/>
            <a:ext cx="971420" cy="135165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 defTabSz="743407">
              <a:lnSpc>
                <a:spcPct val="90000"/>
              </a:lnSpc>
              <a:defRPr/>
            </a:pPr>
            <a:r>
              <a:rPr lang="en-US" sz="976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Satellites evolution</a:t>
            </a:r>
          </a:p>
        </p:txBody>
      </p:sp>
      <p:grpSp>
        <p:nvGrpSpPr>
          <p:cNvPr id="228" name="Group 227">
            <a:extLst>
              <a:ext uri="{FF2B5EF4-FFF2-40B4-BE49-F238E27FC236}">
                <a16:creationId xmlns:a16="http://schemas.microsoft.com/office/drawing/2014/main" id="{058AA809-1B69-0BF0-4505-B3ACFC09777F}"/>
              </a:ext>
            </a:extLst>
          </p:cNvPr>
          <p:cNvGrpSpPr/>
          <p:nvPr/>
        </p:nvGrpSpPr>
        <p:grpSpPr>
          <a:xfrm>
            <a:off x="5521143" y="3310066"/>
            <a:ext cx="539202" cy="493039"/>
            <a:chOff x="7930325" y="2124911"/>
            <a:chExt cx="518271" cy="473899"/>
          </a:xfrm>
          <a:solidFill>
            <a:schemeClr val="accent2"/>
          </a:solidFill>
        </p:grpSpPr>
        <p:grpSp>
          <p:nvGrpSpPr>
            <p:cNvPr id="229" name="Group 228">
              <a:extLst>
                <a:ext uri="{FF2B5EF4-FFF2-40B4-BE49-F238E27FC236}">
                  <a16:creationId xmlns:a16="http://schemas.microsoft.com/office/drawing/2014/main" id="{8A15D29D-2639-9DAE-01BE-F58C54932450}"/>
                </a:ext>
              </a:extLst>
            </p:cNvPr>
            <p:cNvGrpSpPr/>
            <p:nvPr/>
          </p:nvGrpSpPr>
          <p:grpSpPr>
            <a:xfrm rot="5400000">
              <a:off x="7930327" y="2124909"/>
              <a:ext cx="279741" cy="279745"/>
              <a:chOff x="2262899" y="2694155"/>
              <a:chExt cx="2070166" cy="2070171"/>
            </a:xfrm>
            <a:grpFill/>
          </p:grpSpPr>
          <p:sp>
            <p:nvSpPr>
              <p:cNvPr id="236" name="Freeform 4">
                <a:extLst>
                  <a:ext uri="{FF2B5EF4-FFF2-40B4-BE49-F238E27FC236}">
                    <a16:creationId xmlns:a16="http://schemas.microsoft.com/office/drawing/2014/main" id="{158B053F-B902-CE3A-9B0B-9C0090235604}"/>
                  </a:ext>
                </a:extLst>
              </p:cNvPr>
              <p:cNvSpPr/>
              <p:nvPr/>
            </p:nvSpPr>
            <p:spPr>
              <a:xfrm>
                <a:off x="3765759" y="2964785"/>
                <a:ext cx="344519" cy="340271"/>
              </a:xfrm>
              <a:custGeom>
                <a:avLst/>
                <a:gdLst>
                  <a:gd name="connsiteX0" fmla="*/ 13808 w 344519"/>
                  <a:gd name="connsiteY0" fmla="*/ 38813 h 340271"/>
                  <a:gd name="connsiteX1" fmla="*/ 306083 w 344519"/>
                  <a:gd name="connsiteY1" fmla="*/ 327511 h 340271"/>
                  <a:gd name="connsiteX2" fmla="*/ 324647 w 344519"/>
                  <a:gd name="connsiteY2" fmla="*/ 340271 h 340271"/>
                  <a:gd name="connsiteX3" fmla="*/ 331763 w 344519"/>
                  <a:gd name="connsiteY3" fmla="*/ 338940 h 340271"/>
                  <a:gd name="connsiteX4" fmla="*/ 343191 w 344519"/>
                  <a:gd name="connsiteY4" fmla="*/ 313260 h 340271"/>
                  <a:gd name="connsiteX5" fmla="*/ 214535 w 344519"/>
                  <a:gd name="connsiteY5" fmla="*/ 119112 h 340271"/>
                  <a:gd name="connsiteX6" fmla="*/ 25932 w 344519"/>
                  <a:gd name="connsiteY6" fmla="*/ 950 h 340271"/>
                  <a:gd name="connsiteX7" fmla="*/ 948 w 344519"/>
                  <a:gd name="connsiteY7" fmla="*/ 13829 h 340271"/>
                  <a:gd name="connsiteX8" fmla="*/ 13828 w 344519"/>
                  <a:gd name="connsiteY8" fmla="*/ 38813 h 340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4519" h="340271">
                    <a:moveTo>
                      <a:pt x="13808" y="38813"/>
                    </a:moveTo>
                    <a:cubicBezTo>
                      <a:pt x="137515" y="78406"/>
                      <a:pt x="254982" y="194422"/>
                      <a:pt x="306083" y="327511"/>
                    </a:cubicBezTo>
                    <a:cubicBezTo>
                      <a:pt x="309124" y="335422"/>
                      <a:pt x="316657" y="340271"/>
                      <a:pt x="324647" y="340271"/>
                    </a:cubicBezTo>
                    <a:cubicBezTo>
                      <a:pt x="327012" y="340271"/>
                      <a:pt x="329417" y="339854"/>
                      <a:pt x="331763" y="338940"/>
                    </a:cubicBezTo>
                    <a:cubicBezTo>
                      <a:pt x="342019" y="335004"/>
                      <a:pt x="347127" y="323496"/>
                      <a:pt x="343191" y="313260"/>
                    </a:cubicBezTo>
                    <a:cubicBezTo>
                      <a:pt x="315922" y="242263"/>
                      <a:pt x="271439" y="175122"/>
                      <a:pt x="214535" y="119112"/>
                    </a:cubicBezTo>
                    <a:cubicBezTo>
                      <a:pt x="157610" y="63082"/>
                      <a:pt x="92397" y="22217"/>
                      <a:pt x="25932" y="950"/>
                    </a:cubicBezTo>
                    <a:cubicBezTo>
                      <a:pt x="15477" y="-2390"/>
                      <a:pt x="4287" y="3355"/>
                      <a:pt x="948" y="13829"/>
                    </a:cubicBezTo>
                    <a:cubicBezTo>
                      <a:pt x="-2391" y="24284"/>
                      <a:pt x="3373" y="35474"/>
                      <a:pt x="13828" y="38813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976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237" name="Freeform 5">
                <a:extLst>
                  <a:ext uri="{FF2B5EF4-FFF2-40B4-BE49-F238E27FC236}">
                    <a16:creationId xmlns:a16="http://schemas.microsoft.com/office/drawing/2014/main" id="{C45840CF-1251-1257-82A1-7623509F33AA}"/>
                  </a:ext>
                </a:extLst>
              </p:cNvPr>
              <p:cNvSpPr/>
              <p:nvPr/>
            </p:nvSpPr>
            <p:spPr>
              <a:xfrm>
                <a:off x="3805761" y="2841807"/>
                <a:ext cx="418684" cy="413361"/>
              </a:xfrm>
              <a:custGeom>
                <a:avLst/>
                <a:gdLst>
                  <a:gd name="connsiteX0" fmla="*/ 12305 w 418684"/>
                  <a:gd name="connsiteY0" fmla="*/ 38263 h 413361"/>
                  <a:gd name="connsiteX1" fmla="*/ 380844 w 418684"/>
                  <a:gd name="connsiteY1" fmla="*/ 401992 h 413361"/>
                  <a:gd name="connsiteX2" fmla="*/ 398812 w 418684"/>
                  <a:gd name="connsiteY2" fmla="*/ 413361 h 413361"/>
                  <a:gd name="connsiteX3" fmla="*/ 407319 w 418684"/>
                  <a:gd name="connsiteY3" fmla="*/ 411433 h 413361"/>
                  <a:gd name="connsiteX4" fmla="*/ 416760 w 418684"/>
                  <a:gd name="connsiteY4" fmla="*/ 384958 h 413361"/>
                  <a:gd name="connsiteX5" fmla="*/ 250637 w 418684"/>
                  <a:gd name="connsiteY5" fmla="*/ 154696 h 413361"/>
                  <a:gd name="connsiteX6" fmla="*/ 27470 w 418684"/>
                  <a:gd name="connsiteY6" fmla="*/ 1512 h 413361"/>
                  <a:gd name="connsiteX7" fmla="*/ 1512 w 418684"/>
                  <a:gd name="connsiteY7" fmla="*/ 12285 h 413361"/>
                  <a:gd name="connsiteX8" fmla="*/ 12285 w 418684"/>
                  <a:gd name="connsiteY8" fmla="*/ 38243 h 413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8684" h="413361">
                    <a:moveTo>
                      <a:pt x="12305" y="38263"/>
                    </a:moveTo>
                    <a:cubicBezTo>
                      <a:pt x="158154" y="98507"/>
                      <a:pt x="306270" y="244674"/>
                      <a:pt x="380844" y="401992"/>
                    </a:cubicBezTo>
                    <a:cubicBezTo>
                      <a:pt x="384243" y="409167"/>
                      <a:pt x="391378" y="413361"/>
                      <a:pt x="398812" y="413361"/>
                    </a:cubicBezTo>
                    <a:cubicBezTo>
                      <a:pt x="401674" y="413361"/>
                      <a:pt x="404556" y="412745"/>
                      <a:pt x="407319" y="411433"/>
                    </a:cubicBezTo>
                    <a:cubicBezTo>
                      <a:pt x="417237" y="406723"/>
                      <a:pt x="421470" y="394877"/>
                      <a:pt x="416760" y="384958"/>
                    </a:cubicBezTo>
                    <a:cubicBezTo>
                      <a:pt x="377962" y="303109"/>
                      <a:pt x="320521" y="223486"/>
                      <a:pt x="250637" y="154696"/>
                    </a:cubicBezTo>
                    <a:cubicBezTo>
                      <a:pt x="180813" y="85945"/>
                      <a:pt x="103655" y="32976"/>
                      <a:pt x="27470" y="1512"/>
                    </a:cubicBezTo>
                    <a:cubicBezTo>
                      <a:pt x="17314" y="-2682"/>
                      <a:pt x="5706" y="2148"/>
                      <a:pt x="1512" y="12285"/>
                    </a:cubicBezTo>
                    <a:cubicBezTo>
                      <a:pt x="-2682" y="22422"/>
                      <a:pt x="2148" y="34049"/>
                      <a:pt x="12285" y="38243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976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238" name="Freeform 6">
                <a:extLst>
                  <a:ext uri="{FF2B5EF4-FFF2-40B4-BE49-F238E27FC236}">
                    <a16:creationId xmlns:a16="http://schemas.microsoft.com/office/drawing/2014/main" id="{4729128D-699B-B9D6-7048-D7B8C1747E4E}"/>
                  </a:ext>
                </a:extLst>
              </p:cNvPr>
              <p:cNvSpPr/>
              <p:nvPr/>
            </p:nvSpPr>
            <p:spPr>
              <a:xfrm>
                <a:off x="3724496" y="3072565"/>
                <a:ext cx="278630" cy="275284"/>
              </a:xfrm>
              <a:custGeom>
                <a:avLst/>
                <a:gdLst>
                  <a:gd name="connsiteX0" fmla="*/ 13808 w 278630"/>
                  <a:gd name="connsiteY0" fmla="*/ 38801 h 275284"/>
                  <a:gd name="connsiteX1" fmla="*/ 240194 w 278630"/>
                  <a:gd name="connsiteY1" fmla="*/ 262524 h 275284"/>
                  <a:gd name="connsiteX2" fmla="*/ 258758 w 278630"/>
                  <a:gd name="connsiteY2" fmla="*/ 275285 h 275284"/>
                  <a:gd name="connsiteX3" fmla="*/ 265874 w 278630"/>
                  <a:gd name="connsiteY3" fmla="*/ 273953 h 275284"/>
                  <a:gd name="connsiteX4" fmla="*/ 277303 w 278630"/>
                  <a:gd name="connsiteY4" fmla="*/ 248273 h 275284"/>
                  <a:gd name="connsiteX5" fmla="*/ 175458 w 278630"/>
                  <a:gd name="connsiteY5" fmla="*/ 94593 h 275284"/>
                  <a:gd name="connsiteX6" fmla="*/ 25932 w 278630"/>
                  <a:gd name="connsiteY6" fmla="*/ 957 h 275284"/>
                  <a:gd name="connsiteX7" fmla="*/ 948 w 278630"/>
                  <a:gd name="connsiteY7" fmla="*/ 13837 h 275284"/>
                  <a:gd name="connsiteX8" fmla="*/ 13827 w 278630"/>
                  <a:gd name="connsiteY8" fmla="*/ 38821 h 275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8630" h="275284">
                    <a:moveTo>
                      <a:pt x="13808" y="38801"/>
                    </a:moveTo>
                    <a:cubicBezTo>
                      <a:pt x="109590" y="69469"/>
                      <a:pt x="200562" y="159368"/>
                      <a:pt x="240194" y="262524"/>
                    </a:cubicBezTo>
                    <a:cubicBezTo>
                      <a:pt x="243235" y="270435"/>
                      <a:pt x="250768" y="275285"/>
                      <a:pt x="258758" y="275285"/>
                    </a:cubicBezTo>
                    <a:cubicBezTo>
                      <a:pt x="261124" y="275285"/>
                      <a:pt x="263529" y="274867"/>
                      <a:pt x="265874" y="273953"/>
                    </a:cubicBezTo>
                    <a:cubicBezTo>
                      <a:pt x="276130" y="270017"/>
                      <a:pt x="281238" y="258509"/>
                      <a:pt x="277303" y="248273"/>
                    </a:cubicBezTo>
                    <a:cubicBezTo>
                      <a:pt x="255717" y="192044"/>
                      <a:pt x="220497" y="138916"/>
                      <a:pt x="175458" y="94593"/>
                    </a:cubicBezTo>
                    <a:cubicBezTo>
                      <a:pt x="130360" y="50210"/>
                      <a:pt x="78663" y="17832"/>
                      <a:pt x="25932" y="957"/>
                    </a:cubicBezTo>
                    <a:cubicBezTo>
                      <a:pt x="15477" y="-2402"/>
                      <a:pt x="4287" y="3362"/>
                      <a:pt x="948" y="13837"/>
                    </a:cubicBezTo>
                    <a:cubicBezTo>
                      <a:pt x="-2391" y="24291"/>
                      <a:pt x="3373" y="35482"/>
                      <a:pt x="13827" y="38821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976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239" name="Freeform 7">
                <a:extLst>
                  <a:ext uri="{FF2B5EF4-FFF2-40B4-BE49-F238E27FC236}">
                    <a16:creationId xmlns:a16="http://schemas.microsoft.com/office/drawing/2014/main" id="{17A30D64-641C-05F5-2253-38D8D62FDA63}"/>
                  </a:ext>
                </a:extLst>
              </p:cNvPr>
              <p:cNvSpPr/>
              <p:nvPr/>
            </p:nvSpPr>
            <p:spPr>
              <a:xfrm>
                <a:off x="2842950" y="3500845"/>
                <a:ext cx="677219" cy="677271"/>
              </a:xfrm>
              <a:custGeom>
                <a:avLst/>
                <a:gdLst>
                  <a:gd name="connsiteX0" fmla="*/ 649409 w 677219"/>
                  <a:gd name="connsiteY0" fmla="*/ 211092 h 677271"/>
                  <a:gd name="connsiteX1" fmla="*/ 651973 w 677219"/>
                  <a:gd name="connsiteY1" fmla="*/ 208528 h 677271"/>
                  <a:gd name="connsiteX2" fmla="*/ 654319 w 677219"/>
                  <a:gd name="connsiteY2" fmla="*/ 206083 h 677271"/>
                  <a:gd name="connsiteX3" fmla="*/ 658234 w 677219"/>
                  <a:gd name="connsiteY3" fmla="*/ 201730 h 677271"/>
                  <a:gd name="connsiteX4" fmla="*/ 659228 w 677219"/>
                  <a:gd name="connsiteY4" fmla="*/ 200657 h 677271"/>
                  <a:gd name="connsiteX5" fmla="*/ 660083 w 677219"/>
                  <a:gd name="connsiteY5" fmla="*/ 199464 h 677271"/>
                  <a:gd name="connsiteX6" fmla="*/ 661812 w 677219"/>
                  <a:gd name="connsiteY6" fmla="*/ 197099 h 677271"/>
                  <a:gd name="connsiteX7" fmla="*/ 665092 w 677219"/>
                  <a:gd name="connsiteY7" fmla="*/ 192289 h 677271"/>
                  <a:gd name="connsiteX8" fmla="*/ 677196 w 677219"/>
                  <a:gd name="connsiteY8" fmla="*/ 147886 h 677271"/>
                  <a:gd name="connsiteX9" fmla="*/ 663084 w 677219"/>
                  <a:gd name="connsiteY9" fmla="*/ 104080 h 677271"/>
                  <a:gd name="connsiteX10" fmla="*/ 659626 w 677219"/>
                  <a:gd name="connsiteY10" fmla="*/ 99369 h 677271"/>
                  <a:gd name="connsiteX11" fmla="*/ 655750 w 677219"/>
                  <a:gd name="connsiteY11" fmla="*/ 94997 h 677271"/>
                  <a:gd name="connsiteX12" fmla="*/ 653802 w 677219"/>
                  <a:gd name="connsiteY12" fmla="*/ 92810 h 677271"/>
                  <a:gd name="connsiteX13" fmla="*/ 651298 w 677219"/>
                  <a:gd name="connsiteY13" fmla="*/ 90286 h 677271"/>
                  <a:gd name="connsiteX14" fmla="*/ 646170 w 677219"/>
                  <a:gd name="connsiteY14" fmla="*/ 85158 h 677271"/>
                  <a:gd name="connsiteX15" fmla="*/ 625658 w 677219"/>
                  <a:gd name="connsiteY15" fmla="*/ 64646 h 677271"/>
                  <a:gd name="connsiteX16" fmla="*/ 584614 w 677219"/>
                  <a:gd name="connsiteY16" fmla="*/ 23602 h 677271"/>
                  <a:gd name="connsiteX17" fmla="*/ 580261 w 677219"/>
                  <a:gd name="connsiteY17" fmla="*/ 19687 h 677271"/>
                  <a:gd name="connsiteX18" fmla="*/ 578075 w 677219"/>
                  <a:gd name="connsiteY18" fmla="*/ 17759 h 677271"/>
                  <a:gd name="connsiteX19" fmla="*/ 575709 w 677219"/>
                  <a:gd name="connsiteY19" fmla="*/ 16049 h 677271"/>
                  <a:gd name="connsiteX20" fmla="*/ 573364 w 677219"/>
                  <a:gd name="connsiteY20" fmla="*/ 14320 h 677271"/>
                  <a:gd name="connsiteX21" fmla="*/ 570959 w 677219"/>
                  <a:gd name="connsiteY21" fmla="*/ 12690 h 677271"/>
                  <a:gd name="connsiteX22" fmla="*/ 565931 w 677219"/>
                  <a:gd name="connsiteY22" fmla="*/ 9729 h 677271"/>
                  <a:gd name="connsiteX23" fmla="*/ 563327 w 677219"/>
                  <a:gd name="connsiteY23" fmla="*/ 8417 h 677271"/>
                  <a:gd name="connsiteX24" fmla="*/ 560683 w 677219"/>
                  <a:gd name="connsiteY24" fmla="*/ 7205 h 677271"/>
                  <a:gd name="connsiteX25" fmla="*/ 558040 w 677219"/>
                  <a:gd name="connsiteY25" fmla="*/ 5952 h 677271"/>
                  <a:gd name="connsiteX26" fmla="*/ 555277 w 677219"/>
                  <a:gd name="connsiteY26" fmla="*/ 4998 h 677271"/>
                  <a:gd name="connsiteX27" fmla="*/ 549751 w 677219"/>
                  <a:gd name="connsiteY27" fmla="*/ 3130 h 677271"/>
                  <a:gd name="connsiteX28" fmla="*/ 544087 w 677219"/>
                  <a:gd name="connsiteY28" fmla="*/ 1739 h 677271"/>
                  <a:gd name="connsiteX29" fmla="*/ 541225 w 677219"/>
                  <a:gd name="connsiteY29" fmla="*/ 1222 h 677271"/>
                  <a:gd name="connsiteX30" fmla="*/ 538323 w 677219"/>
                  <a:gd name="connsiteY30" fmla="*/ 805 h 677271"/>
                  <a:gd name="connsiteX31" fmla="*/ 535441 w 677219"/>
                  <a:gd name="connsiteY31" fmla="*/ 367 h 677271"/>
                  <a:gd name="connsiteX32" fmla="*/ 532519 w 677219"/>
                  <a:gd name="connsiteY32" fmla="*/ 228 h 677271"/>
                  <a:gd name="connsiteX33" fmla="*/ 526676 w 677219"/>
                  <a:gd name="connsiteY33" fmla="*/ 10 h 677271"/>
                  <a:gd name="connsiteX34" fmla="*/ 520832 w 677219"/>
                  <a:gd name="connsiteY34" fmla="*/ 288 h 677271"/>
                  <a:gd name="connsiteX35" fmla="*/ 517930 w 677219"/>
                  <a:gd name="connsiteY35" fmla="*/ 606 h 677271"/>
                  <a:gd name="connsiteX36" fmla="*/ 515048 w 677219"/>
                  <a:gd name="connsiteY36" fmla="*/ 1023 h 677271"/>
                  <a:gd name="connsiteX37" fmla="*/ 512146 w 677219"/>
                  <a:gd name="connsiteY37" fmla="*/ 1421 h 677271"/>
                  <a:gd name="connsiteX38" fmla="*/ 509304 w 677219"/>
                  <a:gd name="connsiteY38" fmla="*/ 2116 h 677271"/>
                  <a:gd name="connsiteX39" fmla="*/ 503659 w 677219"/>
                  <a:gd name="connsiteY39" fmla="*/ 3567 h 677271"/>
                  <a:gd name="connsiteX40" fmla="*/ 498154 w 677219"/>
                  <a:gd name="connsiteY40" fmla="*/ 5495 h 677271"/>
                  <a:gd name="connsiteX41" fmla="*/ 495470 w 677219"/>
                  <a:gd name="connsiteY41" fmla="*/ 6628 h 677271"/>
                  <a:gd name="connsiteX42" fmla="*/ 492827 w 677219"/>
                  <a:gd name="connsiteY42" fmla="*/ 7861 h 677271"/>
                  <a:gd name="connsiteX43" fmla="*/ 490183 w 677219"/>
                  <a:gd name="connsiteY43" fmla="*/ 9073 h 677271"/>
                  <a:gd name="connsiteX44" fmla="*/ 487679 w 677219"/>
                  <a:gd name="connsiteY44" fmla="*/ 10544 h 677271"/>
                  <a:gd name="connsiteX45" fmla="*/ 482670 w 677219"/>
                  <a:gd name="connsiteY45" fmla="*/ 13545 h 677271"/>
                  <a:gd name="connsiteX46" fmla="*/ 477980 w 677219"/>
                  <a:gd name="connsiteY46" fmla="*/ 17003 h 677271"/>
                  <a:gd name="connsiteX47" fmla="*/ 473527 w 677219"/>
                  <a:gd name="connsiteY47" fmla="*/ 20800 h 677271"/>
                  <a:gd name="connsiteX48" fmla="*/ 471341 w 677219"/>
                  <a:gd name="connsiteY48" fmla="*/ 22748 h 677271"/>
                  <a:gd name="connsiteX49" fmla="*/ 470228 w 677219"/>
                  <a:gd name="connsiteY49" fmla="*/ 23761 h 677271"/>
                  <a:gd name="connsiteX50" fmla="*/ 468936 w 677219"/>
                  <a:gd name="connsiteY50" fmla="*/ 25053 h 677271"/>
                  <a:gd name="connsiteX51" fmla="*/ 458680 w 677219"/>
                  <a:gd name="connsiteY51" fmla="*/ 35309 h 677271"/>
                  <a:gd name="connsiteX52" fmla="*/ 417636 w 677219"/>
                  <a:gd name="connsiteY52" fmla="*/ 76353 h 677271"/>
                  <a:gd name="connsiteX53" fmla="*/ 335569 w 677219"/>
                  <a:gd name="connsiteY53" fmla="*/ 158421 h 677271"/>
                  <a:gd name="connsiteX54" fmla="*/ 171433 w 677219"/>
                  <a:gd name="connsiteY54" fmla="*/ 322556 h 677271"/>
                  <a:gd name="connsiteX55" fmla="*/ 89365 w 677219"/>
                  <a:gd name="connsiteY55" fmla="*/ 404624 h 677271"/>
                  <a:gd name="connsiteX56" fmla="*/ 48322 w 677219"/>
                  <a:gd name="connsiteY56" fmla="*/ 445668 h 677271"/>
                  <a:gd name="connsiteX57" fmla="*/ 27810 w 677219"/>
                  <a:gd name="connsiteY57" fmla="*/ 466179 h 677271"/>
                  <a:gd name="connsiteX58" fmla="*/ 25246 w 677219"/>
                  <a:gd name="connsiteY58" fmla="*/ 468743 h 677271"/>
                  <a:gd name="connsiteX59" fmla="*/ 22900 w 677219"/>
                  <a:gd name="connsiteY59" fmla="*/ 471188 h 677271"/>
                  <a:gd name="connsiteX60" fmla="*/ 18985 w 677219"/>
                  <a:gd name="connsiteY60" fmla="*/ 475541 h 677271"/>
                  <a:gd name="connsiteX61" fmla="*/ 17991 w 677219"/>
                  <a:gd name="connsiteY61" fmla="*/ 476614 h 677271"/>
                  <a:gd name="connsiteX62" fmla="*/ 17136 w 677219"/>
                  <a:gd name="connsiteY62" fmla="*/ 477807 h 677271"/>
                  <a:gd name="connsiteX63" fmla="*/ 15407 w 677219"/>
                  <a:gd name="connsiteY63" fmla="*/ 480172 h 677271"/>
                  <a:gd name="connsiteX64" fmla="*/ 12128 w 677219"/>
                  <a:gd name="connsiteY64" fmla="*/ 484982 h 677271"/>
                  <a:gd name="connsiteX65" fmla="*/ 23 w 677219"/>
                  <a:gd name="connsiteY65" fmla="*/ 529385 h 677271"/>
                  <a:gd name="connsiteX66" fmla="*/ 14135 w 677219"/>
                  <a:gd name="connsiteY66" fmla="*/ 573191 h 677271"/>
                  <a:gd name="connsiteX67" fmla="*/ 17594 w 677219"/>
                  <a:gd name="connsiteY67" fmla="*/ 577902 h 677271"/>
                  <a:gd name="connsiteX68" fmla="*/ 21469 w 677219"/>
                  <a:gd name="connsiteY68" fmla="*/ 582275 h 677271"/>
                  <a:gd name="connsiteX69" fmla="*/ 23417 w 677219"/>
                  <a:gd name="connsiteY69" fmla="*/ 584461 h 677271"/>
                  <a:gd name="connsiteX70" fmla="*/ 25922 w 677219"/>
                  <a:gd name="connsiteY70" fmla="*/ 586985 h 677271"/>
                  <a:gd name="connsiteX71" fmla="*/ 31050 w 677219"/>
                  <a:gd name="connsiteY71" fmla="*/ 592113 h 677271"/>
                  <a:gd name="connsiteX72" fmla="*/ 51561 w 677219"/>
                  <a:gd name="connsiteY72" fmla="*/ 612625 h 677271"/>
                  <a:gd name="connsiteX73" fmla="*/ 92605 w 677219"/>
                  <a:gd name="connsiteY73" fmla="*/ 653669 h 677271"/>
                  <a:gd name="connsiteX74" fmla="*/ 96958 w 677219"/>
                  <a:gd name="connsiteY74" fmla="*/ 657585 h 677271"/>
                  <a:gd name="connsiteX75" fmla="*/ 99144 w 677219"/>
                  <a:gd name="connsiteY75" fmla="*/ 659512 h 677271"/>
                  <a:gd name="connsiteX76" fmla="*/ 101510 w 677219"/>
                  <a:gd name="connsiteY76" fmla="*/ 661222 h 677271"/>
                  <a:gd name="connsiteX77" fmla="*/ 103855 w 677219"/>
                  <a:gd name="connsiteY77" fmla="*/ 662951 h 677271"/>
                  <a:gd name="connsiteX78" fmla="*/ 106260 w 677219"/>
                  <a:gd name="connsiteY78" fmla="*/ 664581 h 677271"/>
                  <a:gd name="connsiteX79" fmla="*/ 111289 w 677219"/>
                  <a:gd name="connsiteY79" fmla="*/ 667542 h 677271"/>
                  <a:gd name="connsiteX80" fmla="*/ 113892 w 677219"/>
                  <a:gd name="connsiteY80" fmla="*/ 668854 h 677271"/>
                  <a:gd name="connsiteX81" fmla="*/ 116536 w 677219"/>
                  <a:gd name="connsiteY81" fmla="*/ 670067 h 677271"/>
                  <a:gd name="connsiteX82" fmla="*/ 119179 w 677219"/>
                  <a:gd name="connsiteY82" fmla="*/ 671319 h 677271"/>
                  <a:gd name="connsiteX83" fmla="*/ 121942 w 677219"/>
                  <a:gd name="connsiteY83" fmla="*/ 672273 h 677271"/>
                  <a:gd name="connsiteX84" fmla="*/ 127468 w 677219"/>
                  <a:gd name="connsiteY84" fmla="*/ 674141 h 677271"/>
                  <a:gd name="connsiteX85" fmla="*/ 133152 w 677219"/>
                  <a:gd name="connsiteY85" fmla="*/ 675532 h 677271"/>
                  <a:gd name="connsiteX86" fmla="*/ 136014 w 677219"/>
                  <a:gd name="connsiteY86" fmla="*/ 676049 h 677271"/>
                  <a:gd name="connsiteX87" fmla="*/ 138916 w 677219"/>
                  <a:gd name="connsiteY87" fmla="*/ 676467 h 677271"/>
                  <a:gd name="connsiteX88" fmla="*/ 141798 w 677219"/>
                  <a:gd name="connsiteY88" fmla="*/ 676904 h 677271"/>
                  <a:gd name="connsiteX89" fmla="*/ 144720 w 677219"/>
                  <a:gd name="connsiteY89" fmla="*/ 677043 h 677271"/>
                  <a:gd name="connsiteX90" fmla="*/ 150563 w 677219"/>
                  <a:gd name="connsiteY90" fmla="*/ 677262 h 677271"/>
                  <a:gd name="connsiteX91" fmla="*/ 156407 w 677219"/>
                  <a:gd name="connsiteY91" fmla="*/ 676983 h 677271"/>
                  <a:gd name="connsiteX92" fmla="*/ 159309 w 677219"/>
                  <a:gd name="connsiteY92" fmla="*/ 676665 h 677271"/>
                  <a:gd name="connsiteX93" fmla="*/ 162211 w 677219"/>
                  <a:gd name="connsiteY93" fmla="*/ 676248 h 677271"/>
                  <a:gd name="connsiteX94" fmla="*/ 165113 w 677219"/>
                  <a:gd name="connsiteY94" fmla="*/ 675851 h 677271"/>
                  <a:gd name="connsiteX95" fmla="*/ 167955 w 677219"/>
                  <a:gd name="connsiteY95" fmla="*/ 675155 h 677271"/>
                  <a:gd name="connsiteX96" fmla="*/ 173600 w 677219"/>
                  <a:gd name="connsiteY96" fmla="*/ 673704 h 677271"/>
                  <a:gd name="connsiteX97" fmla="*/ 179105 w 677219"/>
                  <a:gd name="connsiteY97" fmla="*/ 671776 h 677271"/>
                  <a:gd name="connsiteX98" fmla="*/ 181789 w 677219"/>
                  <a:gd name="connsiteY98" fmla="*/ 670643 h 677271"/>
                  <a:gd name="connsiteX99" fmla="*/ 184432 w 677219"/>
                  <a:gd name="connsiteY99" fmla="*/ 669411 h 677271"/>
                  <a:gd name="connsiteX100" fmla="*/ 187076 w 677219"/>
                  <a:gd name="connsiteY100" fmla="*/ 668198 h 677271"/>
                  <a:gd name="connsiteX101" fmla="*/ 189580 w 677219"/>
                  <a:gd name="connsiteY101" fmla="*/ 666727 h 677271"/>
                  <a:gd name="connsiteX102" fmla="*/ 194589 w 677219"/>
                  <a:gd name="connsiteY102" fmla="*/ 663726 h 677271"/>
                  <a:gd name="connsiteX103" fmla="*/ 199279 w 677219"/>
                  <a:gd name="connsiteY103" fmla="*/ 660268 h 677271"/>
                  <a:gd name="connsiteX104" fmla="*/ 203732 w 677219"/>
                  <a:gd name="connsiteY104" fmla="*/ 656472 h 677271"/>
                  <a:gd name="connsiteX105" fmla="*/ 205918 w 677219"/>
                  <a:gd name="connsiteY105" fmla="*/ 654524 h 677271"/>
                  <a:gd name="connsiteX106" fmla="*/ 207031 w 677219"/>
                  <a:gd name="connsiteY106" fmla="*/ 653510 h 677271"/>
                  <a:gd name="connsiteX107" fmla="*/ 208323 w 677219"/>
                  <a:gd name="connsiteY107" fmla="*/ 652218 h 677271"/>
                  <a:gd name="connsiteX108" fmla="*/ 218579 w 677219"/>
                  <a:gd name="connsiteY108" fmla="*/ 641962 h 677271"/>
                  <a:gd name="connsiteX109" fmla="*/ 259623 w 677219"/>
                  <a:gd name="connsiteY109" fmla="*/ 600918 h 677271"/>
                  <a:gd name="connsiteX110" fmla="*/ 423758 w 677219"/>
                  <a:gd name="connsiteY110" fmla="*/ 436783 h 677271"/>
                  <a:gd name="connsiteX111" fmla="*/ 587893 w 677219"/>
                  <a:gd name="connsiteY111" fmla="*/ 272648 h 677271"/>
                  <a:gd name="connsiteX112" fmla="*/ 628937 w 677219"/>
                  <a:gd name="connsiteY112" fmla="*/ 231604 h 677271"/>
                  <a:gd name="connsiteX113" fmla="*/ 649449 w 677219"/>
                  <a:gd name="connsiteY113" fmla="*/ 211092 h 677271"/>
                  <a:gd name="connsiteX114" fmla="*/ 627884 w 677219"/>
                  <a:gd name="connsiteY114" fmla="*/ 175136 h 677271"/>
                  <a:gd name="connsiteX115" fmla="*/ 627347 w 677219"/>
                  <a:gd name="connsiteY115" fmla="*/ 175653 h 677271"/>
                  <a:gd name="connsiteX116" fmla="*/ 625359 w 677219"/>
                  <a:gd name="connsiteY116" fmla="*/ 177859 h 677271"/>
                  <a:gd name="connsiteX117" fmla="*/ 623372 w 677219"/>
                  <a:gd name="connsiteY117" fmla="*/ 179946 h 677271"/>
                  <a:gd name="connsiteX118" fmla="*/ 620808 w 677219"/>
                  <a:gd name="connsiteY118" fmla="*/ 182510 h 677271"/>
                  <a:gd name="connsiteX119" fmla="*/ 600296 w 677219"/>
                  <a:gd name="connsiteY119" fmla="*/ 203022 h 677271"/>
                  <a:gd name="connsiteX120" fmla="*/ 559252 w 677219"/>
                  <a:gd name="connsiteY120" fmla="*/ 244066 h 677271"/>
                  <a:gd name="connsiteX121" fmla="*/ 395117 w 677219"/>
                  <a:gd name="connsiteY121" fmla="*/ 408201 h 677271"/>
                  <a:gd name="connsiteX122" fmla="*/ 230981 w 677219"/>
                  <a:gd name="connsiteY122" fmla="*/ 572337 h 677271"/>
                  <a:gd name="connsiteX123" fmla="*/ 189938 w 677219"/>
                  <a:gd name="connsiteY123" fmla="*/ 613380 h 677271"/>
                  <a:gd name="connsiteX124" fmla="*/ 179682 w 677219"/>
                  <a:gd name="connsiteY124" fmla="*/ 623636 h 677271"/>
                  <a:gd name="connsiteX125" fmla="*/ 178390 w 677219"/>
                  <a:gd name="connsiteY125" fmla="*/ 624928 h 677271"/>
                  <a:gd name="connsiteX126" fmla="*/ 178231 w 677219"/>
                  <a:gd name="connsiteY126" fmla="*/ 625087 h 677271"/>
                  <a:gd name="connsiteX127" fmla="*/ 178151 w 677219"/>
                  <a:gd name="connsiteY127" fmla="*/ 625147 h 677271"/>
                  <a:gd name="connsiteX128" fmla="*/ 178012 w 677219"/>
                  <a:gd name="connsiteY128" fmla="*/ 625266 h 677271"/>
                  <a:gd name="connsiteX129" fmla="*/ 177714 w 677219"/>
                  <a:gd name="connsiteY129" fmla="*/ 625505 h 677271"/>
                  <a:gd name="connsiteX130" fmla="*/ 176581 w 677219"/>
                  <a:gd name="connsiteY130" fmla="*/ 626479 h 677271"/>
                  <a:gd name="connsiteX131" fmla="*/ 174355 w 677219"/>
                  <a:gd name="connsiteY131" fmla="*/ 628407 h 677271"/>
                  <a:gd name="connsiteX132" fmla="*/ 172029 w 677219"/>
                  <a:gd name="connsiteY132" fmla="*/ 630156 h 677271"/>
                  <a:gd name="connsiteX133" fmla="*/ 169525 w 677219"/>
                  <a:gd name="connsiteY133" fmla="*/ 631607 h 677271"/>
                  <a:gd name="connsiteX134" fmla="*/ 168313 w 677219"/>
                  <a:gd name="connsiteY134" fmla="*/ 632382 h 677271"/>
                  <a:gd name="connsiteX135" fmla="*/ 166981 w 677219"/>
                  <a:gd name="connsiteY135" fmla="*/ 632938 h 677271"/>
                  <a:gd name="connsiteX136" fmla="*/ 165689 w 677219"/>
                  <a:gd name="connsiteY136" fmla="*/ 633555 h 677271"/>
                  <a:gd name="connsiteX137" fmla="*/ 164357 w 677219"/>
                  <a:gd name="connsiteY137" fmla="*/ 634131 h 677271"/>
                  <a:gd name="connsiteX138" fmla="*/ 161634 w 677219"/>
                  <a:gd name="connsiteY138" fmla="*/ 635085 h 677271"/>
                  <a:gd name="connsiteX139" fmla="*/ 158812 w 677219"/>
                  <a:gd name="connsiteY139" fmla="*/ 635781 h 677271"/>
                  <a:gd name="connsiteX140" fmla="*/ 157401 w 677219"/>
                  <a:gd name="connsiteY140" fmla="*/ 636178 h 677271"/>
                  <a:gd name="connsiteX141" fmla="*/ 155930 w 677219"/>
                  <a:gd name="connsiteY141" fmla="*/ 636317 h 677271"/>
                  <a:gd name="connsiteX142" fmla="*/ 154479 w 677219"/>
                  <a:gd name="connsiteY142" fmla="*/ 636536 h 677271"/>
                  <a:gd name="connsiteX143" fmla="*/ 153028 w 677219"/>
                  <a:gd name="connsiteY143" fmla="*/ 636715 h 677271"/>
                  <a:gd name="connsiteX144" fmla="*/ 150086 w 677219"/>
                  <a:gd name="connsiteY144" fmla="*/ 636854 h 677271"/>
                  <a:gd name="connsiteX145" fmla="*/ 147145 w 677219"/>
                  <a:gd name="connsiteY145" fmla="*/ 636715 h 677271"/>
                  <a:gd name="connsiteX146" fmla="*/ 145674 w 677219"/>
                  <a:gd name="connsiteY146" fmla="*/ 636695 h 677271"/>
                  <a:gd name="connsiteX147" fmla="*/ 144223 w 677219"/>
                  <a:gd name="connsiteY147" fmla="*/ 636417 h 677271"/>
                  <a:gd name="connsiteX148" fmla="*/ 142772 w 677219"/>
                  <a:gd name="connsiteY148" fmla="*/ 636218 h 677271"/>
                  <a:gd name="connsiteX149" fmla="*/ 141341 w 677219"/>
                  <a:gd name="connsiteY149" fmla="*/ 635960 h 677271"/>
                  <a:gd name="connsiteX150" fmla="*/ 138499 w 677219"/>
                  <a:gd name="connsiteY150" fmla="*/ 635284 h 677271"/>
                  <a:gd name="connsiteX151" fmla="*/ 135756 w 677219"/>
                  <a:gd name="connsiteY151" fmla="*/ 634330 h 677271"/>
                  <a:gd name="connsiteX152" fmla="*/ 134365 w 677219"/>
                  <a:gd name="connsiteY152" fmla="*/ 633892 h 677271"/>
                  <a:gd name="connsiteX153" fmla="*/ 133073 w 677219"/>
                  <a:gd name="connsiteY153" fmla="*/ 633237 h 677271"/>
                  <a:gd name="connsiteX154" fmla="*/ 131761 w 677219"/>
                  <a:gd name="connsiteY154" fmla="*/ 632640 h 677271"/>
                  <a:gd name="connsiteX155" fmla="*/ 130469 w 677219"/>
                  <a:gd name="connsiteY155" fmla="*/ 632004 h 677271"/>
                  <a:gd name="connsiteX156" fmla="*/ 127984 w 677219"/>
                  <a:gd name="connsiteY156" fmla="*/ 630533 h 677271"/>
                  <a:gd name="connsiteX157" fmla="*/ 126792 w 677219"/>
                  <a:gd name="connsiteY157" fmla="*/ 629719 h 677271"/>
                  <a:gd name="connsiteX158" fmla="*/ 125639 w 677219"/>
                  <a:gd name="connsiteY158" fmla="*/ 628844 h 677271"/>
                  <a:gd name="connsiteX159" fmla="*/ 124427 w 677219"/>
                  <a:gd name="connsiteY159" fmla="*/ 628029 h 677271"/>
                  <a:gd name="connsiteX160" fmla="*/ 123353 w 677219"/>
                  <a:gd name="connsiteY160" fmla="*/ 627015 h 677271"/>
                  <a:gd name="connsiteX161" fmla="*/ 121107 w 677219"/>
                  <a:gd name="connsiteY161" fmla="*/ 625067 h 677271"/>
                  <a:gd name="connsiteX162" fmla="*/ 80064 w 677219"/>
                  <a:gd name="connsiteY162" fmla="*/ 584024 h 677271"/>
                  <a:gd name="connsiteX163" fmla="*/ 59552 w 677219"/>
                  <a:gd name="connsiteY163" fmla="*/ 563512 h 677271"/>
                  <a:gd name="connsiteX164" fmla="*/ 54424 w 677219"/>
                  <a:gd name="connsiteY164" fmla="*/ 558384 h 677271"/>
                  <a:gd name="connsiteX165" fmla="*/ 53132 w 677219"/>
                  <a:gd name="connsiteY165" fmla="*/ 557092 h 677271"/>
                  <a:gd name="connsiteX166" fmla="*/ 52496 w 677219"/>
                  <a:gd name="connsiteY166" fmla="*/ 556456 h 677271"/>
                  <a:gd name="connsiteX167" fmla="*/ 51999 w 677219"/>
                  <a:gd name="connsiteY167" fmla="*/ 555939 h 677271"/>
                  <a:gd name="connsiteX168" fmla="*/ 51045 w 677219"/>
                  <a:gd name="connsiteY168" fmla="*/ 554786 h 677271"/>
                  <a:gd name="connsiteX169" fmla="*/ 49057 w 677219"/>
                  <a:gd name="connsiteY169" fmla="*/ 552600 h 677271"/>
                  <a:gd name="connsiteX170" fmla="*/ 47348 w 677219"/>
                  <a:gd name="connsiteY170" fmla="*/ 550235 h 677271"/>
                  <a:gd name="connsiteX171" fmla="*/ 40352 w 677219"/>
                  <a:gd name="connsiteY171" fmla="*/ 528411 h 677271"/>
                  <a:gd name="connsiteX172" fmla="*/ 46374 w 677219"/>
                  <a:gd name="connsiteY172" fmla="*/ 506269 h 677271"/>
                  <a:gd name="connsiteX173" fmla="*/ 48024 w 677219"/>
                  <a:gd name="connsiteY173" fmla="*/ 503884 h 677271"/>
                  <a:gd name="connsiteX174" fmla="*/ 48858 w 677219"/>
                  <a:gd name="connsiteY174" fmla="*/ 502692 h 677271"/>
                  <a:gd name="connsiteX175" fmla="*/ 49256 w 677219"/>
                  <a:gd name="connsiteY175" fmla="*/ 502075 h 677271"/>
                  <a:gd name="connsiteX176" fmla="*/ 49793 w 677219"/>
                  <a:gd name="connsiteY176" fmla="*/ 501559 h 677271"/>
                  <a:gd name="connsiteX177" fmla="*/ 51780 w 677219"/>
                  <a:gd name="connsiteY177" fmla="*/ 499352 h 677271"/>
                  <a:gd name="connsiteX178" fmla="*/ 53768 w 677219"/>
                  <a:gd name="connsiteY178" fmla="*/ 497265 h 677271"/>
                  <a:gd name="connsiteX179" fmla="*/ 56332 w 677219"/>
                  <a:gd name="connsiteY179" fmla="*/ 494701 h 677271"/>
                  <a:gd name="connsiteX180" fmla="*/ 76844 w 677219"/>
                  <a:gd name="connsiteY180" fmla="*/ 474189 h 677271"/>
                  <a:gd name="connsiteX181" fmla="*/ 117887 w 677219"/>
                  <a:gd name="connsiteY181" fmla="*/ 433146 h 677271"/>
                  <a:gd name="connsiteX182" fmla="*/ 199955 w 677219"/>
                  <a:gd name="connsiteY182" fmla="*/ 351078 h 677271"/>
                  <a:gd name="connsiteX183" fmla="*/ 364090 w 677219"/>
                  <a:gd name="connsiteY183" fmla="*/ 186943 h 677271"/>
                  <a:gd name="connsiteX184" fmla="*/ 446158 w 677219"/>
                  <a:gd name="connsiteY184" fmla="*/ 104875 h 677271"/>
                  <a:gd name="connsiteX185" fmla="*/ 487202 w 677219"/>
                  <a:gd name="connsiteY185" fmla="*/ 63831 h 677271"/>
                  <a:gd name="connsiteX186" fmla="*/ 497458 w 677219"/>
                  <a:gd name="connsiteY186" fmla="*/ 53575 h 677271"/>
                  <a:gd name="connsiteX187" fmla="*/ 498750 w 677219"/>
                  <a:gd name="connsiteY187" fmla="*/ 52283 h 677271"/>
                  <a:gd name="connsiteX188" fmla="*/ 498909 w 677219"/>
                  <a:gd name="connsiteY188" fmla="*/ 52124 h 677271"/>
                  <a:gd name="connsiteX189" fmla="*/ 498988 w 677219"/>
                  <a:gd name="connsiteY189" fmla="*/ 52065 h 677271"/>
                  <a:gd name="connsiteX190" fmla="*/ 499128 w 677219"/>
                  <a:gd name="connsiteY190" fmla="*/ 51945 h 677271"/>
                  <a:gd name="connsiteX191" fmla="*/ 499426 w 677219"/>
                  <a:gd name="connsiteY191" fmla="*/ 51707 h 677271"/>
                  <a:gd name="connsiteX192" fmla="*/ 500559 w 677219"/>
                  <a:gd name="connsiteY192" fmla="*/ 50733 h 677271"/>
                  <a:gd name="connsiteX193" fmla="*/ 502785 w 677219"/>
                  <a:gd name="connsiteY193" fmla="*/ 48805 h 677271"/>
                  <a:gd name="connsiteX194" fmla="*/ 505110 w 677219"/>
                  <a:gd name="connsiteY194" fmla="*/ 47056 h 677271"/>
                  <a:gd name="connsiteX195" fmla="*/ 507614 w 677219"/>
                  <a:gd name="connsiteY195" fmla="*/ 45605 h 677271"/>
                  <a:gd name="connsiteX196" fmla="*/ 508827 w 677219"/>
                  <a:gd name="connsiteY196" fmla="*/ 44830 h 677271"/>
                  <a:gd name="connsiteX197" fmla="*/ 510159 w 677219"/>
                  <a:gd name="connsiteY197" fmla="*/ 44273 h 677271"/>
                  <a:gd name="connsiteX198" fmla="*/ 511451 w 677219"/>
                  <a:gd name="connsiteY198" fmla="*/ 43657 h 677271"/>
                  <a:gd name="connsiteX199" fmla="*/ 512782 w 677219"/>
                  <a:gd name="connsiteY199" fmla="*/ 43081 h 677271"/>
                  <a:gd name="connsiteX200" fmla="*/ 515505 w 677219"/>
                  <a:gd name="connsiteY200" fmla="*/ 42127 h 677271"/>
                  <a:gd name="connsiteX201" fmla="*/ 518328 w 677219"/>
                  <a:gd name="connsiteY201" fmla="*/ 41431 h 677271"/>
                  <a:gd name="connsiteX202" fmla="*/ 519739 w 677219"/>
                  <a:gd name="connsiteY202" fmla="*/ 41033 h 677271"/>
                  <a:gd name="connsiteX203" fmla="*/ 521210 w 677219"/>
                  <a:gd name="connsiteY203" fmla="*/ 40894 h 677271"/>
                  <a:gd name="connsiteX204" fmla="*/ 522661 w 677219"/>
                  <a:gd name="connsiteY204" fmla="*/ 40676 h 677271"/>
                  <a:gd name="connsiteX205" fmla="*/ 524112 w 677219"/>
                  <a:gd name="connsiteY205" fmla="*/ 40497 h 677271"/>
                  <a:gd name="connsiteX206" fmla="*/ 527053 w 677219"/>
                  <a:gd name="connsiteY206" fmla="*/ 40358 h 677271"/>
                  <a:gd name="connsiteX207" fmla="*/ 529995 w 677219"/>
                  <a:gd name="connsiteY207" fmla="*/ 40497 h 677271"/>
                  <a:gd name="connsiteX208" fmla="*/ 531466 w 677219"/>
                  <a:gd name="connsiteY208" fmla="*/ 40517 h 677271"/>
                  <a:gd name="connsiteX209" fmla="*/ 532917 w 677219"/>
                  <a:gd name="connsiteY209" fmla="*/ 40795 h 677271"/>
                  <a:gd name="connsiteX210" fmla="*/ 534368 w 677219"/>
                  <a:gd name="connsiteY210" fmla="*/ 40994 h 677271"/>
                  <a:gd name="connsiteX211" fmla="*/ 535799 w 677219"/>
                  <a:gd name="connsiteY211" fmla="*/ 41252 h 677271"/>
                  <a:gd name="connsiteX212" fmla="*/ 538641 w 677219"/>
                  <a:gd name="connsiteY212" fmla="*/ 41928 h 677271"/>
                  <a:gd name="connsiteX213" fmla="*/ 541384 w 677219"/>
                  <a:gd name="connsiteY213" fmla="*/ 42882 h 677271"/>
                  <a:gd name="connsiteX214" fmla="*/ 542775 w 677219"/>
                  <a:gd name="connsiteY214" fmla="*/ 43319 h 677271"/>
                  <a:gd name="connsiteX215" fmla="*/ 544067 w 677219"/>
                  <a:gd name="connsiteY215" fmla="*/ 43975 h 677271"/>
                  <a:gd name="connsiteX216" fmla="*/ 545379 w 677219"/>
                  <a:gd name="connsiteY216" fmla="*/ 44571 h 677271"/>
                  <a:gd name="connsiteX217" fmla="*/ 546671 w 677219"/>
                  <a:gd name="connsiteY217" fmla="*/ 45207 h 677271"/>
                  <a:gd name="connsiteX218" fmla="*/ 549155 w 677219"/>
                  <a:gd name="connsiteY218" fmla="*/ 46678 h 677271"/>
                  <a:gd name="connsiteX219" fmla="*/ 550348 w 677219"/>
                  <a:gd name="connsiteY219" fmla="*/ 47493 h 677271"/>
                  <a:gd name="connsiteX220" fmla="*/ 551501 w 677219"/>
                  <a:gd name="connsiteY220" fmla="*/ 48368 h 677271"/>
                  <a:gd name="connsiteX221" fmla="*/ 552713 w 677219"/>
                  <a:gd name="connsiteY221" fmla="*/ 49183 h 677271"/>
                  <a:gd name="connsiteX222" fmla="*/ 553786 w 677219"/>
                  <a:gd name="connsiteY222" fmla="*/ 50196 h 677271"/>
                  <a:gd name="connsiteX223" fmla="*/ 556032 w 677219"/>
                  <a:gd name="connsiteY223" fmla="*/ 52144 h 677271"/>
                  <a:gd name="connsiteX224" fmla="*/ 597076 w 677219"/>
                  <a:gd name="connsiteY224" fmla="*/ 93188 h 677271"/>
                  <a:gd name="connsiteX225" fmla="*/ 617588 w 677219"/>
                  <a:gd name="connsiteY225" fmla="*/ 113700 h 677271"/>
                  <a:gd name="connsiteX226" fmla="*/ 622716 w 677219"/>
                  <a:gd name="connsiteY226" fmla="*/ 118828 h 677271"/>
                  <a:gd name="connsiteX227" fmla="*/ 624008 w 677219"/>
                  <a:gd name="connsiteY227" fmla="*/ 120120 h 677271"/>
                  <a:gd name="connsiteX228" fmla="*/ 624644 w 677219"/>
                  <a:gd name="connsiteY228" fmla="*/ 120756 h 677271"/>
                  <a:gd name="connsiteX229" fmla="*/ 625141 w 677219"/>
                  <a:gd name="connsiteY229" fmla="*/ 121273 h 677271"/>
                  <a:gd name="connsiteX230" fmla="*/ 626095 w 677219"/>
                  <a:gd name="connsiteY230" fmla="*/ 122425 h 677271"/>
                  <a:gd name="connsiteX231" fmla="*/ 628083 w 677219"/>
                  <a:gd name="connsiteY231" fmla="*/ 124612 h 677271"/>
                  <a:gd name="connsiteX232" fmla="*/ 629792 w 677219"/>
                  <a:gd name="connsiteY232" fmla="*/ 126977 h 677271"/>
                  <a:gd name="connsiteX233" fmla="*/ 636788 w 677219"/>
                  <a:gd name="connsiteY233" fmla="*/ 148801 h 677271"/>
                  <a:gd name="connsiteX234" fmla="*/ 630766 w 677219"/>
                  <a:gd name="connsiteY234" fmla="*/ 170942 h 677271"/>
                  <a:gd name="connsiteX235" fmla="*/ 629116 w 677219"/>
                  <a:gd name="connsiteY235" fmla="*/ 173328 h 677271"/>
                  <a:gd name="connsiteX236" fmla="*/ 628281 w 677219"/>
                  <a:gd name="connsiteY236" fmla="*/ 174520 h 677271"/>
                  <a:gd name="connsiteX237" fmla="*/ 627884 w 677219"/>
                  <a:gd name="connsiteY237" fmla="*/ 175136 h 677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</a:cxnLst>
                <a:rect l="l" t="t" r="r" b="b"/>
                <a:pathLst>
                  <a:path w="677219" h="677271">
                    <a:moveTo>
                      <a:pt x="649409" y="211092"/>
                    </a:moveTo>
                    <a:lnTo>
                      <a:pt x="651973" y="208528"/>
                    </a:lnTo>
                    <a:cubicBezTo>
                      <a:pt x="652808" y="207673"/>
                      <a:pt x="653762" y="206779"/>
                      <a:pt x="654319" y="206083"/>
                    </a:cubicBezTo>
                    <a:lnTo>
                      <a:pt x="658234" y="201730"/>
                    </a:lnTo>
                    <a:lnTo>
                      <a:pt x="659228" y="200657"/>
                    </a:lnTo>
                    <a:lnTo>
                      <a:pt x="660083" y="199464"/>
                    </a:lnTo>
                    <a:lnTo>
                      <a:pt x="661812" y="197099"/>
                    </a:lnTo>
                    <a:cubicBezTo>
                      <a:pt x="662965" y="195529"/>
                      <a:pt x="664197" y="194018"/>
                      <a:pt x="665092" y="192289"/>
                    </a:cubicBezTo>
                    <a:cubicBezTo>
                      <a:pt x="673340" y="179111"/>
                      <a:pt x="677574" y="163469"/>
                      <a:pt x="677196" y="147886"/>
                    </a:cubicBezTo>
                    <a:cubicBezTo>
                      <a:pt x="676878" y="132284"/>
                      <a:pt x="671889" y="116880"/>
                      <a:pt x="663084" y="104080"/>
                    </a:cubicBezTo>
                    <a:lnTo>
                      <a:pt x="659626" y="99369"/>
                    </a:lnTo>
                    <a:cubicBezTo>
                      <a:pt x="658453" y="97819"/>
                      <a:pt x="657022" y="96467"/>
                      <a:pt x="655750" y="94997"/>
                    </a:cubicBezTo>
                    <a:lnTo>
                      <a:pt x="653802" y="92810"/>
                    </a:lnTo>
                    <a:cubicBezTo>
                      <a:pt x="653066" y="92015"/>
                      <a:pt x="652132" y="91121"/>
                      <a:pt x="651298" y="90286"/>
                    </a:cubicBezTo>
                    <a:lnTo>
                      <a:pt x="646170" y="85158"/>
                    </a:lnTo>
                    <a:lnTo>
                      <a:pt x="625658" y="64646"/>
                    </a:lnTo>
                    <a:lnTo>
                      <a:pt x="584614" y="23602"/>
                    </a:lnTo>
                    <a:lnTo>
                      <a:pt x="580261" y="19687"/>
                    </a:lnTo>
                    <a:cubicBezTo>
                      <a:pt x="579526" y="19051"/>
                      <a:pt x="578850" y="18315"/>
                      <a:pt x="578075" y="17759"/>
                    </a:cubicBezTo>
                    <a:lnTo>
                      <a:pt x="575709" y="16049"/>
                    </a:lnTo>
                    <a:lnTo>
                      <a:pt x="573364" y="14320"/>
                    </a:lnTo>
                    <a:cubicBezTo>
                      <a:pt x="572589" y="13744"/>
                      <a:pt x="571814" y="13128"/>
                      <a:pt x="570959" y="12690"/>
                    </a:cubicBezTo>
                    <a:lnTo>
                      <a:pt x="565931" y="9729"/>
                    </a:lnTo>
                    <a:cubicBezTo>
                      <a:pt x="565116" y="9172"/>
                      <a:pt x="564201" y="8834"/>
                      <a:pt x="563327" y="8417"/>
                    </a:cubicBezTo>
                    <a:lnTo>
                      <a:pt x="560683" y="7205"/>
                    </a:lnTo>
                    <a:lnTo>
                      <a:pt x="558040" y="5952"/>
                    </a:lnTo>
                    <a:cubicBezTo>
                      <a:pt x="557125" y="5615"/>
                      <a:pt x="556191" y="5316"/>
                      <a:pt x="555277" y="4998"/>
                    </a:cubicBezTo>
                    <a:cubicBezTo>
                      <a:pt x="553429" y="4402"/>
                      <a:pt x="551640" y="3627"/>
                      <a:pt x="549751" y="3130"/>
                    </a:cubicBezTo>
                    <a:lnTo>
                      <a:pt x="544087" y="1739"/>
                    </a:lnTo>
                    <a:cubicBezTo>
                      <a:pt x="543153" y="1460"/>
                      <a:pt x="542179" y="1341"/>
                      <a:pt x="541225" y="1222"/>
                    </a:cubicBezTo>
                    <a:lnTo>
                      <a:pt x="538323" y="805"/>
                    </a:lnTo>
                    <a:lnTo>
                      <a:pt x="535441" y="367"/>
                    </a:lnTo>
                    <a:cubicBezTo>
                      <a:pt x="534467" y="288"/>
                      <a:pt x="533493" y="288"/>
                      <a:pt x="532519" y="228"/>
                    </a:cubicBezTo>
                    <a:cubicBezTo>
                      <a:pt x="530571" y="188"/>
                      <a:pt x="528623" y="-50"/>
                      <a:pt x="526676" y="10"/>
                    </a:cubicBezTo>
                    <a:lnTo>
                      <a:pt x="520832" y="288"/>
                    </a:lnTo>
                    <a:cubicBezTo>
                      <a:pt x="519858" y="288"/>
                      <a:pt x="518884" y="467"/>
                      <a:pt x="517930" y="606"/>
                    </a:cubicBezTo>
                    <a:lnTo>
                      <a:pt x="515048" y="1023"/>
                    </a:lnTo>
                    <a:lnTo>
                      <a:pt x="512146" y="1421"/>
                    </a:lnTo>
                    <a:lnTo>
                      <a:pt x="509304" y="2116"/>
                    </a:lnTo>
                    <a:cubicBezTo>
                      <a:pt x="507436" y="2633"/>
                      <a:pt x="505488" y="2931"/>
                      <a:pt x="503659" y="3567"/>
                    </a:cubicBezTo>
                    <a:lnTo>
                      <a:pt x="498154" y="5495"/>
                    </a:lnTo>
                    <a:cubicBezTo>
                      <a:pt x="497219" y="5774"/>
                      <a:pt x="496345" y="6211"/>
                      <a:pt x="495470" y="6628"/>
                    </a:cubicBezTo>
                    <a:lnTo>
                      <a:pt x="492827" y="7861"/>
                    </a:lnTo>
                    <a:lnTo>
                      <a:pt x="490183" y="9073"/>
                    </a:lnTo>
                    <a:cubicBezTo>
                      <a:pt x="489329" y="9530"/>
                      <a:pt x="488514" y="10067"/>
                      <a:pt x="487679" y="10544"/>
                    </a:cubicBezTo>
                    <a:cubicBezTo>
                      <a:pt x="486029" y="11557"/>
                      <a:pt x="484300" y="12472"/>
                      <a:pt x="482670" y="13545"/>
                    </a:cubicBezTo>
                    <a:lnTo>
                      <a:pt x="477980" y="17003"/>
                    </a:lnTo>
                    <a:cubicBezTo>
                      <a:pt x="476330" y="18057"/>
                      <a:pt x="474998" y="19528"/>
                      <a:pt x="473527" y="20800"/>
                    </a:cubicBezTo>
                    <a:lnTo>
                      <a:pt x="471341" y="22748"/>
                    </a:lnTo>
                    <a:cubicBezTo>
                      <a:pt x="470963" y="23085"/>
                      <a:pt x="470625" y="23364"/>
                      <a:pt x="470228" y="23761"/>
                    </a:cubicBezTo>
                    <a:lnTo>
                      <a:pt x="468936" y="25053"/>
                    </a:lnTo>
                    <a:lnTo>
                      <a:pt x="458680" y="35309"/>
                    </a:lnTo>
                    <a:lnTo>
                      <a:pt x="417636" y="76353"/>
                    </a:lnTo>
                    <a:lnTo>
                      <a:pt x="335569" y="158421"/>
                    </a:lnTo>
                    <a:lnTo>
                      <a:pt x="171433" y="322556"/>
                    </a:lnTo>
                    <a:lnTo>
                      <a:pt x="89365" y="404624"/>
                    </a:lnTo>
                    <a:lnTo>
                      <a:pt x="48322" y="445668"/>
                    </a:lnTo>
                    <a:lnTo>
                      <a:pt x="27810" y="466179"/>
                    </a:lnTo>
                    <a:lnTo>
                      <a:pt x="25246" y="468743"/>
                    </a:lnTo>
                    <a:cubicBezTo>
                      <a:pt x="24411" y="469598"/>
                      <a:pt x="23457" y="470493"/>
                      <a:pt x="22900" y="471188"/>
                    </a:cubicBezTo>
                    <a:lnTo>
                      <a:pt x="18985" y="475541"/>
                    </a:lnTo>
                    <a:lnTo>
                      <a:pt x="17991" y="476614"/>
                    </a:lnTo>
                    <a:lnTo>
                      <a:pt x="17136" y="477807"/>
                    </a:lnTo>
                    <a:lnTo>
                      <a:pt x="15407" y="480172"/>
                    </a:lnTo>
                    <a:cubicBezTo>
                      <a:pt x="14254" y="481742"/>
                      <a:pt x="13022" y="483253"/>
                      <a:pt x="12128" y="484982"/>
                    </a:cubicBezTo>
                    <a:cubicBezTo>
                      <a:pt x="3879" y="498160"/>
                      <a:pt x="-354" y="513802"/>
                      <a:pt x="23" y="529385"/>
                    </a:cubicBezTo>
                    <a:cubicBezTo>
                      <a:pt x="341" y="544987"/>
                      <a:pt x="5330" y="560391"/>
                      <a:pt x="14135" y="573191"/>
                    </a:cubicBezTo>
                    <a:lnTo>
                      <a:pt x="17594" y="577902"/>
                    </a:lnTo>
                    <a:cubicBezTo>
                      <a:pt x="18766" y="579452"/>
                      <a:pt x="20197" y="580804"/>
                      <a:pt x="21469" y="582275"/>
                    </a:cubicBezTo>
                    <a:lnTo>
                      <a:pt x="23417" y="584461"/>
                    </a:lnTo>
                    <a:cubicBezTo>
                      <a:pt x="24153" y="585256"/>
                      <a:pt x="25087" y="586151"/>
                      <a:pt x="25922" y="586985"/>
                    </a:cubicBezTo>
                    <a:lnTo>
                      <a:pt x="31050" y="592113"/>
                    </a:lnTo>
                    <a:lnTo>
                      <a:pt x="51561" y="612625"/>
                    </a:lnTo>
                    <a:lnTo>
                      <a:pt x="92605" y="653669"/>
                    </a:lnTo>
                    <a:lnTo>
                      <a:pt x="96958" y="657585"/>
                    </a:lnTo>
                    <a:cubicBezTo>
                      <a:pt x="97693" y="658221"/>
                      <a:pt x="98369" y="658956"/>
                      <a:pt x="99144" y="659512"/>
                    </a:cubicBezTo>
                    <a:lnTo>
                      <a:pt x="101510" y="661222"/>
                    </a:lnTo>
                    <a:lnTo>
                      <a:pt x="103855" y="662951"/>
                    </a:lnTo>
                    <a:cubicBezTo>
                      <a:pt x="104630" y="663527"/>
                      <a:pt x="105405" y="664144"/>
                      <a:pt x="106260" y="664581"/>
                    </a:cubicBezTo>
                    <a:lnTo>
                      <a:pt x="111289" y="667542"/>
                    </a:lnTo>
                    <a:cubicBezTo>
                      <a:pt x="112104" y="668099"/>
                      <a:pt x="113018" y="668437"/>
                      <a:pt x="113892" y="668854"/>
                    </a:cubicBezTo>
                    <a:lnTo>
                      <a:pt x="116536" y="670067"/>
                    </a:lnTo>
                    <a:lnTo>
                      <a:pt x="119179" y="671319"/>
                    </a:lnTo>
                    <a:cubicBezTo>
                      <a:pt x="120094" y="671657"/>
                      <a:pt x="121028" y="671955"/>
                      <a:pt x="121942" y="672273"/>
                    </a:cubicBezTo>
                    <a:cubicBezTo>
                      <a:pt x="123791" y="672869"/>
                      <a:pt x="125579" y="673644"/>
                      <a:pt x="127468" y="674141"/>
                    </a:cubicBezTo>
                    <a:lnTo>
                      <a:pt x="133152" y="675532"/>
                    </a:lnTo>
                    <a:cubicBezTo>
                      <a:pt x="134086" y="675811"/>
                      <a:pt x="135060" y="675930"/>
                      <a:pt x="136014" y="676049"/>
                    </a:cubicBezTo>
                    <a:lnTo>
                      <a:pt x="138916" y="676467"/>
                    </a:lnTo>
                    <a:lnTo>
                      <a:pt x="141798" y="676904"/>
                    </a:lnTo>
                    <a:cubicBezTo>
                      <a:pt x="142772" y="676983"/>
                      <a:pt x="143746" y="676983"/>
                      <a:pt x="144720" y="677043"/>
                    </a:cubicBezTo>
                    <a:cubicBezTo>
                      <a:pt x="146668" y="677083"/>
                      <a:pt x="148616" y="677321"/>
                      <a:pt x="150563" y="677262"/>
                    </a:cubicBezTo>
                    <a:lnTo>
                      <a:pt x="156407" y="676983"/>
                    </a:lnTo>
                    <a:cubicBezTo>
                      <a:pt x="157381" y="676983"/>
                      <a:pt x="158355" y="676805"/>
                      <a:pt x="159309" y="676665"/>
                    </a:cubicBezTo>
                    <a:lnTo>
                      <a:pt x="162211" y="676248"/>
                    </a:lnTo>
                    <a:lnTo>
                      <a:pt x="165113" y="675851"/>
                    </a:lnTo>
                    <a:lnTo>
                      <a:pt x="167955" y="675155"/>
                    </a:lnTo>
                    <a:cubicBezTo>
                      <a:pt x="169823" y="674638"/>
                      <a:pt x="171771" y="674340"/>
                      <a:pt x="173600" y="673704"/>
                    </a:cubicBezTo>
                    <a:lnTo>
                      <a:pt x="179105" y="671776"/>
                    </a:lnTo>
                    <a:cubicBezTo>
                      <a:pt x="180039" y="671498"/>
                      <a:pt x="180914" y="671060"/>
                      <a:pt x="181789" y="670643"/>
                    </a:cubicBezTo>
                    <a:lnTo>
                      <a:pt x="184432" y="669411"/>
                    </a:lnTo>
                    <a:lnTo>
                      <a:pt x="187076" y="668198"/>
                    </a:lnTo>
                    <a:cubicBezTo>
                      <a:pt x="187930" y="667741"/>
                      <a:pt x="188745" y="667204"/>
                      <a:pt x="189580" y="666727"/>
                    </a:cubicBezTo>
                    <a:cubicBezTo>
                      <a:pt x="191230" y="665714"/>
                      <a:pt x="192959" y="664800"/>
                      <a:pt x="194589" y="663726"/>
                    </a:cubicBezTo>
                    <a:lnTo>
                      <a:pt x="199279" y="660268"/>
                    </a:lnTo>
                    <a:cubicBezTo>
                      <a:pt x="200929" y="659214"/>
                      <a:pt x="202261" y="657744"/>
                      <a:pt x="203732" y="656472"/>
                    </a:cubicBezTo>
                    <a:lnTo>
                      <a:pt x="205918" y="654524"/>
                    </a:lnTo>
                    <a:cubicBezTo>
                      <a:pt x="206296" y="654186"/>
                      <a:pt x="206633" y="653907"/>
                      <a:pt x="207031" y="653510"/>
                    </a:cubicBezTo>
                    <a:lnTo>
                      <a:pt x="208323" y="652218"/>
                    </a:lnTo>
                    <a:lnTo>
                      <a:pt x="218579" y="641962"/>
                    </a:lnTo>
                    <a:lnTo>
                      <a:pt x="259623" y="600918"/>
                    </a:lnTo>
                    <a:lnTo>
                      <a:pt x="423758" y="436783"/>
                    </a:lnTo>
                    <a:lnTo>
                      <a:pt x="587893" y="272648"/>
                    </a:lnTo>
                    <a:lnTo>
                      <a:pt x="628937" y="231604"/>
                    </a:lnTo>
                    <a:lnTo>
                      <a:pt x="649449" y="211092"/>
                    </a:lnTo>
                    <a:close/>
                    <a:moveTo>
                      <a:pt x="627884" y="175136"/>
                    </a:moveTo>
                    <a:lnTo>
                      <a:pt x="627347" y="175653"/>
                    </a:lnTo>
                    <a:cubicBezTo>
                      <a:pt x="626651" y="176349"/>
                      <a:pt x="625995" y="177084"/>
                      <a:pt x="625359" y="177859"/>
                    </a:cubicBezTo>
                    <a:cubicBezTo>
                      <a:pt x="625280" y="178038"/>
                      <a:pt x="624187" y="179111"/>
                      <a:pt x="623372" y="179946"/>
                    </a:cubicBezTo>
                    <a:lnTo>
                      <a:pt x="620808" y="182510"/>
                    </a:lnTo>
                    <a:lnTo>
                      <a:pt x="600296" y="203022"/>
                    </a:lnTo>
                    <a:lnTo>
                      <a:pt x="559252" y="244066"/>
                    </a:lnTo>
                    <a:lnTo>
                      <a:pt x="395117" y="408201"/>
                    </a:lnTo>
                    <a:lnTo>
                      <a:pt x="230981" y="572337"/>
                    </a:lnTo>
                    <a:lnTo>
                      <a:pt x="189938" y="613380"/>
                    </a:lnTo>
                    <a:lnTo>
                      <a:pt x="179682" y="623636"/>
                    </a:lnTo>
                    <a:lnTo>
                      <a:pt x="178390" y="624928"/>
                    </a:lnTo>
                    <a:lnTo>
                      <a:pt x="178231" y="625087"/>
                    </a:lnTo>
                    <a:lnTo>
                      <a:pt x="178151" y="625147"/>
                    </a:lnTo>
                    <a:lnTo>
                      <a:pt x="178012" y="625266"/>
                    </a:lnTo>
                    <a:lnTo>
                      <a:pt x="177714" y="625505"/>
                    </a:lnTo>
                    <a:cubicBezTo>
                      <a:pt x="177336" y="625823"/>
                      <a:pt x="176959" y="626141"/>
                      <a:pt x="176581" y="626479"/>
                    </a:cubicBezTo>
                    <a:cubicBezTo>
                      <a:pt x="175826" y="627095"/>
                      <a:pt x="175229" y="627950"/>
                      <a:pt x="174355" y="628407"/>
                    </a:cubicBezTo>
                    <a:cubicBezTo>
                      <a:pt x="173540" y="628943"/>
                      <a:pt x="172785" y="629540"/>
                      <a:pt x="172029" y="630156"/>
                    </a:cubicBezTo>
                    <a:cubicBezTo>
                      <a:pt x="171215" y="630692"/>
                      <a:pt x="170340" y="631070"/>
                      <a:pt x="169525" y="631607"/>
                    </a:cubicBezTo>
                    <a:cubicBezTo>
                      <a:pt x="169108" y="631845"/>
                      <a:pt x="168730" y="632163"/>
                      <a:pt x="168313" y="632382"/>
                    </a:cubicBezTo>
                    <a:cubicBezTo>
                      <a:pt x="167856" y="632561"/>
                      <a:pt x="167418" y="632740"/>
                      <a:pt x="166981" y="632938"/>
                    </a:cubicBezTo>
                    <a:cubicBezTo>
                      <a:pt x="166544" y="633137"/>
                      <a:pt x="166106" y="633336"/>
                      <a:pt x="165689" y="633555"/>
                    </a:cubicBezTo>
                    <a:cubicBezTo>
                      <a:pt x="165272" y="633773"/>
                      <a:pt x="164854" y="634032"/>
                      <a:pt x="164357" y="634131"/>
                    </a:cubicBezTo>
                    <a:cubicBezTo>
                      <a:pt x="163423" y="634409"/>
                      <a:pt x="162529" y="634727"/>
                      <a:pt x="161634" y="635085"/>
                    </a:cubicBezTo>
                    <a:cubicBezTo>
                      <a:pt x="160720" y="635443"/>
                      <a:pt x="159726" y="635483"/>
                      <a:pt x="158812" y="635781"/>
                    </a:cubicBezTo>
                    <a:lnTo>
                      <a:pt x="157401" y="636178"/>
                    </a:lnTo>
                    <a:cubicBezTo>
                      <a:pt x="156904" y="636218"/>
                      <a:pt x="156427" y="636258"/>
                      <a:pt x="155930" y="636317"/>
                    </a:cubicBezTo>
                    <a:cubicBezTo>
                      <a:pt x="155453" y="636377"/>
                      <a:pt x="154956" y="636456"/>
                      <a:pt x="154479" y="636536"/>
                    </a:cubicBezTo>
                    <a:cubicBezTo>
                      <a:pt x="154002" y="636615"/>
                      <a:pt x="153525" y="636755"/>
                      <a:pt x="153028" y="636715"/>
                    </a:cubicBezTo>
                    <a:cubicBezTo>
                      <a:pt x="152054" y="636715"/>
                      <a:pt x="151060" y="636755"/>
                      <a:pt x="150086" y="636854"/>
                    </a:cubicBezTo>
                    <a:cubicBezTo>
                      <a:pt x="149112" y="636914"/>
                      <a:pt x="148139" y="636695"/>
                      <a:pt x="147145" y="636715"/>
                    </a:cubicBezTo>
                    <a:cubicBezTo>
                      <a:pt x="146648" y="636695"/>
                      <a:pt x="146171" y="636715"/>
                      <a:pt x="145674" y="636695"/>
                    </a:cubicBezTo>
                    <a:cubicBezTo>
                      <a:pt x="145197" y="636596"/>
                      <a:pt x="144720" y="636496"/>
                      <a:pt x="144223" y="636417"/>
                    </a:cubicBezTo>
                    <a:cubicBezTo>
                      <a:pt x="143746" y="636337"/>
                      <a:pt x="143249" y="636278"/>
                      <a:pt x="142772" y="636218"/>
                    </a:cubicBezTo>
                    <a:cubicBezTo>
                      <a:pt x="142275" y="636178"/>
                      <a:pt x="141798" y="636158"/>
                      <a:pt x="141341" y="635960"/>
                    </a:cubicBezTo>
                    <a:cubicBezTo>
                      <a:pt x="140407" y="635681"/>
                      <a:pt x="139473" y="635463"/>
                      <a:pt x="138499" y="635284"/>
                    </a:cubicBezTo>
                    <a:cubicBezTo>
                      <a:pt x="137545" y="635065"/>
                      <a:pt x="136690" y="634588"/>
                      <a:pt x="135756" y="634330"/>
                    </a:cubicBezTo>
                    <a:lnTo>
                      <a:pt x="134365" y="633892"/>
                    </a:lnTo>
                    <a:cubicBezTo>
                      <a:pt x="133947" y="633654"/>
                      <a:pt x="133510" y="633435"/>
                      <a:pt x="133073" y="633237"/>
                    </a:cubicBezTo>
                    <a:cubicBezTo>
                      <a:pt x="132635" y="633018"/>
                      <a:pt x="132198" y="632839"/>
                      <a:pt x="131761" y="632640"/>
                    </a:cubicBezTo>
                    <a:cubicBezTo>
                      <a:pt x="131324" y="632441"/>
                      <a:pt x="130847" y="632322"/>
                      <a:pt x="130469" y="632004"/>
                    </a:cubicBezTo>
                    <a:cubicBezTo>
                      <a:pt x="129674" y="631468"/>
                      <a:pt x="128839" y="630971"/>
                      <a:pt x="127984" y="630533"/>
                    </a:cubicBezTo>
                    <a:cubicBezTo>
                      <a:pt x="127527" y="630355"/>
                      <a:pt x="127170" y="630017"/>
                      <a:pt x="126792" y="629719"/>
                    </a:cubicBezTo>
                    <a:cubicBezTo>
                      <a:pt x="126414" y="629420"/>
                      <a:pt x="126037" y="629122"/>
                      <a:pt x="125639" y="628844"/>
                    </a:cubicBezTo>
                    <a:cubicBezTo>
                      <a:pt x="125242" y="628566"/>
                      <a:pt x="124844" y="628287"/>
                      <a:pt x="124427" y="628029"/>
                    </a:cubicBezTo>
                    <a:cubicBezTo>
                      <a:pt x="124009" y="627771"/>
                      <a:pt x="123711" y="627333"/>
                      <a:pt x="123353" y="627015"/>
                    </a:cubicBezTo>
                    <a:cubicBezTo>
                      <a:pt x="122638" y="626340"/>
                      <a:pt x="121902" y="625684"/>
                      <a:pt x="121107" y="625067"/>
                    </a:cubicBezTo>
                    <a:lnTo>
                      <a:pt x="80064" y="584024"/>
                    </a:lnTo>
                    <a:lnTo>
                      <a:pt x="59552" y="563512"/>
                    </a:lnTo>
                    <a:lnTo>
                      <a:pt x="54424" y="558384"/>
                    </a:lnTo>
                    <a:lnTo>
                      <a:pt x="53132" y="557092"/>
                    </a:lnTo>
                    <a:lnTo>
                      <a:pt x="52496" y="556456"/>
                    </a:lnTo>
                    <a:cubicBezTo>
                      <a:pt x="52297" y="556237"/>
                      <a:pt x="52019" y="555979"/>
                      <a:pt x="51999" y="555939"/>
                    </a:cubicBezTo>
                    <a:cubicBezTo>
                      <a:pt x="51701" y="555542"/>
                      <a:pt x="51383" y="555164"/>
                      <a:pt x="51045" y="554786"/>
                    </a:cubicBezTo>
                    <a:cubicBezTo>
                      <a:pt x="50429" y="554011"/>
                      <a:pt x="49634" y="553395"/>
                      <a:pt x="49057" y="552600"/>
                    </a:cubicBezTo>
                    <a:cubicBezTo>
                      <a:pt x="48520" y="551785"/>
                      <a:pt x="47964" y="550990"/>
                      <a:pt x="47348" y="550235"/>
                    </a:cubicBezTo>
                    <a:cubicBezTo>
                      <a:pt x="43015" y="543894"/>
                      <a:pt x="40510" y="536282"/>
                      <a:pt x="40352" y="528411"/>
                    </a:cubicBezTo>
                    <a:cubicBezTo>
                      <a:pt x="40173" y="520540"/>
                      <a:pt x="42299" y="512769"/>
                      <a:pt x="46374" y="506269"/>
                    </a:cubicBezTo>
                    <a:cubicBezTo>
                      <a:pt x="46751" y="505375"/>
                      <a:pt x="47447" y="504659"/>
                      <a:pt x="48024" y="503884"/>
                    </a:cubicBezTo>
                    <a:cubicBezTo>
                      <a:pt x="48322" y="503486"/>
                      <a:pt x="48600" y="503109"/>
                      <a:pt x="48858" y="502692"/>
                    </a:cubicBezTo>
                    <a:lnTo>
                      <a:pt x="49256" y="502075"/>
                    </a:lnTo>
                    <a:lnTo>
                      <a:pt x="49793" y="501559"/>
                    </a:lnTo>
                    <a:cubicBezTo>
                      <a:pt x="50488" y="500863"/>
                      <a:pt x="51144" y="500127"/>
                      <a:pt x="51780" y="499352"/>
                    </a:cubicBezTo>
                    <a:cubicBezTo>
                      <a:pt x="51860" y="499173"/>
                      <a:pt x="52953" y="498100"/>
                      <a:pt x="53768" y="497265"/>
                    </a:cubicBezTo>
                    <a:lnTo>
                      <a:pt x="56332" y="494701"/>
                    </a:lnTo>
                    <a:lnTo>
                      <a:pt x="76844" y="474189"/>
                    </a:lnTo>
                    <a:lnTo>
                      <a:pt x="117887" y="433146"/>
                    </a:lnTo>
                    <a:lnTo>
                      <a:pt x="199955" y="351078"/>
                    </a:lnTo>
                    <a:lnTo>
                      <a:pt x="364090" y="186943"/>
                    </a:lnTo>
                    <a:lnTo>
                      <a:pt x="446158" y="104875"/>
                    </a:lnTo>
                    <a:lnTo>
                      <a:pt x="487202" y="63831"/>
                    </a:lnTo>
                    <a:lnTo>
                      <a:pt x="497458" y="53575"/>
                    </a:lnTo>
                    <a:lnTo>
                      <a:pt x="498750" y="52283"/>
                    </a:lnTo>
                    <a:lnTo>
                      <a:pt x="498909" y="52124"/>
                    </a:lnTo>
                    <a:lnTo>
                      <a:pt x="498988" y="52065"/>
                    </a:lnTo>
                    <a:lnTo>
                      <a:pt x="499128" y="51945"/>
                    </a:lnTo>
                    <a:lnTo>
                      <a:pt x="499426" y="51707"/>
                    </a:lnTo>
                    <a:cubicBezTo>
                      <a:pt x="499803" y="51389"/>
                      <a:pt x="500181" y="51071"/>
                      <a:pt x="500559" y="50733"/>
                    </a:cubicBezTo>
                    <a:cubicBezTo>
                      <a:pt x="501314" y="50117"/>
                      <a:pt x="501910" y="49262"/>
                      <a:pt x="502785" y="48805"/>
                    </a:cubicBezTo>
                    <a:cubicBezTo>
                      <a:pt x="503600" y="48268"/>
                      <a:pt x="504355" y="47672"/>
                      <a:pt x="505110" y="47056"/>
                    </a:cubicBezTo>
                    <a:cubicBezTo>
                      <a:pt x="505925" y="46519"/>
                      <a:pt x="506800" y="46142"/>
                      <a:pt x="507614" y="45605"/>
                    </a:cubicBezTo>
                    <a:cubicBezTo>
                      <a:pt x="508032" y="45366"/>
                      <a:pt x="508410" y="45048"/>
                      <a:pt x="508827" y="44830"/>
                    </a:cubicBezTo>
                    <a:cubicBezTo>
                      <a:pt x="509284" y="44651"/>
                      <a:pt x="509721" y="44472"/>
                      <a:pt x="510159" y="44273"/>
                    </a:cubicBezTo>
                    <a:cubicBezTo>
                      <a:pt x="510596" y="44074"/>
                      <a:pt x="511033" y="43876"/>
                      <a:pt x="511451" y="43657"/>
                    </a:cubicBezTo>
                    <a:cubicBezTo>
                      <a:pt x="511868" y="43438"/>
                      <a:pt x="512285" y="43180"/>
                      <a:pt x="512782" y="43081"/>
                    </a:cubicBezTo>
                    <a:cubicBezTo>
                      <a:pt x="513716" y="42802"/>
                      <a:pt x="514611" y="42484"/>
                      <a:pt x="515505" y="42127"/>
                    </a:cubicBezTo>
                    <a:cubicBezTo>
                      <a:pt x="516419" y="41769"/>
                      <a:pt x="517413" y="41729"/>
                      <a:pt x="518328" y="41431"/>
                    </a:cubicBezTo>
                    <a:lnTo>
                      <a:pt x="519739" y="41033"/>
                    </a:lnTo>
                    <a:cubicBezTo>
                      <a:pt x="520236" y="40994"/>
                      <a:pt x="520713" y="40954"/>
                      <a:pt x="521210" y="40894"/>
                    </a:cubicBezTo>
                    <a:cubicBezTo>
                      <a:pt x="521707" y="40835"/>
                      <a:pt x="522184" y="40755"/>
                      <a:pt x="522661" y="40676"/>
                    </a:cubicBezTo>
                    <a:cubicBezTo>
                      <a:pt x="523138" y="40596"/>
                      <a:pt x="523615" y="40457"/>
                      <a:pt x="524112" y="40497"/>
                    </a:cubicBezTo>
                    <a:cubicBezTo>
                      <a:pt x="525086" y="40497"/>
                      <a:pt x="526079" y="40457"/>
                      <a:pt x="527053" y="40358"/>
                    </a:cubicBezTo>
                    <a:cubicBezTo>
                      <a:pt x="528027" y="40298"/>
                      <a:pt x="529001" y="40517"/>
                      <a:pt x="529995" y="40497"/>
                    </a:cubicBezTo>
                    <a:cubicBezTo>
                      <a:pt x="530492" y="40517"/>
                      <a:pt x="530969" y="40497"/>
                      <a:pt x="531466" y="40517"/>
                    </a:cubicBezTo>
                    <a:cubicBezTo>
                      <a:pt x="531943" y="40616"/>
                      <a:pt x="532420" y="40715"/>
                      <a:pt x="532917" y="40795"/>
                    </a:cubicBezTo>
                    <a:cubicBezTo>
                      <a:pt x="533414" y="40874"/>
                      <a:pt x="533891" y="40934"/>
                      <a:pt x="534368" y="40994"/>
                    </a:cubicBezTo>
                    <a:cubicBezTo>
                      <a:pt x="534864" y="41033"/>
                      <a:pt x="535341" y="41053"/>
                      <a:pt x="535799" y="41252"/>
                    </a:cubicBezTo>
                    <a:cubicBezTo>
                      <a:pt x="536733" y="41530"/>
                      <a:pt x="537667" y="41749"/>
                      <a:pt x="538641" y="41928"/>
                    </a:cubicBezTo>
                    <a:cubicBezTo>
                      <a:pt x="539595" y="42146"/>
                      <a:pt x="540450" y="42623"/>
                      <a:pt x="541384" y="42882"/>
                    </a:cubicBezTo>
                    <a:lnTo>
                      <a:pt x="542775" y="43319"/>
                    </a:lnTo>
                    <a:cubicBezTo>
                      <a:pt x="543192" y="43558"/>
                      <a:pt x="543630" y="43776"/>
                      <a:pt x="544067" y="43975"/>
                    </a:cubicBezTo>
                    <a:cubicBezTo>
                      <a:pt x="544504" y="44194"/>
                      <a:pt x="544942" y="44373"/>
                      <a:pt x="545379" y="44571"/>
                    </a:cubicBezTo>
                    <a:cubicBezTo>
                      <a:pt x="545816" y="44770"/>
                      <a:pt x="546293" y="44889"/>
                      <a:pt x="546671" y="45207"/>
                    </a:cubicBezTo>
                    <a:cubicBezTo>
                      <a:pt x="547466" y="45744"/>
                      <a:pt x="548301" y="46241"/>
                      <a:pt x="549155" y="46678"/>
                    </a:cubicBezTo>
                    <a:cubicBezTo>
                      <a:pt x="549612" y="46857"/>
                      <a:pt x="549970" y="47195"/>
                      <a:pt x="550348" y="47493"/>
                    </a:cubicBezTo>
                    <a:cubicBezTo>
                      <a:pt x="550725" y="47791"/>
                      <a:pt x="551103" y="48089"/>
                      <a:pt x="551501" y="48368"/>
                    </a:cubicBezTo>
                    <a:cubicBezTo>
                      <a:pt x="551898" y="48646"/>
                      <a:pt x="552296" y="48924"/>
                      <a:pt x="552713" y="49183"/>
                    </a:cubicBezTo>
                    <a:cubicBezTo>
                      <a:pt x="553130" y="49441"/>
                      <a:pt x="553429" y="49878"/>
                      <a:pt x="553786" y="50196"/>
                    </a:cubicBezTo>
                    <a:cubicBezTo>
                      <a:pt x="554502" y="50872"/>
                      <a:pt x="555237" y="51528"/>
                      <a:pt x="556032" y="52144"/>
                    </a:cubicBezTo>
                    <a:lnTo>
                      <a:pt x="597076" y="93188"/>
                    </a:lnTo>
                    <a:lnTo>
                      <a:pt x="617588" y="113700"/>
                    </a:lnTo>
                    <a:lnTo>
                      <a:pt x="622716" y="118828"/>
                    </a:lnTo>
                    <a:lnTo>
                      <a:pt x="624008" y="120120"/>
                    </a:lnTo>
                    <a:lnTo>
                      <a:pt x="624644" y="120756"/>
                    </a:lnTo>
                    <a:cubicBezTo>
                      <a:pt x="624843" y="120974"/>
                      <a:pt x="625121" y="121233"/>
                      <a:pt x="625141" y="121273"/>
                    </a:cubicBezTo>
                    <a:cubicBezTo>
                      <a:pt x="625439" y="121670"/>
                      <a:pt x="625757" y="122048"/>
                      <a:pt x="626095" y="122425"/>
                    </a:cubicBezTo>
                    <a:cubicBezTo>
                      <a:pt x="626711" y="123201"/>
                      <a:pt x="627506" y="123817"/>
                      <a:pt x="628083" y="124612"/>
                    </a:cubicBezTo>
                    <a:cubicBezTo>
                      <a:pt x="628619" y="125427"/>
                      <a:pt x="629176" y="126222"/>
                      <a:pt x="629792" y="126977"/>
                    </a:cubicBezTo>
                    <a:cubicBezTo>
                      <a:pt x="634125" y="133317"/>
                      <a:pt x="636629" y="140930"/>
                      <a:pt x="636788" y="148801"/>
                    </a:cubicBezTo>
                    <a:cubicBezTo>
                      <a:pt x="636967" y="156672"/>
                      <a:pt x="634840" y="164443"/>
                      <a:pt x="630766" y="170942"/>
                    </a:cubicBezTo>
                    <a:cubicBezTo>
                      <a:pt x="630388" y="171837"/>
                      <a:pt x="629692" y="172552"/>
                      <a:pt x="629116" y="173328"/>
                    </a:cubicBezTo>
                    <a:cubicBezTo>
                      <a:pt x="628818" y="173725"/>
                      <a:pt x="628540" y="174103"/>
                      <a:pt x="628281" y="174520"/>
                    </a:cubicBezTo>
                    <a:lnTo>
                      <a:pt x="627884" y="175136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976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240" name="Freeform 8">
                <a:extLst>
                  <a:ext uri="{FF2B5EF4-FFF2-40B4-BE49-F238E27FC236}">
                    <a16:creationId xmlns:a16="http://schemas.microsoft.com/office/drawing/2014/main" id="{31760A0E-9A84-1789-A333-03BDEF20D7F0}"/>
                  </a:ext>
                </a:extLst>
              </p:cNvPr>
              <p:cNvSpPr/>
              <p:nvPr/>
            </p:nvSpPr>
            <p:spPr>
              <a:xfrm>
                <a:off x="2262899" y="2694155"/>
                <a:ext cx="2070166" cy="2070171"/>
              </a:xfrm>
              <a:custGeom>
                <a:avLst/>
                <a:gdLst>
                  <a:gd name="connsiteX0" fmla="*/ 2043816 w 2070166"/>
                  <a:gd name="connsiteY0" fmla="*/ 1825459 h 2070171"/>
                  <a:gd name="connsiteX1" fmla="*/ 1411066 w 2070166"/>
                  <a:gd name="connsiteY1" fmla="*/ 1192729 h 2070171"/>
                  <a:gd name="connsiteX2" fmla="*/ 1283821 w 2070166"/>
                  <a:gd name="connsiteY2" fmla="*/ 1192729 h 2070171"/>
                  <a:gd name="connsiteX3" fmla="*/ 1248441 w 2070166"/>
                  <a:gd name="connsiteY3" fmla="*/ 1228108 h 2070171"/>
                  <a:gd name="connsiteX4" fmla="*/ 1192928 w 2070166"/>
                  <a:gd name="connsiteY4" fmla="*/ 1172595 h 2070171"/>
                  <a:gd name="connsiteX5" fmla="*/ 1189708 w 2070166"/>
                  <a:gd name="connsiteY5" fmla="*/ 1169991 h 2070171"/>
                  <a:gd name="connsiteX6" fmla="*/ 1224133 w 2070166"/>
                  <a:gd name="connsiteY6" fmla="*/ 1135566 h 2070171"/>
                  <a:gd name="connsiteX7" fmla="*/ 1265177 w 2070166"/>
                  <a:gd name="connsiteY7" fmla="*/ 1094522 h 2070171"/>
                  <a:gd name="connsiteX8" fmla="*/ 1285689 w 2070166"/>
                  <a:gd name="connsiteY8" fmla="*/ 1074010 h 2070171"/>
                  <a:gd name="connsiteX9" fmla="*/ 1288253 w 2070166"/>
                  <a:gd name="connsiteY9" fmla="*/ 1071446 h 2070171"/>
                  <a:gd name="connsiteX10" fmla="*/ 1291294 w 2070166"/>
                  <a:gd name="connsiteY10" fmla="*/ 1068306 h 2070171"/>
                  <a:gd name="connsiteX11" fmla="*/ 1299046 w 2070166"/>
                  <a:gd name="connsiteY11" fmla="*/ 1059759 h 2070171"/>
                  <a:gd name="connsiteX12" fmla="*/ 1300934 w 2070166"/>
                  <a:gd name="connsiteY12" fmla="*/ 1057593 h 2070171"/>
                  <a:gd name="connsiteX13" fmla="*/ 1302683 w 2070166"/>
                  <a:gd name="connsiteY13" fmla="*/ 1055287 h 2070171"/>
                  <a:gd name="connsiteX14" fmla="*/ 1306141 w 2070166"/>
                  <a:gd name="connsiteY14" fmla="*/ 1050636 h 2070171"/>
                  <a:gd name="connsiteX15" fmla="*/ 1312641 w 2070166"/>
                  <a:gd name="connsiteY15" fmla="*/ 1041036 h 2070171"/>
                  <a:gd name="connsiteX16" fmla="*/ 1318504 w 2070166"/>
                  <a:gd name="connsiteY16" fmla="*/ 1030999 h 2070171"/>
                  <a:gd name="connsiteX17" fmla="*/ 1323453 w 2070166"/>
                  <a:gd name="connsiteY17" fmla="*/ 1020484 h 2070171"/>
                  <a:gd name="connsiteX18" fmla="*/ 1327667 w 2070166"/>
                  <a:gd name="connsiteY18" fmla="*/ 1009672 h 2070171"/>
                  <a:gd name="connsiteX19" fmla="*/ 1331145 w 2070166"/>
                  <a:gd name="connsiteY19" fmla="*/ 998621 h 2070171"/>
                  <a:gd name="connsiteX20" fmla="*/ 1333848 w 2070166"/>
                  <a:gd name="connsiteY20" fmla="*/ 987351 h 2070171"/>
                  <a:gd name="connsiteX21" fmla="*/ 1335578 w 2070166"/>
                  <a:gd name="connsiteY21" fmla="*/ 975903 h 2070171"/>
                  <a:gd name="connsiteX22" fmla="*/ 1336532 w 2070166"/>
                  <a:gd name="connsiteY22" fmla="*/ 964375 h 2070171"/>
                  <a:gd name="connsiteX23" fmla="*/ 1336710 w 2070166"/>
                  <a:gd name="connsiteY23" fmla="*/ 952827 h 2070171"/>
                  <a:gd name="connsiteX24" fmla="*/ 1336114 w 2070166"/>
                  <a:gd name="connsiteY24" fmla="*/ 941279 h 2070171"/>
                  <a:gd name="connsiteX25" fmla="*/ 1334524 w 2070166"/>
                  <a:gd name="connsiteY25" fmla="*/ 929811 h 2070171"/>
                  <a:gd name="connsiteX26" fmla="*/ 1332159 w 2070166"/>
                  <a:gd name="connsiteY26" fmla="*/ 918481 h 2070171"/>
                  <a:gd name="connsiteX27" fmla="*/ 1329038 w 2070166"/>
                  <a:gd name="connsiteY27" fmla="*/ 907311 h 2070171"/>
                  <a:gd name="connsiteX28" fmla="*/ 1328462 w 2070166"/>
                  <a:gd name="connsiteY28" fmla="*/ 905681 h 2070171"/>
                  <a:gd name="connsiteX29" fmla="*/ 1335518 w 2070166"/>
                  <a:gd name="connsiteY29" fmla="*/ 908682 h 2070171"/>
                  <a:gd name="connsiteX30" fmla="*/ 1405938 w 2070166"/>
                  <a:gd name="connsiteY30" fmla="*/ 927823 h 2070171"/>
                  <a:gd name="connsiteX31" fmla="*/ 1442331 w 2070166"/>
                  <a:gd name="connsiteY31" fmla="*/ 930725 h 2070171"/>
                  <a:gd name="connsiteX32" fmla="*/ 1460597 w 2070166"/>
                  <a:gd name="connsiteY32" fmla="*/ 930566 h 2070171"/>
                  <a:gd name="connsiteX33" fmla="*/ 1469720 w 2070166"/>
                  <a:gd name="connsiteY33" fmla="*/ 929989 h 2070171"/>
                  <a:gd name="connsiteX34" fmla="*/ 1474272 w 2070166"/>
                  <a:gd name="connsiteY34" fmla="*/ 929671 h 2070171"/>
                  <a:gd name="connsiteX35" fmla="*/ 1478803 w 2070166"/>
                  <a:gd name="connsiteY35" fmla="*/ 929194 h 2070171"/>
                  <a:gd name="connsiteX36" fmla="*/ 1514838 w 2070166"/>
                  <a:gd name="connsiteY36" fmla="*/ 923252 h 2070171"/>
                  <a:gd name="connsiteX37" fmla="*/ 1532508 w 2070166"/>
                  <a:gd name="connsiteY37" fmla="*/ 918581 h 2070171"/>
                  <a:gd name="connsiteX38" fmla="*/ 1541254 w 2070166"/>
                  <a:gd name="connsiteY38" fmla="*/ 915877 h 2070171"/>
                  <a:gd name="connsiteX39" fmla="*/ 1549900 w 2070166"/>
                  <a:gd name="connsiteY39" fmla="*/ 912876 h 2070171"/>
                  <a:gd name="connsiteX40" fmla="*/ 1558446 w 2070166"/>
                  <a:gd name="connsiteY40" fmla="*/ 909597 h 2070171"/>
                  <a:gd name="connsiteX41" fmla="*/ 1566913 w 2070166"/>
                  <a:gd name="connsiteY41" fmla="*/ 906099 h 2070171"/>
                  <a:gd name="connsiteX42" fmla="*/ 1575798 w 2070166"/>
                  <a:gd name="connsiteY42" fmla="*/ 902064 h 2070171"/>
                  <a:gd name="connsiteX43" fmla="*/ 1577249 w 2070166"/>
                  <a:gd name="connsiteY43" fmla="*/ 901388 h 2070171"/>
                  <a:gd name="connsiteX44" fmla="*/ 1578859 w 2070166"/>
                  <a:gd name="connsiteY44" fmla="*/ 900593 h 2070171"/>
                  <a:gd name="connsiteX45" fmla="*/ 1582059 w 2070166"/>
                  <a:gd name="connsiteY45" fmla="*/ 898864 h 2070171"/>
                  <a:gd name="connsiteX46" fmla="*/ 1588459 w 2070166"/>
                  <a:gd name="connsiteY46" fmla="*/ 895425 h 2070171"/>
                  <a:gd name="connsiteX47" fmla="*/ 1594859 w 2070166"/>
                  <a:gd name="connsiteY47" fmla="*/ 891987 h 2070171"/>
                  <a:gd name="connsiteX48" fmla="*/ 1598059 w 2070166"/>
                  <a:gd name="connsiteY48" fmla="*/ 890257 h 2070171"/>
                  <a:gd name="connsiteX49" fmla="*/ 1601100 w 2070166"/>
                  <a:gd name="connsiteY49" fmla="*/ 888349 h 2070171"/>
                  <a:gd name="connsiteX50" fmla="*/ 1613185 w 2070166"/>
                  <a:gd name="connsiteY50" fmla="*/ 880657 h 2070171"/>
                  <a:gd name="connsiteX51" fmla="*/ 1616206 w 2070166"/>
                  <a:gd name="connsiteY51" fmla="*/ 878729 h 2070171"/>
                  <a:gd name="connsiteX52" fmla="*/ 1619028 w 2070166"/>
                  <a:gd name="connsiteY52" fmla="*/ 876662 h 2070171"/>
                  <a:gd name="connsiteX53" fmla="*/ 1624653 w 2070166"/>
                  <a:gd name="connsiteY53" fmla="*/ 872488 h 2070171"/>
                  <a:gd name="connsiteX54" fmla="*/ 1635843 w 2070166"/>
                  <a:gd name="connsiteY54" fmla="*/ 864101 h 2070171"/>
                  <a:gd name="connsiteX55" fmla="*/ 1643495 w 2070166"/>
                  <a:gd name="connsiteY55" fmla="*/ 856369 h 2070171"/>
                  <a:gd name="connsiteX56" fmla="*/ 1648126 w 2070166"/>
                  <a:gd name="connsiteY56" fmla="*/ 851579 h 2070171"/>
                  <a:gd name="connsiteX57" fmla="*/ 1651366 w 2070166"/>
                  <a:gd name="connsiteY57" fmla="*/ 846451 h 2070171"/>
                  <a:gd name="connsiteX58" fmla="*/ 1657786 w 2070166"/>
                  <a:gd name="connsiteY58" fmla="*/ 836195 h 2070171"/>
                  <a:gd name="connsiteX59" fmla="*/ 1664961 w 2070166"/>
                  <a:gd name="connsiteY59" fmla="*/ 812543 h 2070171"/>
                  <a:gd name="connsiteX60" fmla="*/ 1664723 w 2070166"/>
                  <a:gd name="connsiteY60" fmla="*/ 787300 h 2070171"/>
                  <a:gd name="connsiteX61" fmla="*/ 1662020 w 2070166"/>
                  <a:gd name="connsiteY61" fmla="*/ 776090 h 2070171"/>
                  <a:gd name="connsiteX62" fmla="*/ 1660131 w 2070166"/>
                  <a:gd name="connsiteY62" fmla="*/ 770704 h 2070171"/>
                  <a:gd name="connsiteX63" fmla="*/ 1657687 w 2070166"/>
                  <a:gd name="connsiteY63" fmla="*/ 765158 h 2070171"/>
                  <a:gd name="connsiteX64" fmla="*/ 1642005 w 2070166"/>
                  <a:gd name="connsiteY64" fmla="*/ 742838 h 2070171"/>
                  <a:gd name="connsiteX65" fmla="*/ 1620857 w 2070166"/>
                  <a:gd name="connsiteY65" fmla="*/ 721650 h 2070171"/>
                  <a:gd name="connsiteX66" fmla="*/ 1593487 w 2070166"/>
                  <a:gd name="connsiteY66" fmla="*/ 694281 h 2070171"/>
                  <a:gd name="connsiteX67" fmla="*/ 1508776 w 2070166"/>
                  <a:gd name="connsiteY67" fmla="*/ 609570 h 2070171"/>
                  <a:gd name="connsiteX68" fmla="*/ 1424065 w 2070166"/>
                  <a:gd name="connsiteY68" fmla="*/ 524859 h 2070171"/>
                  <a:gd name="connsiteX69" fmla="*/ 1381709 w 2070166"/>
                  <a:gd name="connsiteY69" fmla="*/ 482503 h 2070171"/>
                  <a:gd name="connsiteX70" fmla="*/ 1348397 w 2070166"/>
                  <a:gd name="connsiteY70" fmla="*/ 449191 h 2070171"/>
                  <a:gd name="connsiteX71" fmla="*/ 1343110 w 2070166"/>
                  <a:gd name="connsiteY71" fmla="*/ 443904 h 2070171"/>
                  <a:gd name="connsiteX72" fmla="*/ 1337764 w 2070166"/>
                  <a:gd name="connsiteY72" fmla="*/ 438736 h 2070171"/>
                  <a:gd name="connsiteX73" fmla="*/ 1332298 w 2070166"/>
                  <a:gd name="connsiteY73" fmla="*/ 433926 h 2070171"/>
                  <a:gd name="connsiteX74" fmla="*/ 1326673 w 2070166"/>
                  <a:gd name="connsiteY74" fmla="*/ 429871 h 2070171"/>
                  <a:gd name="connsiteX75" fmla="*/ 1323851 w 2070166"/>
                  <a:gd name="connsiteY75" fmla="*/ 428103 h 2070171"/>
                  <a:gd name="connsiteX76" fmla="*/ 1321028 w 2070166"/>
                  <a:gd name="connsiteY76" fmla="*/ 426493 h 2070171"/>
                  <a:gd name="connsiteX77" fmla="*/ 1318206 w 2070166"/>
                  <a:gd name="connsiteY77" fmla="*/ 424883 h 2070171"/>
                  <a:gd name="connsiteX78" fmla="*/ 1315423 w 2070166"/>
                  <a:gd name="connsiteY78" fmla="*/ 423650 h 2070171"/>
                  <a:gd name="connsiteX79" fmla="*/ 1309898 w 2070166"/>
                  <a:gd name="connsiteY79" fmla="*/ 421265 h 2070171"/>
                  <a:gd name="connsiteX80" fmla="*/ 1304531 w 2070166"/>
                  <a:gd name="connsiteY80" fmla="*/ 419476 h 2070171"/>
                  <a:gd name="connsiteX81" fmla="*/ 1293659 w 2070166"/>
                  <a:gd name="connsiteY81" fmla="*/ 417032 h 2070171"/>
                  <a:gd name="connsiteX82" fmla="*/ 1281674 w 2070166"/>
                  <a:gd name="connsiteY82" fmla="*/ 416117 h 2070171"/>
                  <a:gd name="connsiteX83" fmla="*/ 1257366 w 2070166"/>
                  <a:gd name="connsiteY83" fmla="*/ 419655 h 2070171"/>
                  <a:gd name="connsiteX84" fmla="*/ 1246514 w 2070166"/>
                  <a:gd name="connsiteY84" fmla="*/ 423789 h 2070171"/>
                  <a:gd name="connsiteX85" fmla="*/ 1245241 w 2070166"/>
                  <a:gd name="connsiteY85" fmla="*/ 424386 h 2070171"/>
                  <a:gd name="connsiteX86" fmla="*/ 1244009 w 2070166"/>
                  <a:gd name="connsiteY86" fmla="*/ 425161 h 2070171"/>
                  <a:gd name="connsiteX87" fmla="*/ 1241545 w 2070166"/>
                  <a:gd name="connsiteY87" fmla="*/ 426711 h 2070171"/>
                  <a:gd name="connsiteX88" fmla="*/ 1236615 w 2070166"/>
                  <a:gd name="connsiteY88" fmla="*/ 429832 h 2070171"/>
                  <a:gd name="connsiteX89" fmla="*/ 1217813 w 2070166"/>
                  <a:gd name="connsiteY89" fmla="*/ 446090 h 2070171"/>
                  <a:gd name="connsiteX90" fmla="*/ 1204754 w 2070166"/>
                  <a:gd name="connsiteY90" fmla="*/ 463561 h 2070171"/>
                  <a:gd name="connsiteX91" fmla="*/ 1203144 w 2070166"/>
                  <a:gd name="connsiteY91" fmla="*/ 465767 h 2070171"/>
                  <a:gd name="connsiteX92" fmla="*/ 1201654 w 2070166"/>
                  <a:gd name="connsiteY92" fmla="*/ 468133 h 2070171"/>
                  <a:gd name="connsiteX93" fmla="*/ 1198652 w 2070166"/>
                  <a:gd name="connsiteY93" fmla="*/ 472843 h 2070171"/>
                  <a:gd name="connsiteX94" fmla="*/ 1192650 w 2070166"/>
                  <a:gd name="connsiteY94" fmla="*/ 482264 h 2070171"/>
                  <a:gd name="connsiteX95" fmla="*/ 1189867 w 2070166"/>
                  <a:gd name="connsiteY95" fmla="*/ 487174 h 2070171"/>
                  <a:gd name="connsiteX96" fmla="*/ 1187184 w 2070166"/>
                  <a:gd name="connsiteY96" fmla="*/ 492163 h 2070171"/>
                  <a:gd name="connsiteX97" fmla="*/ 1181817 w 2070166"/>
                  <a:gd name="connsiteY97" fmla="*/ 502140 h 2070171"/>
                  <a:gd name="connsiteX98" fmla="*/ 1177862 w 2070166"/>
                  <a:gd name="connsiteY98" fmla="*/ 510488 h 2070171"/>
                  <a:gd name="connsiteX99" fmla="*/ 1174920 w 2070166"/>
                  <a:gd name="connsiteY99" fmla="*/ 516988 h 2070171"/>
                  <a:gd name="connsiteX100" fmla="*/ 1157728 w 2070166"/>
                  <a:gd name="connsiteY100" fmla="*/ 571289 h 2070171"/>
                  <a:gd name="connsiteX101" fmla="*/ 1155442 w 2070166"/>
                  <a:gd name="connsiteY101" fmla="*/ 684482 h 2070171"/>
                  <a:gd name="connsiteX102" fmla="*/ 1170826 w 2070166"/>
                  <a:gd name="connsiteY102" fmla="*/ 740294 h 2070171"/>
                  <a:gd name="connsiteX103" fmla="*/ 1168103 w 2070166"/>
                  <a:gd name="connsiteY103" fmla="*/ 739061 h 2070171"/>
                  <a:gd name="connsiteX104" fmla="*/ 1162657 w 2070166"/>
                  <a:gd name="connsiteY104" fmla="*/ 737054 h 2070171"/>
                  <a:gd name="connsiteX105" fmla="*/ 1151646 w 2070166"/>
                  <a:gd name="connsiteY105" fmla="*/ 733397 h 2070171"/>
                  <a:gd name="connsiteX106" fmla="*/ 1140396 w 2070166"/>
                  <a:gd name="connsiteY106" fmla="*/ 730634 h 2070171"/>
                  <a:gd name="connsiteX107" fmla="*/ 1134711 w 2070166"/>
                  <a:gd name="connsiteY107" fmla="*/ 729581 h 2070171"/>
                  <a:gd name="connsiteX108" fmla="*/ 1128987 w 2070166"/>
                  <a:gd name="connsiteY108" fmla="*/ 728726 h 2070171"/>
                  <a:gd name="connsiteX109" fmla="*/ 1123243 w 2070166"/>
                  <a:gd name="connsiteY109" fmla="*/ 727951 h 2070171"/>
                  <a:gd name="connsiteX110" fmla="*/ 1117479 w 2070166"/>
                  <a:gd name="connsiteY110" fmla="*/ 727593 h 2070171"/>
                  <a:gd name="connsiteX111" fmla="*/ 1105931 w 2070166"/>
                  <a:gd name="connsiteY111" fmla="*/ 727235 h 2070171"/>
                  <a:gd name="connsiteX112" fmla="*/ 1094383 w 2070166"/>
                  <a:gd name="connsiteY112" fmla="*/ 727772 h 2070171"/>
                  <a:gd name="connsiteX113" fmla="*/ 1088639 w 2070166"/>
                  <a:gd name="connsiteY113" fmla="*/ 728368 h 2070171"/>
                  <a:gd name="connsiteX114" fmla="*/ 1082915 w 2070166"/>
                  <a:gd name="connsiteY114" fmla="*/ 729183 h 2070171"/>
                  <a:gd name="connsiteX115" fmla="*/ 1077191 w 2070166"/>
                  <a:gd name="connsiteY115" fmla="*/ 730077 h 2070171"/>
                  <a:gd name="connsiteX116" fmla="*/ 1071546 w 2070166"/>
                  <a:gd name="connsiteY116" fmla="*/ 731369 h 2070171"/>
                  <a:gd name="connsiteX117" fmla="*/ 1060336 w 2070166"/>
                  <a:gd name="connsiteY117" fmla="*/ 734311 h 2070171"/>
                  <a:gd name="connsiteX118" fmla="*/ 1049364 w 2070166"/>
                  <a:gd name="connsiteY118" fmla="*/ 738147 h 2070171"/>
                  <a:gd name="connsiteX119" fmla="*/ 1043998 w 2070166"/>
                  <a:gd name="connsiteY119" fmla="*/ 740373 h 2070171"/>
                  <a:gd name="connsiteX120" fmla="*/ 1038711 w 2070166"/>
                  <a:gd name="connsiteY120" fmla="*/ 742798 h 2070171"/>
                  <a:gd name="connsiteX121" fmla="*/ 1033464 w 2070166"/>
                  <a:gd name="connsiteY121" fmla="*/ 745302 h 2070171"/>
                  <a:gd name="connsiteX122" fmla="*/ 1028415 w 2070166"/>
                  <a:gd name="connsiteY122" fmla="*/ 748165 h 2070171"/>
                  <a:gd name="connsiteX123" fmla="*/ 1018497 w 2070166"/>
                  <a:gd name="connsiteY123" fmla="*/ 754207 h 2070171"/>
                  <a:gd name="connsiteX124" fmla="*/ 1009135 w 2070166"/>
                  <a:gd name="connsiteY124" fmla="*/ 761044 h 2070171"/>
                  <a:gd name="connsiteX125" fmla="*/ 1000310 w 2070166"/>
                  <a:gd name="connsiteY125" fmla="*/ 768498 h 2070171"/>
                  <a:gd name="connsiteX126" fmla="*/ 996057 w 2070166"/>
                  <a:gd name="connsiteY126" fmla="*/ 772393 h 2070171"/>
                  <a:gd name="connsiteX127" fmla="*/ 994050 w 2070166"/>
                  <a:gd name="connsiteY127" fmla="*/ 774281 h 2070171"/>
                  <a:gd name="connsiteX128" fmla="*/ 992758 w 2070166"/>
                  <a:gd name="connsiteY128" fmla="*/ 775573 h 2070171"/>
                  <a:gd name="connsiteX129" fmla="*/ 982502 w 2070166"/>
                  <a:gd name="connsiteY129" fmla="*/ 785829 h 2070171"/>
                  <a:gd name="connsiteX130" fmla="*/ 941458 w 2070166"/>
                  <a:gd name="connsiteY130" fmla="*/ 826873 h 2070171"/>
                  <a:gd name="connsiteX131" fmla="*/ 902064 w 2070166"/>
                  <a:gd name="connsiteY131" fmla="*/ 866267 h 2070171"/>
                  <a:gd name="connsiteX132" fmla="*/ 849770 w 2070166"/>
                  <a:gd name="connsiteY132" fmla="*/ 813974 h 2070171"/>
                  <a:gd name="connsiteX133" fmla="*/ 877398 w 2070166"/>
                  <a:gd name="connsiteY133" fmla="*/ 786346 h 2070171"/>
                  <a:gd name="connsiteX134" fmla="*/ 903753 w 2070166"/>
                  <a:gd name="connsiteY134" fmla="*/ 722723 h 2070171"/>
                  <a:gd name="connsiteX135" fmla="*/ 877398 w 2070166"/>
                  <a:gd name="connsiteY135" fmla="*/ 659100 h 2070171"/>
                  <a:gd name="connsiteX136" fmla="*/ 244668 w 2070166"/>
                  <a:gd name="connsiteY136" fmla="*/ 26311 h 2070171"/>
                  <a:gd name="connsiteX137" fmla="*/ 244668 w 2070166"/>
                  <a:gd name="connsiteY137" fmla="*/ 26311 h 2070171"/>
                  <a:gd name="connsiteX138" fmla="*/ 117422 w 2070166"/>
                  <a:gd name="connsiteY138" fmla="*/ 26311 h 2070171"/>
                  <a:gd name="connsiteX139" fmla="*/ 26311 w 2070166"/>
                  <a:gd name="connsiteY139" fmla="*/ 117422 h 2070171"/>
                  <a:gd name="connsiteX140" fmla="*/ 26311 w 2070166"/>
                  <a:gd name="connsiteY140" fmla="*/ 244668 h 2070171"/>
                  <a:gd name="connsiteX141" fmla="*/ 659041 w 2070166"/>
                  <a:gd name="connsiteY141" fmla="*/ 877398 h 2070171"/>
                  <a:gd name="connsiteX142" fmla="*/ 722664 w 2070166"/>
                  <a:gd name="connsiteY142" fmla="*/ 903753 h 2070171"/>
                  <a:gd name="connsiteX143" fmla="*/ 786287 w 2070166"/>
                  <a:gd name="connsiteY143" fmla="*/ 877398 h 2070171"/>
                  <a:gd name="connsiteX144" fmla="*/ 821666 w 2070166"/>
                  <a:gd name="connsiteY144" fmla="*/ 842019 h 2070171"/>
                  <a:gd name="connsiteX145" fmla="*/ 873959 w 2070166"/>
                  <a:gd name="connsiteY145" fmla="*/ 894312 h 2070171"/>
                  <a:gd name="connsiteX146" fmla="*/ 859390 w 2070166"/>
                  <a:gd name="connsiteY146" fmla="*/ 908881 h 2070171"/>
                  <a:gd name="connsiteX147" fmla="*/ 695255 w 2070166"/>
                  <a:gd name="connsiteY147" fmla="*/ 1073017 h 2070171"/>
                  <a:gd name="connsiteX148" fmla="*/ 613187 w 2070166"/>
                  <a:gd name="connsiteY148" fmla="*/ 1155084 h 2070171"/>
                  <a:gd name="connsiteX149" fmla="*/ 572143 w 2070166"/>
                  <a:gd name="connsiteY149" fmla="*/ 1196128 h 2070171"/>
                  <a:gd name="connsiteX150" fmla="*/ 551631 w 2070166"/>
                  <a:gd name="connsiteY150" fmla="*/ 1216640 h 2070171"/>
                  <a:gd name="connsiteX151" fmla="*/ 549067 w 2070166"/>
                  <a:gd name="connsiteY151" fmla="*/ 1219204 h 2070171"/>
                  <a:gd name="connsiteX152" fmla="*/ 546026 w 2070166"/>
                  <a:gd name="connsiteY152" fmla="*/ 1222344 h 2070171"/>
                  <a:gd name="connsiteX153" fmla="*/ 538275 w 2070166"/>
                  <a:gd name="connsiteY153" fmla="*/ 1230891 h 2070171"/>
                  <a:gd name="connsiteX154" fmla="*/ 536387 w 2070166"/>
                  <a:gd name="connsiteY154" fmla="*/ 1233058 h 2070171"/>
                  <a:gd name="connsiteX155" fmla="*/ 534637 w 2070166"/>
                  <a:gd name="connsiteY155" fmla="*/ 1235363 h 2070171"/>
                  <a:gd name="connsiteX156" fmla="*/ 531179 w 2070166"/>
                  <a:gd name="connsiteY156" fmla="*/ 1240014 h 2070171"/>
                  <a:gd name="connsiteX157" fmla="*/ 524680 w 2070166"/>
                  <a:gd name="connsiteY157" fmla="*/ 1249614 h 2070171"/>
                  <a:gd name="connsiteX158" fmla="*/ 518816 w 2070166"/>
                  <a:gd name="connsiteY158" fmla="*/ 1259652 h 2070171"/>
                  <a:gd name="connsiteX159" fmla="*/ 513867 w 2070166"/>
                  <a:gd name="connsiteY159" fmla="*/ 1270166 h 2070171"/>
                  <a:gd name="connsiteX160" fmla="*/ 509653 w 2070166"/>
                  <a:gd name="connsiteY160" fmla="*/ 1280978 h 2070171"/>
                  <a:gd name="connsiteX161" fmla="*/ 506175 w 2070166"/>
                  <a:gd name="connsiteY161" fmla="*/ 1292029 h 2070171"/>
                  <a:gd name="connsiteX162" fmla="*/ 503472 w 2070166"/>
                  <a:gd name="connsiteY162" fmla="*/ 1303299 h 2070171"/>
                  <a:gd name="connsiteX163" fmla="*/ 501743 w 2070166"/>
                  <a:gd name="connsiteY163" fmla="*/ 1314747 h 2070171"/>
                  <a:gd name="connsiteX164" fmla="*/ 500789 w 2070166"/>
                  <a:gd name="connsiteY164" fmla="*/ 1326276 h 2070171"/>
                  <a:gd name="connsiteX165" fmla="*/ 500610 w 2070166"/>
                  <a:gd name="connsiteY165" fmla="*/ 1337824 h 2070171"/>
                  <a:gd name="connsiteX166" fmla="*/ 501206 w 2070166"/>
                  <a:gd name="connsiteY166" fmla="*/ 1349371 h 2070171"/>
                  <a:gd name="connsiteX167" fmla="*/ 502796 w 2070166"/>
                  <a:gd name="connsiteY167" fmla="*/ 1360840 h 2070171"/>
                  <a:gd name="connsiteX168" fmla="*/ 505161 w 2070166"/>
                  <a:gd name="connsiteY168" fmla="*/ 1372169 h 2070171"/>
                  <a:gd name="connsiteX169" fmla="*/ 508282 w 2070166"/>
                  <a:gd name="connsiteY169" fmla="*/ 1383339 h 2070171"/>
                  <a:gd name="connsiteX170" fmla="*/ 512158 w 2070166"/>
                  <a:gd name="connsiteY170" fmla="*/ 1394291 h 2070171"/>
                  <a:gd name="connsiteX171" fmla="*/ 516988 w 2070166"/>
                  <a:gd name="connsiteY171" fmla="*/ 1404865 h 2070171"/>
                  <a:gd name="connsiteX172" fmla="*/ 522513 w 2070166"/>
                  <a:gd name="connsiteY172" fmla="*/ 1415081 h 2070171"/>
                  <a:gd name="connsiteX173" fmla="*/ 525495 w 2070166"/>
                  <a:gd name="connsiteY173" fmla="*/ 1420070 h 2070171"/>
                  <a:gd name="connsiteX174" fmla="*/ 527025 w 2070166"/>
                  <a:gd name="connsiteY174" fmla="*/ 1422535 h 2070171"/>
                  <a:gd name="connsiteX175" fmla="*/ 528714 w 2070166"/>
                  <a:gd name="connsiteY175" fmla="*/ 1424900 h 2070171"/>
                  <a:gd name="connsiteX176" fmla="*/ 535592 w 2070166"/>
                  <a:gd name="connsiteY176" fmla="*/ 1434242 h 2070171"/>
                  <a:gd name="connsiteX177" fmla="*/ 543184 w 2070166"/>
                  <a:gd name="connsiteY177" fmla="*/ 1442927 h 2070171"/>
                  <a:gd name="connsiteX178" fmla="*/ 547100 w 2070166"/>
                  <a:gd name="connsiteY178" fmla="*/ 1447161 h 2070171"/>
                  <a:gd name="connsiteX179" fmla="*/ 549783 w 2070166"/>
                  <a:gd name="connsiteY179" fmla="*/ 1449864 h 2070171"/>
                  <a:gd name="connsiteX180" fmla="*/ 554911 w 2070166"/>
                  <a:gd name="connsiteY180" fmla="*/ 1454992 h 2070171"/>
                  <a:gd name="connsiteX181" fmla="*/ 575423 w 2070166"/>
                  <a:gd name="connsiteY181" fmla="*/ 1475504 h 2070171"/>
                  <a:gd name="connsiteX182" fmla="*/ 616467 w 2070166"/>
                  <a:gd name="connsiteY182" fmla="*/ 1516548 h 2070171"/>
                  <a:gd name="connsiteX183" fmla="*/ 624993 w 2070166"/>
                  <a:gd name="connsiteY183" fmla="*/ 1524339 h 2070171"/>
                  <a:gd name="connsiteX184" fmla="*/ 629366 w 2070166"/>
                  <a:gd name="connsiteY184" fmla="*/ 1528096 h 2070171"/>
                  <a:gd name="connsiteX185" fmla="*/ 633997 w 2070166"/>
                  <a:gd name="connsiteY185" fmla="*/ 1531574 h 2070171"/>
                  <a:gd name="connsiteX186" fmla="*/ 638688 w 2070166"/>
                  <a:gd name="connsiteY186" fmla="*/ 1534993 h 2070171"/>
                  <a:gd name="connsiteX187" fmla="*/ 643498 w 2070166"/>
                  <a:gd name="connsiteY187" fmla="*/ 1538232 h 2070171"/>
                  <a:gd name="connsiteX188" fmla="*/ 653515 w 2070166"/>
                  <a:gd name="connsiteY188" fmla="*/ 1544136 h 2070171"/>
                  <a:gd name="connsiteX189" fmla="*/ 658683 w 2070166"/>
                  <a:gd name="connsiteY189" fmla="*/ 1546779 h 2070171"/>
                  <a:gd name="connsiteX190" fmla="*/ 663950 w 2070166"/>
                  <a:gd name="connsiteY190" fmla="*/ 1549244 h 2070171"/>
                  <a:gd name="connsiteX191" fmla="*/ 669257 w 2070166"/>
                  <a:gd name="connsiteY191" fmla="*/ 1551629 h 2070171"/>
                  <a:gd name="connsiteX192" fmla="*/ 674703 w 2070166"/>
                  <a:gd name="connsiteY192" fmla="*/ 1553636 h 2070171"/>
                  <a:gd name="connsiteX193" fmla="*/ 685714 w 2070166"/>
                  <a:gd name="connsiteY193" fmla="*/ 1557293 h 2070171"/>
                  <a:gd name="connsiteX194" fmla="*/ 696964 w 2070166"/>
                  <a:gd name="connsiteY194" fmla="*/ 1560056 h 2070171"/>
                  <a:gd name="connsiteX195" fmla="*/ 702649 w 2070166"/>
                  <a:gd name="connsiteY195" fmla="*/ 1561110 h 2070171"/>
                  <a:gd name="connsiteX196" fmla="*/ 708373 w 2070166"/>
                  <a:gd name="connsiteY196" fmla="*/ 1561964 h 2070171"/>
                  <a:gd name="connsiteX197" fmla="*/ 714117 w 2070166"/>
                  <a:gd name="connsiteY197" fmla="*/ 1562739 h 2070171"/>
                  <a:gd name="connsiteX198" fmla="*/ 719881 w 2070166"/>
                  <a:gd name="connsiteY198" fmla="*/ 1563097 h 2070171"/>
                  <a:gd name="connsiteX199" fmla="*/ 731429 w 2070166"/>
                  <a:gd name="connsiteY199" fmla="*/ 1563455 h 2070171"/>
                  <a:gd name="connsiteX200" fmla="*/ 742977 w 2070166"/>
                  <a:gd name="connsiteY200" fmla="*/ 1562918 h 2070171"/>
                  <a:gd name="connsiteX201" fmla="*/ 748721 w 2070166"/>
                  <a:gd name="connsiteY201" fmla="*/ 1562322 h 2070171"/>
                  <a:gd name="connsiteX202" fmla="*/ 754445 w 2070166"/>
                  <a:gd name="connsiteY202" fmla="*/ 1561507 h 2070171"/>
                  <a:gd name="connsiteX203" fmla="*/ 760170 w 2070166"/>
                  <a:gd name="connsiteY203" fmla="*/ 1560613 h 2070171"/>
                  <a:gd name="connsiteX204" fmla="*/ 765814 w 2070166"/>
                  <a:gd name="connsiteY204" fmla="*/ 1559321 h 2070171"/>
                  <a:gd name="connsiteX205" fmla="*/ 777024 w 2070166"/>
                  <a:gd name="connsiteY205" fmla="*/ 1556379 h 2070171"/>
                  <a:gd name="connsiteX206" fmla="*/ 787996 w 2070166"/>
                  <a:gd name="connsiteY206" fmla="*/ 1552543 h 2070171"/>
                  <a:gd name="connsiteX207" fmla="*/ 793362 w 2070166"/>
                  <a:gd name="connsiteY207" fmla="*/ 1550317 h 2070171"/>
                  <a:gd name="connsiteX208" fmla="*/ 798649 w 2070166"/>
                  <a:gd name="connsiteY208" fmla="*/ 1547892 h 2070171"/>
                  <a:gd name="connsiteX209" fmla="*/ 803897 w 2070166"/>
                  <a:gd name="connsiteY209" fmla="*/ 1545388 h 2070171"/>
                  <a:gd name="connsiteX210" fmla="*/ 808945 w 2070166"/>
                  <a:gd name="connsiteY210" fmla="*/ 1542526 h 2070171"/>
                  <a:gd name="connsiteX211" fmla="*/ 818863 w 2070166"/>
                  <a:gd name="connsiteY211" fmla="*/ 1536483 h 2070171"/>
                  <a:gd name="connsiteX212" fmla="*/ 828225 w 2070166"/>
                  <a:gd name="connsiteY212" fmla="*/ 1529646 h 2070171"/>
                  <a:gd name="connsiteX213" fmla="*/ 837050 w 2070166"/>
                  <a:gd name="connsiteY213" fmla="*/ 1522192 h 2070171"/>
                  <a:gd name="connsiteX214" fmla="*/ 841303 w 2070166"/>
                  <a:gd name="connsiteY214" fmla="*/ 1518297 h 2070171"/>
                  <a:gd name="connsiteX215" fmla="*/ 843311 w 2070166"/>
                  <a:gd name="connsiteY215" fmla="*/ 1516409 h 2070171"/>
                  <a:gd name="connsiteX216" fmla="*/ 844602 w 2070166"/>
                  <a:gd name="connsiteY216" fmla="*/ 1515117 h 2070171"/>
                  <a:gd name="connsiteX217" fmla="*/ 854858 w 2070166"/>
                  <a:gd name="connsiteY217" fmla="*/ 1504861 h 2070171"/>
                  <a:gd name="connsiteX218" fmla="*/ 895902 w 2070166"/>
                  <a:gd name="connsiteY218" fmla="*/ 1463817 h 2070171"/>
                  <a:gd name="connsiteX219" fmla="*/ 1060038 w 2070166"/>
                  <a:gd name="connsiteY219" fmla="*/ 1299682 h 2070171"/>
                  <a:gd name="connsiteX220" fmla="*/ 1162259 w 2070166"/>
                  <a:gd name="connsiteY220" fmla="*/ 1197460 h 2070171"/>
                  <a:gd name="connsiteX221" fmla="*/ 1164863 w 2070166"/>
                  <a:gd name="connsiteY221" fmla="*/ 1200680 h 2070171"/>
                  <a:gd name="connsiteX222" fmla="*/ 1220377 w 2070166"/>
                  <a:gd name="connsiteY222" fmla="*/ 1256193 h 2070171"/>
                  <a:gd name="connsiteX223" fmla="*/ 1192749 w 2070166"/>
                  <a:gd name="connsiteY223" fmla="*/ 1283821 h 2070171"/>
                  <a:gd name="connsiteX224" fmla="*/ 1166394 w 2070166"/>
                  <a:gd name="connsiteY224" fmla="*/ 1347443 h 2070171"/>
                  <a:gd name="connsiteX225" fmla="*/ 1192749 w 2070166"/>
                  <a:gd name="connsiteY225" fmla="*/ 1411066 h 2070171"/>
                  <a:gd name="connsiteX226" fmla="*/ 1825499 w 2070166"/>
                  <a:gd name="connsiteY226" fmla="*/ 2043816 h 2070171"/>
                  <a:gd name="connsiteX227" fmla="*/ 1889122 w 2070166"/>
                  <a:gd name="connsiteY227" fmla="*/ 2070172 h 2070171"/>
                  <a:gd name="connsiteX228" fmla="*/ 1952745 w 2070166"/>
                  <a:gd name="connsiteY228" fmla="*/ 2043816 h 2070171"/>
                  <a:gd name="connsiteX229" fmla="*/ 2043856 w 2070166"/>
                  <a:gd name="connsiteY229" fmla="*/ 1952705 h 2070171"/>
                  <a:gd name="connsiteX230" fmla="*/ 2043856 w 2070166"/>
                  <a:gd name="connsiteY230" fmla="*/ 1825459 h 2070171"/>
                  <a:gd name="connsiteX231" fmla="*/ 384932 w 2070166"/>
                  <a:gd name="connsiteY231" fmla="*/ 547060 h 2070171"/>
                  <a:gd name="connsiteX232" fmla="*/ 389126 w 2070166"/>
                  <a:gd name="connsiteY232" fmla="*/ 543860 h 2070171"/>
                  <a:gd name="connsiteX233" fmla="*/ 547557 w 2070166"/>
                  <a:gd name="connsiteY233" fmla="*/ 385429 h 2070171"/>
                  <a:gd name="connsiteX234" fmla="*/ 713183 w 2070166"/>
                  <a:gd name="connsiteY234" fmla="*/ 551055 h 2070171"/>
                  <a:gd name="connsiteX235" fmla="*/ 551035 w 2070166"/>
                  <a:gd name="connsiteY235" fmla="*/ 713203 h 2070171"/>
                  <a:gd name="connsiteX236" fmla="*/ 384932 w 2070166"/>
                  <a:gd name="connsiteY236" fmla="*/ 547100 h 2070171"/>
                  <a:gd name="connsiteX237" fmla="*/ 518538 w 2070166"/>
                  <a:gd name="connsiteY237" fmla="*/ 356390 h 2070171"/>
                  <a:gd name="connsiteX238" fmla="*/ 360107 w 2070166"/>
                  <a:gd name="connsiteY238" fmla="*/ 514821 h 2070171"/>
                  <a:gd name="connsiteX239" fmla="*/ 356907 w 2070166"/>
                  <a:gd name="connsiteY239" fmla="*/ 519015 h 2070171"/>
                  <a:gd name="connsiteX240" fmla="*/ 198993 w 2070166"/>
                  <a:gd name="connsiteY240" fmla="*/ 361101 h 2070171"/>
                  <a:gd name="connsiteX241" fmla="*/ 361141 w 2070166"/>
                  <a:gd name="connsiteY241" fmla="*/ 198953 h 2070171"/>
                  <a:gd name="connsiteX242" fmla="*/ 518558 w 2070166"/>
                  <a:gd name="connsiteY242" fmla="*/ 356370 h 2070171"/>
                  <a:gd name="connsiteX243" fmla="*/ 54415 w 2070166"/>
                  <a:gd name="connsiteY243" fmla="*/ 145527 h 2070171"/>
                  <a:gd name="connsiteX244" fmla="*/ 145527 w 2070166"/>
                  <a:gd name="connsiteY244" fmla="*/ 54415 h 2070171"/>
                  <a:gd name="connsiteX245" fmla="*/ 181045 w 2070166"/>
                  <a:gd name="connsiteY245" fmla="*/ 39727 h 2070171"/>
                  <a:gd name="connsiteX246" fmla="*/ 216563 w 2070166"/>
                  <a:gd name="connsiteY246" fmla="*/ 54415 h 2070171"/>
                  <a:gd name="connsiteX247" fmla="*/ 332082 w 2070166"/>
                  <a:gd name="connsiteY247" fmla="*/ 169934 h 2070171"/>
                  <a:gd name="connsiteX248" fmla="*/ 169934 w 2070166"/>
                  <a:gd name="connsiteY248" fmla="*/ 332082 h 2070171"/>
                  <a:gd name="connsiteX249" fmla="*/ 54415 w 2070166"/>
                  <a:gd name="connsiteY249" fmla="*/ 216543 h 2070171"/>
                  <a:gd name="connsiteX250" fmla="*/ 54415 w 2070166"/>
                  <a:gd name="connsiteY250" fmla="*/ 145527 h 2070171"/>
                  <a:gd name="connsiteX251" fmla="*/ 758182 w 2070166"/>
                  <a:gd name="connsiteY251" fmla="*/ 849293 h 2070171"/>
                  <a:gd name="connsiteX252" fmla="*/ 722664 w 2070166"/>
                  <a:gd name="connsiteY252" fmla="*/ 864001 h 2070171"/>
                  <a:gd name="connsiteX253" fmla="*/ 687145 w 2070166"/>
                  <a:gd name="connsiteY253" fmla="*/ 849293 h 2070171"/>
                  <a:gd name="connsiteX254" fmla="*/ 580054 w 2070166"/>
                  <a:gd name="connsiteY254" fmla="*/ 742202 h 2070171"/>
                  <a:gd name="connsiteX255" fmla="*/ 742202 w 2070166"/>
                  <a:gd name="connsiteY255" fmla="*/ 580054 h 2070171"/>
                  <a:gd name="connsiteX256" fmla="*/ 849293 w 2070166"/>
                  <a:gd name="connsiteY256" fmla="*/ 687145 h 2070171"/>
                  <a:gd name="connsiteX257" fmla="*/ 864001 w 2070166"/>
                  <a:gd name="connsiteY257" fmla="*/ 722664 h 2070171"/>
                  <a:gd name="connsiteX258" fmla="*/ 849293 w 2070166"/>
                  <a:gd name="connsiteY258" fmla="*/ 758182 h 2070171"/>
                  <a:gd name="connsiteX259" fmla="*/ 758182 w 2070166"/>
                  <a:gd name="connsiteY259" fmla="*/ 849293 h 2070171"/>
                  <a:gd name="connsiteX260" fmla="*/ 1197261 w 2070166"/>
                  <a:gd name="connsiteY260" fmla="*/ 579676 h 2070171"/>
                  <a:gd name="connsiteX261" fmla="*/ 1212108 w 2070166"/>
                  <a:gd name="connsiteY261" fmla="*/ 532789 h 2070171"/>
                  <a:gd name="connsiteX262" fmla="*/ 1214652 w 2070166"/>
                  <a:gd name="connsiteY262" fmla="*/ 527184 h 2070171"/>
                  <a:gd name="connsiteX263" fmla="*/ 1217534 w 2070166"/>
                  <a:gd name="connsiteY263" fmla="*/ 520983 h 2070171"/>
                  <a:gd name="connsiteX264" fmla="*/ 1224590 w 2070166"/>
                  <a:gd name="connsiteY264" fmla="*/ 507706 h 2070171"/>
                  <a:gd name="connsiteX265" fmla="*/ 1232382 w 2070166"/>
                  <a:gd name="connsiteY265" fmla="*/ 494985 h 2070171"/>
                  <a:gd name="connsiteX266" fmla="*/ 1240789 w 2070166"/>
                  <a:gd name="connsiteY266" fmla="*/ 482861 h 2070171"/>
                  <a:gd name="connsiteX267" fmla="*/ 1252635 w 2070166"/>
                  <a:gd name="connsiteY267" fmla="*/ 469723 h 2070171"/>
                  <a:gd name="connsiteX268" fmla="*/ 1258876 w 2070166"/>
                  <a:gd name="connsiteY268" fmla="*/ 463959 h 2070171"/>
                  <a:gd name="connsiteX269" fmla="*/ 1266151 w 2070166"/>
                  <a:gd name="connsiteY269" fmla="*/ 459566 h 2070171"/>
                  <a:gd name="connsiteX270" fmla="*/ 1283423 w 2070166"/>
                  <a:gd name="connsiteY270" fmla="*/ 456644 h 2070171"/>
                  <a:gd name="connsiteX271" fmla="*/ 1291950 w 2070166"/>
                  <a:gd name="connsiteY271" fmla="*/ 458374 h 2070171"/>
                  <a:gd name="connsiteX272" fmla="*/ 1299423 w 2070166"/>
                  <a:gd name="connsiteY272" fmla="*/ 461991 h 2070171"/>
                  <a:gd name="connsiteX273" fmla="*/ 1313774 w 2070166"/>
                  <a:gd name="connsiteY273" fmla="*/ 472505 h 2070171"/>
                  <a:gd name="connsiteX274" fmla="*/ 1327985 w 2070166"/>
                  <a:gd name="connsiteY274" fmla="*/ 485941 h 2070171"/>
                  <a:gd name="connsiteX275" fmla="*/ 1353108 w 2070166"/>
                  <a:gd name="connsiteY275" fmla="*/ 511065 h 2070171"/>
                  <a:gd name="connsiteX276" fmla="*/ 1395464 w 2070166"/>
                  <a:gd name="connsiteY276" fmla="*/ 553420 h 2070171"/>
                  <a:gd name="connsiteX277" fmla="*/ 1480175 w 2070166"/>
                  <a:gd name="connsiteY277" fmla="*/ 638131 h 2070171"/>
                  <a:gd name="connsiteX278" fmla="*/ 1564886 w 2070166"/>
                  <a:gd name="connsiteY278" fmla="*/ 722843 h 2070171"/>
                  <a:gd name="connsiteX279" fmla="*/ 1588081 w 2070166"/>
                  <a:gd name="connsiteY279" fmla="*/ 746038 h 2070171"/>
                  <a:gd name="connsiteX280" fmla="*/ 1602114 w 2070166"/>
                  <a:gd name="connsiteY280" fmla="*/ 760070 h 2070171"/>
                  <a:gd name="connsiteX281" fmla="*/ 1614357 w 2070166"/>
                  <a:gd name="connsiteY281" fmla="*/ 774480 h 2070171"/>
                  <a:gd name="connsiteX282" fmla="*/ 1616941 w 2070166"/>
                  <a:gd name="connsiteY282" fmla="*/ 778078 h 2070171"/>
                  <a:gd name="connsiteX283" fmla="*/ 1619346 w 2070166"/>
                  <a:gd name="connsiteY283" fmla="*/ 781616 h 2070171"/>
                  <a:gd name="connsiteX284" fmla="*/ 1623282 w 2070166"/>
                  <a:gd name="connsiteY284" fmla="*/ 789248 h 2070171"/>
                  <a:gd name="connsiteX285" fmla="*/ 1624872 w 2070166"/>
                  <a:gd name="connsiteY285" fmla="*/ 807256 h 2070171"/>
                  <a:gd name="connsiteX286" fmla="*/ 1617557 w 2070166"/>
                  <a:gd name="connsiteY286" fmla="*/ 823514 h 2070171"/>
                  <a:gd name="connsiteX287" fmla="*/ 1611495 w 2070166"/>
                  <a:gd name="connsiteY287" fmla="*/ 829974 h 2070171"/>
                  <a:gd name="connsiteX288" fmla="*/ 1608454 w 2070166"/>
                  <a:gd name="connsiteY288" fmla="*/ 833194 h 2070171"/>
                  <a:gd name="connsiteX289" fmla="*/ 1604896 w 2070166"/>
                  <a:gd name="connsiteY289" fmla="*/ 836215 h 2070171"/>
                  <a:gd name="connsiteX290" fmla="*/ 1599073 w 2070166"/>
                  <a:gd name="connsiteY290" fmla="*/ 841084 h 2070171"/>
                  <a:gd name="connsiteX291" fmla="*/ 1591301 w 2070166"/>
                  <a:gd name="connsiteY291" fmla="*/ 846511 h 2070171"/>
                  <a:gd name="connsiteX292" fmla="*/ 1583391 w 2070166"/>
                  <a:gd name="connsiteY292" fmla="*/ 851758 h 2070171"/>
                  <a:gd name="connsiteX293" fmla="*/ 1575182 w 2070166"/>
                  <a:gd name="connsiteY293" fmla="*/ 856707 h 2070171"/>
                  <a:gd name="connsiteX294" fmla="*/ 1573134 w 2070166"/>
                  <a:gd name="connsiteY294" fmla="*/ 857939 h 2070171"/>
                  <a:gd name="connsiteX295" fmla="*/ 1570988 w 2070166"/>
                  <a:gd name="connsiteY295" fmla="*/ 859052 h 2070171"/>
                  <a:gd name="connsiteX296" fmla="*/ 1566715 w 2070166"/>
                  <a:gd name="connsiteY296" fmla="*/ 861298 h 2070171"/>
                  <a:gd name="connsiteX297" fmla="*/ 1562441 w 2070166"/>
                  <a:gd name="connsiteY297" fmla="*/ 863544 h 2070171"/>
                  <a:gd name="connsiteX298" fmla="*/ 1558188 w 2070166"/>
                  <a:gd name="connsiteY298" fmla="*/ 865651 h 2070171"/>
                  <a:gd name="connsiteX299" fmla="*/ 1550814 w 2070166"/>
                  <a:gd name="connsiteY299" fmla="*/ 869010 h 2070171"/>
                  <a:gd name="connsiteX300" fmla="*/ 1543519 w 2070166"/>
                  <a:gd name="connsiteY300" fmla="*/ 872031 h 2070171"/>
                  <a:gd name="connsiteX301" fmla="*/ 1536145 w 2070166"/>
                  <a:gd name="connsiteY301" fmla="*/ 874874 h 2070171"/>
                  <a:gd name="connsiteX302" fmla="*/ 1528692 w 2070166"/>
                  <a:gd name="connsiteY302" fmla="*/ 877477 h 2070171"/>
                  <a:gd name="connsiteX303" fmla="*/ 1521139 w 2070166"/>
                  <a:gd name="connsiteY303" fmla="*/ 879803 h 2070171"/>
                  <a:gd name="connsiteX304" fmla="*/ 1505874 w 2070166"/>
                  <a:gd name="connsiteY304" fmla="*/ 883857 h 2070171"/>
                  <a:gd name="connsiteX305" fmla="*/ 1474729 w 2070166"/>
                  <a:gd name="connsiteY305" fmla="*/ 888985 h 2070171"/>
                  <a:gd name="connsiteX306" fmla="*/ 1470813 w 2070166"/>
                  <a:gd name="connsiteY306" fmla="*/ 889403 h 2070171"/>
                  <a:gd name="connsiteX307" fmla="*/ 1466878 w 2070166"/>
                  <a:gd name="connsiteY307" fmla="*/ 889661 h 2070171"/>
                  <a:gd name="connsiteX308" fmla="*/ 1459007 w 2070166"/>
                  <a:gd name="connsiteY308" fmla="*/ 890158 h 2070171"/>
                  <a:gd name="connsiteX309" fmla="*/ 1443225 w 2070166"/>
                  <a:gd name="connsiteY309" fmla="*/ 890277 h 2070171"/>
                  <a:gd name="connsiteX310" fmla="*/ 1411762 w 2070166"/>
                  <a:gd name="connsiteY310" fmla="*/ 887773 h 2070171"/>
                  <a:gd name="connsiteX311" fmla="*/ 1350942 w 2070166"/>
                  <a:gd name="connsiteY311" fmla="*/ 871236 h 2070171"/>
                  <a:gd name="connsiteX312" fmla="*/ 1294633 w 2070166"/>
                  <a:gd name="connsiteY312" fmla="*/ 839395 h 2070171"/>
                  <a:gd name="connsiteX313" fmla="*/ 1288253 w 2070166"/>
                  <a:gd name="connsiteY313" fmla="*/ 834386 h 2070171"/>
                  <a:gd name="connsiteX314" fmla="*/ 1285073 w 2070166"/>
                  <a:gd name="connsiteY314" fmla="*/ 831882 h 2070171"/>
                  <a:gd name="connsiteX315" fmla="*/ 1282012 w 2070166"/>
                  <a:gd name="connsiteY315" fmla="*/ 829238 h 2070171"/>
                  <a:gd name="connsiteX316" fmla="*/ 1275890 w 2070166"/>
                  <a:gd name="connsiteY316" fmla="*/ 823932 h 2070171"/>
                  <a:gd name="connsiteX317" fmla="*/ 1270027 w 2070166"/>
                  <a:gd name="connsiteY317" fmla="*/ 818366 h 2070171"/>
                  <a:gd name="connsiteX318" fmla="*/ 1258697 w 2070166"/>
                  <a:gd name="connsiteY318" fmla="*/ 806798 h 2070171"/>
                  <a:gd name="connsiteX319" fmla="*/ 1253371 w 2070166"/>
                  <a:gd name="connsiteY319" fmla="*/ 800697 h 2070171"/>
                  <a:gd name="connsiteX320" fmla="*/ 1248183 w 2070166"/>
                  <a:gd name="connsiteY320" fmla="*/ 794475 h 2070171"/>
                  <a:gd name="connsiteX321" fmla="*/ 1195373 w 2070166"/>
                  <a:gd name="connsiteY321" fmla="*/ 677545 h 2070171"/>
                  <a:gd name="connsiteX322" fmla="*/ 1197340 w 2070166"/>
                  <a:gd name="connsiteY322" fmla="*/ 579696 h 2070171"/>
                  <a:gd name="connsiteX323" fmla="*/ 1031396 w 2070166"/>
                  <a:gd name="connsiteY323" fmla="*/ 1271100 h 2070171"/>
                  <a:gd name="connsiteX324" fmla="*/ 867261 w 2070166"/>
                  <a:gd name="connsiteY324" fmla="*/ 1435235 h 2070171"/>
                  <a:gd name="connsiteX325" fmla="*/ 826217 w 2070166"/>
                  <a:gd name="connsiteY325" fmla="*/ 1476279 h 2070171"/>
                  <a:gd name="connsiteX326" fmla="*/ 815961 w 2070166"/>
                  <a:gd name="connsiteY326" fmla="*/ 1486535 h 2070171"/>
                  <a:gd name="connsiteX327" fmla="*/ 814669 w 2070166"/>
                  <a:gd name="connsiteY327" fmla="*/ 1487827 h 2070171"/>
                  <a:gd name="connsiteX328" fmla="*/ 813119 w 2070166"/>
                  <a:gd name="connsiteY328" fmla="*/ 1489258 h 2070171"/>
                  <a:gd name="connsiteX329" fmla="*/ 809919 w 2070166"/>
                  <a:gd name="connsiteY329" fmla="*/ 1492160 h 2070171"/>
                  <a:gd name="connsiteX330" fmla="*/ 803320 w 2070166"/>
                  <a:gd name="connsiteY330" fmla="*/ 1497745 h 2070171"/>
                  <a:gd name="connsiteX331" fmla="*/ 796324 w 2070166"/>
                  <a:gd name="connsiteY331" fmla="*/ 1502873 h 2070171"/>
                  <a:gd name="connsiteX332" fmla="*/ 788910 w 2070166"/>
                  <a:gd name="connsiteY332" fmla="*/ 1507365 h 2070171"/>
                  <a:gd name="connsiteX333" fmla="*/ 785154 w 2070166"/>
                  <a:gd name="connsiteY333" fmla="*/ 1509512 h 2070171"/>
                  <a:gd name="connsiteX334" fmla="*/ 781218 w 2070166"/>
                  <a:gd name="connsiteY334" fmla="*/ 1511360 h 2070171"/>
                  <a:gd name="connsiteX335" fmla="*/ 777283 w 2070166"/>
                  <a:gd name="connsiteY335" fmla="*/ 1513189 h 2070171"/>
                  <a:gd name="connsiteX336" fmla="*/ 773288 w 2070166"/>
                  <a:gd name="connsiteY336" fmla="*/ 1514858 h 2070171"/>
                  <a:gd name="connsiteX337" fmla="*/ 765099 w 2070166"/>
                  <a:gd name="connsiteY337" fmla="*/ 1517720 h 2070171"/>
                  <a:gd name="connsiteX338" fmla="*/ 756711 w 2070166"/>
                  <a:gd name="connsiteY338" fmla="*/ 1519907 h 2070171"/>
                  <a:gd name="connsiteX339" fmla="*/ 752497 w 2070166"/>
                  <a:gd name="connsiteY339" fmla="*/ 1520901 h 2070171"/>
                  <a:gd name="connsiteX340" fmla="*/ 748204 w 2070166"/>
                  <a:gd name="connsiteY340" fmla="*/ 1521537 h 2070171"/>
                  <a:gd name="connsiteX341" fmla="*/ 743911 w 2070166"/>
                  <a:gd name="connsiteY341" fmla="*/ 1522153 h 2070171"/>
                  <a:gd name="connsiteX342" fmla="*/ 739618 w 2070166"/>
                  <a:gd name="connsiteY342" fmla="*/ 1522610 h 2070171"/>
                  <a:gd name="connsiteX343" fmla="*/ 730972 w 2070166"/>
                  <a:gd name="connsiteY343" fmla="*/ 1523027 h 2070171"/>
                  <a:gd name="connsiteX344" fmla="*/ 722326 w 2070166"/>
                  <a:gd name="connsiteY344" fmla="*/ 1522749 h 2070171"/>
                  <a:gd name="connsiteX345" fmla="*/ 718013 w 2070166"/>
                  <a:gd name="connsiteY345" fmla="*/ 1522491 h 2070171"/>
                  <a:gd name="connsiteX346" fmla="*/ 713720 w 2070166"/>
                  <a:gd name="connsiteY346" fmla="*/ 1521894 h 2070171"/>
                  <a:gd name="connsiteX347" fmla="*/ 709426 w 2070166"/>
                  <a:gd name="connsiteY347" fmla="*/ 1521278 h 2070171"/>
                  <a:gd name="connsiteX348" fmla="*/ 705173 w 2070166"/>
                  <a:gd name="connsiteY348" fmla="*/ 1520483 h 2070171"/>
                  <a:gd name="connsiteX349" fmla="*/ 696745 w 2070166"/>
                  <a:gd name="connsiteY349" fmla="*/ 1518416 h 2070171"/>
                  <a:gd name="connsiteX350" fmla="*/ 688517 w 2070166"/>
                  <a:gd name="connsiteY350" fmla="*/ 1515673 h 2070171"/>
                  <a:gd name="connsiteX351" fmla="*/ 684442 w 2070166"/>
                  <a:gd name="connsiteY351" fmla="*/ 1514202 h 2070171"/>
                  <a:gd name="connsiteX352" fmla="*/ 680507 w 2070166"/>
                  <a:gd name="connsiteY352" fmla="*/ 1512394 h 2070171"/>
                  <a:gd name="connsiteX353" fmla="*/ 676571 w 2070166"/>
                  <a:gd name="connsiteY353" fmla="*/ 1510565 h 2070171"/>
                  <a:gd name="connsiteX354" fmla="*/ 672715 w 2070166"/>
                  <a:gd name="connsiteY354" fmla="*/ 1508597 h 2070171"/>
                  <a:gd name="connsiteX355" fmla="*/ 665242 w 2070166"/>
                  <a:gd name="connsiteY355" fmla="*/ 1504185 h 2070171"/>
                  <a:gd name="connsiteX356" fmla="*/ 661645 w 2070166"/>
                  <a:gd name="connsiteY356" fmla="*/ 1501760 h 2070171"/>
                  <a:gd name="connsiteX357" fmla="*/ 658146 w 2070166"/>
                  <a:gd name="connsiteY357" fmla="*/ 1499196 h 2070171"/>
                  <a:gd name="connsiteX358" fmla="*/ 654668 w 2070166"/>
                  <a:gd name="connsiteY358" fmla="*/ 1496612 h 2070171"/>
                  <a:gd name="connsiteX359" fmla="*/ 651408 w 2070166"/>
                  <a:gd name="connsiteY359" fmla="*/ 1493770 h 2070171"/>
                  <a:gd name="connsiteX360" fmla="*/ 645008 w 2070166"/>
                  <a:gd name="connsiteY360" fmla="*/ 1487946 h 2070171"/>
                  <a:gd name="connsiteX361" fmla="*/ 603965 w 2070166"/>
                  <a:gd name="connsiteY361" fmla="*/ 1446902 h 2070171"/>
                  <a:gd name="connsiteX362" fmla="*/ 583453 w 2070166"/>
                  <a:gd name="connsiteY362" fmla="*/ 1426391 h 2070171"/>
                  <a:gd name="connsiteX363" fmla="*/ 578325 w 2070166"/>
                  <a:gd name="connsiteY363" fmla="*/ 1421263 h 2070171"/>
                  <a:gd name="connsiteX364" fmla="*/ 575721 w 2070166"/>
                  <a:gd name="connsiteY364" fmla="*/ 1418639 h 2070171"/>
                  <a:gd name="connsiteX365" fmla="*/ 572799 w 2070166"/>
                  <a:gd name="connsiteY365" fmla="*/ 1415439 h 2070171"/>
                  <a:gd name="connsiteX366" fmla="*/ 567095 w 2070166"/>
                  <a:gd name="connsiteY366" fmla="*/ 1408940 h 2070171"/>
                  <a:gd name="connsiteX367" fmla="*/ 561947 w 2070166"/>
                  <a:gd name="connsiteY367" fmla="*/ 1401963 h 2070171"/>
                  <a:gd name="connsiteX368" fmla="*/ 560675 w 2070166"/>
                  <a:gd name="connsiteY368" fmla="*/ 1400214 h 2070171"/>
                  <a:gd name="connsiteX369" fmla="*/ 559562 w 2070166"/>
                  <a:gd name="connsiteY369" fmla="*/ 1398366 h 2070171"/>
                  <a:gd name="connsiteX370" fmla="*/ 557356 w 2070166"/>
                  <a:gd name="connsiteY370" fmla="*/ 1394629 h 2070171"/>
                  <a:gd name="connsiteX371" fmla="*/ 553221 w 2070166"/>
                  <a:gd name="connsiteY371" fmla="*/ 1386997 h 2070171"/>
                  <a:gd name="connsiteX372" fmla="*/ 549604 w 2070166"/>
                  <a:gd name="connsiteY372" fmla="*/ 1379106 h 2070171"/>
                  <a:gd name="connsiteX373" fmla="*/ 546722 w 2070166"/>
                  <a:gd name="connsiteY373" fmla="*/ 1370917 h 2070171"/>
                  <a:gd name="connsiteX374" fmla="*/ 544397 w 2070166"/>
                  <a:gd name="connsiteY374" fmla="*/ 1362569 h 2070171"/>
                  <a:gd name="connsiteX375" fmla="*/ 542628 w 2070166"/>
                  <a:gd name="connsiteY375" fmla="*/ 1354102 h 2070171"/>
                  <a:gd name="connsiteX376" fmla="*/ 541415 w 2070166"/>
                  <a:gd name="connsiteY376" fmla="*/ 1345516 h 2070171"/>
                  <a:gd name="connsiteX377" fmla="*/ 540978 w 2070166"/>
                  <a:gd name="connsiteY377" fmla="*/ 1336869 h 2070171"/>
                  <a:gd name="connsiteX378" fmla="*/ 558985 w 2070166"/>
                  <a:gd name="connsiteY378" fmla="*/ 1270921 h 2070171"/>
                  <a:gd name="connsiteX379" fmla="*/ 563855 w 2070166"/>
                  <a:gd name="connsiteY379" fmla="*/ 1263746 h 2070171"/>
                  <a:gd name="connsiteX380" fmla="*/ 566439 w 2070166"/>
                  <a:gd name="connsiteY380" fmla="*/ 1260268 h 2070171"/>
                  <a:gd name="connsiteX381" fmla="*/ 567731 w 2070166"/>
                  <a:gd name="connsiteY381" fmla="*/ 1258538 h 2070171"/>
                  <a:gd name="connsiteX382" fmla="*/ 569162 w 2070166"/>
                  <a:gd name="connsiteY382" fmla="*/ 1256929 h 2070171"/>
                  <a:gd name="connsiteX383" fmla="*/ 574966 w 2070166"/>
                  <a:gd name="connsiteY383" fmla="*/ 1250509 h 2070171"/>
                  <a:gd name="connsiteX384" fmla="*/ 577649 w 2070166"/>
                  <a:gd name="connsiteY384" fmla="*/ 1247726 h 2070171"/>
                  <a:gd name="connsiteX385" fmla="*/ 580213 w 2070166"/>
                  <a:gd name="connsiteY385" fmla="*/ 1245162 h 2070171"/>
                  <a:gd name="connsiteX386" fmla="*/ 600725 w 2070166"/>
                  <a:gd name="connsiteY386" fmla="*/ 1224650 h 2070171"/>
                  <a:gd name="connsiteX387" fmla="*/ 641769 w 2070166"/>
                  <a:gd name="connsiteY387" fmla="*/ 1183606 h 2070171"/>
                  <a:gd name="connsiteX388" fmla="*/ 723836 w 2070166"/>
                  <a:gd name="connsiteY388" fmla="*/ 1101539 h 2070171"/>
                  <a:gd name="connsiteX389" fmla="*/ 887972 w 2070166"/>
                  <a:gd name="connsiteY389" fmla="*/ 937403 h 2070171"/>
                  <a:gd name="connsiteX390" fmla="*/ 970039 w 2070166"/>
                  <a:gd name="connsiteY390" fmla="*/ 855335 h 2070171"/>
                  <a:gd name="connsiteX391" fmla="*/ 1011083 w 2070166"/>
                  <a:gd name="connsiteY391" fmla="*/ 814292 h 2070171"/>
                  <a:gd name="connsiteX392" fmla="*/ 1021339 w 2070166"/>
                  <a:gd name="connsiteY392" fmla="*/ 804036 h 2070171"/>
                  <a:gd name="connsiteX393" fmla="*/ 1022631 w 2070166"/>
                  <a:gd name="connsiteY393" fmla="*/ 802744 h 2070171"/>
                  <a:gd name="connsiteX394" fmla="*/ 1024181 w 2070166"/>
                  <a:gd name="connsiteY394" fmla="*/ 801313 h 2070171"/>
                  <a:gd name="connsiteX395" fmla="*/ 1027381 w 2070166"/>
                  <a:gd name="connsiteY395" fmla="*/ 798411 h 2070171"/>
                  <a:gd name="connsiteX396" fmla="*/ 1033980 w 2070166"/>
                  <a:gd name="connsiteY396" fmla="*/ 792826 h 2070171"/>
                  <a:gd name="connsiteX397" fmla="*/ 1040977 w 2070166"/>
                  <a:gd name="connsiteY397" fmla="*/ 787698 h 2070171"/>
                  <a:gd name="connsiteX398" fmla="*/ 1048390 w 2070166"/>
                  <a:gd name="connsiteY398" fmla="*/ 783206 h 2070171"/>
                  <a:gd name="connsiteX399" fmla="*/ 1052147 w 2070166"/>
                  <a:gd name="connsiteY399" fmla="*/ 781059 h 2070171"/>
                  <a:gd name="connsiteX400" fmla="*/ 1056082 w 2070166"/>
                  <a:gd name="connsiteY400" fmla="*/ 779211 h 2070171"/>
                  <a:gd name="connsiteX401" fmla="*/ 1060018 w 2070166"/>
                  <a:gd name="connsiteY401" fmla="*/ 777382 h 2070171"/>
                  <a:gd name="connsiteX402" fmla="*/ 1064013 w 2070166"/>
                  <a:gd name="connsiteY402" fmla="*/ 775713 h 2070171"/>
                  <a:gd name="connsiteX403" fmla="*/ 1072202 w 2070166"/>
                  <a:gd name="connsiteY403" fmla="*/ 772850 h 2070171"/>
                  <a:gd name="connsiteX404" fmla="*/ 1080589 w 2070166"/>
                  <a:gd name="connsiteY404" fmla="*/ 770664 h 2070171"/>
                  <a:gd name="connsiteX405" fmla="*/ 1084803 w 2070166"/>
                  <a:gd name="connsiteY405" fmla="*/ 769670 h 2070171"/>
                  <a:gd name="connsiteX406" fmla="*/ 1089096 w 2070166"/>
                  <a:gd name="connsiteY406" fmla="*/ 769034 h 2070171"/>
                  <a:gd name="connsiteX407" fmla="*/ 1093389 w 2070166"/>
                  <a:gd name="connsiteY407" fmla="*/ 768418 h 2070171"/>
                  <a:gd name="connsiteX408" fmla="*/ 1097683 w 2070166"/>
                  <a:gd name="connsiteY408" fmla="*/ 767961 h 2070171"/>
                  <a:gd name="connsiteX409" fmla="*/ 1106329 w 2070166"/>
                  <a:gd name="connsiteY409" fmla="*/ 767544 h 2070171"/>
                  <a:gd name="connsiteX410" fmla="*/ 1114975 w 2070166"/>
                  <a:gd name="connsiteY410" fmla="*/ 767822 h 2070171"/>
                  <a:gd name="connsiteX411" fmla="*/ 1119288 w 2070166"/>
                  <a:gd name="connsiteY411" fmla="*/ 768080 h 2070171"/>
                  <a:gd name="connsiteX412" fmla="*/ 1123581 w 2070166"/>
                  <a:gd name="connsiteY412" fmla="*/ 768676 h 2070171"/>
                  <a:gd name="connsiteX413" fmla="*/ 1127874 w 2070166"/>
                  <a:gd name="connsiteY413" fmla="*/ 769293 h 2070171"/>
                  <a:gd name="connsiteX414" fmla="*/ 1132128 w 2070166"/>
                  <a:gd name="connsiteY414" fmla="*/ 770088 h 2070171"/>
                  <a:gd name="connsiteX415" fmla="*/ 1140555 w 2070166"/>
                  <a:gd name="connsiteY415" fmla="*/ 772155 h 2070171"/>
                  <a:gd name="connsiteX416" fmla="*/ 1148784 w 2070166"/>
                  <a:gd name="connsiteY416" fmla="*/ 774898 h 2070171"/>
                  <a:gd name="connsiteX417" fmla="*/ 1152858 w 2070166"/>
                  <a:gd name="connsiteY417" fmla="*/ 776368 h 2070171"/>
                  <a:gd name="connsiteX418" fmla="*/ 1156794 w 2070166"/>
                  <a:gd name="connsiteY418" fmla="*/ 778177 h 2070171"/>
                  <a:gd name="connsiteX419" fmla="*/ 1160729 w 2070166"/>
                  <a:gd name="connsiteY419" fmla="*/ 780006 h 2070171"/>
                  <a:gd name="connsiteX420" fmla="*/ 1164585 w 2070166"/>
                  <a:gd name="connsiteY420" fmla="*/ 781973 h 2070171"/>
                  <a:gd name="connsiteX421" fmla="*/ 1172058 w 2070166"/>
                  <a:gd name="connsiteY421" fmla="*/ 786386 h 2070171"/>
                  <a:gd name="connsiteX422" fmla="*/ 1175656 w 2070166"/>
                  <a:gd name="connsiteY422" fmla="*/ 788811 h 2070171"/>
                  <a:gd name="connsiteX423" fmla="*/ 1179154 w 2070166"/>
                  <a:gd name="connsiteY423" fmla="*/ 791375 h 2070171"/>
                  <a:gd name="connsiteX424" fmla="*/ 1182632 w 2070166"/>
                  <a:gd name="connsiteY424" fmla="*/ 793959 h 2070171"/>
                  <a:gd name="connsiteX425" fmla="*/ 1185892 w 2070166"/>
                  <a:gd name="connsiteY425" fmla="*/ 796801 h 2070171"/>
                  <a:gd name="connsiteX426" fmla="*/ 1192292 w 2070166"/>
                  <a:gd name="connsiteY426" fmla="*/ 802625 h 2070171"/>
                  <a:gd name="connsiteX427" fmla="*/ 1233336 w 2070166"/>
                  <a:gd name="connsiteY427" fmla="*/ 843668 h 2070171"/>
                  <a:gd name="connsiteX428" fmla="*/ 1253848 w 2070166"/>
                  <a:gd name="connsiteY428" fmla="*/ 864180 h 2070171"/>
                  <a:gd name="connsiteX429" fmla="*/ 1258976 w 2070166"/>
                  <a:gd name="connsiteY429" fmla="*/ 869308 h 2070171"/>
                  <a:gd name="connsiteX430" fmla="*/ 1261579 w 2070166"/>
                  <a:gd name="connsiteY430" fmla="*/ 871932 h 2070171"/>
                  <a:gd name="connsiteX431" fmla="*/ 1264501 w 2070166"/>
                  <a:gd name="connsiteY431" fmla="*/ 875132 h 2070171"/>
                  <a:gd name="connsiteX432" fmla="*/ 1270206 w 2070166"/>
                  <a:gd name="connsiteY432" fmla="*/ 881631 h 2070171"/>
                  <a:gd name="connsiteX433" fmla="*/ 1275353 w 2070166"/>
                  <a:gd name="connsiteY433" fmla="*/ 888608 h 2070171"/>
                  <a:gd name="connsiteX434" fmla="*/ 1276625 w 2070166"/>
                  <a:gd name="connsiteY434" fmla="*/ 890357 h 2070171"/>
                  <a:gd name="connsiteX435" fmla="*/ 1277739 w 2070166"/>
                  <a:gd name="connsiteY435" fmla="*/ 892205 h 2070171"/>
                  <a:gd name="connsiteX436" fmla="*/ 1279945 w 2070166"/>
                  <a:gd name="connsiteY436" fmla="*/ 895942 h 2070171"/>
                  <a:gd name="connsiteX437" fmla="*/ 1284079 w 2070166"/>
                  <a:gd name="connsiteY437" fmla="*/ 903574 h 2070171"/>
                  <a:gd name="connsiteX438" fmla="*/ 1287696 w 2070166"/>
                  <a:gd name="connsiteY438" fmla="*/ 911465 h 2070171"/>
                  <a:gd name="connsiteX439" fmla="*/ 1290578 w 2070166"/>
                  <a:gd name="connsiteY439" fmla="*/ 919654 h 2070171"/>
                  <a:gd name="connsiteX440" fmla="*/ 1292904 w 2070166"/>
                  <a:gd name="connsiteY440" fmla="*/ 928002 h 2070171"/>
                  <a:gd name="connsiteX441" fmla="*/ 1294673 w 2070166"/>
                  <a:gd name="connsiteY441" fmla="*/ 936469 h 2070171"/>
                  <a:gd name="connsiteX442" fmla="*/ 1295885 w 2070166"/>
                  <a:gd name="connsiteY442" fmla="*/ 945055 h 2070171"/>
                  <a:gd name="connsiteX443" fmla="*/ 1296323 w 2070166"/>
                  <a:gd name="connsiteY443" fmla="*/ 953701 h 2070171"/>
                  <a:gd name="connsiteX444" fmla="*/ 1278315 w 2070166"/>
                  <a:gd name="connsiteY444" fmla="*/ 1019650 h 2070171"/>
                  <a:gd name="connsiteX445" fmla="*/ 1273445 w 2070166"/>
                  <a:gd name="connsiteY445" fmla="*/ 1026825 h 2070171"/>
                  <a:gd name="connsiteX446" fmla="*/ 1270862 w 2070166"/>
                  <a:gd name="connsiteY446" fmla="*/ 1030303 h 2070171"/>
                  <a:gd name="connsiteX447" fmla="*/ 1269570 w 2070166"/>
                  <a:gd name="connsiteY447" fmla="*/ 1032032 h 2070171"/>
                  <a:gd name="connsiteX448" fmla="*/ 1268139 w 2070166"/>
                  <a:gd name="connsiteY448" fmla="*/ 1033642 h 2070171"/>
                  <a:gd name="connsiteX449" fmla="*/ 1262335 w 2070166"/>
                  <a:gd name="connsiteY449" fmla="*/ 1040062 h 2070171"/>
                  <a:gd name="connsiteX450" fmla="*/ 1259652 w 2070166"/>
                  <a:gd name="connsiteY450" fmla="*/ 1042845 h 2070171"/>
                  <a:gd name="connsiteX451" fmla="*/ 1257087 w 2070166"/>
                  <a:gd name="connsiteY451" fmla="*/ 1045409 h 2070171"/>
                  <a:gd name="connsiteX452" fmla="*/ 1236576 w 2070166"/>
                  <a:gd name="connsiteY452" fmla="*/ 1065921 h 2070171"/>
                  <a:gd name="connsiteX453" fmla="*/ 1195532 w 2070166"/>
                  <a:gd name="connsiteY453" fmla="*/ 1106965 h 2070171"/>
                  <a:gd name="connsiteX454" fmla="*/ 1031396 w 2070166"/>
                  <a:gd name="connsiteY454" fmla="*/ 1271100 h 2070171"/>
                  <a:gd name="connsiteX455" fmla="*/ 1566377 w 2070166"/>
                  <a:gd name="connsiteY455" fmla="*/ 1728505 h 2070171"/>
                  <a:gd name="connsiteX456" fmla="*/ 1570571 w 2070166"/>
                  <a:gd name="connsiteY456" fmla="*/ 1725305 h 2070171"/>
                  <a:gd name="connsiteX457" fmla="*/ 1729002 w 2070166"/>
                  <a:gd name="connsiteY457" fmla="*/ 1566874 h 2070171"/>
                  <a:gd name="connsiteX458" fmla="*/ 1894628 w 2070166"/>
                  <a:gd name="connsiteY458" fmla="*/ 1732500 h 2070171"/>
                  <a:gd name="connsiteX459" fmla="*/ 1732500 w 2070166"/>
                  <a:gd name="connsiteY459" fmla="*/ 1894647 h 2070171"/>
                  <a:gd name="connsiteX460" fmla="*/ 1566397 w 2070166"/>
                  <a:gd name="connsiteY460" fmla="*/ 1728544 h 2070171"/>
                  <a:gd name="connsiteX461" fmla="*/ 1699983 w 2070166"/>
                  <a:gd name="connsiteY461" fmla="*/ 1537835 h 2070171"/>
                  <a:gd name="connsiteX462" fmla="*/ 1541552 w 2070166"/>
                  <a:gd name="connsiteY462" fmla="*/ 1696266 h 2070171"/>
                  <a:gd name="connsiteX463" fmla="*/ 1538352 w 2070166"/>
                  <a:gd name="connsiteY463" fmla="*/ 1700460 h 2070171"/>
                  <a:gd name="connsiteX464" fmla="*/ 1380438 w 2070166"/>
                  <a:gd name="connsiteY464" fmla="*/ 1542546 h 2070171"/>
                  <a:gd name="connsiteX465" fmla="*/ 1542585 w 2070166"/>
                  <a:gd name="connsiteY465" fmla="*/ 1380418 h 2070171"/>
                  <a:gd name="connsiteX466" fmla="*/ 1700003 w 2070166"/>
                  <a:gd name="connsiteY466" fmla="*/ 1537835 h 2070171"/>
                  <a:gd name="connsiteX467" fmla="*/ 1206106 w 2070166"/>
                  <a:gd name="connsiteY467" fmla="*/ 1347443 h 2070171"/>
                  <a:gd name="connsiteX468" fmla="*/ 1220814 w 2070166"/>
                  <a:gd name="connsiteY468" fmla="*/ 1311925 h 2070171"/>
                  <a:gd name="connsiteX469" fmla="*/ 1311925 w 2070166"/>
                  <a:gd name="connsiteY469" fmla="*/ 1220814 h 2070171"/>
                  <a:gd name="connsiteX470" fmla="*/ 1347443 w 2070166"/>
                  <a:gd name="connsiteY470" fmla="*/ 1206126 h 2070171"/>
                  <a:gd name="connsiteX471" fmla="*/ 1382962 w 2070166"/>
                  <a:gd name="connsiteY471" fmla="*/ 1220814 h 2070171"/>
                  <a:gd name="connsiteX472" fmla="*/ 1513527 w 2070166"/>
                  <a:gd name="connsiteY472" fmla="*/ 1351379 h 2070171"/>
                  <a:gd name="connsiteX473" fmla="*/ 1351379 w 2070166"/>
                  <a:gd name="connsiteY473" fmla="*/ 1513507 h 2070171"/>
                  <a:gd name="connsiteX474" fmla="*/ 1220814 w 2070166"/>
                  <a:gd name="connsiteY474" fmla="*/ 1382942 h 2070171"/>
                  <a:gd name="connsiteX475" fmla="*/ 1206106 w 2070166"/>
                  <a:gd name="connsiteY475" fmla="*/ 1347424 h 2070171"/>
                  <a:gd name="connsiteX476" fmla="*/ 2015692 w 2070166"/>
                  <a:gd name="connsiteY476" fmla="*/ 1924581 h 2070171"/>
                  <a:gd name="connsiteX477" fmla="*/ 1924581 w 2070166"/>
                  <a:gd name="connsiteY477" fmla="*/ 2015692 h 2070171"/>
                  <a:gd name="connsiteX478" fmla="*/ 1889062 w 2070166"/>
                  <a:gd name="connsiteY478" fmla="*/ 2030400 h 2070171"/>
                  <a:gd name="connsiteX479" fmla="*/ 1853544 w 2070166"/>
                  <a:gd name="connsiteY479" fmla="*/ 2015692 h 2070171"/>
                  <a:gd name="connsiteX480" fmla="*/ 1761499 w 2070166"/>
                  <a:gd name="connsiteY480" fmla="*/ 1923646 h 2070171"/>
                  <a:gd name="connsiteX481" fmla="*/ 1923627 w 2070166"/>
                  <a:gd name="connsiteY481" fmla="*/ 1761499 h 2070171"/>
                  <a:gd name="connsiteX482" fmla="*/ 2015672 w 2070166"/>
                  <a:gd name="connsiteY482" fmla="*/ 1853544 h 2070171"/>
                  <a:gd name="connsiteX483" fmla="*/ 2015672 w 2070166"/>
                  <a:gd name="connsiteY483" fmla="*/ 1924561 h 2070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</a:cxnLst>
                <a:rect l="l" t="t" r="r" b="b"/>
                <a:pathLst>
                  <a:path w="2070166" h="2070171">
                    <a:moveTo>
                      <a:pt x="2043816" y="1825459"/>
                    </a:moveTo>
                    <a:lnTo>
                      <a:pt x="1411066" y="1192729"/>
                    </a:lnTo>
                    <a:cubicBezTo>
                      <a:pt x="1375985" y="1157648"/>
                      <a:pt x="1318902" y="1157648"/>
                      <a:pt x="1283821" y="1192729"/>
                    </a:cubicBezTo>
                    <a:lnTo>
                      <a:pt x="1248441" y="1228108"/>
                    </a:lnTo>
                    <a:lnTo>
                      <a:pt x="1192928" y="1172595"/>
                    </a:lnTo>
                    <a:cubicBezTo>
                      <a:pt x="1191934" y="1171601"/>
                      <a:pt x="1190841" y="1170727"/>
                      <a:pt x="1189708" y="1169991"/>
                    </a:cubicBezTo>
                    <a:lnTo>
                      <a:pt x="1224133" y="1135566"/>
                    </a:lnTo>
                    <a:lnTo>
                      <a:pt x="1265177" y="1094522"/>
                    </a:lnTo>
                    <a:lnTo>
                      <a:pt x="1285689" y="1074010"/>
                    </a:lnTo>
                    <a:lnTo>
                      <a:pt x="1288253" y="1071446"/>
                    </a:lnTo>
                    <a:cubicBezTo>
                      <a:pt x="1289147" y="1070552"/>
                      <a:pt x="1289783" y="1069956"/>
                      <a:pt x="1291294" y="1068306"/>
                    </a:cubicBezTo>
                    <a:cubicBezTo>
                      <a:pt x="1293918" y="1065484"/>
                      <a:pt x="1296501" y="1062641"/>
                      <a:pt x="1299046" y="1059759"/>
                    </a:cubicBezTo>
                    <a:lnTo>
                      <a:pt x="1300934" y="1057593"/>
                    </a:lnTo>
                    <a:lnTo>
                      <a:pt x="1302683" y="1055287"/>
                    </a:lnTo>
                    <a:lnTo>
                      <a:pt x="1306141" y="1050636"/>
                    </a:lnTo>
                    <a:cubicBezTo>
                      <a:pt x="1308427" y="1047516"/>
                      <a:pt x="1310733" y="1044415"/>
                      <a:pt x="1312641" y="1041036"/>
                    </a:cubicBezTo>
                    <a:cubicBezTo>
                      <a:pt x="1314648" y="1037717"/>
                      <a:pt x="1316596" y="1034378"/>
                      <a:pt x="1318504" y="1030999"/>
                    </a:cubicBezTo>
                    <a:cubicBezTo>
                      <a:pt x="1320193" y="1027521"/>
                      <a:pt x="1321843" y="1024003"/>
                      <a:pt x="1323453" y="1020484"/>
                    </a:cubicBezTo>
                    <a:cubicBezTo>
                      <a:pt x="1325143" y="1016986"/>
                      <a:pt x="1326375" y="1013329"/>
                      <a:pt x="1327667" y="1009672"/>
                    </a:cubicBezTo>
                    <a:cubicBezTo>
                      <a:pt x="1328899" y="1006015"/>
                      <a:pt x="1330310" y="1002378"/>
                      <a:pt x="1331145" y="998621"/>
                    </a:cubicBezTo>
                    <a:cubicBezTo>
                      <a:pt x="1332099" y="994884"/>
                      <a:pt x="1332994" y="991108"/>
                      <a:pt x="1333848" y="987351"/>
                    </a:cubicBezTo>
                    <a:cubicBezTo>
                      <a:pt x="1334504" y="983555"/>
                      <a:pt x="1335061" y="979739"/>
                      <a:pt x="1335578" y="975903"/>
                    </a:cubicBezTo>
                    <a:cubicBezTo>
                      <a:pt x="1336194" y="972087"/>
                      <a:pt x="1336333" y="968231"/>
                      <a:pt x="1336532" y="964375"/>
                    </a:cubicBezTo>
                    <a:cubicBezTo>
                      <a:pt x="1336671" y="960519"/>
                      <a:pt x="1336969" y="956663"/>
                      <a:pt x="1336710" y="952827"/>
                    </a:cubicBezTo>
                    <a:cubicBezTo>
                      <a:pt x="1336571" y="948971"/>
                      <a:pt x="1336373" y="945115"/>
                      <a:pt x="1336114" y="941279"/>
                    </a:cubicBezTo>
                    <a:cubicBezTo>
                      <a:pt x="1335657" y="937443"/>
                      <a:pt x="1335100" y="933627"/>
                      <a:pt x="1334524" y="929811"/>
                    </a:cubicBezTo>
                    <a:cubicBezTo>
                      <a:pt x="1334047" y="925974"/>
                      <a:pt x="1333053" y="922238"/>
                      <a:pt x="1332159" y="918481"/>
                    </a:cubicBezTo>
                    <a:cubicBezTo>
                      <a:pt x="1331205" y="914725"/>
                      <a:pt x="1330390" y="910948"/>
                      <a:pt x="1329038" y="907311"/>
                    </a:cubicBezTo>
                    <a:cubicBezTo>
                      <a:pt x="1328859" y="906754"/>
                      <a:pt x="1328641" y="906218"/>
                      <a:pt x="1328462" y="905681"/>
                    </a:cubicBezTo>
                    <a:cubicBezTo>
                      <a:pt x="1330807" y="906715"/>
                      <a:pt x="1333153" y="907709"/>
                      <a:pt x="1335518" y="908682"/>
                    </a:cubicBezTo>
                    <a:cubicBezTo>
                      <a:pt x="1358097" y="918024"/>
                      <a:pt x="1381829" y="924305"/>
                      <a:pt x="1405938" y="927823"/>
                    </a:cubicBezTo>
                    <a:cubicBezTo>
                      <a:pt x="1418003" y="929433"/>
                      <a:pt x="1430147" y="930606"/>
                      <a:pt x="1442331" y="930725"/>
                    </a:cubicBezTo>
                    <a:cubicBezTo>
                      <a:pt x="1448413" y="930983"/>
                      <a:pt x="1454515" y="930665"/>
                      <a:pt x="1460597" y="930566"/>
                    </a:cubicBezTo>
                    <a:lnTo>
                      <a:pt x="1469720" y="929989"/>
                    </a:lnTo>
                    <a:lnTo>
                      <a:pt x="1474272" y="929671"/>
                    </a:lnTo>
                    <a:lnTo>
                      <a:pt x="1478803" y="929194"/>
                    </a:lnTo>
                    <a:cubicBezTo>
                      <a:pt x="1490928" y="928061"/>
                      <a:pt x="1502933" y="925855"/>
                      <a:pt x="1514838" y="923252"/>
                    </a:cubicBezTo>
                    <a:cubicBezTo>
                      <a:pt x="1520761" y="921781"/>
                      <a:pt x="1526704" y="920409"/>
                      <a:pt x="1532508" y="918581"/>
                    </a:cubicBezTo>
                    <a:cubicBezTo>
                      <a:pt x="1535430" y="917686"/>
                      <a:pt x="1538372" y="916891"/>
                      <a:pt x="1541254" y="915877"/>
                    </a:cubicBezTo>
                    <a:lnTo>
                      <a:pt x="1549900" y="912876"/>
                    </a:lnTo>
                    <a:cubicBezTo>
                      <a:pt x="1552801" y="911922"/>
                      <a:pt x="1555604" y="910710"/>
                      <a:pt x="1558446" y="909597"/>
                    </a:cubicBezTo>
                    <a:cubicBezTo>
                      <a:pt x="1561269" y="908424"/>
                      <a:pt x="1564131" y="907390"/>
                      <a:pt x="1566913" y="906099"/>
                    </a:cubicBezTo>
                    <a:lnTo>
                      <a:pt x="1575798" y="902064"/>
                    </a:lnTo>
                    <a:lnTo>
                      <a:pt x="1577249" y="901388"/>
                    </a:lnTo>
                    <a:lnTo>
                      <a:pt x="1578859" y="900593"/>
                    </a:lnTo>
                    <a:lnTo>
                      <a:pt x="1582059" y="898864"/>
                    </a:lnTo>
                    <a:lnTo>
                      <a:pt x="1588459" y="895425"/>
                    </a:lnTo>
                    <a:lnTo>
                      <a:pt x="1594859" y="891987"/>
                    </a:lnTo>
                    <a:lnTo>
                      <a:pt x="1598059" y="890257"/>
                    </a:lnTo>
                    <a:lnTo>
                      <a:pt x="1601100" y="888349"/>
                    </a:lnTo>
                    <a:lnTo>
                      <a:pt x="1613185" y="880657"/>
                    </a:lnTo>
                    <a:lnTo>
                      <a:pt x="1616206" y="878729"/>
                    </a:lnTo>
                    <a:cubicBezTo>
                      <a:pt x="1617180" y="878054"/>
                      <a:pt x="1618094" y="877338"/>
                      <a:pt x="1619028" y="876662"/>
                    </a:cubicBezTo>
                    <a:lnTo>
                      <a:pt x="1624653" y="872488"/>
                    </a:lnTo>
                    <a:cubicBezTo>
                      <a:pt x="1628370" y="869686"/>
                      <a:pt x="1632186" y="866983"/>
                      <a:pt x="1635843" y="864101"/>
                    </a:cubicBezTo>
                    <a:lnTo>
                      <a:pt x="1643495" y="856369"/>
                    </a:lnTo>
                    <a:cubicBezTo>
                      <a:pt x="1645026" y="854759"/>
                      <a:pt x="1646755" y="853209"/>
                      <a:pt x="1648126" y="851579"/>
                    </a:cubicBezTo>
                    <a:lnTo>
                      <a:pt x="1651366" y="846451"/>
                    </a:lnTo>
                    <a:cubicBezTo>
                      <a:pt x="1653493" y="843032"/>
                      <a:pt x="1655759" y="839633"/>
                      <a:pt x="1657786" y="836195"/>
                    </a:cubicBezTo>
                    <a:cubicBezTo>
                      <a:pt x="1661066" y="829278"/>
                      <a:pt x="1663769" y="821089"/>
                      <a:pt x="1664961" y="812543"/>
                    </a:cubicBezTo>
                    <a:cubicBezTo>
                      <a:pt x="1666233" y="804016"/>
                      <a:pt x="1666035" y="795251"/>
                      <a:pt x="1664723" y="787300"/>
                    </a:cubicBezTo>
                    <a:cubicBezTo>
                      <a:pt x="1664047" y="783265"/>
                      <a:pt x="1663172" y="779668"/>
                      <a:pt x="1662020" y="776090"/>
                    </a:cubicBezTo>
                    <a:cubicBezTo>
                      <a:pt x="1661384" y="774301"/>
                      <a:pt x="1660927" y="772552"/>
                      <a:pt x="1660131" y="770704"/>
                    </a:cubicBezTo>
                    <a:lnTo>
                      <a:pt x="1657687" y="765158"/>
                    </a:lnTo>
                    <a:cubicBezTo>
                      <a:pt x="1653970" y="757705"/>
                      <a:pt x="1649001" y="749953"/>
                      <a:pt x="1642005" y="742838"/>
                    </a:cubicBezTo>
                    <a:lnTo>
                      <a:pt x="1620857" y="721650"/>
                    </a:lnTo>
                    <a:lnTo>
                      <a:pt x="1593487" y="694281"/>
                    </a:lnTo>
                    <a:lnTo>
                      <a:pt x="1508776" y="609570"/>
                    </a:lnTo>
                    <a:lnTo>
                      <a:pt x="1424065" y="524859"/>
                    </a:lnTo>
                    <a:lnTo>
                      <a:pt x="1381709" y="482503"/>
                    </a:lnTo>
                    <a:lnTo>
                      <a:pt x="1348397" y="449191"/>
                    </a:lnTo>
                    <a:lnTo>
                      <a:pt x="1343110" y="443904"/>
                    </a:lnTo>
                    <a:cubicBezTo>
                      <a:pt x="1341341" y="442175"/>
                      <a:pt x="1339612" y="440286"/>
                      <a:pt x="1337764" y="438736"/>
                    </a:cubicBezTo>
                    <a:cubicBezTo>
                      <a:pt x="1335935" y="437146"/>
                      <a:pt x="1334146" y="435417"/>
                      <a:pt x="1332298" y="433926"/>
                    </a:cubicBezTo>
                    <a:lnTo>
                      <a:pt x="1326673" y="429871"/>
                    </a:lnTo>
                    <a:cubicBezTo>
                      <a:pt x="1325739" y="429136"/>
                      <a:pt x="1324785" y="428659"/>
                      <a:pt x="1323851" y="428103"/>
                    </a:cubicBezTo>
                    <a:lnTo>
                      <a:pt x="1321028" y="426493"/>
                    </a:lnTo>
                    <a:lnTo>
                      <a:pt x="1318206" y="424883"/>
                    </a:lnTo>
                    <a:lnTo>
                      <a:pt x="1315423" y="423650"/>
                    </a:lnTo>
                    <a:cubicBezTo>
                      <a:pt x="1313575" y="422855"/>
                      <a:pt x="1311707" y="421961"/>
                      <a:pt x="1309898" y="421265"/>
                    </a:cubicBezTo>
                    <a:lnTo>
                      <a:pt x="1304531" y="419476"/>
                    </a:lnTo>
                    <a:cubicBezTo>
                      <a:pt x="1301133" y="418483"/>
                      <a:pt x="1297495" y="417688"/>
                      <a:pt x="1293659" y="417032"/>
                    </a:cubicBezTo>
                    <a:cubicBezTo>
                      <a:pt x="1289803" y="416495"/>
                      <a:pt x="1285768" y="416117"/>
                      <a:pt x="1281674" y="416117"/>
                    </a:cubicBezTo>
                    <a:cubicBezTo>
                      <a:pt x="1273485" y="416058"/>
                      <a:pt x="1265038" y="417270"/>
                      <a:pt x="1257366" y="419655"/>
                    </a:cubicBezTo>
                    <a:cubicBezTo>
                      <a:pt x="1253530" y="420808"/>
                      <a:pt x="1249853" y="422239"/>
                      <a:pt x="1246514" y="423789"/>
                    </a:cubicBezTo>
                    <a:cubicBezTo>
                      <a:pt x="1246096" y="423988"/>
                      <a:pt x="1245659" y="424147"/>
                      <a:pt x="1245241" y="424386"/>
                    </a:cubicBezTo>
                    <a:lnTo>
                      <a:pt x="1244009" y="425161"/>
                    </a:lnTo>
                    <a:lnTo>
                      <a:pt x="1241545" y="426711"/>
                    </a:lnTo>
                    <a:lnTo>
                      <a:pt x="1236615" y="429832"/>
                    </a:lnTo>
                    <a:cubicBezTo>
                      <a:pt x="1229858" y="433151"/>
                      <a:pt x="1223974" y="440227"/>
                      <a:pt x="1217813" y="446090"/>
                    </a:cubicBezTo>
                    <a:cubicBezTo>
                      <a:pt x="1213380" y="451834"/>
                      <a:pt x="1209107" y="457738"/>
                      <a:pt x="1204754" y="463561"/>
                    </a:cubicBezTo>
                    <a:cubicBezTo>
                      <a:pt x="1204218" y="464297"/>
                      <a:pt x="1203661" y="465012"/>
                      <a:pt x="1203144" y="465767"/>
                    </a:cubicBezTo>
                    <a:lnTo>
                      <a:pt x="1201654" y="468133"/>
                    </a:lnTo>
                    <a:lnTo>
                      <a:pt x="1198652" y="472843"/>
                    </a:lnTo>
                    <a:lnTo>
                      <a:pt x="1192650" y="482264"/>
                    </a:lnTo>
                    <a:cubicBezTo>
                      <a:pt x="1191596" y="483795"/>
                      <a:pt x="1190781" y="485524"/>
                      <a:pt x="1189867" y="487174"/>
                    </a:cubicBezTo>
                    <a:lnTo>
                      <a:pt x="1187184" y="492163"/>
                    </a:lnTo>
                    <a:lnTo>
                      <a:pt x="1181817" y="502140"/>
                    </a:lnTo>
                    <a:cubicBezTo>
                      <a:pt x="1179949" y="505619"/>
                      <a:pt x="1178796" y="508560"/>
                      <a:pt x="1177862" y="510488"/>
                    </a:cubicBezTo>
                    <a:lnTo>
                      <a:pt x="1174920" y="516988"/>
                    </a:lnTo>
                    <a:cubicBezTo>
                      <a:pt x="1167447" y="534498"/>
                      <a:pt x="1161703" y="552705"/>
                      <a:pt x="1157728" y="571289"/>
                    </a:cubicBezTo>
                    <a:cubicBezTo>
                      <a:pt x="1149777" y="608457"/>
                      <a:pt x="1149002" y="647056"/>
                      <a:pt x="1155442" y="684482"/>
                    </a:cubicBezTo>
                    <a:cubicBezTo>
                      <a:pt x="1158722" y="703503"/>
                      <a:pt x="1163909" y="722226"/>
                      <a:pt x="1170826" y="740294"/>
                    </a:cubicBezTo>
                    <a:lnTo>
                      <a:pt x="1168103" y="739061"/>
                    </a:lnTo>
                    <a:cubicBezTo>
                      <a:pt x="1166314" y="738346"/>
                      <a:pt x="1164486" y="737710"/>
                      <a:pt x="1162657" y="737054"/>
                    </a:cubicBezTo>
                    <a:cubicBezTo>
                      <a:pt x="1159000" y="735802"/>
                      <a:pt x="1155362" y="734410"/>
                      <a:pt x="1151646" y="733397"/>
                    </a:cubicBezTo>
                    <a:cubicBezTo>
                      <a:pt x="1147909" y="732423"/>
                      <a:pt x="1144153" y="731508"/>
                      <a:pt x="1140396" y="730634"/>
                    </a:cubicBezTo>
                    <a:cubicBezTo>
                      <a:pt x="1138528" y="730157"/>
                      <a:pt x="1136620" y="729859"/>
                      <a:pt x="1134711" y="729581"/>
                    </a:cubicBezTo>
                    <a:lnTo>
                      <a:pt x="1128987" y="728726"/>
                    </a:lnTo>
                    <a:lnTo>
                      <a:pt x="1123243" y="727951"/>
                    </a:lnTo>
                    <a:cubicBezTo>
                      <a:pt x="1121335" y="727772"/>
                      <a:pt x="1119407" y="727692"/>
                      <a:pt x="1117479" y="727593"/>
                    </a:cubicBezTo>
                    <a:cubicBezTo>
                      <a:pt x="1113623" y="727434"/>
                      <a:pt x="1109767" y="727136"/>
                      <a:pt x="1105931" y="727235"/>
                    </a:cubicBezTo>
                    <a:cubicBezTo>
                      <a:pt x="1102075" y="727374"/>
                      <a:pt x="1098219" y="727553"/>
                      <a:pt x="1094383" y="727772"/>
                    </a:cubicBezTo>
                    <a:cubicBezTo>
                      <a:pt x="1092455" y="727831"/>
                      <a:pt x="1090547" y="728110"/>
                      <a:pt x="1088639" y="728368"/>
                    </a:cubicBezTo>
                    <a:lnTo>
                      <a:pt x="1082915" y="729183"/>
                    </a:lnTo>
                    <a:lnTo>
                      <a:pt x="1077191" y="730077"/>
                    </a:lnTo>
                    <a:cubicBezTo>
                      <a:pt x="1075302" y="730475"/>
                      <a:pt x="1073434" y="730932"/>
                      <a:pt x="1071546" y="731369"/>
                    </a:cubicBezTo>
                    <a:cubicBezTo>
                      <a:pt x="1067789" y="732304"/>
                      <a:pt x="1064013" y="733118"/>
                      <a:pt x="1060336" y="734311"/>
                    </a:cubicBezTo>
                    <a:cubicBezTo>
                      <a:pt x="1056659" y="735543"/>
                      <a:pt x="1053001" y="736815"/>
                      <a:pt x="1049364" y="738147"/>
                    </a:cubicBezTo>
                    <a:cubicBezTo>
                      <a:pt x="1047536" y="738763"/>
                      <a:pt x="1045767" y="739578"/>
                      <a:pt x="1043998" y="740373"/>
                    </a:cubicBezTo>
                    <a:lnTo>
                      <a:pt x="1038711" y="742798"/>
                    </a:lnTo>
                    <a:lnTo>
                      <a:pt x="1033464" y="745302"/>
                    </a:lnTo>
                    <a:cubicBezTo>
                      <a:pt x="1031754" y="746197"/>
                      <a:pt x="1030085" y="747191"/>
                      <a:pt x="1028415" y="748165"/>
                    </a:cubicBezTo>
                    <a:cubicBezTo>
                      <a:pt x="1025076" y="750132"/>
                      <a:pt x="1021717" y="752060"/>
                      <a:pt x="1018497" y="754207"/>
                    </a:cubicBezTo>
                    <a:cubicBezTo>
                      <a:pt x="1015337" y="756453"/>
                      <a:pt x="1012216" y="758719"/>
                      <a:pt x="1009135" y="761044"/>
                    </a:cubicBezTo>
                    <a:cubicBezTo>
                      <a:pt x="1005975" y="763290"/>
                      <a:pt x="1003212" y="765953"/>
                      <a:pt x="1000310" y="768498"/>
                    </a:cubicBezTo>
                    <a:lnTo>
                      <a:pt x="996057" y="772393"/>
                    </a:lnTo>
                    <a:lnTo>
                      <a:pt x="994050" y="774281"/>
                    </a:lnTo>
                    <a:lnTo>
                      <a:pt x="992758" y="775573"/>
                    </a:lnTo>
                    <a:lnTo>
                      <a:pt x="982502" y="785829"/>
                    </a:lnTo>
                    <a:lnTo>
                      <a:pt x="941458" y="826873"/>
                    </a:lnTo>
                    <a:lnTo>
                      <a:pt x="902064" y="866267"/>
                    </a:lnTo>
                    <a:lnTo>
                      <a:pt x="849770" y="813974"/>
                    </a:lnTo>
                    <a:lnTo>
                      <a:pt x="877398" y="786346"/>
                    </a:lnTo>
                    <a:cubicBezTo>
                      <a:pt x="894392" y="769352"/>
                      <a:pt x="903753" y="746753"/>
                      <a:pt x="903753" y="722723"/>
                    </a:cubicBezTo>
                    <a:cubicBezTo>
                      <a:pt x="903753" y="698693"/>
                      <a:pt x="894392" y="676094"/>
                      <a:pt x="877398" y="659100"/>
                    </a:cubicBezTo>
                    <a:lnTo>
                      <a:pt x="244668" y="26311"/>
                    </a:lnTo>
                    <a:lnTo>
                      <a:pt x="244668" y="26311"/>
                    </a:lnTo>
                    <a:cubicBezTo>
                      <a:pt x="209587" y="-8770"/>
                      <a:pt x="152503" y="-8770"/>
                      <a:pt x="117422" y="26311"/>
                    </a:cubicBezTo>
                    <a:lnTo>
                      <a:pt x="26311" y="117422"/>
                    </a:lnTo>
                    <a:cubicBezTo>
                      <a:pt x="-8770" y="152503"/>
                      <a:pt x="-8770" y="209587"/>
                      <a:pt x="26311" y="244668"/>
                    </a:cubicBezTo>
                    <a:lnTo>
                      <a:pt x="659041" y="877398"/>
                    </a:lnTo>
                    <a:cubicBezTo>
                      <a:pt x="676035" y="894392"/>
                      <a:pt x="698634" y="903753"/>
                      <a:pt x="722664" y="903753"/>
                    </a:cubicBezTo>
                    <a:cubicBezTo>
                      <a:pt x="746694" y="903753"/>
                      <a:pt x="769293" y="894392"/>
                      <a:pt x="786287" y="877398"/>
                    </a:cubicBezTo>
                    <a:lnTo>
                      <a:pt x="821666" y="842019"/>
                    </a:lnTo>
                    <a:lnTo>
                      <a:pt x="873959" y="894312"/>
                    </a:lnTo>
                    <a:lnTo>
                      <a:pt x="859390" y="908881"/>
                    </a:lnTo>
                    <a:lnTo>
                      <a:pt x="695255" y="1073017"/>
                    </a:lnTo>
                    <a:lnTo>
                      <a:pt x="613187" y="1155084"/>
                    </a:lnTo>
                    <a:lnTo>
                      <a:pt x="572143" y="1196128"/>
                    </a:lnTo>
                    <a:lnTo>
                      <a:pt x="551631" y="1216640"/>
                    </a:lnTo>
                    <a:lnTo>
                      <a:pt x="549067" y="1219204"/>
                    </a:lnTo>
                    <a:cubicBezTo>
                      <a:pt x="548173" y="1220098"/>
                      <a:pt x="547537" y="1220695"/>
                      <a:pt x="546026" y="1222344"/>
                    </a:cubicBezTo>
                    <a:cubicBezTo>
                      <a:pt x="543403" y="1225167"/>
                      <a:pt x="540819" y="1228009"/>
                      <a:pt x="538275" y="1230891"/>
                    </a:cubicBezTo>
                    <a:lnTo>
                      <a:pt x="536387" y="1233058"/>
                    </a:lnTo>
                    <a:lnTo>
                      <a:pt x="534637" y="1235363"/>
                    </a:lnTo>
                    <a:lnTo>
                      <a:pt x="531179" y="1240014"/>
                    </a:lnTo>
                    <a:cubicBezTo>
                      <a:pt x="528893" y="1243135"/>
                      <a:pt x="526588" y="1246235"/>
                      <a:pt x="524680" y="1249614"/>
                    </a:cubicBezTo>
                    <a:cubicBezTo>
                      <a:pt x="522672" y="1252933"/>
                      <a:pt x="520724" y="1256273"/>
                      <a:pt x="518816" y="1259652"/>
                    </a:cubicBezTo>
                    <a:cubicBezTo>
                      <a:pt x="517127" y="1263130"/>
                      <a:pt x="515477" y="1266648"/>
                      <a:pt x="513867" y="1270166"/>
                    </a:cubicBezTo>
                    <a:cubicBezTo>
                      <a:pt x="512178" y="1273664"/>
                      <a:pt x="510945" y="1277321"/>
                      <a:pt x="509653" y="1280978"/>
                    </a:cubicBezTo>
                    <a:cubicBezTo>
                      <a:pt x="508421" y="1284636"/>
                      <a:pt x="507010" y="1288273"/>
                      <a:pt x="506175" y="1292029"/>
                    </a:cubicBezTo>
                    <a:cubicBezTo>
                      <a:pt x="505221" y="1295766"/>
                      <a:pt x="504327" y="1299542"/>
                      <a:pt x="503472" y="1303299"/>
                    </a:cubicBezTo>
                    <a:cubicBezTo>
                      <a:pt x="502816" y="1307095"/>
                      <a:pt x="502260" y="1310911"/>
                      <a:pt x="501743" y="1314747"/>
                    </a:cubicBezTo>
                    <a:cubicBezTo>
                      <a:pt x="501127" y="1318564"/>
                      <a:pt x="500988" y="1322420"/>
                      <a:pt x="500789" y="1326276"/>
                    </a:cubicBezTo>
                    <a:cubicBezTo>
                      <a:pt x="500630" y="1330131"/>
                      <a:pt x="500352" y="1333987"/>
                      <a:pt x="500610" y="1337824"/>
                    </a:cubicBezTo>
                    <a:cubicBezTo>
                      <a:pt x="500749" y="1341679"/>
                      <a:pt x="500948" y="1345535"/>
                      <a:pt x="501206" y="1349371"/>
                    </a:cubicBezTo>
                    <a:cubicBezTo>
                      <a:pt x="501663" y="1353207"/>
                      <a:pt x="502220" y="1357024"/>
                      <a:pt x="502796" y="1360840"/>
                    </a:cubicBezTo>
                    <a:cubicBezTo>
                      <a:pt x="503273" y="1364676"/>
                      <a:pt x="504267" y="1368412"/>
                      <a:pt x="505161" y="1372169"/>
                    </a:cubicBezTo>
                    <a:cubicBezTo>
                      <a:pt x="506116" y="1375926"/>
                      <a:pt x="506930" y="1379702"/>
                      <a:pt x="508282" y="1383339"/>
                    </a:cubicBezTo>
                    <a:cubicBezTo>
                      <a:pt x="509534" y="1386997"/>
                      <a:pt x="510826" y="1390654"/>
                      <a:pt x="512158" y="1394291"/>
                    </a:cubicBezTo>
                    <a:cubicBezTo>
                      <a:pt x="513688" y="1397849"/>
                      <a:pt x="515318" y="1401367"/>
                      <a:pt x="516988" y="1404865"/>
                    </a:cubicBezTo>
                    <a:cubicBezTo>
                      <a:pt x="518558" y="1408403"/>
                      <a:pt x="520545" y="1411742"/>
                      <a:pt x="522513" y="1415081"/>
                    </a:cubicBezTo>
                    <a:lnTo>
                      <a:pt x="525495" y="1420070"/>
                    </a:lnTo>
                    <a:lnTo>
                      <a:pt x="527025" y="1422535"/>
                    </a:lnTo>
                    <a:lnTo>
                      <a:pt x="528714" y="1424900"/>
                    </a:lnTo>
                    <a:cubicBezTo>
                      <a:pt x="530960" y="1428040"/>
                      <a:pt x="533266" y="1431161"/>
                      <a:pt x="535592" y="1434242"/>
                    </a:cubicBezTo>
                    <a:cubicBezTo>
                      <a:pt x="537977" y="1437283"/>
                      <a:pt x="540620" y="1440065"/>
                      <a:pt x="543184" y="1442927"/>
                    </a:cubicBezTo>
                    <a:lnTo>
                      <a:pt x="547100" y="1447161"/>
                    </a:lnTo>
                    <a:lnTo>
                      <a:pt x="549783" y="1449864"/>
                    </a:lnTo>
                    <a:lnTo>
                      <a:pt x="554911" y="1454992"/>
                    </a:lnTo>
                    <a:lnTo>
                      <a:pt x="575423" y="1475504"/>
                    </a:lnTo>
                    <a:lnTo>
                      <a:pt x="616467" y="1516548"/>
                    </a:lnTo>
                    <a:cubicBezTo>
                      <a:pt x="619269" y="1519171"/>
                      <a:pt x="622111" y="1521775"/>
                      <a:pt x="624993" y="1524339"/>
                    </a:cubicBezTo>
                    <a:cubicBezTo>
                      <a:pt x="626444" y="1525591"/>
                      <a:pt x="627836" y="1526923"/>
                      <a:pt x="629366" y="1528096"/>
                    </a:cubicBezTo>
                    <a:lnTo>
                      <a:pt x="633997" y="1531574"/>
                    </a:lnTo>
                    <a:lnTo>
                      <a:pt x="638688" y="1534993"/>
                    </a:lnTo>
                    <a:cubicBezTo>
                      <a:pt x="640258" y="1536126"/>
                      <a:pt x="641808" y="1537258"/>
                      <a:pt x="643498" y="1538232"/>
                    </a:cubicBezTo>
                    <a:cubicBezTo>
                      <a:pt x="646797" y="1540240"/>
                      <a:pt x="650136" y="1542227"/>
                      <a:pt x="653515" y="1544136"/>
                    </a:cubicBezTo>
                    <a:cubicBezTo>
                      <a:pt x="655165" y="1545149"/>
                      <a:pt x="656934" y="1545944"/>
                      <a:pt x="658683" y="1546779"/>
                    </a:cubicBezTo>
                    <a:lnTo>
                      <a:pt x="663950" y="1549244"/>
                    </a:lnTo>
                    <a:lnTo>
                      <a:pt x="669257" y="1551629"/>
                    </a:lnTo>
                    <a:cubicBezTo>
                      <a:pt x="671046" y="1552344"/>
                      <a:pt x="672875" y="1552980"/>
                      <a:pt x="674703" y="1553636"/>
                    </a:cubicBezTo>
                    <a:cubicBezTo>
                      <a:pt x="678360" y="1554888"/>
                      <a:pt x="681998" y="1556280"/>
                      <a:pt x="685714" y="1557293"/>
                    </a:cubicBezTo>
                    <a:cubicBezTo>
                      <a:pt x="689451" y="1558267"/>
                      <a:pt x="693208" y="1559182"/>
                      <a:pt x="696964" y="1560056"/>
                    </a:cubicBezTo>
                    <a:cubicBezTo>
                      <a:pt x="698832" y="1560533"/>
                      <a:pt x="700741" y="1560831"/>
                      <a:pt x="702649" y="1561110"/>
                    </a:cubicBezTo>
                    <a:lnTo>
                      <a:pt x="708373" y="1561964"/>
                    </a:lnTo>
                    <a:lnTo>
                      <a:pt x="714117" y="1562739"/>
                    </a:lnTo>
                    <a:cubicBezTo>
                      <a:pt x="716025" y="1562918"/>
                      <a:pt x="717953" y="1562998"/>
                      <a:pt x="719881" y="1563097"/>
                    </a:cubicBezTo>
                    <a:cubicBezTo>
                      <a:pt x="723737" y="1563256"/>
                      <a:pt x="727593" y="1563554"/>
                      <a:pt x="731429" y="1563455"/>
                    </a:cubicBezTo>
                    <a:cubicBezTo>
                      <a:pt x="735285" y="1563316"/>
                      <a:pt x="739141" y="1563137"/>
                      <a:pt x="742977" y="1562918"/>
                    </a:cubicBezTo>
                    <a:cubicBezTo>
                      <a:pt x="744905" y="1562859"/>
                      <a:pt x="746813" y="1562580"/>
                      <a:pt x="748721" y="1562322"/>
                    </a:cubicBezTo>
                    <a:lnTo>
                      <a:pt x="754445" y="1561507"/>
                    </a:lnTo>
                    <a:lnTo>
                      <a:pt x="760170" y="1560613"/>
                    </a:lnTo>
                    <a:cubicBezTo>
                      <a:pt x="762058" y="1560215"/>
                      <a:pt x="763926" y="1559758"/>
                      <a:pt x="765814" y="1559321"/>
                    </a:cubicBezTo>
                    <a:cubicBezTo>
                      <a:pt x="769571" y="1558387"/>
                      <a:pt x="773347" y="1557572"/>
                      <a:pt x="777024" y="1556379"/>
                    </a:cubicBezTo>
                    <a:cubicBezTo>
                      <a:pt x="780701" y="1555147"/>
                      <a:pt x="784359" y="1553875"/>
                      <a:pt x="787996" y="1552543"/>
                    </a:cubicBezTo>
                    <a:cubicBezTo>
                      <a:pt x="789824" y="1551927"/>
                      <a:pt x="791593" y="1551112"/>
                      <a:pt x="793362" y="1550317"/>
                    </a:cubicBezTo>
                    <a:lnTo>
                      <a:pt x="798649" y="1547892"/>
                    </a:lnTo>
                    <a:lnTo>
                      <a:pt x="803897" y="1545388"/>
                    </a:lnTo>
                    <a:cubicBezTo>
                      <a:pt x="805606" y="1544493"/>
                      <a:pt x="807275" y="1543500"/>
                      <a:pt x="808945" y="1542526"/>
                    </a:cubicBezTo>
                    <a:cubicBezTo>
                      <a:pt x="812284" y="1540558"/>
                      <a:pt x="815643" y="1538630"/>
                      <a:pt x="818863" y="1536483"/>
                    </a:cubicBezTo>
                    <a:cubicBezTo>
                      <a:pt x="822004" y="1534237"/>
                      <a:pt x="825144" y="1531972"/>
                      <a:pt x="828225" y="1529646"/>
                    </a:cubicBezTo>
                    <a:cubicBezTo>
                      <a:pt x="831385" y="1527400"/>
                      <a:pt x="834148" y="1524737"/>
                      <a:pt x="837050" y="1522192"/>
                    </a:cubicBezTo>
                    <a:lnTo>
                      <a:pt x="841303" y="1518297"/>
                    </a:lnTo>
                    <a:lnTo>
                      <a:pt x="843311" y="1516409"/>
                    </a:lnTo>
                    <a:lnTo>
                      <a:pt x="844602" y="1515117"/>
                    </a:lnTo>
                    <a:lnTo>
                      <a:pt x="854858" y="1504861"/>
                    </a:lnTo>
                    <a:lnTo>
                      <a:pt x="895902" y="1463817"/>
                    </a:lnTo>
                    <a:lnTo>
                      <a:pt x="1060038" y="1299682"/>
                    </a:lnTo>
                    <a:lnTo>
                      <a:pt x="1162259" y="1197460"/>
                    </a:lnTo>
                    <a:cubicBezTo>
                      <a:pt x="1162995" y="1198593"/>
                      <a:pt x="1163869" y="1199686"/>
                      <a:pt x="1164863" y="1200680"/>
                    </a:cubicBezTo>
                    <a:lnTo>
                      <a:pt x="1220377" y="1256193"/>
                    </a:lnTo>
                    <a:lnTo>
                      <a:pt x="1192749" y="1283821"/>
                    </a:lnTo>
                    <a:cubicBezTo>
                      <a:pt x="1175755" y="1300814"/>
                      <a:pt x="1166394" y="1323413"/>
                      <a:pt x="1166394" y="1347443"/>
                    </a:cubicBezTo>
                    <a:cubicBezTo>
                      <a:pt x="1166394" y="1371473"/>
                      <a:pt x="1175755" y="1394072"/>
                      <a:pt x="1192749" y="1411066"/>
                    </a:cubicBezTo>
                    <a:lnTo>
                      <a:pt x="1825499" y="2043816"/>
                    </a:lnTo>
                    <a:cubicBezTo>
                      <a:pt x="1842493" y="2060810"/>
                      <a:pt x="1865092" y="2070172"/>
                      <a:pt x="1889122" y="2070172"/>
                    </a:cubicBezTo>
                    <a:cubicBezTo>
                      <a:pt x="1913152" y="2070172"/>
                      <a:pt x="1935751" y="2060810"/>
                      <a:pt x="1952745" y="2043816"/>
                    </a:cubicBezTo>
                    <a:lnTo>
                      <a:pt x="2043856" y="1952705"/>
                    </a:lnTo>
                    <a:cubicBezTo>
                      <a:pt x="2078937" y="1917624"/>
                      <a:pt x="2078937" y="1860540"/>
                      <a:pt x="2043856" y="1825459"/>
                    </a:cubicBezTo>
                    <a:close/>
                    <a:moveTo>
                      <a:pt x="384932" y="547060"/>
                    </a:moveTo>
                    <a:cubicBezTo>
                      <a:pt x="386423" y="546185"/>
                      <a:pt x="387834" y="545132"/>
                      <a:pt x="389126" y="543860"/>
                    </a:cubicBezTo>
                    <a:lnTo>
                      <a:pt x="547557" y="385429"/>
                    </a:lnTo>
                    <a:lnTo>
                      <a:pt x="713183" y="551055"/>
                    </a:lnTo>
                    <a:lnTo>
                      <a:pt x="551035" y="713203"/>
                    </a:lnTo>
                    <a:lnTo>
                      <a:pt x="384932" y="547100"/>
                    </a:lnTo>
                    <a:close/>
                    <a:moveTo>
                      <a:pt x="518538" y="356390"/>
                    </a:moveTo>
                    <a:lnTo>
                      <a:pt x="360107" y="514821"/>
                    </a:lnTo>
                    <a:cubicBezTo>
                      <a:pt x="358835" y="516093"/>
                      <a:pt x="357781" y="517524"/>
                      <a:pt x="356907" y="519015"/>
                    </a:cubicBezTo>
                    <a:lnTo>
                      <a:pt x="198993" y="361101"/>
                    </a:lnTo>
                    <a:lnTo>
                      <a:pt x="361141" y="198953"/>
                    </a:lnTo>
                    <a:lnTo>
                      <a:pt x="518558" y="356370"/>
                    </a:lnTo>
                    <a:close/>
                    <a:moveTo>
                      <a:pt x="54415" y="145527"/>
                    </a:moveTo>
                    <a:lnTo>
                      <a:pt x="145527" y="54415"/>
                    </a:lnTo>
                    <a:cubicBezTo>
                      <a:pt x="155325" y="44616"/>
                      <a:pt x="168185" y="39727"/>
                      <a:pt x="181045" y="39727"/>
                    </a:cubicBezTo>
                    <a:cubicBezTo>
                      <a:pt x="193905" y="39727"/>
                      <a:pt x="206764" y="44616"/>
                      <a:pt x="216563" y="54415"/>
                    </a:cubicBezTo>
                    <a:lnTo>
                      <a:pt x="332082" y="169934"/>
                    </a:lnTo>
                    <a:lnTo>
                      <a:pt x="169934" y="332082"/>
                    </a:lnTo>
                    <a:lnTo>
                      <a:pt x="54415" y="216543"/>
                    </a:lnTo>
                    <a:cubicBezTo>
                      <a:pt x="34838" y="196965"/>
                      <a:pt x="34838" y="165104"/>
                      <a:pt x="54415" y="145527"/>
                    </a:cubicBezTo>
                    <a:close/>
                    <a:moveTo>
                      <a:pt x="758182" y="849293"/>
                    </a:moveTo>
                    <a:cubicBezTo>
                      <a:pt x="748701" y="858774"/>
                      <a:pt x="736080" y="864001"/>
                      <a:pt x="722664" y="864001"/>
                    </a:cubicBezTo>
                    <a:cubicBezTo>
                      <a:pt x="709247" y="864001"/>
                      <a:pt x="696646" y="858774"/>
                      <a:pt x="687145" y="849293"/>
                    </a:cubicBezTo>
                    <a:lnTo>
                      <a:pt x="580054" y="742202"/>
                    </a:lnTo>
                    <a:lnTo>
                      <a:pt x="742202" y="580054"/>
                    </a:lnTo>
                    <a:lnTo>
                      <a:pt x="849293" y="687145"/>
                    </a:lnTo>
                    <a:cubicBezTo>
                      <a:pt x="858774" y="696626"/>
                      <a:pt x="864001" y="709247"/>
                      <a:pt x="864001" y="722664"/>
                    </a:cubicBezTo>
                    <a:cubicBezTo>
                      <a:pt x="864001" y="736080"/>
                      <a:pt x="858774" y="748681"/>
                      <a:pt x="849293" y="758182"/>
                    </a:cubicBezTo>
                    <a:lnTo>
                      <a:pt x="758182" y="849293"/>
                    </a:lnTo>
                    <a:close/>
                    <a:moveTo>
                      <a:pt x="1197261" y="579676"/>
                    </a:moveTo>
                    <a:cubicBezTo>
                      <a:pt x="1200699" y="563617"/>
                      <a:pt x="1205668" y="547895"/>
                      <a:pt x="1212108" y="532789"/>
                    </a:cubicBezTo>
                    <a:lnTo>
                      <a:pt x="1214652" y="527184"/>
                    </a:lnTo>
                    <a:cubicBezTo>
                      <a:pt x="1215487" y="525395"/>
                      <a:pt x="1216382" y="523268"/>
                      <a:pt x="1217534" y="520983"/>
                    </a:cubicBezTo>
                    <a:cubicBezTo>
                      <a:pt x="1219900" y="516550"/>
                      <a:pt x="1222146" y="512058"/>
                      <a:pt x="1224590" y="507706"/>
                    </a:cubicBezTo>
                    <a:cubicBezTo>
                      <a:pt x="1227194" y="503472"/>
                      <a:pt x="1229659" y="499099"/>
                      <a:pt x="1232382" y="494985"/>
                    </a:cubicBezTo>
                    <a:cubicBezTo>
                      <a:pt x="1235184" y="490950"/>
                      <a:pt x="1237887" y="486816"/>
                      <a:pt x="1240789" y="482861"/>
                    </a:cubicBezTo>
                    <a:cubicBezTo>
                      <a:pt x="1244665" y="478309"/>
                      <a:pt x="1248382" y="473320"/>
                      <a:pt x="1252635" y="469723"/>
                    </a:cubicBezTo>
                    <a:cubicBezTo>
                      <a:pt x="1254722" y="467815"/>
                      <a:pt x="1256710" y="465728"/>
                      <a:pt x="1258876" y="463959"/>
                    </a:cubicBezTo>
                    <a:cubicBezTo>
                      <a:pt x="1261003" y="462210"/>
                      <a:pt x="1263507" y="460739"/>
                      <a:pt x="1266151" y="459566"/>
                    </a:cubicBezTo>
                    <a:cubicBezTo>
                      <a:pt x="1271458" y="457161"/>
                      <a:pt x="1277580" y="456207"/>
                      <a:pt x="1283423" y="456644"/>
                    </a:cubicBezTo>
                    <a:cubicBezTo>
                      <a:pt x="1286345" y="456883"/>
                      <a:pt x="1289227" y="457479"/>
                      <a:pt x="1291950" y="458374"/>
                    </a:cubicBezTo>
                    <a:cubicBezTo>
                      <a:pt x="1294633" y="459328"/>
                      <a:pt x="1297137" y="460540"/>
                      <a:pt x="1299423" y="461991"/>
                    </a:cubicBezTo>
                    <a:cubicBezTo>
                      <a:pt x="1304094" y="465032"/>
                      <a:pt x="1308944" y="468570"/>
                      <a:pt x="1313774" y="472505"/>
                    </a:cubicBezTo>
                    <a:cubicBezTo>
                      <a:pt x="1318643" y="476441"/>
                      <a:pt x="1323314" y="481310"/>
                      <a:pt x="1327985" y="485941"/>
                    </a:cubicBezTo>
                    <a:lnTo>
                      <a:pt x="1353108" y="511065"/>
                    </a:lnTo>
                    <a:lnTo>
                      <a:pt x="1395464" y="553420"/>
                    </a:lnTo>
                    <a:lnTo>
                      <a:pt x="1480175" y="638131"/>
                    </a:lnTo>
                    <a:lnTo>
                      <a:pt x="1564886" y="722843"/>
                    </a:lnTo>
                    <a:lnTo>
                      <a:pt x="1588081" y="746038"/>
                    </a:lnTo>
                    <a:lnTo>
                      <a:pt x="1602114" y="760070"/>
                    </a:lnTo>
                    <a:cubicBezTo>
                      <a:pt x="1606784" y="764761"/>
                      <a:pt x="1610779" y="769670"/>
                      <a:pt x="1614357" y="774480"/>
                    </a:cubicBezTo>
                    <a:lnTo>
                      <a:pt x="1616941" y="778078"/>
                    </a:lnTo>
                    <a:cubicBezTo>
                      <a:pt x="1617796" y="779270"/>
                      <a:pt x="1618531" y="780443"/>
                      <a:pt x="1619346" y="781616"/>
                    </a:cubicBezTo>
                    <a:cubicBezTo>
                      <a:pt x="1620896" y="783981"/>
                      <a:pt x="1622307" y="786426"/>
                      <a:pt x="1623282" y="789248"/>
                    </a:cubicBezTo>
                    <a:cubicBezTo>
                      <a:pt x="1625289" y="794813"/>
                      <a:pt x="1625905" y="801174"/>
                      <a:pt x="1624872" y="807256"/>
                    </a:cubicBezTo>
                    <a:cubicBezTo>
                      <a:pt x="1623918" y="813358"/>
                      <a:pt x="1621194" y="819082"/>
                      <a:pt x="1617557" y="823514"/>
                    </a:cubicBezTo>
                    <a:cubicBezTo>
                      <a:pt x="1615590" y="825681"/>
                      <a:pt x="1613502" y="827807"/>
                      <a:pt x="1611495" y="829974"/>
                    </a:cubicBezTo>
                    <a:lnTo>
                      <a:pt x="1608454" y="833194"/>
                    </a:lnTo>
                    <a:cubicBezTo>
                      <a:pt x="1607341" y="834227"/>
                      <a:pt x="1606069" y="835201"/>
                      <a:pt x="1604896" y="836215"/>
                    </a:cubicBezTo>
                    <a:lnTo>
                      <a:pt x="1599073" y="841084"/>
                    </a:lnTo>
                    <a:cubicBezTo>
                      <a:pt x="1596548" y="842993"/>
                      <a:pt x="1593885" y="844682"/>
                      <a:pt x="1591301" y="846511"/>
                    </a:cubicBezTo>
                    <a:cubicBezTo>
                      <a:pt x="1588658" y="848260"/>
                      <a:pt x="1586193" y="850188"/>
                      <a:pt x="1583391" y="851758"/>
                    </a:cubicBezTo>
                    <a:lnTo>
                      <a:pt x="1575182" y="856707"/>
                    </a:lnTo>
                    <a:lnTo>
                      <a:pt x="1573134" y="857939"/>
                    </a:lnTo>
                    <a:lnTo>
                      <a:pt x="1570988" y="859052"/>
                    </a:lnTo>
                    <a:lnTo>
                      <a:pt x="1566715" y="861298"/>
                    </a:lnTo>
                    <a:lnTo>
                      <a:pt x="1562441" y="863544"/>
                    </a:lnTo>
                    <a:cubicBezTo>
                      <a:pt x="1561050" y="864300"/>
                      <a:pt x="1559539" y="865075"/>
                      <a:pt x="1558188" y="865651"/>
                    </a:cubicBezTo>
                    <a:lnTo>
                      <a:pt x="1550814" y="869010"/>
                    </a:lnTo>
                    <a:cubicBezTo>
                      <a:pt x="1548429" y="870143"/>
                      <a:pt x="1545944" y="871018"/>
                      <a:pt x="1543519" y="872031"/>
                    </a:cubicBezTo>
                    <a:cubicBezTo>
                      <a:pt x="1541075" y="872985"/>
                      <a:pt x="1538650" y="874059"/>
                      <a:pt x="1536145" y="874874"/>
                    </a:cubicBezTo>
                    <a:lnTo>
                      <a:pt x="1528692" y="877477"/>
                    </a:lnTo>
                    <a:cubicBezTo>
                      <a:pt x="1526207" y="878352"/>
                      <a:pt x="1523663" y="879028"/>
                      <a:pt x="1521139" y="879803"/>
                    </a:cubicBezTo>
                    <a:cubicBezTo>
                      <a:pt x="1516110" y="881393"/>
                      <a:pt x="1510983" y="882565"/>
                      <a:pt x="1505874" y="883857"/>
                    </a:cubicBezTo>
                    <a:cubicBezTo>
                      <a:pt x="1495579" y="886084"/>
                      <a:pt x="1485223" y="888031"/>
                      <a:pt x="1474729" y="888985"/>
                    </a:cubicBezTo>
                    <a:lnTo>
                      <a:pt x="1470813" y="889403"/>
                    </a:lnTo>
                    <a:lnTo>
                      <a:pt x="1466878" y="889661"/>
                    </a:lnTo>
                    <a:lnTo>
                      <a:pt x="1459007" y="890158"/>
                    </a:lnTo>
                    <a:cubicBezTo>
                      <a:pt x="1453740" y="890218"/>
                      <a:pt x="1448473" y="890516"/>
                      <a:pt x="1443225" y="890277"/>
                    </a:cubicBezTo>
                    <a:cubicBezTo>
                      <a:pt x="1432691" y="890198"/>
                      <a:pt x="1422197" y="889144"/>
                      <a:pt x="1411762" y="887773"/>
                    </a:cubicBezTo>
                    <a:cubicBezTo>
                      <a:pt x="1390932" y="884712"/>
                      <a:pt x="1370420" y="879306"/>
                      <a:pt x="1350942" y="871236"/>
                    </a:cubicBezTo>
                    <a:cubicBezTo>
                      <a:pt x="1330867" y="863167"/>
                      <a:pt x="1312025" y="852215"/>
                      <a:pt x="1294633" y="839395"/>
                    </a:cubicBezTo>
                    <a:lnTo>
                      <a:pt x="1288253" y="834386"/>
                    </a:lnTo>
                    <a:lnTo>
                      <a:pt x="1285073" y="831882"/>
                    </a:lnTo>
                    <a:lnTo>
                      <a:pt x="1282012" y="829238"/>
                    </a:lnTo>
                    <a:lnTo>
                      <a:pt x="1275890" y="823932"/>
                    </a:lnTo>
                    <a:lnTo>
                      <a:pt x="1270027" y="818366"/>
                    </a:lnTo>
                    <a:cubicBezTo>
                      <a:pt x="1266051" y="814729"/>
                      <a:pt x="1262474" y="810674"/>
                      <a:pt x="1258697" y="806798"/>
                    </a:cubicBezTo>
                    <a:cubicBezTo>
                      <a:pt x="1256889" y="804811"/>
                      <a:pt x="1255140" y="802744"/>
                      <a:pt x="1253371" y="800697"/>
                    </a:cubicBezTo>
                    <a:cubicBezTo>
                      <a:pt x="1251602" y="798669"/>
                      <a:pt x="1249813" y="796622"/>
                      <a:pt x="1248183" y="794475"/>
                    </a:cubicBezTo>
                    <a:cubicBezTo>
                      <a:pt x="1220913" y="760905"/>
                      <a:pt x="1202727" y="720100"/>
                      <a:pt x="1195373" y="677545"/>
                    </a:cubicBezTo>
                    <a:cubicBezTo>
                      <a:pt x="1189807" y="645187"/>
                      <a:pt x="1190463" y="611796"/>
                      <a:pt x="1197340" y="579696"/>
                    </a:cubicBezTo>
                    <a:close/>
                    <a:moveTo>
                      <a:pt x="1031396" y="1271100"/>
                    </a:moveTo>
                    <a:lnTo>
                      <a:pt x="867261" y="1435235"/>
                    </a:lnTo>
                    <a:lnTo>
                      <a:pt x="826217" y="1476279"/>
                    </a:lnTo>
                    <a:lnTo>
                      <a:pt x="815961" y="1486535"/>
                    </a:lnTo>
                    <a:lnTo>
                      <a:pt x="814669" y="1487827"/>
                    </a:lnTo>
                    <a:lnTo>
                      <a:pt x="813119" y="1489258"/>
                    </a:lnTo>
                    <a:lnTo>
                      <a:pt x="809919" y="1492160"/>
                    </a:lnTo>
                    <a:cubicBezTo>
                      <a:pt x="807752" y="1494068"/>
                      <a:pt x="805725" y="1496115"/>
                      <a:pt x="803320" y="1497745"/>
                    </a:cubicBezTo>
                    <a:lnTo>
                      <a:pt x="796324" y="1502873"/>
                    </a:lnTo>
                    <a:cubicBezTo>
                      <a:pt x="793919" y="1504463"/>
                      <a:pt x="791375" y="1505874"/>
                      <a:pt x="788910" y="1507365"/>
                    </a:cubicBezTo>
                    <a:cubicBezTo>
                      <a:pt x="787658" y="1508081"/>
                      <a:pt x="786426" y="1508856"/>
                      <a:pt x="785154" y="1509512"/>
                    </a:cubicBezTo>
                    <a:lnTo>
                      <a:pt x="781218" y="1511360"/>
                    </a:lnTo>
                    <a:lnTo>
                      <a:pt x="777283" y="1513189"/>
                    </a:lnTo>
                    <a:cubicBezTo>
                      <a:pt x="775971" y="1513785"/>
                      <a:pt x="774659" y="1514421"/>
                      <a:pt x="773288" y="1514858"/>
                    </a:cubicBezTo>
                    <a:lnTo>
                      <a:pt x="765099" y="1517720"/>
                    </a:lnTo>
                    <a:cubicBezTo>
                      <a:pt x="762356" y="1518635"/>
                      <a:pt x="759514" y="1519191"/>
                      <a:pt x="756711" y="1519907"/>
                    </a:cubicBezTo>
                    <a:lnTo>
                      <a:pt x="752497" y="1520901"/>
                    </a:lnTo>
                    <a:lnTo>
                      <a:pt x="748204" y="1521537"/>
                    </a:lnTo>
                    <a:lnTo>
                      <a:pt x="743911" y="1522153"/>
                    </a:lnTo>
                    <a:cubicBezTo>
                      <a:pt x="742480" y="1522352"/>
                      <a:pt x="741049" y="1522590"/>
                      <a:pt x="739618" y="1522610"/>
                    </a:cubicBezTo>
                    <a:lnTo>
                      <a:pt x="730972" y="1523027"/>
                    </a:lnTo>
                    <a:cubicBezTo>
                      <a:pt x="728090" y="1523107"/>
                      <a:pt x="725208" y="1522848"/>
                      <a:pt x="722326" y="1522749"/>
                    </a:cubicBezTo>
                    <a:cubicBezTo>
                      <a:pt x="720895" y="1522670"/>
                      <a:pt x="719444" y="1522630"/>
                      <a:pt x="718013" y="1522491"/>
                    </a:cubicBezTo>
                    <a:lnTo>
                      <a:pt x="713720" y="1521894"/>
                    </a:lnTo>
                    <a:lnTo>
                      <a:pt x="709426" y="1521278"/>
                    </a:lnTo>
                    <a:cubicBezTo>
                      <a:pt x="707995" y="1521079"/>
                      <a:pt x="706564" y="1520861"/>
                      <a:pt x="705173" y="1520483"/>
                    </a:cubicBezTo>
                    <a:lnTo>
                      <a:pt x="696745" y="1518416"/>
                    </a:lnTo>
                    <a:cubicBezTo>
                      <a:pt x="693963" y="1517661"/>
                      <a:pt x="691260" y="1516588"/>
                      <a:pt x="688517" y="1515673"/>
                    </a:cubicBezTo>
                    <a:cubicBezTo>
                      <a:pt x="687165" y="1515176"/>
                      <a:pt x="685794" y="1514719"/>
                      <a:pt x="684442" y="1514202"/>
                    </a:cubicBezTo>
                    <a:lnTo>
                      <a:pt x="680507" y="1512394"/>
                    </a:lnTo>
                    <a:lnTo>
                      <a:pt x="676571" y="1510565"/>
                    </a:lnTo>
                    <a:cubicBezTo>
                      <a:pt x="675260" y="1509949"/>
                      <a:pt x="673928" y="1509373"/>
                      <a:pt x="672715" y="1508597"/>
                    </a:cubicBezTo>
                    <a:lnTo>
                      <a:pt x="665242" y="1504185"/>
                    </a:lnTo>
                    <a:cubicBezTo>
                      <a:pt x="663970" y="1503489"/>
                      <a:pt x="662817" y="1502615"/>
                      <a:pt x="661645" y="1501760"/>
                    </a:cubicBezTo>
                    <a:lnTo>
                      <a:pt x="658146" y="1499196"/>
                    </a:lnTo>
                    <a:lnTo>
                      <a:pt x="654668" y="1496612"/>
                    </a:lnTo>
                    <a:cubicBezTo>
                      <a:pt x="653515" y="1495758"/>
                      <a:pt x="652502" y="1494724"/>
                      <a:pt x="651408" y="1493770"/>
                    </a:cubicBezTo>
                    <a:lnTo>
                      <a:pt x="645008" y="1487946"/>
                    </a:lnTo>
                    <a:lnTo>
                      <a:pt x="603965" y="1446902"/>
                    </a:lnTo>
                    <a:lnTo>
                      <a:pt x="583453" y="1426391"/>
                    </a:lnTo>
                    <a:lnTo>
                      <a:pt x="578325" y="1421263"/>
                    </a:lnTo>
                    <a:cubicBezTo>
                      <a:pt x="577450" y="1420388"/>
                      <a:pt x="576655" y="1419613"/>
                      <a:pt x="575721" y="1418639"/>
                    </a:cubicBezTo>
                    <a:lnTo>
                      <a:pt x="572799" y="1415439"/>
                    </a:lnTo>
                    <a:cubicBezTo>
                      <a:pt x="570891" y="1413272"/>
                      <a:pt x="568864" y="1411225"/>
                      <a:pt x="567095" y="1408940"/>
                    </a:cubicBezTo>
                    <a:lnTo>
                      <a:pt x="561947" y="1401963"/>
                    </a:lnTo>
                    <a:lnTo>
                      <a:pt x="560675" y="1400214"/>
                    </a:lnTo>
                    <a:lnTo>
                      <a:pt x="559562" y="1398366"/>
                    </a:lnTo>
                    <a:lnTo>
                      <a:pt x="557356" y="1394629"/>
                    </a:lnTo>
                    <a:cubicBezTo>
                      <a:pt x="555885" y="1392144"/>
                      <a:pt x="554374" y="1389680"/>
                      <a:pt x="553221" y="1386997"/>
                    </a:cubicBezTo>
                    <a:cubicBezTo>
                      <a:pt x="552009" y="1384373"/>
                      <a:pt x="550777" y="1381749"/>
                      <a:pt x="549604" y="1379106"/>
                    </a:cubicBezTo>
                    <a:lnTo>
                      <a:pt x="546722" y="1370917"/>
                    </a:lnTo>
                    <a:cubicBezTo>
                      <a:pt x="545669" y="1368214"/>
                      <a:pt x="545112" y="1365372"/>
                      <a:pt x="544397" y="1362569"/>
                    </a:cubicBezTo>
                    <a:cubicBezTo>
                      <a:pt x="543741" y="1359767"/>
                      <a:pt x="542946" y="1356964"/>
                      <a:pt x="542628" y="1354102"/>
                    </a:cubicBezTo>
                    <a:lnTo>
                      <a:pt x="541415" y="1345516"/>
                    </a:lnTo>
                    <a:lnTo>
                      <a:pt x="540978" y="1336869"/>
                    </a:lnTo>
                    <a:cubicBezTo>
                      <a:pt x="540421" y="1313793"/>
                      <a:pt x="546682" y="1290559"/>
                      <a:pt x="558985" y="1270921"/>
                    </a:cubicBezTo>
                    <a:cubicBezTo>
                      <a:pt x="560377" y="1268377"/>
                      <a:pt x="562146" y="1266091"/>
                      <a:pt x="563855" y="1263746"/>
                    </a:cubicBezTo>
                    <a:lnTo>
                      <a:pt x="566439" y="1260268"/>
                    </a:lnTo>
                    <a:lnTo>
                      <a:pt x="567731" y="1258538"/>
                    </a:lnTo>
                    <a:lnTo>
                      <a:pt x="569162" y="1256929"/>
                    </a:lnTo>
                    <a:lnTo>
                      <a:pt x="574966" y="1250509"/>
                    </a:lnTo>
                    <a:cubicBezTo>
                      <a:pt x="575999" y="1249356"/>
                      <a:pt x="576794" y="1248600"/>
                      <a:pt x="577649" y="1247726"/>
                    </a:cubicBezTo>
                    <a:lnTo>
                      <a:pt x="580213" y="1245162"/>
                    </a:lnTo>
                    <a:lnTo>
                      <a:pt x="600725" y="1224650"/>
                    </a:lnTo>
                    <a:lnTo>
                      <a:pt x="641769" y="1183606"/>
                    </a:lnTo>
                    <a:lnTo>
                      <a:pt x="723836" y="1101539"/>
                    </a:lnTo>
                    <a:lnTo>
                      <a:pt x="887972" y="937403"/>
                    </a:lnTo>
                    <a:lnTo>
                      <a:pt x="970039" y="855335"/>
                    </a:lnTo>
                    <a:lnTo>
                      <a:pt x="1011083" y="814292"/>
                    </a:lnTo>
                    <a:lnTo>
                      <a:pt x="1021339" y="804036"/>
                    </a:lnTo>
                    <a:lnTo>
                      <a:pt x="1022631" y="802744"/>
                    </a:lnTo>
                    <a:lnTo>
                      <a:pt x="1024181" y="801313"/>
                    </a:lnTo>
                    <a:lnTo>
                      <a:pt x="1027381" y="798411"/>
                    </a:lnTo>
                    <a:cubicBezTo>
                      <a:pt x="1029548" y="796503"/>
                      <a:pt x="1031575" y="794455"/>
                      <a:pt x="1033980" y="792826"/>
                    </a:cubicBezTo>
                    <a:lnTo>
                      <a:pt x="1040977" y="787698"/>
                    </a:lnTo>
                    <a:cubicBezTo>
                      <a:pt x="1043382" y="786108"/>
                      <a:pt x="1045926" y="784696"/>
                      <a:pt x="1048390" y="783206"/>
                    </a:cubicBezTo>
                    <a:cubicBezTo>
                      <a:pt x="1049642" y="782490"/>
                      <a:pt x="1050875" y="781715"/>
                      <a:pt x="1052147" y="781059"/>
                    </a:cubicBezTo>
                    <a:lnTo>
                      <a:pt x="1056082" y="779211"/>
                    </a:lnTo>
                    <a:lnTo>
                      <a:pt x="1060018" y="777382"/>
                    </a:lnTo>
                    <a:cubicBezTo>
                      <a:pt x="1061330" y="776786"/>
                      <a:pt x="1062641" y="776150"/>
                      <a:pt x="1064013" y="775713"/>
                    </a:cubicBezTo>
                    <a:lnTo>
                      <a:pt x="1072202" y="772850"/>
                    </a:lnTo>
                    <a:cubicBezTo>
                      <a:pt x="1074945" y="771936"/>
                      <a:pt x="1077787" y="771380"/>
                      <a:pt x="1080589" y="770664"/>
                    </a:cubicBezTo>
                    <a:lnTo>
                      <a:pt x="1084803" y="769670"/>
                    </a:lnTo>
                    <a:lnTo>
                      <a:pt x="1089096" y="769034"/>
                    </a:lnTo>
                    <a:lnTo>
                      <a:pt x="1093389" y="768418"/>
                    </a:lnTo>
                    <a:cubicBezTo>
                      <a:pt x="1094821" y="768219"/>
                      <a:pt x="1096252" y="767981"/>
                      <a:pt x="1097683" y="767961"/>
                    </a:cubicBezTo>
                    <a:lnTo>
                      <a:pt x="1106329" y="767544"/>
                    </a:lnTo>
                    <a:cubicBezTo>
                      <a:pt x="1109211" y="767464"/>
                      <a:pt x="1112093" y="767722"/>
                      <a:pt x="1114975" y="767822"/>
                    </a:cubicBezTo>
                    <a:cubicBezTo>
                      <a:pt x="1116406" y="767901"/>
                      <a:pt x="1117857" y="767941"/>
                      <a:pt x="1119288" y="768080"/>
                    </a:cubicBezTo>
                    <a:lnTo>
                      <a:pt x="1123581" y="768676"/>
                    </a:lnTo>
                    <a:lnTo>
                      <a:pt x="1127874" y="769293"/>
                    </a:lnTo>
                    <a:cubicBezTo>
                      <a:pt x="1129305" y="769491"/>
                      <a:pt x="1130736" y="769710"/>
                      <a:pt x="1132128" y="770088"/>
                    </a:cubicBezTo>
                    <a:lnTo>
                      <a:pt x="1140555" y="772155"/>
                    </a:lnTo>
                    <a:cubicBezTo>
                      <a:pt x="1143338" y="772910"/>
                      <a:pt x="1146041" y="773983"/>
                      <a:pt x="1148784" y="774898"/>
                    </a:cubicBezTo>
                    <a:cubicBezTo>
                      <a:pt x="1150135" y="775394"/>
                      <a:pt x="1151507" y="775852"/>
                      <a:pt x="1152858" y="776368"/>
                    </a:cubicBezTo>
                    <a:lnTo>
                      <a:pt x="1156794" y="778177"/>
                    </a:lnTo>
                    <a:lnTo>
                      <a:pt x="1160729" y="780006"/>
                    </a:lnTo>
                    <a:cubicBezTo>
                      <a:pt x="1162041" y="780622"/>
                      <a:pt x="1163373" y="781198"/>
                      <a:pt x="1164585" y="781973"/>
                    </a:cubicBezTo>
                    <a:lnTo>
                      <a:pt x="1172058" y="786386"/>
                    </a:lnTo>
                    <a:cubicBezTo>
                      <a:pt x="1173330" y="787082"/>
                      <a:pt x="1174483" y="787956"/>
                      <a:pt x="1175656" y="788811"/>
                    </a:cubicBezTo>
                    <a:lnTo>
                      <a:pt x="1179154" y="791375"/>
                    </a:lnTo>
                    <a:lnTo>
                      <a:pt x="1182632" y="793959"/>
                    </a:lnTo>
                    <a:cubicBezTo>
                      <a:pt x="1183785" y="794813"/>
                      <a:pt x="1184799" y="795847"/>
                      <a:pt x="1185892" y="796801"/>
                    </a:cubicBezTo>
                    <a:lnTo>
                      <a:pt x="1192292" y="802625"/>
                    </a:lnTo>
                    <a:lnTo>
                      <a:pt x="1233336" y="843668"/>
                    </a:lnTo>
                    <a:lnTo>
                      <a:pt x="1253848" y="864180"/>
                    </a:lnTo>
                    <a:lnTo>
                      <a:pt x="1258976" y="869308"/>
                    </a:lnTo>
                    <a:cubicBezTo>
                      <a:pt x="1259850" y="870183"/>
                      <a:pt x="1260645" y="870958"/>
                      <a:pt x="1261579" y="871932"/>
                    </a:cubicBezTo>
                    <a:lnTo>
                      <a:pt x="1264501" y="875132"/>
                    </a:lnTo>
                    <a:cubicBezTo>
                      <a:pt x="1266409" y="877298"/>
                      <a:pt x="1268437" y="879346"/>
                      <a:pt x="1270206" y="881631"/>
                    </a:cubicBezTo>
                    <a:lnTo>
                      <a:pt x="1275353" y="888608"/>
                    </a:lnTo>
                    <a:lnTo>
                      <a:pt x="1276625" y="890357"/>
                    </a:lnTo>
                    <a:lnTo>
                      <a:pt x="1277739" y="892205"/>
                    </a:lnTo>
                    <a:lnTo>
                      <a:pt x="1279945" y="895942"/>
                    </a:lnTo>
                    <a:cubicBezTo>
                      <a:pt x="1281416" y="898426"/>
                      <a:pt x="1282926" y="900891"/>
                      <a:pt x="1284079" y="903574"/>
                    </a:cubicBezTo>
                    <a:cubicBezTo>
                      <a:pt x="1285291" y="906198"/>
                      <a:pt x="1286524" y="908822"/>
                      <a:pt x="1287696" y="911465"/>
                    </a:cubicBezTo>
                    <a:lnTo>
                      <a:pt x="1290578" y="919654"/>
                    </a:lnTo>
                    <a:cubicBezTo>
                      <a:pt x="1291632" y="922357"/>
                      <a:pt x="1292188" y="925199"/>
                      <a:pt x="1292904" y="928002"/>
                    </a:cubicBezTo>
                    <a:cubicBezTo>
                      <a:pt x="1293560" y="930804"/>
                      <a:pt x="1294355" y="933607"/>
                      <a:pt x="1294673" y="936469"/>
                    </a:cubicBezTo>
                    <a:lnTo>
                      <a:pt x="1295885" y="945055"/>
                    </a:lnTo>
                    <a:lnTo>
                      <a:pt x="1296323" y="953701"/>
                    </a:lnTo>
                    <a:cubicBezTo>
                      <a:pt x="1296879" y="976777"/>
                      <a:pt x="1290598" y="1000012"/>
                      <a:pt x="1278315" y="1019650"/>
                    </a:cubicBezTo>
                    <a:cubicBezTo>
                      <a:pt x="1276924" y="1022194"/>
                      <a:pt x="1275155" y="1024480"/>
                      <a:pt x="1273445" y="1026825"/>
                    </a:cubicBezTo>
                    <a:lnTo>
                      <a:pt x="1270862" y="1030303"/>
                    </a:lnTo>
                    <a:lnTo>
                      <a:pt x="1269570" y="1032032"/>
                    </a:lnTo>
                    <a:lnTo>
                      <a:pt x="1268139" y="1033642"/>
                    </a:lnTo>
                    <a:lnTo>
                      <a:pt x="1262335" y="1040062"/>
                    </a:lnTo>
                    <a:cubicBezTo>
                      <a:pt x="1261301" y="1041215"/>
                      <a:pt x="1260506" y="1041970"/>
                      <a:pt x="1259652" y="1042845"/>
                    </a:cubicBezTo>
                    <a:lnTo>
                      <a:pt x="1257087" y="1045409"/>
                    </a:lnTo>
                    <a:lnTo>
                      <a:pt x="1236576" y="1065921"/>
                    </a:lnTo>
                    <a:lnTo>
                      <a:pt x="1195532" y="1106965"/>
                    </a:lnTo>
                    <a:lnTo>
                      <a:pt x="1031396" y="1271100"/>
                    </a:lnTo>
                    <a:close/>
                    <a:moveTo>
                      <a:pt x="1566377" y="1728505"/>
                    </a:moveTo>
                    <a:cubicBezTo>
                      <a:pt x="1567867" y="1727630"/>
                      <a:pt x="1569279" y="1726577"/>
                      <a:pt x="1570571" y="1725305"/>
                    </a:cubicBezTo>
                    <a:lnTo>
                      <a:pt x="1729002" y="1566874"/>
                    </a:lnTo>
                    <a:lnTo>
                      <a:pt x="1894628" y="1732500"/>
                    </a:lnTo>
                    <a:lnTo>
                      <a:pt x="1732500" y="1894647"/>
                    </a:lnTo>
                    <a:lnTo>
                      <a:pt x="1566397" y="1728544"/>
                    </a:lnTo>
                    <a:close/>
                    <a:moveTo>
                      <a:pt x="1699983" y="1537835"/>
                    </a:moveTo>
                    <a:lnTo>
                      <a:pt x="1541552" y="1696266"/>
                    </a:lnTo>
                    <a:cubicBezTo>
                      <a:pt x="1540280" y="1697538"/>
                      <a:pt x="1539226" y="1698969"/>
                      <a:pt x="1538352" y="1700460"/>
                    </a:cubicBezTo>
                    <a:lnTo>
                      <a:pt x="1380438" y="1542546"/>
                    </a:lnTo>
                    <a:lnTo>
                      <a:pt x="1542585" y="1380418"/>
                    </a:lnTo>
                    <a:lnTo>
                      <a:pt x="1700003" y="1537835"/>
                    </a:lnTo>
                    <a:close/>
                    <a:moveTo>
                      <a:pt x="1206106" y="1347443"/>
                    </a:moveTo>
                    <a:cubicBezTo>
                      <a:pt x="1206106" y="1334027"/>
                      <a:pt x="1211333" y="1321426"/>
                      <a:pt x="1220814" y="1311925"/>
                    </a:cubicBezTo>
                    <a:lnTo>
                      <a:pt x="1311925" y="1220814"/>
                    </a:lnTo>
                    <a:cubicBezTo>
                      <a:pt x="1321724" y="1211015"/>
                      <a:pt x="1334584" y="1206126"/>
                      <a:pt x="1347443" y="1206126"/>
                    </a:cubicBezTo>
                    <a:cubicBezTo>
                      <a:pt x="1360303" y="1206126"/>
                      <a:pt x="1373163" y="1211015"/>
                      <a:pt x="1382962" y="1220814"/>
                    </a:cubicBezTo>
                    <a:lnTo>
                      <a:pt x="1513527" y="1351379"/>
                    </a:lnTo>
                    <a:lnTo>
                      <a:pt x="1351379" y="1513507"/>
                    </a:lnTo>
                    <a:lnTo>
                      <a:pt x="1220814" y="1382942"/>
                    </a:lnTo>
                    <a:cubicBezTo>
                      <a:pt x="1211333" y="1373461"/>
                      <a:pt x="1206106" y="1360840"/>
                      <a:pt x="1206106" y="1347424"/>
                    </a:cubicBezTo>
                    <a:close/>
                    <a:moveTo>
                      <a:pt x="2015692" y="1924581"/>
                    </a:moveTo>
                    <a:lnTo>
                      <a:pt x="1924581" y="2015692"/>
                    </a:lnTo>
                    <a:cubicBezTo>
                      <a:pt x="1915100" y="2025173"/>
                      <a:pt x="1902479" y="2030400"/>
                      <a:pt x="1889062" y="2030400"/>
                    </a:cubicBezTo>
                    <a:cubicBezTo>
                      <a:pt x="1875646" y="2030400"/>
                      <a:pt x="1863045" y="2025173"/>
                      <a:pt x="1853544" y="2015692"/>
                    </a:cubicBezTo>
                    <a:lnTo>
                      <a:pt x="1761499" y="1923646"/>
                    </a:lnTo>
                    <a:lnTo>
                      <a:pt x="1923627" y="1761499"/>
                    </a:lnTo>
                    <a:lnTo>
                      <a:pt x="2015672" y="1853544"/>
                    </a:lnTo>
                    <a:cubicBezTo>
                      <a:pt x="2035250" y="1873122"/>
                      <a:pt x="2035250" y="1904983"/>
                      <a:pt x="2015672" y="1924561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976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241" name="Freeform 9">
                <a:extLst>
                  <a:ext uri="{FF2B5EF4-FFF2-40B4-BE49-F238E27FC236}">
                    <a16:creationId xmlns:a16="http://schemas.microsoft.com/office/drawing/2014/main" id="{D9728E7F-9B00-A826-4D79-9E4A456F15FC}"/>
                  </a:ext>
                </a:extLst>
              </p:cNvPr>
              <p:cNvSpPr/>
              <p:nvPr/>
            </p:nvSpPr>
            <p:spPr>
              <a:xfrm>
                <a:off x="3493584" y="3196948"/>
                <a:ext cx="348431" cy="348488"/>
              </a:xfrm>
              <a:custGeom>
                <a:avLst/>
                <a:gdLst>
                  <a:gd name="connsiteX0" fmla="*/ 52261 w 348431"/>
                  <a:gd name="connsiteY0" fmla="*/ 272424 h 348488"/>
                  <a:gd name="connsiteX1" fmla="*/ 56793 w 348431"/>
                  <a:gd name="connsiteY1" fmla="*/ 277611 h 348488"/>
                  <a:gd name="connsiteX2" fmla="*/ 66413 w 348431"/>
                  <a:gd name="connsiteY2" fmla="*/ 287430 h 348488"/>
                  <a:gd name="connsiteX3" fmla="*/ 71402 w 348431"/>
                  <a:gd name="connsiteY3" fmla="*/ 292180 h 348488"/>
                  <a:gd name="connsiteX4" fmla="*/ 76609 w 348431"/>
                  <a:gd name="connsiteY4" fmla="*/ 296672 h 348488"/>
                  <a:gd name="connsiteX5" fmla="*/ 79213 w 348431"/>
                  <a:gd name="connsiteY5" fmla="*/ 298918 h 348488"/>
                  <a:gd name="connsiteX6" fmla="*/ 81916 w 348431"/>
                  <a:gd name="connsiteY6" fmla="*/ 301045 h 348488"/>
                  <a:gd name="connsiteX7" fmla="*/ 87322 w 348431"/>
                  <a:gd name="connsiteY7" fmla="*/ 305298 h 348488"/>
                  <a:gd name="connsiteX8" fmla="*/ 135005 w 348431"/>
                  <a:gd name="connsiteY8" fmla="*/ 332250 h 348488"/>
                  <a:gd name="connsiteX9" fmla="*/ 186563 w 348431"/>
                  <a:gd name="connsiteY9" fmla="*/ 346282 h 348488"/>
                  <a:gd name="connsiteX10" fmla="*/ 213256 w 348431"/>
                  <a:gd name="connsiteY10" fmla="*/ 348409 h 348488"/>
                  <a:gd name="connsiteX11" fmla="*/ 226653 w 348431"/>
                  <a:gd name="connsiteY11" fmla="*/ 348310 h 348488"/>
                  <a:gd name="connsiteX12" fmla="*/ 233331 w 348431"/>
                  <a:gd name="connsiteY12" fmla="*/ 347872 h 348488"/>
                  <a:gd name="connsiteX13" fmla="*/ 236670 w 348431"/>
                  <a:gd name="connsiteY13" fmla="*/ 347654 h 348488"/>
                  <a:gd name="connsiteX14" fmla="*/ 240009 w 348431"/>
                  <a:gd name="connsiteY14" fmla="*/ 347276 h 348488"/>
                  <a:gd name="connsiteX15" fmla="*/ 266424 w 348431"/>
                  <a:gd name="connsiteY15" fmla="*/ 342923 h 348488"/>
                  <a:gd name="connsiteX16" fmla="*/ 279364 w 348431"/>
                  <a:gd name="connsiteY16" fmla="*/ 339485 h 348488"/>
                  <a:gd name="connsiteX17" fmla="*/ 285764 w 348431"/>
                  <a:gd name="connsiteY17" fmla="*/ 337517 h 348488"/>
                  <a:gd name="connsiteX18" fmla="*/ 292084 w 348431"/>
                  <a:gd name="connsiteY18" fmla="*/ 335311 h 348488"/>
                  <a:gd name="connsiteX19" fmla="*/ 298325 w 348431"/>
                  <a:gd name="connsiteY19" fmla="*/ 332906 h 348488"/>
                  <a:gd name="connsiteX20" fmla="*/ 304507 w 348431"/>
                  <a:gd name="connsiteY20" fmla="*/ 330362 h 348488"/>
                  <a:gd name="connsiteX21" fmla="*/ 310410 w 348431"/>
                  <a:gd name="connsiteY21" fmla="*/ 327679 h 348488"/>
                  <a:gd name="connsiteX22" fmla="*/ 314902 w 348431"/>
                  <a:gd name="connsiteY22" fmla="*/ 325452 h 348488"/>
                  <a:gd name="connsiteX23" fmla="*/ 331836 w 348431"/>
                  <a:gd name="connsiteY23" fmla="*/ 315435 h 348488"/>
                  <a:gd name="connsiteX24" fmla="*/ 335175 w 348431"/>
                  <a:gd name="connsiteY24" fmla="*/ 313090 h 348488"/>
                  <a:gd name="connsiteX25" fmla="*/ 339230 w 348431"/>
                  <a:gd name="connsiteY25" fmla="*/ 310088 h 348488"/>
                  <a:gd name="connsiteX26" fmla="*/ 343205 w 348431"/>
                  <a:gd name="connsiteY26" fmla="*/ 306988 h 348488"/>
                  <a:gd name="connsiteX27" fmla="*/ 348174 w 348431"/>
                  <a:gd name="connsiteY27" fmla="*/ 298441 h 348488"/>
                  <a:gd name="connsiteX28" fmla="*/ 346663 w 348431"/>
                  <a:gd name="connsiteY28" fmla="*/ 288662 h 348488"/>
                  <a:gd name="connsiteX29" fmla="*/ 343603 w 348431"/>
                  <a:gd name="connsiteY29" fmla="*/ 284667 h 348488"/>
                  <a:gd name="connsiteX30" fmla="*/ 340025 w 348431"/>
                  <a:gd name="connsiteY30" fmla="*/ 281089 h 348488"/>
                  <a:gd name="connsiteX31" fmla="*/ 306594 w 348431"/>
                  <a:gd name="connsiteY31" fmla="*/ 247658 h 348488"/>
                  <a:gd name="connsiteX32" fmla="*/ 221882 w 348431"/>
                  <a:gd name="connsiteY32" fmla="*/ 162947 h 348488"/>
                  <a:gd name="connsiteX33" fmla="*/ 63312 w 348431"/>
                  <a:gd name="connsiteY33" fmla="*/ 4377 h 348488"/>
                  <a:gd name="connsiteX34" fmla="*/ 59397 w 348431"/>
                  <a:gd name="connsiteY34" fmla="*/ 1554 h 348488"/>
                  <a:gd name="connsiteX35" fmla="*/ 54786 w 348431"/>
                  <a:gd name="connsiteY35" fmla="*/ 143 h 348488"/>
                  <a:gd name="connsiteX36" fmla="*/ 45424 w 348431"/>
                  <a:gd name="connsiteY36" fmla="*/ 1912 h 348488"/>
                  <a:gd name="connsiteX37" fmla="*/ 41687 w 348431"/>
                  <a:gd name="connsiteY37" fmla="*/ 4953 h 348488"/>
                  <a:gd name="connsiteX38" fmla="*/ 38666 w 348431"/>
                  <a:gd name="connsiteY38" fmla="*/ 8750 h 348488"/>
                  <a:gd name="connsiteX39" fmla="*/ 32962 w 348431"/>
                  <a:gd name="connsiteY39" fmla="*/ 16581 h 348488"/>
                  <a:gd name="connsiteX40" fmla="*/ 28808 w 348431"/>
                  <a:gd name="connsiteY40" fmla="*/ 23020 h 348488"/>
                  <a:gd name="connsiteX41" fmla="*/ 24972 w 348431"/>
                  <a:gd name="connsiteY41" fmla="*/ 29659 h 348488"/>
                  <a:gd name="connsiteX42" fmla="*/ 21454 w 348431"/>
                  <a:gd name="connsiteY42" fmla="*/ 36476 h 348488"/>
                  <a:gd name="connsiteX43" fmla="*/ 17399 w 348431"/>
                  <a:gd name="connsiteY43" fmla="*/ 45341 h 348488"/>
                  <a:gd name="connsiteX44" fmla="*/ 4837 w 348431"/>
                  <a:gd name="connsiteY44" fmla="*/ 85073 h 348488"/>
                  <a:gd name="connsiteX45" fmla="*/ 3168 w 348431"/>
                  <a:gd name="connsiteY45" fmla="*/ 168095 h 348488"/>
                  <a:gd name="connsiteX46" fmla="*/ 47908 w 348431"/>
                  <a:gd name="connsiteY46" fmla="*/ 267156 h 348488"/>
                  <a:gd name="connsiteX47" fmla="*/ 52321 w 348431"/>
                  <a:gd name="connsiteY47" fmla="*/ 272424 h 348488"/>
                  <a:gd name="connsiteX48" fmla="*/ 44311 w 348431"/>
                  <a:gd name="connsiteY48" fmla="*/ 93560 h 348488"/>
                  <a:gd name="connsiteX49" fmla="*/ 54527 w 348431"/>
                  <a:gd name="connsiteY49" fmla="*/ 61222 h 348488"/>
                  <a:gd name="connsiteX50" fmla="*/ 57171 w 348431"/>
                  <a:gd name="connsiteY50" fmla="*/ 55418 h 348488"/>
                  <a:gd name="connsiteX51" fmla="*/ 193281 w 348431"/>
                  <a:gd name="connsiteY51" fmla="*/ 191528 h 348488"/>
                  <a:gd name="connsiteX52" fmla="*/ 292959 w 348431"/>
                  <a:gd name="connsiteY52" fmla="*/ 291206 h 348488"/>
                  <a:gd name="connsiteX53" fmla="*/ 292939 w 348431"/>
                  <a:gd name="connsiteY53" fmla="*/ 291206 h 348488"/>
                  <a:gd name="connsiteX54" fmla="*/ 292720 w 348431"/>
                  <a:gd name="connsiteY54" fmla="*/ 291306 h 348488"/>
                  <a:gd name="connsiteX55" fmla="*/ 288328 w 348431"/>
                  <a:gd name="connsiteY55" fmla="*/ 293313 h 348488"/>
                  <a:gd name="connsiteX56" fmla="*/ 283299 w 348431"/>
                  <a:gd name="connsiteY56" fmla="*/ 295380 h 348488"/>
                  <a:gd name="connsiteX57" fmla="*/ 278231 w 348431"/>
                  <a:gd name="connsiteY57" fmla="*/ 297348 h 348488"/>
                  <a:gd name="connsiteX58" fmla="*/ 273083 w 348431"/>
                  <a:gd name="connsiteY58" fmla="*/ 299137 h 348488"/>
                  <a:gd name="connsiteX59" fmla="*/ 267875 w 348431"/>
                  <a:gd name="connsiteY59" fmla="*/ 300727 h 348488"/>
                  <a:gd name="connsiteX60" fmla="*/ 257341 w 348431"/>
                  <a:gd name="connsiteY60" fmla="*/ 303529 h 348488"/>
                  <a:gd name="connsiteX61" fmla="*/ 235815 w 348431"/>
                  <a:gd name="connsiteY61" fmla="*/ 307067 h 348488"/>
                  <a:gd name="connsiteX62" fmla="*/ 233112 w 348431"/>
                  <a:gd name="connsiteY62" fmla="*/ 307385 h 348488"/>
                  <a:gd name="connsiteX63" fmla="*/ 230389 w 348431"/>
                  <a:gd name="connsiteY63" fmla="*/ 307564 h 348488"/>
                  <a:gd name="connsiteX64" fmla="*/ 224943 w 348431"/>
                  <a:gd name="connsiteY64" fmla="*/ 307922 h 348488"/>
                  <a:gd name="connsiteX65" fmla="*/ 214012 w 348431"/>
                  <a:gd name="connsiteY65" fmla="*/ 307982 h 348488"/>
                  <a:gd name="connsiteX66" fmla="*/ 192247 w 348431"/>
                  <a:gd name="connsiteY66" fmla="*/ 306252 h 348488"/>
                  <a:gd name="connsiteX67" fmla="*/ 150289 w 348431"/>
                  <a:gd name="connsiteY67" fmla="*/ 294824 h 348488"/>
                  <a:gd name="connsiteX68" fmla="*/ 111511 w 348431"/>
                  <a:gd name="connsiteY68" fmla="*/ 272920 h 348488"/>
                  <a:gd name="connsiteX69" fmla="*/ 107119 w 348431"/>
                  <a:gd name="connsiteY69" fmla="*/ 269442 h 348488"/>
                  <a:gd name="connsiteX70" fmla="*/ 104913 w 348431"/>
                  <a:gd name="connsiteY70" fmla="*/ 267713 h 348488"/>
                  <a:gd name="connsiteX71" fmla="*/ 102806 w 348431"/>
                  <a:gd name="connsiteY71" fmla="*/ 265864 h 348488"/>
                  <a:gd name="connsiteX72" fmla="*/ 98552 w 348431"/>
                  <a:gd name="connsiteY72" fmla="*/ 262207 h 348488"/>
                  <a:gd name="connsiteX73" fmla="*/ 94478 w 348431"/>
                  <a:gd name="connsiteY73" fmla="*/ 258312 h 348488"/>
                  <a:gd name="connsiteX74" fmla="*/ 86607 w 348431"/>
                  <a:gd name="connsiteY74" fmla="*/ 250282 h 348488"/>
                  <a:gd name="connsiteX75" fmla="*/ 82930 w 348431"/>
                  <a:gd name="connsiteY75" fmla="*/ 246048 h 348488"/>
                  <a:gd name="connsiteX76" fmla="*/ 79332 w 348431"/>
                  <a:gd name="connsiteY76" fmla="*/ 241755 h 348488"/>
                  <a:gd name="connsiteX77" fmla="*/ 42939 w 348431"/>
                  <a:gd name="connsiteY77" fmla="*/ 161178 h 348488"/>
                  <a:gd name="connsiteX78" fmla="*/ 44311 w 348431"/>
                  <a:gd name="connsiteY78" fmla="*/ 93520 h 348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348431" h="348488">
                    <a:moveTo>
                      <a:pt x="52261" y="272424"/>
                    </a:moveTo>
                    <a:cubicBezTo>
                      <a:pt x="53772" y="274153"/>
                      <a:pt x="55243" y="275902"/>
                      <a:pt x="56793" y="277611"/>
                    </a:cubicBezTo>
                    <a:cubicBezTo>
                      <a:pt x="60013" y="280891"/>
                      <a:pt x="63014" y="284349"/>
                      <a:pt x="66413" y="287430"/>
                    </a:cubicBezTo>
                    <a:lnTo>
                      <a:pt x="71402" y="292180"/>
                    </a:lnTo>
                    <a:lnTo>
                      <a:pt x="76609" y="296672"/>
                    </a:lnTo>
                    <a:lnTo>
                      <a:pt x="79213" y="298918"/>
                    </a:lnTo>
                    <a:lnTo>
                      <a:pt x="81916" y="301045"/>
                    </a:lnTo>
                    <a:lnTo>
                      <a:pt x="87322" y="305298"/>
                    </a:lnTo>
                    <a:cubicBezTo>
                      <a:pt x="102070" y="316151"/>
                      <a:pt x="118011" y="325433"/>
                      <a:pt x="135005" y="332250"/>
                    </a:cubicBezTo>
                    <a:cubicBezTo>
                      <a:pt x="151502" y="339087"/>
                      <a:pt x="168893" y="343659"/>
                      <a:pt x="186563" y="346282"/>
                    </a:cubicBezTo>
                    <a:cubicBezTo>
                      <a:pt x="195408" y="347415"/>
                      <a:pt x="204312" y="348350"/>
                      <a:pt x="213256" y="348409"/>
                    </a:cubicBezTo>
                    <a:cubicBezTo>
                      <a:pt x="217728" y="348628"/>
                      <a:pt x="222180" y="348330"/>
                      <a:pt x="226653" y="348310"/>
                    </a:cubicBezTo>
                    <a:lnTo>
                      <a:pt x="233331" y="347872"/>
                    </a:lnTo>
                    <a:lnTo>
                      <a:pt x="236670" y="347654"/>
                    </a:lnTo>
                    <a:lnTo>
                      <a:pt x="240009" y="347276"/>
                    </a:lnTo>
                    <a:cubicBezTo>
                      <a:pt x="248914" y="346481"/>
                      <a:pt x="257699" y="344792"/>
                      <a:pt x="266424" y="342923"/>
                    </a:cubicBezTo>
                    <a:cubicBezTo>
                      <a:pt x="270737" y="341810"/>
                      <a:pt x="275110" y="340856"/>
                      <a:pt x="279364" y="339485"/>
                    </a:cubicBezTo>
                    <a:cubicBezTo>
                      <a:pt x="281490" y="338829"/>
                      <a:pt x="283657" y="338272"/>
                      <a:pt x="285764" y="337517"/>
                    </a:cubicBezTo>
                    <a:lnTo>
                      <a:pt x="292084" y="335311"/>
                    </a:lnTo>
                    <a:cubicBezTo>
                      <a:pt x="294211" y="334635"/>
                      <a:pt x="296238" y="333701"/>
                      <a:pt x="298325" y="332906"/>
                    </a:cubicBezTo>
                    <a:cubicBezTo>
                      <a:pt x="300392" y="332051"/>
                      <a:pt x="302499" y="331316"/>
                      <a:pt x="304507" y="330362"/>
                    </a:cubicBezTo>
                    <a:lnTo>
                      <a:pt x="310410" y="327679"/>
                    </a:lnTo>
                    <a:cubicBezTo>
                      <a:pt x="312079" y="326963"/>
                      <a:pt x="313391" y="326208"/>
                      <a:pt x="314902" y="325452"/>
                    </a:cubicBezTo>
                    <a:cubicBezTo>
                      <a:pt x="320765" y="322531"/>
                      <a:pt x="326370" y="319072"/>
                      <a:pt x="331836" y="315435"/>
                    </a:cubicBezTo>
                    <a:lnTo>
                      <a:pt x="335175" y="313090"/>
                    </a:lnTo>
                    <a:cubicBezTo>
                      <a:pt x="336567" y="312136"/>
                      <a:pt x="337918" y="311122"/>
                      <a:pt x="339230" y="310088"/>
                    </a:cubicBezTo>
                    <a:lnTo>
                      <a:pt x="343205" y="306988"/>
                    </a:lnTo>
                    <a:cubicBezTo>
                      <a:pt x="345769" y="304821"/>
                      <a:pt x="347618" y="301760"/>
                      <a:pt x="348174" y="298441"/>
                    </a:cubicBezTo>
                    <a:cubicBezTo>
                      <a:pt x="348810" y="295142"/>
                      <a:pt x="348254" y="291624"/>
                      <a:pt x="346663" y="288662"/>
                    </a:cubicBezTo>
                    <a:cubicBezTo>
                      <a:pt x="345908" y="287152"/>
                      <a:pt x="344775" y="285860"/>
                      <a:pt x="343603" y="284667"/>
                    </a:cubicBezTo>
                    <a:lnTo>
                      <a:pt x="340025" y="281089"/>
                    </a:lnTo>
                    <a:lnTo>
                      <a:pt x="306594" y="247658"/>
                    </a:lnTo>
                    <a:lnTo>
                      <a:pt x="221882" y="162947"/>
                    </a:lnTo>
                    <a:lnTo>
                      <a:pt x="63312" y="4377"/>
                    </a:lnTo>
                    <a:cubicBezTo>
                      <a:pt x="62140" y="3244"/>
                      <a:pt x="60828" y="2290"/>
                      <a:pt x="59397" y="1554"/>
                    </a:cubicBezTo>
                    <a:cubicBezTo>
                      <a:pt x="57946" y="839"/>
                      <a:pt x="56376" y="382"/>
                      <a:pt x="54786" y="143"/>
                    </a:cubicBezTo>
                    <a:cubicBezTo>
                      <a:pt x="51586" y="-294"/>
                      <a:pt x="48227" y="263"/>
                      <a:pt x="45424" y="1912"/>
                    </a:cubicBezTo>
                    <a:cubicBezTo>
                      <a:pt x="44033" y="2707"/>
                      <a:pt x="42721" y="3721"/>
                      <a:pt x="41687" y="4953"/>
                    </a:cubicBezTo>
                    <a:cubicBezTo>
                      <a:pt x="40634" y="6166"/>
                      <a:pt x="39680" y="7497"/>
                      <a:pt x="38666" y="8750"/>
                    </a:cubicBezTo>
                    <a:cubicBezTo>
                      <a:pt x="36619" y="11254"/>
                      <a:pt x="34830" y="13957"/>
                      <a:pt x="32962" y="16581"/>
                    </a:cubicBezTo>
                    <a:cubicBezTo>
                      <a:pt x="31511" y="18687"/>
                      <a:pt x="30199" y="20874"/>
                      <a:pt x="28808" y="23020"/>
                    </a:cubicBezTo>
                    <a:cubicBezTo>
                      <a:pt x="27476" y="25207"/>
                      <a:pt x="26244" y="27453"/>
                      <a:pt x="24972" y="29659"/>
                    </a:cubicBezTo>
                    <a:cubicBezTo>
                      <a:pt x="23759" y="31905"/>
                      <a:pt x="22626" y="34211"/>
                      <a:pt x="21454" y="36476"/>
                    </a:cubicBezTo>
                    <a:lnTo>
                      <a:pt x="17399" y="45341"/>
                    </a:lnTo>
                    <a:cubicBezTo>
                      <a:pt x="11953" y="58141"/>
                      <a:pt x="7739" y="71458"/>
                      <a:pt x="4837" y="85073"/>
                    </a:cubicBezTo>
                    <a:cubicBezTo>
                      <a:pt x="-986" y="112303"/>
                      <a:pt x="-1563" y="140646"/>
                      <a:pt x="3168" y="168095"/>
                    </a:cubicBezTo>
                    <a:cubicBezTo>
                      <a:pt x="9429" y="204189"/>
                      <a:pt x="24793" y="238694"/>
                      <a:pt x="47908" y="267156"/>
                    </a:cubicBezTo>
                    <a:cubicBezTo>
                      <a:pt x="49280" y="268985"/>
                      <a:pt x="50810" y="270714"/>
                      <a:pt x="52321" y="272424"/>
                    </a:cubicBezTo>
                    <a:close/>
                    <a:moveTo>
                      <a:pt x="44311" y="93560"/>
                    </a:moveTo>
                    <a:cubicBezTo>
                      <a:pt x="46676" y="82469"/>
                      <a:pt x="50095" y="71637"/>
                      <a:pt x="54527" y="61222"/>
                    </a:cubicBezTo>
                    <a:lnTo>
                      <a:pt x="57171" y="55418"/>
                    </a:lnTo>
                    <a:lnTo>
                      <a:pt x="193281" y="191528"/>
                    </a:lnTo>
                    <a:lnTo>
                      <a:pt x="292959" y="291206"/>
                    </a:lnTo>
                    <a:lnTo>
                      <a:pt x="292939" y="291206"/>
                    </a:lnTo>
                    <a:lnTo>
                      <a:pt x="292720" y="291306"/>
                    </a:lnTo>
                    <a:lnTo>
                      <a:pt x="288328" y="293313"/>
                    </a:lnTo>
                    <a:cubicBezTo>
                      <a:pt x="286698" y="294108"/>
                      <a:pt x="284969" y="294685"/>
                      <a:pt x="283299" y="295380"/>
                    </a:cubicBezTo>
                    <a:cubicBezTo>
                      <a:pt x="281610" y="296036"/>
                      <a:pt x="279960" y="296811"/>
                      <a:pt x="278231" y="297348"/>
                    </a:cubicBezTo>
                    <a:lnTo>
                      <a:pt x="273083" y="299137"/>
                    </a:lnTo>
                    <a:cubicBezTo>
                      <a:pt x="271373" y="299753"/>
                      <a:pt x="269605" y="300190"/>
                      <a:pt x="267875" y="300727"/>
                    </a:cubicBezTo>
                    <a:cubicBezTo>
                      <a:pt x="264417" y="301860"/>
                      <a:pt x="260859" y="302595"/>
                      <a:pt x="257341" y="303529"/>
                    </a:cubicBezTo>
                    <a:cubicBezTo>
                      <a:pt x="250226" y="305020"/>
                      <a:pt x="243070" y="306431"/>
                      <a:pt x="235815" y="307067"/>
                    </a:cubicBezTo>
                    <a:lnTo>
                      <a:pt x="233112" y="307385"/>
                    </a:lnTo>
                    <a:lnTo>
                      <a:pt x="230389" y="307564"/>
                    </a:lnTo>
                    <a:lnTo>
                      <a:pt x="224943" y="307922"/>
                    </a:lnTo>
                    <a:cubicBezTo>
                      <a:pt x="221306" y="307922"/>
                      <a:pt x="217669" y="308200"/>
                      <a:pt x="214012" y="307982"/>
                    </a:cubicBezTo>
                    <a:cubicBezTo>
                      <a:pt x="206717" y="307962"/>
                      <a:pt x="199462" y="307167"/>
                      <a:pt x="192247" y="306252"/>
                    </a:cubicBezTo>
                    <a:cubicBezTo>
                      <a:pt x="177857" y="304106"/>
                      <a:pt x="163686" y="300409"/>
                      <a:pt x="150289" y="294824"/>
                    </a:cubicBezTo>
                    <a:cubicBezTo>
                      <a:pt x="136456" y="289298"/>
                      <a:pt x="123536" y="281706"/>
                      <a:pt x="111511" y="272920"/>
                    </a:cubicBezTo>
                    <a:lnTo>
                      <a:pt x="107119" y="269442"/>
                    </a:lnTo>
                    <a:lnTo>
                      <a:pt x="104913" y="267713"/>
                    </a:lnTo>
                    <a:lnTo>
                      <a:pt x="102806" y="265864"/>
                    </a:lnTo>
                    <a:lnTo>
                      <a:pt x="98552" y="262207"/>
                    </a:lnTo>
                    <a:lnTo>
                      <a:pt x="94478" y="258312"/>
                    </a:lnTo>
                    <a:cubicBezTo>
                      <a:pt x="91675" y="255807"/>
                      <a:pt x="89250" y="252945"/>
                      <a:pt x="86607" y="250282"/>
                    </a:cubicBezTo>
                    <a:cubicBezTo>
                      <a:pt x="85355" y="248890"/>
                      <a:pt x="84162" y="247459"/>
                      <a:pt x="82930" y="246048"/>
                    </a:cubicBezTo>
                    <a:cubicBezTo>
                      <a:pt x="81697" y="244637"/>
                      <a:pt x="80445" y="243246"/>
                      <a:pt x="79332" y="241755"/>
                    </a:cubicBezTo>
                    <a:cubicBezTo>
                      <a:pt x="60490" y="218580"/>
                      <a:pt x="48067" y="190594"/>
                      <a:pt x="42939" y="161178"/>
                    </a:cubicBezTo>
                    <a:cubicBezTo>
                      <a:pt x="39103" y="138818"/>
                      <a:pt x="39561" y="115682"/>
                      <a:pt x="44311" y="9352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976">
                  <a:solidFill>
                    <a:srgbClr val="13161E"/>
                  </a:solidFill>
                  <a:latin typeface="Calibri"/>
                </a:endParaRPr>
              </a:p>
            </p:txBody>
          </p:sp>
        </p:grpSp>
        <p:grpSp>
          <p:nvGrpSpPr>
            <p:cNvPr id="230" name="Group 229">
              <a:extLst>
                <a:ext uri="{FF2B5EF4-FFF2-40B4-BE49-F238E27FC236}">
                  <a16:creationId xmlns:a16="http://schemas.microsoft.com/office/drawing/2014/main" id="{866DB626-F536-31C7-B404-C3D6766605C4}"/>
                </a:ext>
              </a:extLst>
            </p:cNvPr>
            <p:cNvGrpSpPr/>
            <p:nvPr/>
          </p:nvGrpSpPr>
          <p:grpSpPr>
            <a:xfrm>
              <a:off x="8195755" y="2321769"/>
              <a:ext cx="252841" cy="277041"/>
              <a:chOff x="2345835" y="2732015"/>
              <a:chExt cx="1871081" cy="2050167"/>
            </a:xfrm>
            <a:grpFill/>
          </p:grpSpPr>
          <p:sp>
            <p:nvSpPr>
              <p:cNvPr id="231" name="Freeform 4">
                <a:extLst>
                  <a:ext uri="{FF2B5EF4-FFF2-40B4-BE49-F238E27FC236}">
                    <a16:creationId xmlns:a16="http://schemas.microsoft.com/office/drawing/2014/main" id="{BCBE5743-E109-4206-24F2-2DCD8A0D00E4}"/>
                  </a:ext>
                </a:extLst>
              </p:cNvPr>
              <p:cNvSpPr/>
              <p:nvPr/>
            </p:nvSpPr>
            <p:spPr>
              <a:xfrm>
                <a:off x="2407156" y="2845065"/>
                <a:ext cx="1809760" cy="1937117"/>
              </a:xfrm>
              <a:custGeom>
                <a:avLst/>
                <a:gdLst>
                  <a:gd name="connsiteX0" fmla="*/ 1790036 w 1809760"/>
                  <a:gd name="connsiteY0" fmla="*/ 1897669 h 1937117"/>
                  <a:gd name="connsiteX1" fmla="*/ 1160607 w 1809760"/>
                  <a:gd name="connsiteY1" fmla="*/ 1897669 h 1937117"/>
                  <a:gd name="connsiteX2" fmla="*/ 1405605 w 1809760"/>
                  <a:gd name="connsiteY2" fmla="*/ 1693264 h 1937117"/>
                  <a:gd name="connsiteX3" fmla="*/ 1456258 w 1809760"/>
                  <a:gd name="connsiteY3" fmla="*/ 1702949 h 1937117"/>
                  <a:gd name="connsiteX4" fmla="*/ 1594231 w 1809760"/>
                  <a:gd name="connsiteY4" fmla="*/ 1564976 h 1937117"/>
                  <a:gd name="connsiteX5" fmla="*/ 1456258 w 1809760"/>
                  <a:gd name="connsiteY5" fmla="*/ 1427003 h 1937117"/>
                  <a:gd name="connsiteX6" fmla="*/ 1433220 w 1809760"/>
                  <a:gd name="connsiteY6" fmla="*/ 1428956 h 1937117"/>
                  <a:gd name="connsiteX7" fmla="*/ 1313867 w 1809760"/>
                  <a:gd name="connsiteY7" fmla="*/ 1304336 h 1937117"/>
                  <a:gd name="connsiteX8" fmla="*/ 1396552 w 1809760"/>
                  <a:gd name="connsiteY8" fmla="*/ 1214807 h 1937117"/>
                  <a:gd name="connsiteX9" fmla="*/ 1401443 w 1809760"/>
                  <a:gd name="connsiteY9" fmla="*/ 1208929 h 1937117"/>
                  <a:gd name="connsiteX10" fmla="*/ 1406217 w 1809760"/>
                  <a:gd name="connsiteY10" fmla="*/ 1202953 h 1937117"/>
                  <a:gd name="connsiteX11" fmla="*/ 1415724 w 1809760"/>
                  <a:gd name="connsiteY11" fmla="*/ 1190980 h 1937117"/>
                  <a:gd name="connsiteX12" fmla="*/ 1434226 w 1809760"/>
                  <a:gd name="connsiteY12" fmla="*/ 1166640 h 1937117"/>
                  <a:gd name="connsiteX13" fmla="*/ 1451978 w 1809760"/>
                  <a:gd name="connsiteY13" fmla="*/ 1141747 h 1937117"/>
                  <a:gd name="connsiteX14" fmla="*/ 1469039 w 1809760"/>
                  <a:gd name="connsiteY14" fmla="*/ 1116362 h 1937117"/>
                  <a:gd name="connsiteX15" fmla="*/ 1530027 w 1809760"/>
                  <a:gd name="connsiteY15" fmla="*/ 1010323 h 1937117"/>
                  <a:gd name="connsiteX16" fmla="*/ 1613521 w 1809760"/>
                  <a:gd name="connsiteY16" fmla="*/ 780533 h 1937117"/>
                  <a:gd name="connsiteX17" fmla="*/ 1641767 w 1809760"/>
                  <a:gd name="connsiteY17" fmla="*/ 537685 h 1937117"/>
                  <a:gd name="connsiteX18" fmla="*/ 1613462 w 1809760"/>
                  <a:gd name="connsiteY18" fmla="*/ 294856 h 1937117"/>
                  <a:gd name="connsiteX19" fmla="*/ 1578451 w 1809760"/>
                  <a:gd name="connsiteY19" fmla="*/ 177496 h 1937117"/>
                  <a:gd name="connsiteX20" fmla="*/ 1567543 w 1809760"/>
                  <a:gd name="connsiteY20" fmla="*/ 148875 h 1937117"/>
                  <a:gd name="connsiteX21" fmla="*/ 1561764 w 1809760"/>
                  <a:gd name="connsiteY21" fmla="*/ 134693 h 1937117"/>
                  <a:gd name="connsiteX22" fmla="*/ 1555827 w 1809760"/>
                  <a:gd name="connsiteY22" fmla="*/ 120590 h 1937117"/>
                  <a:gd name="connsiteX23" fmla="*/ 1549673 w 1809760"/>
                  <a:gd name="connsiteY23" fmla="*/ 106566 h 1937117"/>
                  <a:gd name="connsiteX24" fmla="*/ 1548134 w 1809760"/>
                  <a:gd name="connsiteY24" fmla="*/ 103055 h 1937117"/>
                  <a:gd name="connsiteX25" fmla="*/ 1547345 w 1809760"/>
                  <a:gd name="connsiteY25" fmla="*/ 101280 h 1937117"/>
                  <a:gd name="connsiteX26" fmla="*/ 1546162 w 1809760"/>
                  <a:gd name="connsiteY26" fmla="*/ 98834 h 1937117"/>
                  <a:gd name="connsiteX27" fmla="*/ 1541191 w 1809760"/>
                  <a:gd name="connsiteY27" fmla="*/ 89130 h 1937117"/>
                  <a:gd name="connsiteX28" fmla="*/ 1515234 w 1809760"/>
                  <a:gd name="connsiteY28" fmla="*/ 53646 h 1937117"/>
                  <a:gd name="connsiteX29" fmla="*/ 1440991 w 1809760"/>
                  <a:gd name="connsiteY29" fmla="*/ 7668 h 1937117"/>
                  <a:gd name="connsiteX30" fmla="*/ 1354045 w 1809760"/>
                  <a:gd name="connsiteY30" fmla="*/ 3723 h 1937117"/>
                  <a:gd name="connsiteX31" fmla="*/ 1312328 w 1809760"/>
                  <a:gd name="connsiteY31" fmla="*/ 18358 h 1937117"/>
                  <a:gd name="connsiteX32" fmla="*/ 1275917 w 1809760"/>
                  <a:gd name="connsiteY32" fmla="*/ 43053 h 1937117"/>
                  <a:gd name="connsiteX33" fmla="*/ 1267987 w 1809760"/>
                  <a:gd name="connsiteY33" fmla="*/ 50509 h 1937117"/>
                  <a:gd name="connsiteX34" fmla="*/ 1262859 w 1809760"/>
                  <a:gd name="connsiteY34" fmla="*/ 55638 h 1937117"/>
                  <a:gd name="connsiteX35" fmla="*/ 1252642 w 1809760"/>
                  <a:gd name="connsiteY35" fmla="*/ 65855 h 1937117"/>
                  <a:gd name="connsiteX36" fmla="*/ 1232207 w 1809760"/>
                  <a:gd name="connsiteY36" fmla="*/ 86290 h 1937117"/>
                  <a:gd name="connsiteX37" fmla="*/ 1068711 w 1809760"/>
                  <a:gd name="connsiteY37" fmla="*/ 249786 h 1937117"/>
                  <a:gd name="connsiteX38" fmla="*/ 905214 w 1809760"/>
                  <a:gd name="connsiteY38" fmla="*/ 413282 h 1937117"/>
                  <a:gd name="connsiteX39" fmla="*/ 741718 w 1809760"/>
                  <a:gd name="connsiteY39" fmla="*/ 576779 h 1937117"/>
                  <a:gd name="connsiteX40" fmla="*/ 578222 w 1809760"/>
                  <a:gd name="connsiteY40" fmla="*/ 740275 h 1937117"/>
                  <a:gd name="connsiteX41" fmla="*/ 414725 w 1809760"/>
                  <a:gd name="connsiteY41" fmla="*/ 903771 h 1937117"/>
                  <a:gd name="connsiteX42" fmla="*/ 251229 w 1809760"/>
                  <a:gd name="connsiteY42" fmla="*/ 1067268 h 1937117"/>
                  <a:gd name="connsiteX43" fmla="*/ 87733 w 1809760"/>
                  <a:gd name="connsiteY43" fmla="*/ 1230764 h 1937117"/>
                  <a:gd name="connsiteX44" fmla="*/ 67298 w 1809760"/>
                  <a:gd name="connsiteY44" fmla="*/ 1251199 h 1937117"/>
                  <a:gd name="connsiteX45" fmla="*/ 57081 w 1809760"/>
                  <a:gd name="connsiteY45" fmla="*/ 1261416 h 1937117"/>
                  <a:gd name="connsiteX46" fmla="*/ 51972 w 1809760"/>
                  <a:gd name="connsiteY46" fmla="*/ 1266525 h 1937117"/>
                  <a:gd name="connsiteX47" fmla="*/ 50690 w 1809760"/>
                  <a:gd name="connsiteY47" fmla="*/ 1267807 h 1937117"/>
                  <a:gd name="connsiteX48" fmla="*/ 49211 w 1809760"/>
                  <a:gd name="connsiteY48" fmla="*/ 1269325 h 1937117"/>
                  <a:gd name="connsiteX49" fmla="*/ 45443 w 1809760"/>
                  <a:gd name="connsiteY49" fmla="*/ 1273310 h 1937117"/>
                  <a:gd name="connsiteX50" fmla="*/ 19762 w 1809760"/>
                  <a:gd name="connsiteY50" fmla="*/ 1309307 h 1937117"/>
                  <a:gd name="connsiteX51" fmla="*/ 4199 w 1809760"/>
                  <a:gd name="connsiteY51" fmla="*/ 1351123 h 1937117"/>
                  <a:gd name="connsiteX52" fmla="*/ 7533 w 1809760"/>
                  <a:gd name="connsiteY52" fmla="*/ 1438759 h 1937117"/>
                  <a:gd name="connsiteX53" fmla="*/ 53885 w 1809760"/>
                  <a:gd name="connsiteY53" fmla="*/ 1513357 h 1937117"/>
                  <a:gd name="connsiteX54" fmla="*/ 89922 w 1809760"/>
                  <a:gd name="connsiteY54" fmla="*/ 1539196 h 1937117"/>
                  <a:gd name="connsiteX55" fmla="*/ 99784 w 1809760"/>
                  <a:gd name="connsiteY55" fmla="*/ 1544068 h 1937117"/>
                  <a:gd name="connsiteX56" fmla="*/ 109864 w 1809760"/>
                  <a:gd name="connsiteY56" fmla="*/ 1548289 h 1937117"/>
                  <a:gd name="connsiteX57" fmla="*/ 124341 w 1809760"/>
                  <a:gd name="connsiteY57" fmla="*/ 1553615 h 1937117"/>
                  <a:gd name="connsiteX58" fmla="*/ 182154 w 1809760"/>
                  <a:gd name="connsiteY58" fmla="*/ 1573004 h 1937117"/>
                  <a:gd name="connsiteX59" fmla="*/ 300481 w 1809760"/>
                  <a:gd name="connsiteY59" fmla="*/ 1602216 h 1937117"/>
                  <a:gd name="connsiteX60" fmla="*/ 307957 w 1809760"/>
                  <a:gd name="connsiteY60" fmla="*/ 1603675 h 1937117"/>
                  <a:gd name="connsiteX61" fmla="*/ 315452 w 1809760"/>
                  <a:gd name="connsiteY61" fmla="*/ 1604977 h 1937117"/>
                  <a:gd name="connsiteX62" fmla="*/ 330462 w 1809760"/>
                  <a:gd name="connsiteY62" fmla="*/ 1607561 h 1937117"/>
                  <a:gd name="connsiteX63" fmla="*/ 360582 w 1809760"/>
                  <a:gd name="connsiteY63" fmla="*/ 1612137 h 1937117"/>
                  <a:gd name="connsiteX64" fmla="*/ 390819 w 1809760"/>
                  <a:gd name="connsiteY64" fmla="*/ 1615845 h 1937117"/>
                  <a:gd name="connsiteX65" fmla="*/ 421136 w 1809760"/>
                  <a:gd name="connsiteY65" fmla="*/ 1618784 h 1937117"/>
                  <a:gd name="connsiteX66" fmla="*/ 542777 w 1809760"/>
                  <a:gd name="connsiteY66" fmla="*/ 1622690 h 1937117"/>
                  <a:gd name="connsiteX67" fmla="*/ 784165 w 1809760"/>
                  <a:gd name="connsiteY67" fmla="*/ 1592551 h 1937117"/>
                  <a:gd name="connsiteX68" fmla="*/ 1013995 w 1809760"/>
                  <a:gd name="connsiteY68" fmla="*/ 1512173 h 1937117"/>
                  <a:gd name="connsiteX69" fmla="*/ 1121178 w 1809760"/>
                  <a:gd name="connsiteY69" fmla="*/ 1453986 h 1937117"/>
                  <a:gd name="connsiteX70" fmla="*/ 1221438 w 1809760"/>
                  <a:gd name="connsiteY70" fmla="*/ 1384477 h 1937117"/>
                  <a:gd name="connsiteX71" fmla="*/ 1284990 w 1809760"/>
                  <a:gd name="connsiteY71" fmla="*/ 1331280 h 1937117"/>
                  <a:gd name="connsiteX72" fmla="*/ 1391956 w 1809760"/>
                  <a:gd name="connsiteY72" fmla="*/ 1442960 h 1937117"/>
                  <a:gd name="connsiteX73" fmla="*/ 1318265 w 1809760"/>
                  <a:gd name="connsiteY73" fmla="*/ 1564976 h 1937117"/>
                  <a:gd name="connsiteX74" fmla="*/ 1369391 w 1809760"/>
                  <a:gd name="connsiteY74" fmla="*/ 1672080 h 1937117"/>
                  <a:gd name="connsiteX75" fmla="*/ 1099008 w 1809760"/>
                  <a:gd name="connsiteY75" fmla="*/ 1897669 h 1937117"/>
                  <a:gd name="connsiteX76" fmla="*/ 458455 w 1809760"/>
                  <a:gd name="connsiteY76" fmla="*/ 1897669 h 1937117"/>
                  <a:gd name="connsiteX77" fmla="*/ 438730 w 1809760"/>
                  <a:gd name="connsiteY77" fmla="*/ 1917393 h 1937117"/>
                  <a:gd name="connsiteX78" fmla="*/ 458455 w 1809760"/>
                  <a:gd name="connsiteY78" fmla="*/ 1937118 h 1937117"/>
                  <a:gd name="connsiteX79" fmla="*/ 1790036 w 1809760"/>
                  <a:gd name="connsiteY79" fmla="*/ 1937118 h 1937117"/>
                  <a:gd name="connsiteX80" fmla="*/ 1809760 w 1809760"/>
                  <a:gd name="connsiteY80" fmla="*/ 1917393 h 1937117"/>
                  <a:gd name="connsiteX81" fmla="*/ 1790036 w 1809760"/>
                  <a:gd name="connsiteY81" fmla="*/ 1897669 h 1937117"/>
                  <a:gd name="connsiteX82" fmla="*/ 1196861 w 1809760"/>
                  <a:gd name="connsiteY82" fmla="*/ 1352780 h 1937117"/>
                  <a:gd name="connsiteX83" fmla="*/ 1100171 w 1809760"/>
                  <a:gd name="connsiteY83" fmla="*/ 1419804 h 1937117"/>
                  <a:gd name="connsiteX84" fmla="*/ 996776 w 1809760"/>
                  <a:gd name="connsiteY84" fmla="*/ 1475920 h 1937117"/>
                  <a:gd name="connsiteX85" fmla="*/ 775053 w 1809760"/>
                  <a:gd name="connsiteY85" fmla="*/ 1553477 h 1937117"/>
                  <a:gd name="connsiteX86" fmla="*/ 542027 w 1809760"/>
                  <a:gd name="connsiteY86" fmla="*/ 1582570 h 1937117"/>
                  <a:gd name="connsiteX87" fmla="*/ 424528 w 1809760"/>
                  <a:gd name="connsiteY87" fmla="*/ 1578783 h 1937117"/>
                  <a:gd name="connsiteX88" fmla="*/ 395257 w 1809760"/>
                  <a:gd name="connsiteY88" fmla="*/ 1575963 h 1937117"/>
                  <a:gd name="connsiteX89" fmla="*/ 366065 w 1809760"/>
                  <a:gd name="connsiteY89" fmla="*/ 1572373 h 1937117"/>
                  <a:gd name="connsiteX90" fmla="*/ 336991 w 1809760"/>
                  <a:gd name="connsiteY90" fmla="*/ 1567954 h 1937117"/>
                  <a:gd name="connsiteX91" fmla="*/ 322494 w 1809760"/>
                  <a:gd name="connsiteY91" fmla="*/ 1565449 h 1937117"/>
                  <a:gd name="connsiteX92" fmla="*/ 315255 w 1809760"/>
                  <a:gd name="connsiteY92" fmla="*/ 1564187 h 1937117"/>
                  <a:gd name="connsiteX93" fmla="*/ 308036 w 1809760"/>
                  <a:gd name="connsiteY93" fmla="*/ 1562767 h 1937117"/>
                  <a:gd name="connsiteX94" fmla="*/ 193850 w 1809760"/>
                  <a:gd name="connsiteY94" fmla="*/ 1534580 h 1937117"/>
                  <a:gd name="connsiteX95" fmla="*/ 138070 w 1809760"/>
                  <a:gd name="connsiteY95" fmla="*/ 1515882 h 1937117"/>
                  <a:gd name="connsiteX96" fmla="*/ 124203 w 1809760"/>
                  <a:gd name="connsiteY96" fmla="*/ 1510793 h 1937117"/>
                  <a:gd name="connsiteX97" fmla="*/ 116432 w 1809760"/>
                  <a:gd name="connsiteY97" fmla="*/ 1507538 h 1937117"/>
                  <a:gd name="connsiteX98" fmla="*/ 108858 w 1809760"/>
                  <a:gd name="connsiteY98" fmla="*/ 1503791 h 1937117"/>
                  <a:gd name="connsiteX99" fmla="*/ 81322 w 1809760"/>
                  <a:gd name="connsiteY99" fmla="*/ 1484046 h 1937117"/>
                  <a:gd name="connsiteX100" fmla="*/ 45917 w 1809760"/>
                  <a:gd name="connsiteY100" fmla="*/ 1427003 h 1937117"/>
                  <a:gd name="connsiteX101" fmla="*/ 43353 w 1809760"/>
                  <a:gd name="connsiteY101" fmla="*/ 1359960 h 1937117"/>
                  <a:gd name="connsiteX102" fmla="*/ 74872 w 1809760"/>
                  <a:gd name="connsiteY102" fmla="*/ 1300608 h 1937117"/>
                  <a:gd name="connsiteX103" fmla="*/ 77772 w 1809760"/>
                  <a:gd name="connsiteY103" fmla="*/ 1297531 h 1937117"/>
                  <a:gd name="connsiteX104" fmla="*/ 80395 w 1809760"/>
                  <a:gd name="connsiteY104" fmla="*/ 1294888 h 1937117"/>
                  <a:gd name="connsiteX105" fmla="*/ 85504 w 1809760"/>
                  <a:gd name="connsiteY105" fmla="*/ 1289780 h 1937117"/>
                  <a:gd name="connsiteX106" fmla="*/ 95721 w 1809760"/>
                  <a:gd name="connsiteY106" fmla="*/ 1279562 h 1937117"/>
                  <a:gd name="connsiteX107" fmla="*/ 116156 w 1809760"/>
                  <a:gd name="connsiteY107" fmla="*/ 1259128 h 1937117"/>
                  <a:gd name="connsiteX108" fmla="*/ 279652 w 1809760"/>
                  <a:gd name="connsiteY108" fmla="*/ 1095632 h 1937117"/>
                  <a:gd name="connsiteX109" fmla="*/ 443148 w 1809760"/>
                  <a:gd name="connsiteY109" fmla="*/ 932135 h 1937117"/>
                  <a:gd name="connsiteX110" fmla="*/ 606645 w 1809760"/>
                  <a:gd name="connsiteY110" fmla="*/ 768639 h 1937117"/>
                  <a:gd name="connsiteX111" fmla="*/ 770141 w 1809760"/>
                  <a:gd name="connsiteY111" fmla="*/ 605142 h 1937117"/>
                  <a:gd name="connsiteX112" fmla="*/ 933637 w 1809760"/>
                  <a:gd name="connsiteY112" fmla="*/ 441646 h 1937117"/>
                  <a:gd name="connsiteX113" fmla="*/ 1097134 w 1809760"/>
                  <a:gd name="connsiteY113" fmla="*/ 278150 h 1937117"/>
                  <a:gd name="connsiteX114" fmla="*/ 1260630 w 1809760"/>
                  <a:gd name="connsiteY114" fmla="*/ 114653 h 1937117"/>
                  <a:gd name="connsiteX115" fmla="*/ 1281065 w 1809760"/>
                  <a:gd name="connsiteY115" fmla="*/ 94219 h 1937117"/>
                  <a:gd name="connsiteX116" fmla="*/ 1291282 w 1809760"/>
                  <a:gd name="connsiteY116" fmla="*/ 84002 h 1937117"/>
                  <a:gd name="connsiteX117" fmla="*/ 1296391 w 1809760"/>
                  <a:gd name="connsiteY117" fmla="*/ 78893 h 1937117"/>
                  <a:gd name="connsiteX118" fmla="*/ 1302525 w 1809760"/>
                  <a:gd name="connsiteY118" fmla="*/ 73133 h 1937117"/>
                  <a:gd name="connsiteX119" fmla="*/ 1362409 w 1809760"/>
                  <a:gd name="connsiteY119" fmla="*/ 42994 h 1937117"/>
                  <a:gd name="connsiteX120" fmla="*/ 1429255 w 1809760"/>
                  <a:gd name="connsiteY120" fmla="*/ 46032 h 1937117"/>
                  <a:gd name="connsiteX121" fmla="*/ 1486219 w 1809760"/>
                  <a:gd name="connsiteY121" fmla="*/ 81299 h 1937117"/>
                  <a:gd name="connsiteX122" fmla="*/ 1506141 w 1809760"/>
                  <a:gd name="connsiteY122" fmla="*/ 108539 h 1937117"/>
                  <a:gd name="connsiteX123" fmla="*/ 1509968 w 1809760"/>
                  <a:gd name="connsiteY123" fmla="*/ 116034 h 1937117"/>
                  <a:gd name="connsiteX124" fmla="*/ 1510895 w 1809760"/>
                  <a:gd name="connsiteY124" fmla="*/ 117928 h 1937117"/>
                  <a:gd name="connsiteX125" fmla="*/ 1511644 w 1809760"/>
                  <a:gd name="connsiteY125" fmla="*/ 119624 h 1937117"/>
                  <a:gd name="connsiteX126" fmla="*/ 1513124 w 1809760"/>
                  <a:gd name="connsiteY126" fmla="*/ 122997 h 1937117"/>
                  <a:gd name="connsiteX127" fmla="*/ 1519041 w 1809760"/>
                  <a:gd name="connsiteY127" fmla="*/ 136488 h 1937117"/>
                  <a:gd name="connsiteX128" fmla="*/ 1524761 w 1809760"/>
                  <a:gd name="connsiteY128" fmla="*/ 150059 h 1937117"/>
                  <a:gd name="connsiteX129" fmla="*/ 1530323 w 1809760"/>
                  <a:gd name="connsiteY129" fmla="*/ 163688 h 1937117"/>
                  <a:gd name="connsiteX130" fmla="*/ 1540817 w 1809760"/>
                  <a:gd name="connsiteY130" fmla="*/ 191224 h 1937117"/>
                  <a:gd name="connsiteX131" fmla="*/ 1574486 w 1809760"/>
                  <a:gd name="connsiteY131" fmla="*/ 304107 h 1937117"/>
                  <a:gd name="connsiteX132" fmla="*/ 1601706 w 1809760"/>
                  <a:gd name="connsiteY132" fmla="*/ 537704 h 1937117"/>
                  <a:gd name="connsiteX133" fmla="*/ 1574546 w 1809760"/>
                  <a:gd name="connsiteY133" fmla="*/ 771321 h 1937117"/>
                  <a:gd name="connsiteX134" fmla="*/ 1494227 w 1809760"/>
                  <a:gd name="connsiteY134" fmla="*/ 992374 h 1937117"/>
                  <a:gd name="connsiteX135" fmla="*/ 1435527 w 1809760"/>
                  <a:gd name="connsiteY135" fmla="*/ 1094448 h 1937117"/>
                  <a:gd name="connsiteX136" fmla="*/ 1419097 w 1809760"/>
                  <a:gd name="connsiteY136" fmla="*/ 1118887 h 1937117"/>
                  <a:gd name="connsiteX137" fmla="*/ 1401996 w 1809760"/>
                  <a:gd name="connsiteY137" fmla="*/ 1142872 h 1937117"/>
                  <a:gd name="connsiteX138" fmla="*/ 1384184 w 1809760"/>
                  <a:gd name="connsiteY138" fmla="*/ 1166304 h 1937117"/>
                  <a:gd name="connsiteX139" fmla="*/ 1375032 w 1809760"/>
                  <a:gd name="connsiteY139" fmla="*/ 1177823 h 1937117"/>
                  <a:gd name="connsiteX140" fmla="*/ 1370436 w 1809760"/>
                  <a:gd name="connsiteY140" fmla="*/ 1183583 h 1937117"/>
                  <a:gd name="connsiteX141" fmla="*/ 1365722 w 1809760"/>
                  <a:gd name="connsiteY141" fmla="*/ 1189244 h 1937117"/>
                  <a:gd name="connsiteX142" fmla="*/ 1285858 w 1809760"/>
                  <a:gd name="connsiteY142" fmla="*/ 1275696 h 1937117"/>
                  <a:gd name="connsiteX143" fmla="*/ 1196940 w 1809760"/>
                  <a:gd name="connsiteY143" fmla="*/ 1352760 h 1937117"/>
                  <a:gd name="connsiteX144" fmla="*/ 1357734 w 1809760"/>
                  <a:gd name="connsiteY144" fmla="*/ 1564976 h 1937117"/>
                  <a:gd name="connsiteX145" fmla="*/ 1456258 w 1809760"/>
                  <a:gd name="connsiteY145" fmla="*/ 1466452 h 1937117"/>
                  <a:gd name="connsiteX146" fmla="*/ 1554782 w 1809760"/>
                  <a:gd name="connsiteY146" fmla="*/ 1564976 h 1937117"/>
                  <a:gd name="connsiteX147" fmla="*/ 1456258 w 1809760"/>
                  <a:gd name="connsiteY147" fmla="*/ 1663500 h 1937117"/>
                  <a:gd name="connsiteX148" fmla="*/ 1357734 w 1809760"/>
                  <a:gd name="connsiteY148" fmla="*/ 1564976 h 1937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</a:cxnLst>
                <a:rect l="l" t="t" r="r" b="b"/>
                <a:pathLst>
                  <a:path w="1809760" h="1937117">
                    <a:moveTo>
                      <a:pt x="1790036" y="1897669"/>
                    </a:moveTo>
                    <a:lnTo>
                      <a:pt x="1160607" y="1897669"/>
                    </a:lnTo>
                    <a:lnTo>
                      <a:pt x="1405605" y="1693264"/>
                    </a:lnTo>
                    <a:cubicBezTo>
                      <a:pt x="1421306" y="1699477"/>
                      <a:pt x="1438387" y="1702949"/>
                      <a:pt x="1456258" y="1702949"/>
                    </a:cubicBezTo>
                    <a:cubicBezTo>
                      <a:pt x="1532335" y="1702949"/>
                      <a:pt x="1594231" y="1641053"/>
                      <a:pt x="1594231" y="1564976"/>
                    </a:cubicBezTo>
                    <a:cubicBezTo>
                      <a:pt x="1594231" y="1488899"/>
                      <a:pt x="1532335" y="1427003"/>
                      <a:pt x="1456258" y="1427003"/>
                    </a:cubicBezTo>
                    <a:cubicBezTo>
                      <a:pt x="1448407" y="1427003"/>
                      <a:pt x="1440715" y="1427693"/>
                      <a:pt x="1433220" y="1428956"/>
                    </a:cubicBezTo>
                    <a:lnTo>
                      <a:pt x="1313867" y="1304336"/>
                    </a:lnTo>
                    <a:cubicBezTo>
                      <a:pt x="1343019" y="1276012"/>
                      <a:pt x="1370634" y="1246129"/>
                      <a:pt x="1396552" y="1214807"/>
                    </a:cubicBezTo>
                    <a:lnTo>
                      <a:pt x="1401443" y="1208929"/>
                    </a:lnTo>
                    <a:lnTo>
                      <a:pt x="1406217" y="1202953"/>
                    </a:lnTo>
                    <a:lnTo>
                      <a:pt x="1415724" y="1190980"/>
                    </a:lnTo>
                    <a:cubicBezTo>
                      <a:pt x="1422016" y="1182972"/>
                      <a:pt x="1428052" y="1174766"/>
                      <a:pt x="1434226" y="1166640"/>
                    </a:cubicBezTo>
                    <a:cubicBezTo>
                      <a:pt x="1440143" y="1158336"/>
                      <a:pt x="1446198" y="1150150"/>
                      <a:pt x="1451978" y="1141747"/>
                    </a:cubicBezTo>
                    <a:cubicBezTo>
                      <a:pt x="1457678" y="1133286"/>
                      <a:pt x="1463595" y="1124982"/>
                      <a:pt x="1469039" y="1116362"/>
                    </a:cubicBezTo>
                    <a:cubicBezTo>
                      <a:pt x="1491308" y="1082199"/>
                      <a:pt x="1511703" y="1046794"/>
                      <a:pt x="1530027" y="1010323"/>
                    </a:cubicBezTo>
                    <a:cubicBezTo>
                      <a:pt x="1566498" y="937303"/>
                      <a:pt x="1594724" y="860062"/>
                      <a:pt x="1613521" y="780533"/>
                    </a:cubicBezTo>
                    <a:cubicBezTo>
                      <a:pt x="1632240" y="701003"/>
                      <a:pt x="1641707" y="619305"/>
                      <a:pt x="1641767" y="537685"/>
                    </a:cubicBezTo>
                    <a:cubicBezTo>
                      <a:pt x="1641727" y="456084"/>
                      <a:pt x="1632260" y="374366"/>
                      <a:pt x="1613462" y="294856"/>
                    </a:cubicBezTo>
                    <a:cubicBezTo>
                      <a:pt x="1604073" y="255092"/>
                      <a:pt x="1592377" y="215879"/>
                      <a:pt x="1578451" y="177496"/>
                    </a:cubicBezTo>
                    <a:cubicBezTo>
                      <a:pt x="1574802" y="167949"/>
                      <a:pt x="1571311" y="158363"/>
                      <a:pt x="1567543" y="148875"/>
                    </a:cubicBezTo>
                    <a:lnTo>
                      <a:pt x="1561764" y="134693"/>
                    </a:lnTo>
                    <a:cubicBezTo>
                      <a:pt x="1559851" y="129960"/>
                      <a:pt x="1557918" y="125245"/>
                      <a:pt x="1555827" y="120590"/>
                    </a:cubicBezTo>
                    <a:lnTo>
                      <a:pt x="1549673" y="106566"/>
                    </a:lnTo>
                    <a:lnTo>
                      <a:pt x="1548134" y="103055"/>
                    </a:lnTo>
                    <a:lnTo>
                      <a:pt x="1547345" y="101280"/>
                    </a:lnTo>
                    <a:lnTo>
                      <a:pt x="1546162" y="98834"/>
                    </a:lnTo>
                    <a:cubicBezTo>
                      <a:pt x="1544525" y="95580"/>
                      <a:pt x="1543065" y="92286"/>
                      <a:pt x="1541191" y="89130"/>
                    </a:cubicBezTo>
                    <a:cubicBezTo>
                      <a:pt x="1534150" y="76368"/>
                      <a:pt x="1525412" y="64336"/>
                      <a:pt x="1515234" y="53646"/>
                    </a:cubicBezTo>
                    <a:cubicBezTo>
                      <a:pt x="1494878" y="32166"/>
                      <a:pt x="1468941" y="16268"/>
                      <a:pt x="1440991" y="7668"/>
                    </a:cubicBezTo>
                    <a:cubicBezTo>
                      <a:pt x="1413022" y="-932"/>
                      <a:pt x="1382922" y="-2372"/>
                      <a:pt x="1354045" y="3723"/>
                    </a:cubicBezTo>
                    <a:cubicBezTo>
                      <a:pt x="1339627" y="6760"/>
                      <a:pt x="1325524" y="11691"/>
                      <a:pt x="1312328" y="18358"/>
                    </a:cubicBezTo>
                    <a:cubicBezTo>
                      <a:pt x="1299113" y="25006"/>
                      <a:pt x="1286824" y="33408"/>
                      <a:pt x="1275917" y="43053"/>
                    </a:cubicBezTo>
                    <a:cubicBezTo>
                      <a:pt x="1273254" y="45519"/>
                      <a:pt x="1270591" y="48004"/>
                      <a:pt x="1267987" y="50509"/>
                    </a:cubicBezTo>
                    <a:lnTo>
                      <a:pt x="1262859" y="55638"/>
                    </a:lnTo>
                    <a:lnTo>
                      <a:pt x="1252642" y="65855"/>
                    </a:lnTo>
                    <a:lnTo>
                      <a:pt x="1232207" y="86290"/>
                    </a:lnTo>
                    <a:lnTo>
                      <a:pt x="1068711" y="249786"/>
                    </a:lnTo>
                    <a:lnTo>
                      <a:pt x="905214" y="413282"/>
                    </a:lnTo>
                    <a:lnTo>
                      <a:pt x="741718" y="576779"/>
                    </a:lnTo>
                    <a:lnTo>
                      <a:pt x="578222" y="740275"/>
                    </a:lnTo>
                    <a:lnTo>
                      <a:pt x="414725" y="903771"/>
                    </a:lnTo>
                    <a:lnTo>
                      <a:pt x="251229" y="1067268"/>
                    </a:lnTo>
                    <a:lnTo>
                      <a:pt x="87733" y="1230764"/>
                    </a:lnTo>
                    <a:lnTo>
                      <a:pt x="67298" y="1251199"/>
                    </a:lnTo>
                    <a:lnTo>
                      <a:pt x="57081" y="1261416"/>
                    </a:lnTo>
                    <a:lnTo>
                      <a:pt x="51972" y="1266525"/>
                    </a:lnTo>
                    <a:lnTo>
                      <a:pt x="50690" y="1267807"/>
                    </a:lnTo>
                    <a:lnTo>
                      <a:pt x="49211" y="1269325"/>
                    </a:lnTo>
                    <a:lnTo>
                      <a:pt x="45443" y="1273310"/>
                    </a:lnTo>
                    <a:cubicBezTo>
                      <a:pt x="35502" y="1284000"/>
                      <a:pt x="26745" y="1296131"/>
                      <a:pt x="19762" y="1309307"/>
                    </a:cubicBezTo>
                    <a:cubicBezTo>
                      <a:pt x="12760" y="1322463"/>
                      <a:pt x="7493" y="1336606"/>
                      <a:pt x="4199" y="1351123"/>
                    </a:cubicBezTo>
                    <a:cubicBezTo>
                      <a:pt x="-2448" y="1380197"/>
                      <a:pt x="-1106" y="1410612"/>
                      <a:pt x="7533" y="1438759"/>
                    </a:cubicBezTo>
                    <a:cubicBezTo>
                      <a:pt x="16113" y="1466906"/>
                      <a:pt x="32129" y="1493001"/>
                      <a:pt x="53885" y="1513357"/>
                    </a:cubicBezTo>
                    <a:cubicBezTo>
                      <a:pt x="64734" y="1523535"/>
                      <a:pt x="76943" y="1532253"/>
                      <a:pt x="89922" y="1539196"/>
                    </a:cubicBezTo>
                    <a:cubicBezTo>
                      <a:pt x="93196" y="1540853"/>
                      <a:pt x="96490" y="1542490"/>
                      <a:pt x="99784" y="1544068"/>
                    </a:cubicBezTo>
                    <a:cubicBezTo>
                      <a:pt x="103118" y="1545528"/>
                      <a:pt x="106491" y="1546908"/>
                      <a:pt x="109864" y="1548289"/>
                    </a:cubicBezTo>
                    <a:lnTo>
                      <a:pt x="124341" y="1553615"/>
                    </a:lnTo>
                    <a:cubicBezTo>
                      <a:pt x="143415" y="1560656"/>
                      <a:pt x="162745" y="1566948"/>
                      <a:pt x="182154" y="1573004"/>
                    </a:cubicBezTo>
                    <a:cubicBezTo>
                      <a:pt x="221051" y="1584819"/>
                      <a:pt x="260578" y="1594543"/>
                      <a:pt x="300481" y="1602216"/>
                    </a:cubicBezTo>
                    <a:lnTo>
                      <a:pt x="307957" y="1603675"/>
                    </a:lnTo>
                    <a:lnTo>
                      <a:pt x="315452" y="1604977"/>
                    </a:lnTo>
                    <a:lnTo>
                      <a:pt x="330462" y="1607561"/>
                    </a:lnTo>
                    <a:cubicBezTo>
                      <a:pt x="340482" y="1609238"/>
                      <a:pt x="350542" y="1610618"/>
                      <a:pt x="360582" y="1612137"/>
                    </a:cubicBezTo>
                    <a:cubicBezTo>
                      <a:pt x="370661" y="1613380"/>
                      <a:pt x="380720" y="1614780"/>
                      <a:pt x="390819" y="1615845"/>
                    </a:cubicBezTo>
                    <a:cubicBezTo>
                      <a:pt x="400918" y="1616832"/>
                      <a:pt x="411017" y="1618074"/>
                      <a:pt x="421136" y="1618784"/>
                    </a:cubicBezTo>
                    <a:cubicBezTo>
                      <a:pt x="461610" y="1622157"/>
                      <a:pt x="502223" y="1623498"/>
                      <a:pt x="542777" y="1622690"/>
                    </a:cubicBezTo>
                    <a:cubicBezTo>
                      <a:pt x="623923" y="1621191"/>
                      <a:pt x="705011" y="1611092"/>
                      <a:pt x="784165" y="1592551"/>
                    </a:cubicBezTo>
                    <a:cubicBezTo>
                      <a:pt x="863300" y="1574029"/>
                      <a:pt x="940580" y="1547204"/>
                      <a:pt x="1013995" y="1512173"/>
                    </a:cubicBezTo>
                    <a:cubicBezTo>
                      <a:pt x="1050722" y="1494698"/>
                      <a:pt x="1086522" y="1475269"/>
                      <a:pt x="1121178" y="1453986"/>
                    </a:cubicBezTo>
                    <a:cubicBezTo>
                      <a:pt x="1155854" y="1432723"/>
                      <a:pt x="1189287" y="1409409"/>
                      <a:pt x="1221438" y="1384477"/>
                    </a:cubicBezTo>
                    <a:cubicBezTo>
                      <a:pt x="1243253" y="1367534"/>
                      <a:pt x="1264457" y="1349782"/>
                      <a:pt x="1284990" y="1331280"/>
                    </a:cubicBezTo>
                    <a:lnTo>
                      <a:pt x="1391956" y="1442960"/>
                    </a:lnTo>
                    <a:cubicBezTo>
                      <a:pt x="1348168" y="1466117"/>
                      <a:pt x="1318265" y="1512114"/>
                      <a:pt x="1318265" y="1564976"/>
                    </a:cubicBezTo>
                    <a:cubicBezTo>
                      <a:pt x="1318265" y="1608173"/>
                      <a:pt x="1338226" y="1646754"/>
                      <a:pt x="1369391" y="1672080"/>
                    </a:cubicBezTo>
                    <a:lnTo>
                      <a:pt x="1099008" y="1897669"/>
                    </a:lnTo>
                    <a:lnTo>
                      <a:pt x="458455" y="1897669"/>
                    </a:lnTo>
                    <a:cubicBezTo>
                      <a:pt x="447567" y="1897669"/>
                      <a:pt x="438730" y="1906506"/>
                      <a:pt x="438730" y="1917393"/>
                    </a:cubicBezTo>
                    <a:cubicBezTo>
                      <a:pt x="438730" y="1928281"/>
                      <a:pt x="447567" y="1937118"/>
                      <a:pt x="458455" y="1937118"/>
                    </a:cubicBezTo>
                    <a:lnTo>
                      <a:pt x="1790036" y="1937118"/>
                    </a:lnTo>
                    <a:cubicBezTo>
                      <a:pt x="1800924" y="1937118"/>
                      <a:pt x="1809760" y="1928281"/>
                      <a:pt x="1809760" y="1917393"/>
                    </a:cubicBezTo>
                    <a:cubicBezTo>
                      <a:pt x="1809760" y="1906506"/>
                      <a:pt x="1800924" y="1897669"/>
                      <a:pt x="1790036" y="1897669"/>
                    </a:cubicBezTo>
                    <a:close/>
                    <a:moveTo>
                      <a:pt x="1196861" y="1352780"/>
                    </a:moveTo>
                    <a:cubicBezTo>
                      <a:pt x="1165854" y="1376824"/>
                      <a:pt x="1133624" y="1399290"/>
                      <a:pt x="1100171" y="1419804"/>
                    </a:cubicBezTo>
                    <a:cubicBezTo>
                      <a:pt x="1066738" y="1440337"/>
                      <a:pt x="1032201" y="1459075"/>
                      <a:pt x="996776" y="1475920"/>
                    </a:cubicBezTo>
                    <a:cubicBezTo>
                      <a:pt x="925965" y="1509728"/>
                      <a:pt x="851426" y="1535606"/>
                      <a:pt x="775053" y="1553477"/>
                    </a:cubicBezTo>
                    <a:cubicBezTo>
                      <a:pt x="698679" y="1571367"/>
                      <a:pt x="620412" y="1581130"/>
                      <a:pt x="542027" y="1582570"/>
                    </a:cubicBezTo>
                    <a:cubicBezTo>
                      <a:pt x="502835" y="1583339"/>
                      <a:pt x="463603" y="1582057"/>
                      <a:pt x="424528" y="1578783"/>
                    </a:cubicBezTo>
                    <a:cubicBezTo>
                      <a:pt x="414745" y="1578112"/>
                      <a:pt x="405021" y="1576909"/>
                      <a:pt x="395257" y="1575963"/>
                    </a:cubicBezTo>
                    <a:cubicBezTo>
                      <a:pt x="385513" y="1574937"/>
                      <a:pt x="375789" y="1573576"/>
                      <a:pt x="366065" y="1572373"/>
                    </a:cubicBezTo>
                    <a:cubicBezTo>
                      <a:pt x="356380" y="1570913"/>
                      <a:pt x="346656" y="1569572"/>
                      <a:pt x="336991" y="1567954"/>
                    </a:cubicBezTo>
                    <a:lnTo>
                      <a:pt x="322494" y="1565449"/>
                    </a:lnTo>
                    <a:lnTo>
                      <a:pt x="315255" y="1564187"/>
                    </a:lnTo>
                    <a:lnTo>
                      <a:pt x="308036" y="1562767"/>
                    </a:lnTo>
                    <a:cubicBezTo>
                      <a:pt x="269514" y="1555350"/>
                      <a:pt x="231386" y="1545981"/>
                      <a:pt x="193850" y="1534580"/>
                    </a:cubicBezTo>
                    <a:cubicBezTo>
                      <a:pt x="175132" y="1528742"/>
                      <a:pt x="156473" y="1522687"/>
                      <a:pt x="138070" y="1515882"/>
                    </a:cubicBezTo>
                    <a:lnTo>
                      <a:pt x="124203" y="1510793"/>
                    </a:lnTo>
                    <a:lnTo>
                      <a:pt x="116432" y="1507538"/>
                    </a:lnTo>
                    <a:lnTo>
                      <a:pt x="108858" y="1503791"/>
                    </a:lnTo>
                    <a:cubicBezTo>
                      <a:pt x="98897" y="1498465"/>
                      <a:pt x="89587" y="1491818"/>
                      <a:pt x="81322" y="1484046"/>
                    </a:cubicBezTo>
                    <a:cubicBezTo>
                      <a:pt x="64754" y="1468523"/>
                      <a:pt x="52485" y="1448601"/>
                      <a:pt x="45917" y="1427003"/>
                    </a:cubicBezTo>
                    <a:cubicBezTo>
                      <a:pt x="39289" y="1405424"/>
                      <a:pt x="38264" y="1382090"/>
                      <a:pt x="43353" y="1359960"/>
                    </a:cubicBezTo>
                    <a:cubicBezTo>
                      <a:pt x="48323" y="1337809"/>
                      <a:pt x="59487" y="1317039"/>
                      <a:pt x="74872" y="1300608"/>
                    </a:cubicBezTo>
                    <a:lnTo>
                      <a:pt x="77772" y="1297531"/>
                    </a:lnTo>
                    <a:cubicBezTo>
                      <a:pt x="78738" y="1296506"/>
                      <a:pt x="79508" y="1295776"/>
                      <a:pt x="80395" y="1294888"/>
                    </a:cubicBezTo>
                    <a:lnTo>
                      <a:pt x="85504" y="1289780"/>
                    </a:lnTo>
                    <a:lnTo>
                      <a:pt x="95721" y="1279562"/>
                    </a:lnTo>
                    <a:lnTo>
                      <a:pt x="116156" y="1259128"/>
                    </a:lnTo>
                    <a:lnTo>
                      <a:pt x="279652" y="1095632"/>
                    </a:lnTo>
                    <a:lnTo>
                      <a:pt x="443148" y="932135"/>
                    </a:lnTo>
                    <a:lnTo>
                      <a:pt x="606645" y="768639"/>
                    </a:lnTo>
                    <a:lnTo>
                      <a:pt x="770141" y="605142"/>
                    </a:lnTo>
                    <a:lnTo>
                      <a:pt x="933637" y="441646"/>
                    </a:lnTo>
                    <a:lnTo>
                      <a:pt x="1097134" y="278150"/>
                    </a:lnTo>
                    <a:lnTo>
                      <a:pt x="1260630" y="114653"/>
                    </a:lnTo>
                    <a:lnTo>
                      <a:pt x="1281065" y="94219"/>
                    </a:lnTo>
                    <a:lnTo>
                      <a:pt x="1291282" y="84002"/>
                    </a:lnTo>
                    <a:lnTo>
                      <a:pt x="1296391" y="78893"/>
                    </a:lnTo>
                    <a:lnTo>
                      <a:pt x="1302525" y="73133"/>
                    </a:lnTo>
                    <a:cubicBezTo>
                      <a:pt x="1319330" y="58182"/>
                      <a:pt x="1340278" y="47590"/>
                      <a:pt x="1362409" y="42994"/>
                    </a:cubicBezTo>
                    <a:cubicBezTo>
                      <a:pt x="1384520" y="38320"/>
                      <a:pt x="1407716" y="39404"/>
                      <a:pt x="1429255" y="46032"/>
                    </a:cubicBezTo>
                    <a:cubicBezTo>
                      <a:pt x="1450774" y="52679"/>
                      <a:pt x="1470657" y="64869"/>
                      <a:pt x="1486219" y="81299"/>
                    </a:cubicBezTo>
                    <a:cubicBezTo>
                      <a:pt x="1494010" y="89485"/>
                      <a:pt x="1500717" y="98696"/>
                      <a:pt x="1506141" y="108539"/>
                    </a:cubicBezTo>
                    <a:cubicBezTo>
                      <a:pt x="1507601" y="110945"/>
                      <a:pt x="1508705" y="113529"/>
                      <a:pt x="1509968" y="116034"/>
                    </a:cubicBezTo>
                    <a:lnTo>
                      <a:pt x="1510895" y="117928"/>
                    </a:lnTo>
                    <a:lnTo>
                      <a:pt x="1511644" y="119624"/>
                    </a:lnTo>
                    <a:lnTo>
                      <a:pt x="1513124" y="122997"/>
                    </a:lnTo>
                    <a:lnTo>
                      <a:pt x="1519041" y="136488"/>
                    </a:lnTo>
                    <a:cubicBezTo>
                      <a:pt x="1521053" y="140966"/>
                      <a:pt x="1522927" y="145502"/>
                      <a:pt x="1524761" y="150059"/>
                    </a:cubicBezTo>
                    <a:lnTo>
                      <a:pt x="1530323" y="163688"/>
                    </a:lnTo>
                    <a:cubicBezTo>
                      <a:pt x="1533953" y="172801"/>
                      <a:pt x="1537325" y="182052"/>
                      <a:pt x="1540817" y="191224"/>
                    </a:cubicBezTo>
                    <a:cubicBezTo>
                      <a:pt x="1554210" y="228148"/>
                      <a:pt x="1565453" y="265881"/>
                      <a:pt x="1574486" y="304107"/>
                    </a:cubicBezTo>
                    <a:cubicBezTo>
                      <a:pt x="1592554" y="380579"/>
                      <a:pt x="1601667" y="459161"/>
                      <a:pt x="1601706" y="537704"/>
                    </a:cubicBezTo>
                    <a:cubicBezTo>
                      <a:pt x="1601647" y="616247"/>
                      <a:pt x="1592534" y="694830"/>
                      <a:pt x="1574546" y="771321"/>
                    </a:cubicBezTo>
                    <a:cubicBezTo>
                      <a:pt x="1556458" y="847793"/>
                      <a:pt x="1529317" y="922095"/>
                      <a:pt x="1494227" y="992374"/>
                    </a:cubicBezTo>
                    <a:cubicBezTo>
                      <a:pt x="1476594" y="1027464"/>
                      <a:pt x="1456968" y="1061548"/>
                      <a:pt x="1435527" y="1094448"/>
                    </a:cubicBezTo>
                    <a:cubicBezTo>
                      <a:pt x="1430281" y="1102752"/>
                      <a:pt x="1424580" y="1110741"/>
                      <a:pt x="1419097" y="1118887"/>
                    </a:cubicBezTo>
                    <a:cubicBezTo>
                      <a:pt x="1413534" y="1126974"/>
                      <a:pt x="1407696" y="1134864"/>
                      <a:pt x="1401996" y="1142872"/>
                    </a:cubicBezTo>
                    <a:cubicBezTo>
                      <a:pt x="1396059" y="1150683"/>
                      <a:pt x="1390240" y="1158592"/>
                      <a:pt x="1384184" y="1166304"/>
                    </a:cubicBezTo>
                    <a:lnTo>
                      <a:pt x="1375032" y="1177823"/>
                    </a:lnTo>
                    <a:lnTo>
                      <a:pt x="1370436" y="1183583"/>
                    </a:lnTo>
                    <a:lnTo>
                      <a:pt x="1365722" y="1189244"/>
                    </a:lnTo>
                    <a:cubicBezTo>
                      <a:pt x="1340692" y="1219482"/>
                      <a:pt x="1314024" y="1248358"/>
                      <a:pt x="1285858" y="1275696"/>
                    </a:cubicBezTo>
                    <a:cubicBezTo>
                      <a:pt x="1257672" y="1303015"/>
                      <a:pt x="1227927" y="1328696"/>
                      <a:pt x="1196940" y="1352760"/>
                    </a:cubicBezTo>
                    <a:close/>
                    <a:moveTo>
                      <a:pt x="1357734" y="1564976"/>
                    </a:moveTo>
                    <a:cubicBezTo>
                      <a:pt x="1357734" y="1510655"/>
                      <a:pt x="1401937" y="1466452"/>
                      <a:pt x="1456258" y="1466452"/>
                    </a:cubicBezTo>
                    <a:cubicBezTo>
                      <a:pt x="1510579" y="1466452"/>
                      <a:pt x="1554782" y="1510655"/>
                      <a:pt x="1554782" y="1564976"/>
                    </a:cubicBezTo>
                    <a:cubicBezTo>
                      <a:pt x="1554782" y="1619297"/>
                      <a:pt x="1510579" y="1663500"/>
                      <a:pt x="1456258" y="1663500"/>
                    </a:cubicBezTo>
                    <a:cubicBezTo>
                      <a:pt x="1401937" y="1663500"/>
                      <a:pt x="1357734" y="1619297"/>
                      <a:pt x="1357734" y="1564976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976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232" name="Freeform 5">
                <a:extLst>
                  <a:ext uri="{FF2B5EF4-FFF2-40B4-BE49-F238E27FC236}">
                    <a16:creationId xmlns:a16="http://schemas.microsoft.com/office/drawing/2014/main" id="{7C8F4881-2552-9118-2787-74DC8263C792}"/>
                  </a:ext>
                </a:extLst>
              </p:cNvPr>
              <p:cNvSpPr/>
              <p:nvPr/>
            </p:nvSpPr>
            <p:spPr>
              <a:xfrm>
                <a:off x="2486026" y="2924050"/>
                <a:ext cx="1483979" cy="1465057"/>
              </a:xfrm>
              <a:custGeom>
                <a:avLst/>
                <a:gdLst>
                  <a:gd name="connsiteX0" fmla="*/ 1261408 w 1483979"/>
                  <a:gd name="connsiteY0" fmla="*/ 1080139 h 1465057"/>
                  <a:gd name="connsiteX1" fmla="*/ 1265826 w 1483979"/>
                  <a:gd name="connsiteY1" fmla="*/ 1074597 h 1465057"/>
                  <a:gd name="connsiteX2" fmla="*/ 1274643 w 1483979"/>
                  <a:gd name="connsiteY2" fmla="*/ 1063492 h 1465057"/>
                  <a:gd name="connsiteX3" fmla="*/ 1291804 w 1483979"/>
                  <a:gd name="connsiteY3" fmla="*/ 1040927 h 1465057"/>
                  <a:gd name="connsiteX4" fmla="*/ 1308254 w 1483979"/>
                  <a:gd name="connsiteY4" fmla="*/ 1017829 h 1465057"/>
                  <a:gd name="connsiteX5" fmla="*/ 1324073 w 1483979"/>
                  <a:gd name="connsiteY5" fmla="*/ 994298 h 1465057"/>
                  <a:gd name="connsiteX6" fmla="*/ 1380583 w 1483979"/>
                  <a:gd name="connsiteY6" fmla="*/ 896050 h 1465057"/>
                  <a:gd name="connsiteX7" fmla="*/ 1457844 w 1483979"/>
                  <a:gd name="connsiteY7" fmla="*/ 683460 h 1465057"/>
                  <a:gd name="connsiteX8" fmla="*/ 1483979 w 1483979"/>
                  <a:gd name="connsiteY8" fmla="*/ 458778 h 1465057"/>
                  <a:gd name="connsiteX9" fmla="*/ 1457805 w 1483979"/>
                  <a:gd name="connsiteY9" fmla="*/ 234096 h 1465057"/>
                  <a:gd name="connsiteX10" fmla="*/ 1425437 w 1483979"/>
                  <a:gd name="connsiteY10" fmla="*/ 125552 h 1465057"/>
                  <a:gd name="connsiteX11" fmla="*/ 1415338 w 1483979"/>
                  <a:gd name="connsiteY11" fmla="*/ 99082 h 1465057"/>
                  <a:gd name="connsiteX12" fmla="*/ 1409973 w 1483979"/>
                  <a:gd name="connsiteY12" fmla="*/ 85965 h 1465057"/>
                  <a:gd name="connsiteX13" fmla="*/ 1404470 w 1483979"/>
                  <a:gd name="connsiteY13" fmla="*/ 72908 h 1465057"/>
                  <a:gd name="connsiteX14" fmla="*/ 1398769 w 1483979"/>
                  <a:gd name="connsiteY14" fmla="*/ 59929 h 1465057"/>
                  <a:gd name="connsiteX15" fmla="*/ 1397349 w 1483979"/>
                  <a:gd name="connsiteY15" fmla="*/ 56694 h 1465057"/>
                  <a:gd name="connsiteX16" fmla="*/ 1396639 w 1483979"/>
                  <a:gd name="connsiteY16" fmla="*/ 55077 h 1465057"/>
                  <a:gd name="connsiteX17" fmla="*/ 1395969 w 1483979"/>
                  <a:gd name="connsiteY17" fmla="*/ 53736 h 1465057"/>
                  <a:gd name="connsiteX18" fmla="*/ 1393227 w 1483979"/>
                  <a:gd name="connsiteY18" fmla="*/ 48370 h 1465057"/>
                  <a:gd name="connsiteX19" fmla="*/ 1379144 w 1483979"/>
                  <a:gd name="connsiteY19" fmla="*/ 29100 h 1465057"/>
                  <a:gd name="connsiteX20" fmla="*/ 1338886 w 1483979"/>
                  <a:gd name="connsiteY20" fmla="*/ 4188 h 1465057"/>
                  <a:gd name="connsiteX21" fmla="*/ 1291488 w 1483979"/>
                  <a:gd name="connsiteY21" fmla="*/ 2018 h 1465057"/>
                  <a:gd name="connsiteX22" fmla="*/ 1249258 w 1483979"/>
                  <a:gd name="connsiteY22" fmla="*/ 23281 h 1465057"/>
                  <a:gd name="connsiteX23" fmla="*/ 1244859 w 1483979"/>
                  <a:gd name="connsiteY23" fmla="*/ 27403 h 1465057"/>
                  <a:gd name="connsiteX24" fmla="*/ 1239751 w 1483979"/>
                  <a:gd name="connsiteY24" fmla="*/ 32512 h 1465057"/>
                  <a:gd name="connsiteX25" fmla="*/ 1229533 w 1483979"/>
                  <a:gd name="connsiteY25" fmla="*/ 42729 h 1465057"/>
                  <a:gd name="connsiteX26" fmla="*/ 1209099 w 1483979"/>
                  <a:gd name="connsiteY26" fmla="*/ 63164 h 1465057"/>
                  <a:gd name="connsiteX27" fmla="*/ 1045602 w 1483979"/>
                  <a:gd name="connsiteY27" fmla="*/ 226660 h 1465057"/>
                  <a:gd name="connsiteX28" fmla="*/ 882106 w 1483979"/>
                  <a:gd name="connsiteY28" fmla="*/ 390157 h 1465057"/>
                  <a:gd name="connsiteX29" fmla="*/ 718610 w 1483979"/>
                  <a:gd name="connsiteY29" fmla="*/ 553653 h 1465057"/>
                  <a:gd name="connsiteX30" fmla="*/ 555113 w 1483979"/>
                  <a:gd name="connsiteY30" fmla="*/ 717149 h 1465057"/>
                  <a:gd name="connsiteX31" fmla="*/ 391617 w 1483979"/>
                  <a:gd name="connsiteY31" fmla="*/ 880646 h 1465057"/>
                  <a:gd name="connsiteX32" fmla="*/ 228121 w 1483979"/>
                  <a:gd name="connsiteY32" fmla="*/ 1044142 h 1465057"/>
                  <a:gd name="connsiteX33" fmla="*/ 64624 w 1483979"/>
                  <a:gd name="connsiteY33" fmla="*/ 1207638 h 1465057"/>
                  <a:gd name="connsiteX34" fmla="*/ 44190 w 1483979"/>
                  <a:gd name="connsiteY34" fmla="*/ 1228073 h 1465057"/>
                  <a:gd name="connsiteX35" fmla="*/ 33972 w 1483979"/>
                  <a:gd name="connsiteY35" fmla="*/ 1238290 h 1465057"/>
                  <a:gd name="connsiteX36" fmla="*/ 28864 w 1483979"/>
                  <a:gd name="connsiteY36" fmla="*/ 1243399 h 1465057"/>
                  <a:gd name="connsiteX37" fmla="*/ 26398 w 1483979"/>
                  <a:gd name="connsiteY37" fmla="*/ 1245884 h 1465057"/>
                  <a:gd name="connsiteX38" fmla="*/ 24347 w 1483979"/>
                  <a:gd name="connsiteY38" fmla="*/ 1248074 h 1465057"/>
                  <a:gd name="connsiteX39" fmla="*/ 2255 w 1483979"/>
                  <a:gd name="connsiteY39" fmla="*/ 1289594 h 1465057"/>
                  <a:gd name="connsiteX40" fmla="*/ 4090 w 1483979"/>
                  <a:gd name="connsiteY40" fmla="*/ 1336755 h 1465057"/>
                  <a:gd name="connsiteX41" fmla="*/ 28923 w 1483979"/>
                  <a:gd name="connsiteY41" fmla="*/ 1376835 h 1465057"/>
                  <a:gd name="connsiteX42" fmla="*/ 48233 w 1483979"/>
                  <a:gd name="connsiteY42" fmla="*/ 1390682 h 1465057"/>
                  <a:gd name="connsiteX43" fmla="*/ 53598 w 1483979"/>
                  <a:gd name="connsiteY43" fmla="*/ 1393344 h 1465057"/>
                  <a:gd name="connsiteX44" fmla="*/ 59161 w 1483979"/>
                  <a:gd name="connsiteY44" fmla="*/ 1395652 h 1465057"/>
                  <a:gd name="connsiteX45" fmla="*/ 72435 w 1483979"/>
                  <a:gd name="connsiteY45" fmla="*/ 1400524 h 1465057"/>
                  <a:gd name="connsiteX46" fmla="*/ 126244 w 1483979"/>
                  <a:gd name="connsiteY46" fmla="*/ 1418572 h 1465057"/>
                  <a:gd name="connsiteX47" fmla="*/ 236425 w 1483979"/>
                  <a:gd name="connsiteY47" fmla="*/ 1445772 h 1465057"/>
                  <a:gd name="connsiteX48" fmla="*/ 243387 w 1483979"/>
                  <a:gd name="connsiteY48" fmla="*/ 1447133 h 1465057"/>
                  <a:gd name="connsiteX49" fmla="*/ 250370 w 1483979"/>
                  <a:gd name="connsiteY49" fmla="*/ 1448356 h 1465057"/>
                  <a:gd name="connsiteX50" fmla="*/ 264354 w 1483979"/>
                  <a:gd name="connsiteY50" fmla="*/ 1450763 h 1465057"/>
                  <a:gd name="connsiteX51" fmla="*/ 292422 w 1483979"/>
                  <a:gd name="connsiteY51" fmla="*/ 1455023 h 1465057"/>
                  <a:gd name="connsiteX52" fmla="*/ 320609 w 1483979"/>
                  <a:gd name="connsiteY52" fmla="*/ 1458475 h 1465057"/>
                  <a:gd name="connsiteX53" fmla="*/ 348874 w 1483979"/>
                  <a:gd name="connsiteY53" fmla="*/ 1461197 h 1465057"/>
                  <a:gd name="connsiteX54" fmla="*/ 462369 w 1483979"/>
                  <a:gd name="connsiteY54" fmla="*/ 1464846 h 1465057"/>
                  <a:gd name="connsiteX55" fmla="*/ 687327 w 1483979"/>
                  <a:gd name="connsiteY55" fmla="*/ 1436758 h 1465057"/>
                  <a:gd name="connsiteX56" fmla="*/ 901239 w 1483979"/>
                  <a:gd name="connsiteY56" fmla="*/ 1361943 h 1465057"/>
                  <a:gd name="connsiteX57" fmla="*/ 1000946 w 1483979"/>
                  <a:gd name="connsiteY57" fmla="*/ 1307819 h 1465057"/>
                  <a:gd name="connsiteX58" fmla="*/ 1094184 w 1483979"/>
                  <a:gd name="connsiteY58" fmla="*/ 1243182 h 1465057"/>
                  <a:gd name="connsiteX59" fmla="*/ 1179887 w 1483979"/>
                  <a:gd name="connsiteY59" fmla="*/ 1168880 h 1465057"/>
                  <a:gd name="connsiteX60" fmla="*/ 1256832 w 1483979"/>
                  <a:gd name="connsiteY60" fmla="*/ 1085583 h 1465057"/>
                  <a:gd name="connsiteX61" fmla="*/ 1261369 w 1483979"/>
                  <a:gd name="connsiteY61" fmla="*/ 1080139 h 1465057"/>
                  <a:gd name="connsiteX62" fmla="*/ 1152016 w 1483979"/>
                  <a:gd name="connsiteY62" fmla="*/ 1140062 h 1465057"/>
                  <a:gd name="connsiteX63" fmla="*/ 1069627 w 1483979"/>
                  <a:gd name="connsiteY63" fmla="*/ 1211485 h 1465057"/>
                  <a:gd name="connsiteX64" fmla="*/ 979979 w 1483979"/>
                  <a:gd name="connsiteY64" fmla="*/ 1273636 h 1465057"/>
                  <a:gd name="connsiteX65" fmla="*/ 884059 w 1483979"/>
                  <a:gd name="connsiteY65" fmla="*/ 1325689 h 1465057"/>
                  <a:gd name="connsiteX66" fmla="*/ 678234 w 1483979"/>
                  <a:gd name="connsiteY66" fmla="*/ 1397664 h 1465057"/>
                  <a:gd name="connsiteX67" fmla="*/ 461619 w 1483979"/>
                  <a:gd name="connsiteY67" fmla="*/ 1424706 h 1465057"/>
                  <a:gd name="connsiteX68" fmla="*/ 352286 w 1483979"/>
                  <a:gd name="connsiteY68" fmla="*/ 1421195 h 1465057"/>
                  <a:gd name="connsiteX69" fmla="*/ 325066 w 1483979"/>
                  <a:gd name="connsiteY69" fmla="*/ 1418572 h 1465057"/>
                  <a:gd name="connsiteX70" fmla="*/ 297926 w 1483979"/>
                  <a:gd name="connsiteY70" fmla="*/ 1415239 h 1465057"/>
                  <a:gd name="connsiteX71" fmla="*/ 270903 w 1483979"/>
                  <a:gd name="connsiteY71" fmla="*/ 1411136 h 1465057"/>
                  <a:gd name="connsiteX72" fmla="*/ 257431 w 1483979"/>
                  <a:gd name="connsiteY72" fmla="*/ 1408809 h 1465057"/>
                  <a:gd name="connsiteX73" fmla="*/ 250705 w 1483979"/>
                  <a:gd name="connsiteY73" fmla="*/ 1407645 h 1465057"/>
                  <a:gd name="connsiteX74" fmla="*/ 243999 w 1483979"/>
                  <a:gd name="connsiteY74" fmla="*/ 1406323 h 1465057"/>
                  <a:gd name="connsiteX75" fmla="*/ 137960 w 1483979"/>
                  <a:gd name="connsiteY75" fmla="*/ 1380149 h 1465057"/>
                  <a:gd name="connsiteX76" fmla="*/ 86183 w 1483979"/>
                  <a:gd name="connsiteY76" fmla="*/ 1362791 h 1465057"/>
                  <a:gd name="connsiteX77" fmla="*/ 73520 w 1483979"/>
                  <a:gd name="connsiteY77" fmla="*/ 1358136 h 1465057"/>
                  <a:gd name="connsiteX78" fmla="*/ 70265 w 1483979"/>
                  <a:gd name="connsiteY78" fmla="*/ 1356775 h 1465057"/>
                  <a:gd name="connsiteX79" fmla="*/ 67169 w 1483979"/>
                  <a:gd name="connsiteY79" fmla="*/ 1355256 h 1465057"/>
                  <a:gd name="connsiteX80" fmla="*/ 56360 w 1483979"/>
                  <a:gd name="connsiteY80" fmla="*/ 1347505 h 1465057"/>
                  <a:gd name="connsiteX81" fmla="*/ 42454 w 1483979"/>
                  <a:gd name="connsiteY81" fmla="*/ 1324979 h 1465057"/>
                  <a:gd name="connsiteX82" fmla="*/ 41369 w 1483979"/>
                  <a:gd name="connsiteY82" fmla="*/ 1298410 h 1465057"/>
                  <a:gd name="connsiteX83" fmla="*/ 53736 w 1483979"/>
                  <a:gd name="connsiteY83" fmla="*/ 1275333 h 1465057"/>
                  <a:gd name="connsiteX84" fmla="*/ 54920 w 1483979"/>
                  <a:gd name="connsiteY84" fmla="*/ 1274031 h 1465057"/>
                  <a:gd name="connsiteX85" fmla="*/ 55965 w 1483979"/>
                  <a:gd name="connsiteY85" fmla="*/ 1272966 h 1465057"/>
                  <a:gd name="connsiteX86" fmla="*/ 57247 w 1483979"/>
                  <a:gd name="connsiteY86" fmla="*/ 1271684 h 1465057"/>
                  <a:gd name="connsiteX87" fmla="*/ 62356 w 1483979"/>
                  <a:gd name="connsiteY87" fmla="*/ 1266575 h 1465057"/>
                  <a:gd name="connsiteX88" fmla="*/ 72573 w 1483979"/>
                  <a:gd name="connsiteY88" fmla="*/ 1256358 h 1465057"/>
                  <a:gd name="connsiteX89" fmla="*/ 93008 w 1483979"/>
                  <a:gd name="connsiteY89" fmla="*/ 1235923 h 1465057"/>
                  <a:gd name="connsiteX90" fmla="*/ 256504 w 1483979"/>
                  <a:gd name="connsiteY90" fmla="*/ 1072427 h 1465057"/>
                  <a:gd name="connsiteX91" fmla="*/ 420000 w 1483979"/>
                  <a:gd name="connsiteY91" fmla="*/ 908931 h 1465057"/>
                  <a:gd name="connsiteX92" fmla="*/ 583497 w 1483979"/>
                  <a:gd name="connsiteY92" fmla="*/ 745434 h 1465057"/>
                  <a:gd name="connsiteX93" fmla="*/ 746993 w 1483979"/>
                  <a:gd name="connsiteY93" fmla="*/ 581938 h 1465057"/>
                  <a:gd name="connsiteX94" fmla="*/ 910490 w 1483979"/>
                  <a:gd name="connsiteY94" fmla="*/ 418441 h 1465057"/>
                  <a:gd name="connsiteX95" fmla="*/ 1073986 w 1483979"/>
                  <a:gd name="connsiteY95" fmla="*/ 254945 h 1465057"/>
                  <a:gd name="connsiteX96" fmla="*/ 1237482 w 1483979"/>
                  <a:gd name="connsiteY96" fmla="*/ 91449 h 1465057"/>
                  <a:gd name="connsiteX97" fmla="*/ 1257917 w 1483979"/>
                  <a:gd name="connsiteY97" fmla="*/ 71014 h 1465057"/>
                  <a:gd name="connsiteX98" fmla="*/ 1268134 w 1483979"/>
                  <a:gd name="connsiteY98" fmla="*/ 60797 h 1465057"/>
                  <a:gd name="connsiteX99" fmla="*/ 1273223 w 1483979"/>
                  <a:gd name="connsiteY99" fmla="*/ 55708 h 1465057"/>
                  <a:gd name="connsiteX100" fmla="*/ 1275827 w 1483979"/>
                  <a:gd name="connsiteY100" fmla="*/ 53262 h 1465057"/>
                  <a:gd name="connsiteX101" fmla="*/ 1299792 w 1483979"/>
                  <a:gd name="connsiteY101" fmla="*/ 41171 h 1465057"/>
                  <a:gd name="connsiteX102" fmla="*/ 1327091 w 1483979"/>
                  <a:gd name="connsiteY102" fmla="*/ 42433 h 1465057"/>
                  <a:gd name="connsiteX103" fmla="*/ 1350050 w 1483979"/>
                  <a:gd name="connsiteY103" fmla="*/ 56615 h 1465057"/>
                  <a:gd name="connsiteX104" fmla="*/ 1358098 w 1483979"/>
                  <a:gd name="connsiteY104" fmla="*/ 67641 h 1465057"/>
                  <a:gd name="connsiteX105" fmla="*/ 1359715 w 1483979"/>
                  <a:gd name="connsiteY105" fmla="*/ 70797 h 1465057"/>
                  <a:gd name="connsiteX106" fmla="*/ 1360129 w 1483979"/>
                  <a:gd name="connsiteY106" fmla="*/ 71586 h 1465057"/>
                  <a:gd name="connsiteX107" fmla="*/ 1360800 w 1483979"/>
                  <a:gd name="connsiteY107" fmla="*/ 73105 h 1465057"/>
                  <a:gd name="connsiteX108" fmla="*/ 1362161 w 1483979"/>
                  <a:gd name="connsiteY108" fmla="*/ 76221 h 1465057"/>
                  <a:gd name="connsiteX109" fmla="*/ 1367624 w 1483979"/>
                  <a:gd name="connsiteY109" fmla="*/ 88668 h 1465057"/>
                  <a:gd name="connsiteX110" fmla="*/ 1372891 w 1483979"/>
                  <a:gd name="connsiteY110" fmla="*/ 101193 h 1465057"/>
                  <a:gd name="connsiteX111" fmla="*/ 1378019 w 1483979"/>
                  <a:gd name="connsiteY111" fmla="*/ 113777 h 1465057"/>
                  <a:gd name="connsiteX112" fmla="*/ 1387704 w 1483979"/>
                  <a:gd name="connsiteY112" fmla="*/ 139162 h 1465057"/>
                  <a:gd name="connsiteX113" fmla="*/ 1418731 w 1483979"/>
                  <a:gd name="connsiteY113" fmla="*/ 243229 h 1465057"/>
                  <a:gd name="connsiteX114" fmla="*/ 1443840 w 1483979"/>
                  <a:gd name="connsiteY114" fmla="*/ 458679 h 1465057"/>
                  <a:gd name="connsiteX115" fmla="*/ 1418790 w 1483979"/>
                  <a:gd name="connsiteY115" fmla="*/ 674150 h 1465057"/>
                  <a:gd name="connsiteX116" fmla="*/ 1344705 w 1483979"/>
                  <a:gd name="connsiteY116" fmla="*/ 878003 h 1465057"/>
                  <a:gd name="connsiteX117" fmla="*/ 1290482 w 1483979"/>
                  <a:gd name="connsiteY117" fmla="*/ 972286 h 1465057"/>
                  <a:gd name="connsiteX118" fmla="*/ 1275294 w 1483979"/>
                  <a:gd name="connsiteY118" fmla="*/ 994870 h 1465057"/>
                  <a:gd name="connsiteX119" fmla="*/ 1259495 w 1483979"/>
                  <a:gd name="connsiteY119" fmla="*/ 1017041 h 1465057"/>
                  <a:gd name="connsiteX120" fmla="*/ 1243005 w 1483979"/>
                  <a:gd name="connsiteY120" fmla="*/ 1038718 h 1465057"/>
                  <a:gd name="connsiteX121" fmla="*/ 1234543 w 1483979"/>
                  <a:gd name="connsiteY121" fmla="*/ 1049389 h 1465057"/>
                  <a:gd name="connsiteX122" fmla="*/ 1230303 w 1483979"/>
                  <a:gd name="connsiteY122" fmla="*/ 1054714 h 1465057"/>
                  <a:gd name="connsiteX123" fmla="*/ 1225943 w 1483979"/>
                  <a:gd name="connsiteY123" fmla="*/ 1059941 h 1465057"/>
                  <a:gd name="connsiteX124" fmla="*/ 1152016 w 1483979"/>
                  <a:gd name="connsiteY124" fmla="*/ 1139983 h 1465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</a:cxnLst>
                <a:rect l="l" t="t" r="r" b="b"/>
                <a:pathLst>
                  <a:path w="1483979" h="1465057">
                    <a:moveTo>
                      <a:pt x="1261408" y="1080139"/>
                    </a:moveTo>
                    <a:lnTo>
                      <a:pt x="1265826" y="1074597"/>
                    </a:lnTo>
                    <a:lnTo>
                      <a:pt x="1274643" y="1063492"/>
                    </a:lnTo>
                    <a:cubicBezTo>
                      <a:pt x="1280482" y="1056056"/>
                      <a:pt x="1286083" y="1048442"/>
                      <a:pt x="1291804" y="1040927"/>
                    </a:cubicBezTo>
                    <a:cubicBezTo>
                      <a:pt x="1297287" y="1033215"/>
                      <a:pt x="1302908" y="1025621"/>
                      <a:pt x="1308254" y="1017829"/>
                    </a:cubicBezTo>
                    <a:cubicBezTo>
                      <a:pt x="1313520" y="1009979"/>
                      <a:pt x="1319023" y="1002287"/>
                      <a:pt x="1324073" y="994298"/>
                    </a:cubicBezTo>
                    <a:cubicBezTo>
                      <a:pt x="1344724" y="962640"/>
                      <a:pt x="1363601" y="929819"/>
                      <a:pt x="1380583" y="896050"/>
                    </a:cubicBezTo>
                    <a:cubicBezTo>
                      <a:pt x="1414352" y="828435"/>
                      <a:pt x="1440447" y="756993"/>
                      <a:pt x="1457844" y="683460"/>
                    </a:cubicBezTo>
                    <a:cubicBezTo>
                      <a:pt x="1475143" y="609907"/>
                      <a:pt x="1483900" y="534362"/>
                      <a:pt x="1483979" y="458778"/>
                    </a:cubicBezTo>
                    <a:cubicBezTo>
                      <a:pt x="1483940" y="383174"/>
                      <a:pt x="1475182" y="307629"/>
                      <a:pt x="1457805" y="234096"/>
                    </a:cubicBezTo>
                    <a:cubicBezTo>
                      <a:pt x="1449126" y="197330"/>
                      <a:pt x="1438317" y="161057"/>
                      <a:pt x="1425437" y="125552"/>
                    </a:cubicBezTo>
                    <a:cubicBezTo>
                      <a:pt x="1422064" y="116736"/>
                      <a:pt x="1418829" y="107860"/>
                      <a:pt x="1415338" y="99082"/>
                    </a:cubicBezTo>
                    <a:lnTo>
                      <a:pt x="1409973" y="85965"/>
                    </a:lnTo>
                    <a:cubicBezTo>
                      <a:pt x="1408198" y="81587"/>
                      <a:pt x="1406423" y="77208"/>
                      <a:pt x="1404470" y="72908"/>
                    </a:cubicBezTo>
                    <a:lnTo>
                      <a:pt x="1398769" y="59929"/>
                    </a:lnTo>
                    <a:lnTo>
                      <a:pt x="1397349" y="56694"/>
                    </a:lnTo>
                    <a:lnTo>
                      <a:pt x="1396639" y="55077"/>
                    </a:lnTo>
                    <a:lnTo>
                      <a:pt x="1395969" y="53736"/>
                    </a:lnTo>
                    <a:cubicBezTo>
                      <a:pt x="1395042" y="51960"/>
                      <a:pt x="1394292" y="50067"/>
                      <a:pt x="1393227" y="48370"/>
                    </a:cubicBezTo>
                    <a:cubicBezTo>
                      <a:pt x="1389361" y="41349"/>
                      <a:pt x="1384627" y="34859"/>
                      <a:pt x="1379144" y="29100"/>
                    </a:cubicBezTo>
                    <a:cubicBezTo>
                      <a:pt x="1368196" y="17541"/>
                      <a:pt x="1354192" y="8921"/>
                      <a:pt x="1338886" y="4188"/>
                    </a:cubicBezTo>
                    <a:cubicBezTo>
                      <a:pt x="1323580" y="-527"/>
                      <a:pt x="1307070" y="-1276"/>
                      <a:pt x="1291488" y="2018"/>
                    </a:cubicBezTo>
                    <a:cubicBezTo>
                      <a:pt x="1275886" y="5292"/>
                      <a:pt x="1261270" y="12630"/>
                      <a:pt x="1249258" y="23281"/>
                    </a:cubicBezTo>
                    <a:lnTo>
                      <a:pt x="1244859" y="27403"/>
                    </a:lnTo>
                    <a:lnTo>
                      <a:pt x="1239751" y="32512"/>
                    </a:lnTo>
                    <a:lnTo>
                      <a:pt x="1229533" y="42729"/>
                    </a:lnTo>
                    <a:lnTo>
                      <a:pt x="1209099" y="63164"/>
                    </a:lnTo>
                    <a:lnTo>
                      <a:pt x="1045602" y="226660"/>
                    </a:lnTo>
                    <a:lnTo>
                      <a:pt x="882106" y="390157"/>
                    </a:lnTo>
                    <a:lnTo>
                      <a:pt x="718610" y="553653"/>
                    </a:lnTo>
                    <a:lnTo>
                      <a:pt x="555113" y="717149"/>
                    </a:lnTo>
                    <a:lnTo>
                      <a:pt x="391617" y="880646"/>
                    </a:lnTo>
                    <a:lnTo>
                      <a:pt x="228121" y="1044142"/>
                    </a:lnTo>
                    <a:lnTo>
                      <a:pt x="64624" y="1207638"/>
                    </a:lnTo>
                    <a:lnTo>
                      <a:pt x="44190" y="1228073"/>
                    </a:lnTo>
                    <a:lnTo>
                      <a:pt x="33972" y="1238290"/>
                    </a:lnTo>
                    <a:lnTo>
                      <a:pt x="28864" y="1243399"/>
                    </a:lnTo>
                    <a:cubicBezTo>
                      <a:pt x="28055" y="1244227"/>
                      <a:pt x="27069" y="1245154"/>
                      <a:pt x="26398" y="1245884"/>
                    </a:cubicBezTo>
                    <a:lnTo>
                      <a:pt x="24347" y="1248074"/>
                    </a:lnTo>
                    <a:cubicBezTo>
                      <a:pt x="13419" y="1259790"/>
                      <a:pt x="5747" y="1274130"/>
                      <a:pt x="2255" y="1289594"/>
                    </a:cubicBezTo>
                    <a:cubicBezTo>
                      <a:pt x="-1315" y="1305038"/>
                      <a:pt x="-605" y="1321508"/>
                      <a:pt x="4090" y="1336755"/>
                    </a:cubicBezTo>
                    <a:cubicBezTo>
                      <a:pt x="8745" y="1352002"/>
                      <a:pt x="17364" y="1365987"/>
                      <a:pt x="28923" y="1376835"/>
                    </a:cubicBezTo>
                    <a:cubicBezTo>
                      <a:pt x="34702" y="1382259"/>
                      <a:pt x="41192" y="1386914"/>
                      <a:pt x="48233" y="1390682"/>
                    </a:cubicBezTo>
                    <a:lnTo>
                      <a:pt x="53598" y="1393344"/>
                    </a:lnTo>
                    <a:lnTo>
                      <a:pt x="59161" y="1395652"/>
                    </a:lnTo>
                    <a:lnTo>
                      <a:pt x="72435" y="1400524"/>
                    </a:lnTo>
                    <a:cubicBezTo>
                      <a:pt x="90187" y="1407092"/>
                      <a:pt x="108196" y="1412931"/>
                      <a:pt x="126244" y="1418572"/>
                    </a:cubicBezTo>
                    <a:cubicBezTo>
                      <a:pt x="162458" y="1429559"/>
                      <a:pt x="199264" y="1438612"/>
                      <a:pt x="236425" y="1445772"/>
                    </a:cubicBezTo>
                    <a:lnTo>
                      <a:pt x="243387" y="1447133"/>
                    </a:lnTo>
                    <a:lnTo>
                      <a:pt x="250370" y="1448356"/>
                    </a:lnTo>
                    <a:lnTo>
                      <a:pt x="264354" y="1450763"/>
                    </a:lnTo>
                    <a:cubicBezTo>
                      <a:pt x="273684" y="1452321"/>
                      <a:pt x="283073" y="1453603"/>
                      <a:pt x="292422" y="1455023"/>
                    </a:cubicBezTo>
                    <a:cubicBezTo>
                      <a:pt x="301811" y="1456167"/>
                      <a:pt x="311200" y="1457489"/>
                      <a:pt x="320609" y="1458475"/>
                    </a:cubicBezTo>
                    <a:cubicBezTo>
                      <a:pt x="330037" y="1459382"/>
                      <a:pt x="339426" y="1460546"/>
                      <a:pt x="348874" y="1461197"/>
                    </a:cubicBezTo>
                    <a:cubicBezTo>
                      <a:pt x="386607" y="1464353"/>
                      <a:pt x="424498" y="1465595"/>
                      <a:pt x="462369" y="1464846"/>
                    </a:cubicBezTo>
                    <a:cubicBezTo>
                      <a:pt x="538091" y="1463465"/>
                      <a:pt x="613636" y="1454017"/>
                      <a:pt x="687327" y="1436758"/>
                    </a:cubicBezTo>
                    <a:cubicBezTo>
                      <a:pt x="761017" y="1419519"/>
                      <a:pt x="832933" y="1394548"/>
                      <a:pt x="901239" y="1361943"/>
                    </a:cubicBezTo>
                    <a:cubicBezTo>
                      <a:pt x="935402" y="1345690"/>
                      <a:pt x="968716" y="1327603"/>
                      <a:pt x="1000946" y="1307819"/>
                    </a:cubicBezTo>
                    <a:cubicBezTo>
                      <a:pt x="1033215" y="1288035"/>
                      <a:pt x="1064281" y="1266358"/>
                      <a:pt x="1094184" y="1243182"/>
                    </a:cubicBezTo>
                    <a:cubicBezTo>
                      <a:pt x="1124047" y="1219966"/>
                      <a:pt x="1152726" y="1195212"/>
                      <a:pt x="1179887" y="1168880"/>
                    </a:cubicBezTo>
                    <a:cubicBezTo>
                      <a:pt x="1207028" y="1142528"/>
                      <a:pt x="1232729" y="1114716"/>
                      <a:pt x="1256832" y="1085583"/>
                    </a:cubicBezTo>
                    <a:lnTo>
                      <a:pt x="1261369" y="1080139"/>
                    </a:lnTo>
                    <a:close/>
                    <a:moveTo>
                      <a:pt x="1152016" y="1140062"/>
                    </a:moveTo>
                    <a:cubicBezTo>
                      <a:pt x="1125921" y="1165369"/>
                      <a:pt x="1098346" y="1189157"/>
                      <a:pt x="1069627" y="1211485"/>
                    </a:cubicBezTo>
                    <a:cubicBezTo>
                      <a:pt x="1040888" y="1233773"/>
                      <a:pt x="1011006" y="1254622"/>
                      <a:pt x="979979" y="1273636"/>
                    </a:cubicBezTo>
                    <a:cubicBezTo>
                      <a:pt x="948972" y="1292671"/>
                      <a:pt x="916939" y="1310048"/>
                      <a:pt x="884059" y="1325689"/>
                    </a:cubicBezTo>
                    <a:cubicBezTo>
                      <a:pt x="818356" y="1357051"/>
                      <a:pt x="749163" y="1381076"/>
                      <a:pt x="678234" y="1397664"/>
                    </a:cubicBezTo>
                    <a:cubicBezTo>
                      <a:pt x="607304" y="1414272"/>
                      <a:pt x="534580" y="1423365"/>
                      <a:pt x="461619" y="1424706"/>
                    </a:cubicBezTo>
                    <a:cubicBezTo>
                      <a:pt x="425129" y="1425417"/>
                      <a:pt x="388619" y="1424213"/>
                      <a:pt x="352286" y="1421195"/>
                    </a:cubicBezTo>
                    <a:cubicBezTo>
                      <a:pt x="343193" y="1420584"/>
                      <a:pt x="334140" y="1419440"/>
                      <a:pt x="325066" y="1418572"/>
                    </a:cubicBezTo>
                    <a:cubicBezTo>
                      <a:pt x="316013" y="1417625"/>
                      <a:pt x="306979" y="1416343"/>
                      <a:pt x="297926" y="1415239"/>
                    </a:cubicBezTo>
                    <a:cubicBezTo>
                      <a:pt x="288911" y="1413858"/>
                      <a:pt x="279897" y="1412635"/>
                      <a:pt x="270903" y="1411136"/>
                    </a:cubicBezTo>
                    <a:lnTo>
                      <a:pt x="257431" y="1408809"/>
                    </a:lnTo>
                    <a:lnTo>
                      <a:pt x="250705" y="1407645"/>
                    </a:lnTo>
                    <a:lnTo>
                      <a:pt x="243999" y="1406323"/>
                    </a:lnTo>
                    <a:cubicBezTo>
                      <a:pt x="208219" y="1399439"/>
                      <a:pt x="172813" y="1390721"/>
                      <a:pt x="137960" y="1380149"/>
                    </a:cubicBezTo>
                    <a:cubicBezTo>
                      <a:pt x="120583" y="1374725"/>
                      <a:pt x="103264" y="1369103"/>
                      <a:pt x="86183" y="1362791"/>
                    </a:cubicBezTo>
                    <a:lnTo>
                      <a:pt x="73520" y="1358136"/>
                    </a:lnTo>
                    <a:cubicBezTo>
                      <a:pt x="72455" y="1357643"/>
                      <a:pt x="71350" y="1357209"/>
                      <a:pt x="70265" y="1356775"/>
                    </a:cubicBezTo>
                    <a:cubicBezTo>
                      <a:pt x="69259" y="1356223"/>
                      <a:pt x="68214" y="1355730"/>
                      <a:pt x="67169" y="1355256"/>
                    </a:cubicBezTo>
                    <a:cubicBezTo>
                      <a:pt x="63145" y="1353107"/>
                      <a:pt x="59555" y="1350523"/>
                      <a:pt x="56360" y="1347505"/>
                    </a:cubicBezTo>
                    <a:cubicBezTo>
                      <a:pt x="49969" y="1341509"/>
                      <a:pt x="45117" y="1333698"/>
                      <a:pt x="42454" y="1324979"/>
                    </a:cubicBezTo>
                    <a:cubicBezTo>
                      <a:pt x="39771" y="1316301"/>
                      <a:pt x="39377" y="1306912"/>
                      <a:pt x="41369" y="1298410"/>
                    </a:cubicBezTo>
                    <a:cubicBezTo>
                      <a:pt x="43341" y="1289870"/>
                      <a:pt x="47385" y="1282157"/>
                      <a:pt x="53736" y="1275333"/>
                    </a:cubicBezTo>
                    <a:lnTo>
                      <a:pt x="54920" y="1274031"/>
                    </a:lnTo>
                    <a:cubicBezTo>
                      <a:pt x="55018" y="1273893"/>
                      <a:pt x="55551" y="1273380"/>
                      <a:pt x="55965" y="1272966"/>
                    </a:cubicBezTo>
                    <a:lnTo>
                      <a:pt x="57247" y="1271684"/>
                    </a:lnTo>
                    <a:lnTo>
                      <a:pt x="62356" y="1266575"/>
                    </a:lnTo>
                    <a:lnTo>
                      <a:pt x="72573" y="1256358"/>
                    </a:lnTo>
                    <a:lnTo>
                      <a:pt x="93008" y="1235923"/>
                    </a:lnTo>
                    <a:lnTo>
                      <a:pt x="256504" y="1072427"/>
                    </a:lnTo>
                    <a:lnTo>
                      <a:pt x="420000" y="908931"/>
                    </a:lnTo>
                    <a:lnTo>
                      <a:pt x="583497" y="745434"/>
                    </a:lnTo>
                    <a:lnTo>
                      <a:pt x="746993" y="581938"/>
                    </a:lnTo>
                    <a:lnTo>
                      <a:pt x="910490" y="418441"/>
                    </a:lnTo>
                    <a:lnTo>
                      <a:pt x="1073986" y="254945"/>
                    </a:lnTo>
                    <a:lnTo>
                      <a:pt x="1237482" y="91449"/>
                    </a:lnTo>
                    <a:lnTo>
                      <a:pt x="1257917" y="71014"/>
                    </a:lnTo>
                    <a:lnTo>
                      <a:pt x="1268134" y="60797"/>
                    </a:lnTo>
                    <a:lnTo>
                      <a:pt x="1273223" y="55708"/>
                    </a:lnTo>
                    <a:cubicBezTo>
                      <a:pt x="1274111" y="54919"/>
                      <a:pt x="1274979" y="54110"/>
                      <a:pt x="1275827" y="53262"/>
                    </a:cubicBezTo>
                    <a:cubicBezTo>
                      <a:pt x="1282849" y="47049"/>
                      <a:pt x="1290936" y="43045"/>
                      <a:pt x="1299792" y="41171"/>
                    </a:cubicBezTo>
                    <a:cubicBezTo>
                      <a:pt x="1308629" y="39297"/>
                      <a:pt x="1318234" y="39692"/>
                      <a:pt x="1327091" y="42433"/>
                    </a:cubicBezTo>
                    <a:cubicBezTo>
                      <a:pt x="1335967" y="45195"/>
                      <a:pt x="1343896" y="50126"/>
                      <a:pt x="1350050" y="56615"/>
                    </a:cubicBezTo>
                    <a:cubicBezTo>
                      <a:pt x="1353147" y="59870"/>
                      <a:pt x="1355849" y="63539"/>
                      <a:pt x="1358098" y="67641"/>
                    </a:cubicBezTo>
                    <a:cubicBezTo>
                      <a:pt x="1358748" y="68608"/>
                      <a:pt x="1359123" y="69772"/>
                      <a:pt x="1359715" y="70797"/>
                    </a:cubicBezTo>
                    <a:lnTo>
                      <a:pt x="1360129" y="71586"/>
                    </a:lnTo>
                    <a:lnTo>
                      <a:pt x="1360800" y="73105"/>
                    </a:lnTo>
                    <a:lnTo>
                      <a:pt x="1362161" y="76221"/>
                    </a:lnTo>
                    <a:lnTo>
                      <a:pt x="1367624" y="88668"/>
                    </a:lnTo>
                    <a:cubicBezTo>
                      <a:pt x="1369498" y="92790"/>
                      <a:pt x="1371214" y="96991"/>
                      <a:pt x="1372891" y="101193"/>
                    </a:cubicBezTo>
                    <a:lnTo>
                      <a:pt x="1378019" y="113777"/>
                    </a:lnTo>
                    <a:cubicBezTo>
                      <a:pt x="1381373" y="122199"/>
                      <a:pt x="1384469" y="130701"/>
                      <a:pt x="1387704" y="139162"/>
                    </a:cubicBezTo>
                    <a:cubicBezTo>
                      <a:pt x="1400071" y="173227"/>
                      <a:pt x="1410407" y="207981"/>
                      <a:pt x="1418731" y="243229"/>
                    </a:cubicBezTo>
                    <a:cubicBezTo>
                      <a:pt x="1435398" y="313724"/>
                      <a:pt x="1443800" y="386133"/>
                      <a:pt x="1443840" y="458679"/>
                    </a:cubicBezTo>
                    <a:cubicBezTo>
                      <a:pt x="1443781" y="531226"/>
                      <a:pt x="1435378" y="603635"/>
                      <a:pt x="1418790" y="674150"/>
                    </a:cubicBezTo>
                    <a:cubicBezTo>
                      <a:pt x="1402103" y="744645"/>
                      <a:pt x="1377092" y="813129"/>
                      <a:pt x="1344705" y="878003"/>
                    </a:cubicBezTo>
                    <a:cubicBezTo>
                      <a:pt x="1328412" y="910390"/>
                      <a:pt x="1310285" y="941871"/>
                      <a:pt x="1290482" y="972286"/>
                    </a:cubicBezTo>
                    <a:cubicBezTo>
                      <a:pt x="1285649" y="979959"/>
                      <a:pt x="1280363" y="987355"/>
                      <a:pt x="1275294" y="994870"/>
                    </a:cubicBezTo>
                    <a:cubicBezTo>
                      <a:pt x="1270166" y="1002346"/>
                      <a:pt x="1264742" y="1009644"/>
                      <a:pt x="1259495" y="1017041"/>
                    </a:cubicBezTo>
                    <a:cubicBezTo>
                      <a:pt x="1253992" y="1024260"/>
                      <a:pt x="1248627" y="1031577"/>
                      <a:pt x="1243005" y="1038718"/>
                    </a:cubicBezTo>
                    <a:lnTo>
                      <a:pt x="1234543" y="1049389"/>
                    </a:lnTo>
                    <a:lnTo>
                      <a:pt x="1230303" y="1054714"/>
                    </a:lnTo>
                    <a:lnTo>
                      <a:pt x="1225943" y="1059941"/>
                    </a:lnTo>
                    <a:cubicBezTo>
                      <a:pt x="1202787" y="1087930"/>
                      <a:pt x="1178092" y="1114657"/>
                      <a:pt x="1152016" y="1139983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976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233" name="Freeform 6">
                <a:extLst>
                  <a:ext uri="{FF2B5EF4-FFF2-40B4-BE49-F238E27FC236}">
                    <a16:creationId xmlns:a16="http://schemas.microsoft.com/office/drawing/2014/main" id="{639FA27C-204C-64B1-6C28-607B5DC2DA20}"/>
                  </a:ext>
                </a:extLst>
              </p:cNvPr>
              <p:cNvSpPr/>
              <p:nvPr/>
            </p:nvSpPr>
            <p:spPr>
              <a:xfrm>
                <a:off x="2571976" y="2943987"/>
                <a:ext cx="601465" cy="595177"/>
              </a:xfrm>
              <a:custGeom>
                <a:avLst/>
                <a:gdLst>
                  <a:gd name="connsiteX0" fmla="*/ 1021 w 601465"/>
                  <a:gd name="connsiteY0" fmla="*/ 569200 h 595177"/>
                  <a:gd name="connsiteX1" fmla="*/ 13468 w 601465"/>
                  <a:gd name="connsiteY1" fmla="*/ 594152 h 595177"/>
                  <a:gd name="connsiteX2" fmla="*/ 19720 w 601465"/>
                  <a:gd name="connsiteY2" fmla="*/ 595178 h 595177"/>
                  <a:gd name="connsiteX3" fmla="*/ 38419 w 601465"/>
                  <a:gd name="connsiteY3" fmla="*/ 581706 h 595177"/>
                  <a:gd name="connsiteX4" fmla="*/ 247223 w 601465"/>
                  <a:gd name="connsiteY4" fmla="*/ 258421 h 595177"/>
                  <a:gd name="connsiteX5" fmla="*/ 588575 w 601465"/>
                  <a:gd name="connsiteY5" fmla="*/ 38237 h 595177"/>
                  <a:gd name="connsiteX6" fmla="*/ 600232 w 601465"/>
                  <a:gd name="connsiteY6" fmla="*/ 12891 h 595177"/>
                  <a:gd name="connsiteX7" fmla="*/ 574886 w 601465"/>
                  <a:gd name="connsiteY7" fmla="*/ 1234 h 595177"/>
                  <a:gd name="connsiteX8" fmla="*/ 219450 w 601465"/>
                  <a:gd name="connsiteY8" fmla="*/ 230393 h 595177"/>
                  <a:gd name="connsiteX9" fmla="*/ 1002 w 601465"/>
                  <a:gd name="connsiteY9" fmla="*/ 569200 h 595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01465" h="595177">
                    <a:moveTo>
                      <a:pt x="1021" y="569200"/>
                    </a:moveTo>
                    <a:cubicBezTo>
                      <a:pt x="-2430" y="579536"/>
                      <a:pt x="3152" y="590700"/>
                      <a:pt x="13468" y="594152"/>
                    </a:cubicBezTo>
                    <a:cubicBezTo>
                      <a:pt x="15539" y="594842"/>
                      <a:pt x="17649" y="595178"/>
                      <a:pt x="19720" y="595178"/>
                    </a:cubicBezTo>
                    <a:cubicBezTo>
                      <a:pt x="27965" y="595178"/>
                      <a:pt x="35658" y="589951"/>
                      <a:pt x="38419" y="581706"/>
                    </a:cubicBezTo>
                    <a:cubicBezTo>
                      <a:pt x="76468" y="467817"/>
                      <a:pt x="148679" y="356018"/>
                      <a:pt x="247223" y="258421"/>
                    </a:cubicBezTo>
                    <a:cubicBezTo>
                      <a:pt x="346279" y="160292"/>
                      <a:pt x="464330" y="84155"/>
                      <a:pt x="588575" y="38237"/>
                    </a:cubicBezTo>
                    <a:cubicBezTo>
                      <a:pt x="598792" y="34469"/>
                      <a:pt x="604019" y="23108"/>
                      <a:pt x="600232" y="12891"/>
                    </a:cubicBezTo>
                    <a:cubicBezTo>
                      <a:pt x="596465" y="2673"/>
                      <a:pt x="585103" y="-2554"/>
                      <a:pt x="574886" y="1234"/>
                    </a:cubicBezTo>
                    <a:cubicBezTo>
                      <a:pt x="445395" y="49085"/>
                      <a:pt x="322491" y="128338"/>
                      <a:pt x="219450" y="230393"/>
                    </a:cubicBezTo>
                    <a:cubicBezTo>
                      <a:pt x="116548" y="332329"/>
                      <a:pt x="41003" y="449473"/>
                      <a:pt x="1002" y="56920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976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234" name="Freeform 7">
                <a:extLst>
                  <a:ext uri="{FF2B5EF4-FFF2-40B4-BE49-F238E27FC236}">
                    <a16:creationId xmlns:a16="http://schemas.microsoft.com/office/drawing/2014/main" id="{782EE900-1D6E-1232-D20C-BE506CB0734F}"/>
                  </a:ext>
                </a:extLst>
              </p:cNvPr>
              <p:cNvSpPr/>
              <p:nvPr/>
            </p:nvSpPr>
            <p:spPr>
              <a:xfrm>
                <a:off x="2345835" y="2732015"/>
                <a:ext cx="738169" cy="730362"/>
              </a:xfrm>
              <a:custGeom>
                <a:avLst/>
                <a:gdLst>
                  <a:gd name="connsiteX0" fmla="*/ 726666 w 738169"/>
                  <a:gd name="connsiteY0" fmla="*/ 37658 h 730362"/>
                  <a:gd name="connsiteX1" fmla="*/ 736371 w 738169"/>
                  <a:gd name="connsiteY1" fmla="*/ 11503 h 730362"/>
                  <a:gd name="connsiteX2" fmla="*/ 710216 w 738169"/>
                  <a:gd name="connsiteY2" fmla="*/ 1799 h 730362"/>
                  <a:gd name="connsiteX3" fmla="*/ 286001 w 738169"/>
                  <a:gd name="connsiteY3" fmla="*/ 299777 h 730362"/>
                  <a:gd name="connsiteX4" fmla="*/ 1594 w 738169"/>
                  <a:gd name="connsiteY4" fmla="*/ 702867 h 730362"/>
                  <a:gd name="connsiteX5" fmla="*/ 11969 w 738169"/>
                  <a:gd name="connsiteY5" fmla="*/ 728765 h 730362"/>
                  <a:gd name="connsiteX6" fmla="*/ 19721 w 738169"/>
                  <a:gd name="connsiteY6" fmla="*/ 730362 h 730362"/>
                  <a:gd name="connsiteX7" fmla="*/ 37867 w 738169"/>
                  <a:gd name="connsiteY7" fmla="*/ 718390 h 730362"/>
                  <a:gd name="connsiteX8" fmla="*/ 313773 w 738169"/>
                  <a:gd name="connsiteY8" fmla="*/ 327805 h 730362"/>
                  <a:gd name="connsiteX9" fmla="*/ 726666 w 738169"/>
                  <a:gd name="connsiteY9" fmla="*/ 37658 h 730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38169" h="730362">
                    <a:moveTo>
                      <a:pt x="726666" y="37658"/>
                    </a:moveTo>
                    <a:cubicBezTo>
                      <a:pt x="736568" y="33121"/>
                      <a:pt x="740907" y="21405"/>
                      <a:pt x="736371" y="11503"/>
                    </a:cubicBezTo>
                    <a:cubicBezTo>
                      <a:pt x="731834" y="1601"/>
                      <a:pt x="720118" y="-2738"/>
                      <a:pt x="710216" y="1799"/>
                    </a:cubicBezTo>
                    <a:cubicBezTo>
                      <a:pt x="559975" y="70716"/>
                      <a:pt x="413284" y="173737"/>
                      <a:pt x="286001" y="299777"/>
                    </a:cubicBezTo>
                    <a:cubicBezTo>
                      <a:pt x="158956" y="425560"/>
                      <a:pt x="60610" y="564953"/>
                      <a:pt x="1594" y="702867"/>
                    </a:cubicBezTo>
                    <a:cubicBezTo>
                      <a:pt x="-2686" y="712887"/>
                      <a:pt x="1949" y="724485"/>
                      <a:pt x="11969" y="728765"/>
                    </a:cubicBezTo>
                    <a:cubicBezTo>
                      <a:pt x="14494" y="729850"/>
                      <a:pt x="17137" y="730362"/>
                      <a:pt x="19721" y="730362"/>
                    </a:cubicBezTo>
                    <a:cubicBezTo>
                      <a:pt x="27374" y="730362"/>
                      <a:pt x="34652" y="725885"/>
                      <a:pt x="37867" y="718390"/>
                    </a:cubicBezTo>
                    <a:cubicBezTo>
                      <a:pt x="94910" y="585111"/>
                      <a:pt x="190318" y="450038"/>
                      <a:pt x="313773" y="327805"/>
                    </a:cubicBezTo>
                    <a:cubicBezTo>
                      <a:pt x="437801" y="205001"/>
                      <a:pt x="580587" y="104662"/>
                      <a:pt x="726666" y="37658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976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235" name="Freeform 8">
                <a:extLst>
                  <a:ext uri="{FF2B5EF4-FFF2-40B4-BE49-F238E27FC236}">
                    <a16:creationId xmlns:a16="http://schemas.microsoft.com/office/drawing/2014/main" id="{8CA7A138-EB09-6B1F-2B9E-2908E8BE67CD}"/>
                  </a:ext>
                </a:extLst>
              </p:cNvPr>
              <p:cNvSpPr/>
              <p:nvPr/>
            </p:nvSpPr>
            <p:spPr>
              <a:xfrm>
                <a:off x="2769971" y="3142869"/>
                <a:ext cx="479942" cy="475015"/>
              </a:xfrm>
              <a:custGeom>
                <a:avLst/>
                <a:gdLst>
                  <a:gd name="connsiteX0" fmla="*/ 1021 w 479942"/>
                  <a:gd name="connsiteY0" fmla="*/ 449039 h 475015"/>
                  <a:gd name="connsiteX1" fmla="*/ 13468 w 479942"/>
                  <a:gd name="connsiteY1" fmla="*/ 473990 h 475015"/>
                  <a:gd name="connsiteX2" fmla="*/ 19720 w 479942"/>
                  <a:gd name="connsiteY2" fmla="*/ 475016 h 475015"/>
                  <a:gd name="connsiteX3" fmla="*/ 38419 w 479942"/>
                  <a:gd name="connsiteY3" fmla="*/ 461544 h 475015"/>
                  <a:gd name="connsiteX4" fmla="*/ 201028 w 479942"/>
                  <a:gd name="connsiteY4" fmla="*/ 209840 h 475015"/>
                  <a:gd name="connsiteX5" fmla="*/ 467052 w 479942"/>
                  <a:gd name="connsiteY5" fmla="*/ 38237 h 475015"/>
                  <a:gd name="connsiteX6" fmla="*/ 478709 w 479942"/>
                  <a:gd name="connsiteY6" fmla="*/ 12891 h 475015"/>
                  <a:gd name="connsiteX7" fmla="*/ 453363 w 479942"/>
                  <a:gd name="connsiteY7" fmla="*/ 1234 h 475015"/>
                  <a:gd name="connsiteX8" fmla="*/ 173256 w 479942"/>
                  <a:gd name="connsiteY8" fmla="*/ 181811 h 475015"/>
                  <a:gd name="connsiteX9" fmla="*/ 1002 w 479942"/>
                  <a:gd name="connsiteY9" fmla="*/ 449039 h 475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79942" h="475015">
                    <a:moveTo>
                      <a:pt x="1021" y="449039"/>
                    </a:moveTo>
                    <a:cubicBezTo>
                      <a:pt x="-2430" y="459374"/>
                      <a:pt x="3152" y="470538"/>
                      <a:pt x="13468" y="473990"/>
                    </a:cubicBezTo>
                    <a:cubicBezTo>
                      <a:pt x="15539" y="474681"/>
                      <a:pt x="17649" y="475016"/>
                      <a:pt x="19720" y="475016"/>
                    </a:cubicBezTo>
                    <a:cubicBezTo>
                      <a:pt x="27965" y="475016"/>
                      <a:pt x="35658" y="469789"/>
                      <a:pt x="38419" y="461544"/>
                    </a:cubicBezTo>
                    <a:cubicBezTo>
                      <a:pt x="68045" y="372902"/>
                      <a:pt x="124260" y="285858"/>
                      <a:pt x="201028" y="209840"/>
                    </a:cubicBezTo>
                    <a:cubicBezTo>
                      <a:pt x="278249" y="133348"/>
                      <a:pt x="370224" y="74017"/>
                      <a:pt x="467052" y="38237"/>
                    </a:cubicBezTo>
                    <a:cubicBezTo>
                      <a:pt x="477269" y="34469"/>
                      <a:pt x="482496" y="23108"/>
                      <a:pt x="478709" y="12891"/>
                    </a:cubicBezTo>
                    <a:cubicBezTo>
                      <a:pt x="474942" y="2673"/>
                      <a:pt x="463581" y="-2554"/>
                      <a:pt x="453363" y="1234"/>
                    </a:cubicBezTo>
                    <a:cubicBezTo>
                      <a:pt x="351309" y="38947"/>
                      <a:pt x="254442" y="101395"/>
                      <a:pt x="173256" y="181811"/>
                    </a:cubicBezTo>
                    <a:cubicBezTo>
                      <a:pt x="92129" y="262169"/>
                      <a:pt x="32561" y="354578"/>
                      <a:pt x="1002" y="449039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976">
                  <a:solidFill>
                    <a:srgbClr val="13161E"/>
                  </a:solidFill>
                  <a:latin typeface="Calibri"/>
                </a:endParaRPr>
              </a:p>
            </p:txBody>
          </p:sp>
        </p:grpSp>
      </p:grpSp>
      <p:sp>
        <p:nvSpPr>
          <p:cNvPr id="242" name="TextBox 241">
            <a:extLst>
              <a:ext uri="{FF2B5EF4-FFF2-40B4-BE49-F238E27FC236}">
                <a16:creationId xmlns:a16="http://schemas.microsoft.com/office/drawing/2014/main" id="{7CA81932-6D11-2DBF-EA30-96D3349029C3}"/>
              </a:ext>
            </a:extLst>
          </p:cNvPr>
          <p:cNvSpPr txBox="1"/>
          <p:nvPr/>
        </p:nvSpPr>
        <p:spPr>
          <a:xfrm>
            <a:off x="5308714" y="2415044"/>
            <a:ext cx="963639" cy="13516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743407">
              <a:lnSpc>
                <a:spcPct val="90000"/>
              </a:lnSpc>
              <a:defRPr/>
            </a:pPr>
            <a:r>
              <a:rPr lang="en-US" sz="976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Ambient IoT</a:t>
            </a:r>
          </a:p>
        </p:txBody>
      </p:sp>
      <p:grpSp>
        <p:nvGrpSpPr>
          <p:cNvPr id="243" name="Group 242">
            <a:extLst>
              <a:ext uri="{FF2B5EF4-FFF2-40B4-BE49-F238E27FC236}">
                <a16:creationId xmlns:a16="http://schemas.microsoft.com/office/drawing/2014/main" id="{84737715-82DE-AA85-8F8C-2A0768E9C91E}"/>
              </a:ext>
            </a:extLst>
          </p:cNvPr>
          <p:cNvGrpSpPr/>
          <p:nvPr/>
        </p:nvGrpSpPr>
        <p:grpSpPr>
          <a:xfrm>
            <a:off x="5530721" y="2089382"/>
            <a:ext cx="519625" cy="276436"/>
            <a:chOff x="2238888" y="3110203"/>
            <a:chExt cx="2209746" cy="1175572"/>
          </a:xfrm>
          <a:solidFill>
            <a:schemeClr val="accent2"/>
          </a:solidFill>
        </p:grpSpPr>
        <p:sp>
          <p:nvSpPr>
            <p:cNvPr id="244" name="Freeform 4">
              <a:extLst>
                <a:ext uri="{FF2B5EF4-FFF2-40B4-BE49-F238E27FC236}">
                  <a16:creationId xmlns:a16="http://schemas.microsoft.com/office/drawing/2014/main" id="{228CA942-AE34-A723-7B6E-D9C8E84D6B0E}"/>
                </a:ext>
              </a:extLst>
            </p:cNvPr>
            <p:cNvSpPr/>
            <p:nvPr/>
          </p:nvSpPr>
          <p:spPr>
            <a:xfrm>
              <a:off x="2761263" y="3110203"/>
              <a:ext cx="1175927" cy="1175572"/>
            </a:xfrm>
            <a:custGeom>
              <a:avLst/>
              <a:gdLst>
                <a:gd name="connsiteX0" fmla="*/ 1146079 w 1175927"/>
                <a:gd name="connsiteY0" fmla="*/ 72549 h 1175572"/>
                <a:gd name="connsiteX1" fmla="*/ 1067340 w 1175927"/>
                <a:gd name="connsiteY1" fmla="*/ 10992 h 1175572"/>
                <a:gd name="connsiteX2" fmla="*/ 1061362 w 1175927"/>
                <a:gd name="connsiteY2" fmla="*/ 8815 h 1175572"/>
                <a:gd name="connsiteX3" fmla="*/ 1055298 w 1175927"/>
                <a:gd name="connsiteY3" fmla="*/ 6873 h 1175572"/>
                <a:gd name="connsiteX4" fmla="*/ 1042958 w 1175927"/>
                <a:gd name="connsiteY4" fmla="*/ 3714 h 1175572"/>
                <a:gd name="connsiteX5" fmla="*/ 1030425 w 1175927"/>
                <a:gd name="connsiteY5" fmla="*/ 1622 h 1175572"/>
                <a:gd name="connsiteX6" fmla="*/ 1024127 w 1175927"/>
                <a:gd name="connsiteY6" fmla="*/ 790 h 1175572"/>
                <a:gd name="connsiteX7" fmla="*/ 1017829 w 1175927"/>
                <a:gd name="connsiteY7" fmla="*/ 406 h 1175572"/>
                <a:gd name="connsiteX8" fmla="*/ 1011509 w 1175927"/>
                <a:gd name="connsiteY8" fmla="*/ 107 h 1175572"/>
                <a:gd name="connsiteX9" fmla="*/ 1008349 w 1175927"/>
                <a:gd name="connsiteY9" fmla="*/ 0 h 1175572"/>
                <a:gd name="connsiteX10" fmla="*/ 1007154 w 1175927"/>
                <a:gd name="connsiteY10" fmla="*/ 0 h 1175572"/>
                <a:gd name="connsiteX11" fmla="*/ 1006172 w 1175927"/>
                <a:gd name="connsiteY11" fmla="*/ 0 h 1175572"/>
                <a:gd name="connsiteX12" fmla="*/ 168112 w 1175927"/>
                <a:gd name="connsiteY12" fmla="*/ 0 h 1175572"/>
                <a:gd name="connsiteX13" fmla="*/ 118088 w 1175927"/>
                <a:gd name="connsiteY13" fmla="*/ 7577 h 1175572"/>
                <a:gd name="connsiteX14" fmla="*/ 72569 w 1175927"/>
                <a:gd name="connsiteY14" fmla="*/ 29818 h 1175572"/>
                <a:gd name="connsiteX15" fmla="*/ 10995 w 1175927"/>
                <a:gd name="connsiteY15" fmla="*/ 108535 h 1175572"/>
                <a:gd name="connsiteX16" fmla="*/ 8818 w 1175927"/>
                <a:gd name="connsiteY16" fmla="*/ 114511 h 1175572"/>
                <a:gd name="connsiteX17" fmla="*/ 6875 w 1175927"/>
                <a:gd name="connsiteY17" fmla="*/ 120573 h 1175572"/>
                <a:gd name="connsiteX18" fmla="*/ 3715 w 1175927"/>
                <a:gd name="connsiteY18" fmla="*/ 132910 h 1175572"/>
                <a:gd name="connsiteX19" fmla="*/ 1623 w 1175927"/>
                <a:gd name="connsiteY19" fmla="*/ 145439 h 1175572"/>
                <a:gd name="connsiteX20" fmla="*/ 790 w 1175927"/>
                <a:gd name="connsiteY20" fmla="*/ 151736 h 1175572"/>
                <a:gd name="connsiteX21" fmla="*/ 406 w 1175927"/>
                <a:gd name="connsiteY21" fmla="*/ 158032 h 1175572"/>
                <a:gd name="connsiteX22" fmla="*/ 107 w 1175927"/>
                <a:gd name="connsiteY22" fmla="*/ 164350 h 1175572"/>
                <a:gd name="connsiteX23" fmla="*/ 0 w 1175927"/>
                <a:gd name="connsiteY23" fmla="*/ 167509 h 1175572"/>
                <a:gd name="connsiteX24" fmla="*/ 0 w 1175927"/>
                <a:gd name="connsiteY24" fmla="*/ 168704 h 1175572"/>
                <a:gd name="connsiteX25" fmla="*/ 0 w 1175927"/>
                <a:gd name="connsiteY25" fmla="*/ 169686 h 1175572"/>
                <a:gd name="connsiteX26" fmla="*/ 0 w 1175927"/>
                <a:gd name="connsiteY26" fmla="*/ 1007508 h 1175572"/>
                <a:gd name="connsiteX27" fmla="*/ 7579 w 1175927"/>
                <a:gd name="connsiteY27" fmla="*/ 1057518 h 1175572"/>
                <a:gd name="connsiteX28" fmla="*/ 29826 w 1175927"/>
                <a:gd name="connsiteY28" fmla="*/ 1103023 h 1175572"/>
                <a:gd name="connsiteX29" fmla="*/ 108566 w 1175927"/>
                <a:gd name="connsiteY29" fmla="*/ 1164580 h 1175572"/>
                <a:gd name="connsiteX30" fmla="*/ 114544 w 1175927"/>
                <a:gd name="connsiteY30" fmla="*/ 1166757 h 1175572"/>
                <a:gd name="connsiteX31" fmla="*/ 120607 w 1175927"/>
                <a:gd name="connsiteY31" fmla="*/ 1168699 h 1175572"/>
                <a:gd name="connsiteX32" fmla="*/ 132948 w 1175927"/>
                <a:gd name="connsiteY32" fmla="*/ 1171858 h 1175572"/>
                <a:gd name="connsiteX33" fmla="*/ 145480 w 1175927"/>
                <a:gd name="connsiteY33" fmla="*/ 1173950 h 1175572"/>
                <a:gd name="connsiteX34" fmla="*/ 151779 w 1175927"/>
                <a:gd name="connsiteY34" fmla="*/ 1174782 h 1175572"/>
                <a:gd name="connsiteX35" fmla="*/ 158077 w 1175927"/>
                <a:gd name="connsiteY35" fmla="*/ 1175167 h 1175572"/>
                <a:gd name="connsiteX36" fmla="*/ 164397 w 1175927"/>
                <a:gd name="connsiteY36" fmla="*/ 1175465 h 1175572"/>
                <a:gd name="connsiteX37" fmla="*/ 167556 w 1175927"/>
                <a:gd name="connsiteY37" fmla="*/ 1175572 h 1175572"/>
                <a:gd name="connsiteX38" fmla="*/ 168752 w 1175927"/>
                <a:gd name="connsiteY38" fmla="*/ 1175572 h 1175572"/>
                <a:gd name="connsiteX39" fmla="*/ 169734 w 1175927"/>
                <a:gd name="connsiteY39" fmla="*/ 1175572 h 1175572"/>
                <a:gd name="connsiteX40" fmla="*/ 1007816 w 1175927"/>
                <a:gd name="connsiteY40" fmla="*/ 1175572 h 1175572"/>
                <a:gd name="connsiteX41" fmla="*/ 1057839 w 1175927"/>
                <a:gd name="connsiteY41" fmla="*/ 1167995 h 1175572"/>
                <a:gd name="connsiteX42" fmla="*/ 1103358 w 1175927"/>
                <a:gd name="connsiteY42" fmla="*/ 1145754 h 1175572"/>
                <a:gd name="connsiteX43" fmla="*/ 1164932 w 1175927"/>
                <a:gd name="connsiteY43" fmla="*/ 1067037 h 1175572"/>
                <a:gd name="connsiteX44" fmla="*/ 1167109 w 1175927"/>
                <a:gd name="connsiteY44" fmla="*/ 1061061 h 1175572"/>
                <a:gd name="connsiteX45" fmla="*/ 1169052 w 1175927"/>
                <a:gd name="connsiteY45" fmla="*/ 1054999 h 1175572"/>
                <a:gd name="connsiteX46" fmla="*/ 1172212 w 1175927"/>
                <a:gd name="connsiteY46" fmla="*/ 1042662 h 1175572"/>
                <a:gd name="connsiteX47" fmla="*/ 1174304 w 1175927"/>
                <a:gd name="connsiteY47" fmla="*/ 1030133 h 1175572"/>
                <a:gd name="connsiteX48" fmla="*/ 1175137 w 1175927"/>
                <a:gd name="connsiteY48" fmla="*/ 1023837 h 1175572"/>
                <a:gd name="connsiteX49" fmla="*/ 1175521 w 1175927"/>
                <a:gd name="connsiteY49" fmla="*/ 1017540 h 1175572"/>
                <a:gd name="connsiteX50" fmla="*/ 1175820 w 1175927"/>
                <a:gd name="connsiteY50" fmla="*/ 1011222 h 1175572"/>
                <a:gd name="connsiteX51" fmla="*/ 1175927 w 1175927"/>
                <a:gd name="connsiteY51" fmla="*/ 1008063 h 1175572"/>
                <a:gd name="connsiteX52" fmla="*/ 1175927 w 1175927"/>
                <a:gd name="connsiteY52" fmla="*/ 1006868 h 1175572"/>
                <a:gd name="connsiteX53" fmla="*/ 1175927 w 1175927"/>
                <a:gd name="connsiteY53" fmla="*/ 1005886 h 1175572"/>
                <a:gd name="connsiteX54" fmla="*/ 1175927 w 1175927"/>
                <a:gd name="connsiteY54" fmla="*/ 168064 h 1175572"/>
                <a:gd name="connsiteX55" fmla="*/ 1168348 w 1175927"/>
                <a:gd name="connsiteY55" fmla="*/ 118055 h 1175572"/>
                <a:gd name="connsiteX56" fmla="*/ 1146101 w 1175927"/>
                <a:gd name="connsiteY56" fmla="*/ 72549 h 1175572"/>
                <a:gd name="connsiteX57" fmla="*/ 1132501 w 1175927"/>
                <a:gd name="connsiteY57" fmla="*/ 418644 h 1175572"/>
                <a:gd name="connsiteX58" fmla="*/ 1132501 w 1175927"/>
                <a:gd name="connsiteY58" fmla="*/ 1005886 h 1175572"/>
                <a:gd name="connsiteX59" fmla="*/ 1132501 w 1175927"/>
                <a:gd name="connsiteY59" fmla="*/ 1007914 h 1175572"/>
                <a:gd name="connsiteX60" fmla="*/ 1132394 w 1175927"/>
                <a:gd name="connsiteY60" fmla="*/ 1010262 h 1175572"/>
                <a:gd name="connsiteX61" fmla="*/ 1132159 w 1175927"/>
                <a:gd name="connsiteY61" fmla="*/ 1014957 h 1175572"/>
                <a:gd name="connsiteX62" fmla="*/ 1131903 w 1175927"/>
                <a:gd name="connsiteY62" fmla="*/ 1019653 h 1175572"/>
                <a:gd name="connsiteX63" fmla="*/ 1131262 w 1175927"/>
                <a:gd name="connsiteY63" fmla="*/ 1024306 h 1175572"/>
                <a:gd name="connsiteX64" fmla="*/ 1129725 w 1175927"/>
                <a:gd name="connsiteY64" fmla="*/ 1033591 h 1175572"/>
                <a:gd name="connsiteX65" fmla="*/ 1127377 w 1175927"/>
                <a:gd name="connsiteY65" fmla="*/ 1042726 h 1175572"/>
                <a:gd name="connsiteX66" fmla="*/ 1125946 w 1175927"/>
                <a:gd name="connsiteY66" fmla="*/ 1047208 h 1175572"/>
                <a:gd name="connsiteX67" fmla="*/ 1124324 w 1175927"/>
                <a:gd name="connsiteY67" fmla="*/ 1051648 h 1175572"/>
                <a:gd name="connsiteX68" fmla="*/ 1078634 w 1175927"/>
                <a:gd name="connsiteY68" fmla="*/ 1110046 h 1175572"/>
                <a:gd name="connsiteX69" fmla="*/ 1044901 w 1175927"/>
                <a:gd name="connsiteY69" fmla="*/ 1126545 h 1175572"/>
                <a:gd name="connsiteX70" fmla="*/ 1007794 w 1175927"/>
                <a:gd name="connsiteY70" fmla="*/ 1132158 h 1175572"/>
                <a:gd name="connsiteX71" fmla="*/ 169713 w 1175927"/>
                <a:gd name="connsiteY71" fmla="*/ 1132158 h 1175572"/>
                <a:gd name="connsiteX72" fmla="*/ 167685 w 1175927"/>
                <a:gd name="connsiteY72" fmla="*/ 1132158 h 1175572"/>
                <a:gd name="connsiteX73" fmla="*/ 165336 w 1175927"/>
                <a:gd name="connsiteY73" fmla="*/ 1132051 h 1175572"/>
                <a:gd name="connsiteX74" fmla="*/ 160639 w 1175927"/>
                <a:gd name="connsiteY74" fmla="*/ 1131817 h 1175572"/>
                <a:gd name="connsiteX75" fmla="*/ 155942 w 1175927"/>
                <a:gd name="connsiteY75" fmla="*/ 1131560 h 1175572"/>
                <a:gd name="connsiteX76" fmla="*/ 151288 w 1175927"/>
                <a:gd name="connsiteY76" fmla="*/ 1130920 h 1175572"/>
                <a:gd name="connsiteX77" fmla="*/ 142000 w 1175927"/>
                <a:gd name="connsiteY77" fmla="*/ 1129383 h 1175572"/>
                <a:gd name="connsiteX78" fmla="*/ 132862 w 1175927"/>
                <a:gd name="connsiteY78" fmla="*/ 1127035 h 1175572"/>
                <a:gd name="connsiteX79" fmla="*/ 128379 w 1175927"/>
                <a:gd name="connsiteY79" fmla="*/ 1125605 h 1175572"/>
                <a:gd name="connsiteX80" fmla="*/ 123959 w 1175927"/>
                <a:gd name="connsiteY80" fmla="*/ 1123983 h 1175572"/>
                <a:gd name="connsiteX81" fmla="*/ 65545 w 1175927"/>
                <a:gd name="connsiteY81" fmla="*/ 1078307 h 1175572"/>
                <a:gd name="connsiteX82" fmla="*/ 49041 w 1175927"/>
                <a:gd name="connsiteY82" fmla="*/ 1044583 h 1175572"/>
                <a:gd name="connsiteX83" fmla="*/ 43426 w 1175927"/>
                <a:gd name="connsiteY83" fmla="*/ 1007487 h 1175572"/>
                <a:gd name="connsiteX84" fmla="*/ 43426 w 1175927"/>
                <a:gd name="connsiteY84" fmla="*/ 169665 h 1175572"/>
                <a:gd name="connsiteX85" fmla="*/ 43426 w 1175927"/>
                <a:gd name="connsiteY85" fmla="*/ 167637 h 1175572"/>
                <a:gd name="connsiteX86" fmla="*/ 43533 w 1175927"/>
                <a:gd name="connsiteY86" fmla="*/ 165289 h 1175572"/>
                <a:gd name="connsiteX87" fmla="*/ 43768 w 1175927"/>
                <a:gd name="connsiteY87" fmla="*/ 160593 h 1175572"/>
                <a:gd name="connsiteX88" fmla="*/ 44024 w 1175927"/>
                <a:gd name="connsiteY88" fmla="*/ 155898 h 1175572"/>
                <a:gd name="connsiteX89" fmla="*/ 44665 w 1175927"/>
                <a:gd name="connsiteY89" fmla="*/ 151245 h 1175572"/>
                <a:gd name="connsiteX90" fmla="*/ 46202 w 1175927"/>
                <a:gd name="connsiteY90" fmla="*/ 141960 h 1175572"/>
                <a:gd name="connsiteX91" fmla="*/ 48550 w 1175927"/>
                <a:gd name="connsiteY91" fmla="*/ 132825 h 1175572"/>
                <a:gd name="connsiteX92" fmla="*/ 49981 w 1175927"/>
                <a:gd name="connsiteY92" fmla="*/ 128342 h 1175572"/>
                <a:gd name="connsiteX93" fmla="*/ 51603 w 1175927"/>
                <a:gd name="connsiteY93" fmla="*/ 123903 h 1175572"/>
                <a:gd name="connsiteX94" fmla="*/ 97293 w 1175927"/>
                <a:gd name="connsiteY94" fmla="*/ 65505 h 1175572"/>
                <a:gd name="connsiteX95" fmla="*/ 131026 w 1175927"/>
                <a:gd name="connsiteY95" fmla="*/ 49006 h 1175572"/>
                <a:gd name="connsiteX96" fmla="*/ 168133 w 1175927"/>
                <a:gd name="connsiteY96" fmla="*/ 43393 h 1175572"/>
                <a:gd name="connsiteX97" fmla="*/ 1006214 w 1175927"/>
                <a:gd name="connsiteY97" fmla="*/ 43393 h 1175572"/>
                <a:gd name="connsiteX98" fmla="*/ 1008242 w 1175927"/>
                <a:gd name="connsiteY98" fmla="*/ 43393 h 1175572"/>
                <a:gd name="connsiteX99" fmla="*/ 1010591 w 1175927"/>
                <a:gd name="connsiteY99" fmla="*/ 43499 h 1175572"/>
                <a:gd name="connsiteX100" fmla="*/ 1015288 w 1175927"/>
                <a:gd name="connsiteY100" fmla="*/ 43734 h 1175572"/>
                <a:gd name="connsiteX101" fmla="*/ 1019985 w 1175927"/>
                <a:gd name="connsiteY101" fmla="*/ 43990 h 1175572"/>
                <a:gd name="connsiteX102" fmla="*/ 1024639 w 1175927"/>
                <a:gd name="connsiteY102" fmla="*/ 44631 h 1175572"/>
                <a:gd name="connsiteX103" fmla="*/ 1033927 w 1175927"/>
                <a:gd name="connsiteY103" fmla="*/ 46167 h 1175572"/>
                <a:gd name="connsiteX104" fmla="*/ 1043065 w 1175927"/>
                <a:gd name="connsiteY104" fmla="*/ 48515 h 1175572"/>
                <a:gd name="connsiteX105" fmla="*/ 1047548 w 1175927"/>
                <a:gd name="connsiteY105" fmla="*/ 49945 h 1175572"/>
                <a:gd name="connsiteX106" fmla="*/ 1051989 w 1175927"/>
                <a:gd name="connsiteY106" fmla="*/ 51567 h 1175572"/>
                <a:gd name="connsiteX107" fmla="*/ 1110403 w 1175927"/>
                <a:gd name="connsiteY107" fmla="*/ 97244 h 1175572"/>
                <a:gd name="connsiteX108" fmla="*/ 1126907 w 1175927"/>
                <a:gd name="connsiteY108" fmla="*/ 130968 h 1175572"/>
                <a:gd name="connsiteX109" fmla="*/ 1132522 w 1175927"/>
                <a:gd name="connsiteY109" fmla="*/ 168064 h 1175572"/>
                <a:gd name="connsiteX110" fmla="*/ 1132522 w 1175927"/>
                <a:gd name="connsiteY110" fmla="*/ 418623 h 1175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1175927" h="1175572">
                  <a:moveTo>
                    <a:pt x="1146079" y="72549"/>
                  </a:moveTo>
                  <a:cubicBezTo>
                    <a:pt x="1126779" y="44823"/>
                    <a:pt x="1099216" y="22881"/>
                    <a:pt x="1067340" y="10992"/>
                  </a:cubicBezTo>
                  <a:lnTo>
                    <a:pt x="1061362" y="8815"/>
                  </a:lnTo>
                  <a:cubicBezTo>
                    <a:pt x="1059355" y="8089"/>
                    <a:pt x="1057369" y="7385"/>
                    <a:pt x="1055298" y="6873"/>
                  </a:cubicBezTo>
                  <a:cubicBezTo>
                    <a:pt x="1051199" y="5763"/>
                    <a:pt x="1047078" y="4717"/>
                    <a:pt x="1042958" y="3714"/>
                  </a:cubicBezTo>
                  <a:cubicBezTo>
                    <a:pt x="1038816" y="2817"/>
                    <a:pt x="1034610" y="2262"/>
                    <a:pt x="1030425" y="1622"/>
                  </a:cubicBezTo>
                  <a:cubicBezTo>
                    <a:pt x="1028333" y="1345"/>
                    <a:pt x="1026241" y="982"/>
                    <a:pt x="1024127" y="790"/>
                  </a:cubicBezTo>
                  <a:lnTo>
                    <a:pt x="1017829" y="406"/>
                  </a:lnTo>
                  <a:lnTo>
                    <a:pt x="1011509" y="107"/>
                  </a:lnTo>
                  <a:lnTo>
                    <a:pt x="1008349" y="0"/>
                  </a:lnTo>
                  <a:lnTo>
                    <a:pt x="1007154" y="0"/>
                  </a:lnTo>
                  <a:cubicBezTo>
                    <a:pt x="1007154" y="0"/>
                    <a:pt x="1006172" y="0"/>
                    <a:pt x="1006172" y="0"/>
                  </a:cubicBezTo>
                  <a:lnTo>
                    <a:pt x="168112" y="0"/>
                  </a:lnTo>
                  <a:cubicBezTo>
                    <a:pt x="151288" y="192"/>
                    <a:pt x="134378" y="2668"/>
                    <a:pt x="118088" y="7577"/>
                  </a:cubicBezTo>
                  <a:cubicBezTo>
                    <a:pt x="101905" y="12764"/>
                    <a:pt x="86532" y="20277"/>
                    <a:pt x="72569" y="29818"/>
                  </a:cubicBezTo>
                  <a:cubicBezTo>
                    <a:pt x="44835" y="49113"/>
                    <a:pt x="22887" y="76668"/>
                    <a:pt x="10995" y="108535"/>
                  </a:cubicBezTo>
                  <a:lnTo>
                    <a:pt x="8818" y="114511"/>
                  </a:lnTo>
                  <a:cubicBezTo>
                    <a:pt x="8092" y="116518"/>
                    <a:pt x="7387" y="118503"/>
                    <a:pt x="6875" y="120573"/>
                  </a:cubicBezTo>
                  <a:cubicBezTo>
                    <a:pt x="5765" y="124671"/>
                    <a:pt x="4718" y="128791"/>
                    <a:pt x="3715" y="132910"/>
                  </a:cubicBezTo>
                  <a:cubicBezTo>
                    <a:pt x="2818" y="137051"/>
                    <a:pt x="2263" y="141256"/>
                    <a:pt x="1623" y="145439"/>
                  </a:cubicBezTo>
                  <a:cubicBezTo>
                    <a:pt x="1345" y="147531"/>
                    <a:pt x="982" y="149623"/>
                    <a:pt x="790" y="151736"/>
                  </a:cubicBezTo>
                  <a:lnTo>
                    <a:pt x="406" y="158032"/>
                  </a:lnTo>
                  <a:lnTo>
                    <a:pt x="107" y="164350"/>
                  </a:lnTo>
                  <a:lnTo>
                    <a:pt x="0" y="167509"/>
                  </a:lnTo>
                  <a:lnTo>
                    <a:pt x="0" y="168704"/>
                  </a:lnTo>
                  <a:cubicBezTo>
                    <a:pt x="0" y="168704"/>
                    <a:pt x="0" y="169686"/>
                    <a:pt x="0" y="169686"/>
                  </a:cubicBezTo>
                  <a:lnTo>
                    <a:pt x="0" y="1007508"/>
                  </a:lnTo>
                  <a:cubicBezTo>
                    <a:pt x="192" y="1024327"/>
                    <a:pt x="2669" y="1041232"/>
                    <a:pt x="7579" y="1057518"/>
                  </a:cubicBezTo>
                  <a:cubicBezTo>
                    <a:pt x="12767" y="1073696"/>
                    <a:pt x="20283" y="1089064"/>
                    <a:pt x="29826" y="1103023"/>
                  </a:cubicBezTo>
                  <a:cubicBezTo>
                    <a:pt x="49127" y="1130749"/>
                    <a:pt x="76690" y="1152691"/>
                    <a:pt x="108566" y="1164580"/>
                  </a:cubicBezTo>
                  <a:lnTo>
                    <a:pt x="114544" y="1166757"/>
                  </a:lnTo>
                  <a:cubicBezTo>
                    <a:pt x="116551" y="1167483"/>
                    <a:pt x="118536" y="1168187"/>
                    <a:pt x="120607" y="1168699"/>
                  </a:cubicBezTo>
                  <a:cubicBezTo>
                    <a:pt x="124707" y="1169809"/>
                    <a:pt x="128827" y="1170855"/>
                    <a:pt x="132948" y="1171858"/>
                  </a:cubicBezTo>
                  <a:cubicBezTo>
                    <a:pt x="137090" y="1172755"/>
                    <a:pt x="141296" y="1173310"/>
                    <a:pt x="145480" y="1173950"/>
                  </a:cubicBezTo>
                  <a:cubicBezTo>
                    <a:pt x="147573" y="1174228"/>
                    <a:pt x="149665" y="1174590"/>
                    <a:pt x="151779" y="1174782"/>
                  </a:cubicBezTo>
                  <a:lnTo>
                    <a:pt x="158077" y="1175167"/>
                  </a:lnTo>
                  <a:lnTo>
                    <a:pt x="164397" y="1175465"/>
                  </a:lnTo>
                  <a:lnTo>
                    <a:pt x="167556" y="1175572"/>
                  </a:lnTo>
                  <a:lnTo>
                    <a:pt x="168752" y="1175572"/>
                  </a:lnTo>
                  <a:cubicBezTo>
                    <a:pt x="168752" y="1175572"/>
                    <a:pt x="169734" y="1175572"/>
                    <a:pt x="169734" y="1175572"/>
                  </a:cubicBezTo>
                  <a:lnTo>
                    <a:pt x="1007816" y="1175572"/>
                  </a:lnTo>
                  <a:cubicBezTo>
                    <a:pt x="1024639" y="1175380"/>
                    <a:pt x="1041549" y="1172904"/>
                    <a:pt x="1057839" y="1167995"/>
                  </a:cubicBezTo>
                  <a:cubicBezTo>
                    <a:pt x="1074022" y="1162808"/>
                    <a:pt x="1089395" y="1155295"/>
                    <a:pt x="1103358" y="1145754"/>
                  </a:cubicBezTo>
                  <a:cubicBezTo>
                    <a:pt x="1131092" y="1126459"/>
                    <a:pt x="1153040" y="1098904"/>
                    <a:pt x="1164932" y="1067037"/>
                  </a:cubicBezTo>
                  <a:lnTo>
                    <a:pt x="1167109" y="1061061"/>
                  </a:lnTo>
                  <a:cubicBezTo>
                    <a:pt x="1167835" y="1059054"/>
                    <a:pt x="1168540" y="1057069"/>
                    <a:pt x="1169052" y="1054999"/>
                  </a:cubicBezTo>
                  <a:cubicBezTo>
                    <a:pt x="1170163" y="1050901"/>
                    <a:pt x="1171209" y="1046781"/>
                    <a:pt x="1172212" y="1042662"/>
                  </a:cubicBezTo>
                  <a:cubicBezTo>
                    <a:pt x="1173109" y="1038521"/>
                    <a:pt x="1173664" y="1034317"/>
                    <a:pt x="1174304" y="1030133"/>
                  </a:cubicBezTo>
                  <a:cubicBezTo>
                    <a:pt x="1174582" y="1028041"/>
                    <a:pt x="1174945" y="1025950"/>
                    <a:pt x="1175137" y="1023837"/>
                  </a:cubicBezTo>
                  <a:lnTo>
                    <a:pt x="1175521" y="1017540"/>
                  </a:lnTo>
                  <a:lnTo>
                    <a:pt x="1175820" y="1011222"/>
                  </a:lnTo>
                  <a:lnTo>
                    <a:pt x="1175927" y="1008063"/>
                  </a:lnTo>
                  <a:lnTo>
                    <a:pt x="1175927" y="1006868"/>
                  </a:lnTo>
                  <a:cubicBezTo>
                    <a:pt x="1175927" y="1006868"/>
                    <a:pt x="1175927" y="1005886"/>
                    <a:pt x="1175927" y="1005886"/>
                  </a:cubicBezTo>
                  <a:lnTo>
                    <a:pt x="1175927" y="168064"/>
                  </a:lnTo>
                  <a:cubicBezTo>
                    <a:pt x="1175735" y="151245"/>
                    <a:pt x="1173258" y="134340"/>
                    <a:pt x="1168348" y="118055"/>
                  </a:cubicBezTo>
                  <a:cubicBezTo>
                    <a:pt x="1163160" y="101876"/>
                    <a:pt x="1155644" y="86508"/>
                    <a:pt x="1146101" y="72549"/>
                  </a:cubicBezTo>
                  <a:close/>
                  <a:moveTo>
                    <a:pt x="1132501" y="418644"/>
                  </a:moveTo>
                  <a:lnTo>
                    <a:pt x="1132501" y="1005886"/>
                  </a:lnTo>
                  <a:cubicBezTo>
                    <a:pt x="1132501" y="1006569"/>
                    <a:pt x="1132501" y="1007124"/>
                    <a:pt x="1132501" y="1007914"/>
                  </a:cubicBezTo>
                  <a:lnTo>
                    <a:pt x="1132394" y="1010262"/>
                  </a:lnTo>
                  <a:lnTo>
                    <a:pt x="1132159" y="1014957"/>
                  </a:lnTo>
                  <a:lnTo>
                    <a:pt x="1131903" y="1019653"/>
                  </a:lnTo>
                  <a:cubicBezTo>
                    <a:pt x="1131775" y="1021211"/>
                    <a:pt x="1131476" y="1022769"/>
                    <a:pt x="1131262" y="1024306"/>
                  </a:cubicBezTo>
                  <a:cubicBezTo>
                    <a:pt x="1130750" y="1027401"/>
                    <a:pt x="1130387" y="1030539"/>
                    <a:pt x="1129725" y="1033591"/>
                  </a:cubicBezTo>
                  <a:lnTo>
                    <a:pt x="1127377" y="1042726"/>
                  </a:lnTo>
                  <a:cubicBezTo>
                    <a:pt x="1127035" y="1044263"/>
                    <a:pt x="1126480" y="1045736"/>
                    <a:pt x="1125946" y="1047208"/>
                  </a:cubicBezTo>
                  <a:lnTo>
                    <a:pt x="1124324" y="1051648"/>
                  </a:lnTo>
                  <a:cubicBezTo>
                    <a:pt x="1115549" y="1075255"/>
                    <a:pt x="1099194" y="1095702"/>
                    <a:pt x="1078634" y="1110046"/>
                  </a:cubicBezTo>
                  <a:cubicBezTo>
                    <a:pt x="1068258" y="1117111"/>
                    <a:pt x="1056878" y="1122660"/>
                    <a:pt x="1044901" y="1126545"/>
                  </a:cubicBezTo>
                  <a:cubicBezTo>
                    <a:pt x="1032838" y="1130152"/>
                    <a:pt x="1020327" y="1131966"/>
                    <a:pt x="1007794" y="1132158"/>
                  </a:cubicBezTo>
                  <a:lnTo>
                    <a:pt x="169713" y="1132158"/>
                  </a:lnTo>
                  <a:cubicBezTo>
                    <a:pt x="169030" y="1132158"/>
                    <a:pt x="168475" y="1132158"/>
                    <a:pt x="167685" y="1132158"/>
                  </a:cubicBezTo>
                  <a:lnTo>
                    <a:pt x="165336" y="1132051"/>
                  </a:lnTo>
                  <a:lnTo>
                    <a:pt x="160639" y="1131817"/>
                  </a:lnTo>
                  <a:lnTo>
                    <a:pt x="155942" y="1131560"/>
                  </a:lnTo>
                  <a:cubicBezTo>
                    <a:pt x="154383" y="1131432"/>
                    <a:pt x="152825" y="1131134"/>
                    <a:pt x="151288" y="1130920"/>
                  </a:cubicBezTo>
                  <a:cubicBezTo>
                    <a:pt x="148192" y="1130408"/>
                    <a:pt x="145053" y="1130045"/>
                    <a:pt x="142000" y="1129383"/>
                  </a:cubicBezTo>
                  <a:lnTo>
                    <a:pt x="132862" y="1127035"/>
                  </a:lnTo>
                  <a:cubicBezTo>
                    <a:pt x="131325" y="1126694"/>
                    <a:pt x="129852" y="1126139"/>
                    <a:pt x="128379" y="1125605"/>
                  </a:cubicBezTo>
                  <a:lnTo>
                    <a:pt x="123959" y="1123983"/>
                  </a:lnTo>
                  <a:cubicBezTo>
                    <a:pt x="100346" y="1115211"/>
                    <a:pt x="79892" y="1098861"/>
                    <a:pt x="65545" y="1078307"/>
                  </a:cubicBezTo>
                  <a:cubicBezTo>
                    <a:pt x="58478" y="1067934"/>
                    <a:pt x="52927" y="1056557"/>
                    <a:pt x="49041" y="1044583"/>
                  </a:cubicBezTo>
                  <a:cubicBezTo>
                    <a:pt x="45433" y="1032524"/>
                    <a:pt x="43619" y="1020016"/>
                    <a:pt x="43426" y="1007487"/>
                  </a:cubicBezTo>
                  <a:lnTo>
                    <a:pt x="43426" y="169665"/>
                  </a:lnTo>
                  <a:cubicBezTo>
                    <a:pt x="43426" y="168982"/>
                    <a:pt x="43426" y="168427"/>
                    <a:pt x="43426" y="167637"/>
                  </a:cubicBezTo>
                  <a:lnTo>
                    <a:pt x="43533" y="165289"/>
                  </a:lnTo>
                  <a:lnTo>
                    <a:pt x="43768" y="160593"/>
                  </a:lnTo>
                  <a:lnTo>
                    <a:pt x="44024" y="155898"/>
                  </a:lnTo>
                  <a:cubicBezTo>
                    <a:pt x="44152" y="154340"/>
                    <a:pt x="44451" y="152781"/>
                    <a:pt x="44665" y="151245"/>
                  </a:cubicBezTo>
                  <a:cubicBezTo>
                    <a:pt x="45177" y="148150"/>
                    <a:pt x="45540" y="145012"/>
                    <a:pt x="46202" y="141960"/>
                  </a:cubicBezTo>
                  <a:lnTo>
                    <a:pt x="48550" y="132825"/>
                  </a:lnTo>
                  <a:cubicBezTo>
                    <a:pt x="48892" y="131288"/>
                    <a:pt x="49447" y="129815"/>
                    <a:pt x="49981" y="128342"/>
                  </a:cubicBezTo>
                  <a:lnTo>
                    <a:pt x="51603" y="123903"/>
                  </a:lnTo>
                  <a:cubicBezTo>
                    <a:pt x="60378" y="100296"/>
                    <a:pt x="76733" y="79848"/>
                    <a:pt x="97293" y="65505"/>
                  </a:cubicBezTo>
                  <a:cubicBezTo>
                    <a:pt x="107669" y="58440"/>
                    <a:pt x="119049" y="52891"/>
                    <a:pt x="131026" y="49006"/>
                  </a:cubicBezTo>
                  <a:cubicBezTo>
                    <a:pt x="143089" y="45399"/>
                    <a:pt x="155600" y="43585"/>
                    <a:pt x="168133" y="43393"/>
                  </a:cubicBezTo>
                  <a:lnTo>
                    <a:pt x="1006214" y="43393"/>
                  </a:lnTo>
                  <a:cubicBezTo>
                    <a:pt x="1006897" y="43393"/>
                    <a:pt x="1007452" y="43393"/>
                    <a:pt x="1008242" y="43393"/>
                  </a:cubicBezTo>
                  <a:lnTo>
                    <a:pt x="1010591" y="43499"/>
                  </a:lnTo>
                  <a:lnTo>
                    <a:pt x="1015288" y="43734"/>
                  </a:lnTo>
                  <a:lnTo>
                    <a:pt x="1019985" y="43990"/>
                  </a:lnTo>
                  <a:cubicBezTo>
                    <a:pt x="1021544" y="44118"/>
                    <a:pt x="1023102" y="44417"/>
                    <a:pt x="1024639" y="44631"/>
                  </a:cubicBezTo>
                  <a:cubicBezTo>
                    <a:pt x="1027735" y="45143"/>
                    <a:pt x="1030874" y="45506"/>
                    <a:pt x="1033927" y="46167"/>
                  </a:cubicBezTo>
                  <a:lnTo>
                    <a:pt x="1043065" y="48515"/>
                  </a:lnTo>
                  <a:cubicBezTo>
                    <a:pt x="1044602" y="48857"/>
                    <a:pt x="1046075" y="49412"/>
                    <a:pt x="1047548" y="49945"/>
                  </a:cubicBezTo>
                  <a:lnTo>
                    <a:pt x="1051989" y="51567"/>
                  </a:lnTo>
                  <a:cubicBezTo>
                    <a:pt x="1075602" y="60340"/>
                    <a:pt x="1096056" y="76690"/>
                    <a:pt x="1110403" y="97244"/>
                  </a:cubicBezTo>
                  <a:cubicBezTo>
                    <a:pt x="1117470" y="107617"/>
                    <a:pt x="1123021" y="118994"/>
                    <a:pt x="1126907" y="130968"/>
                  </a:cubicBezTo>
                  <a:cubicBezTo>
                    <a:pt x="1130515" y="143027"/>
                    <a:pt x="1132330" y="155535"/>
                    <a:pt x="1132522" y="168064"/>
                  </a:cubicBezTo>
                  <a:lnTo>
                    <a:pt x="1132522" y="418623"/>
                  </a:ln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976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45" name="Freeform 5">
              <a:extLst>
                <a:ext uri="{FF2B5EF4-FFF2-40B4-BE49-F238E27FC236}">
                  <a16:creationId xmlns:a16="http://schemas.microsoft.com/office/drawing/2014/main" id="{A7A5B630-AD24-7D75-D53E-D7172EEF3CDC}"/>
                </a:ext>
              </a:extLst>
            </p:cNvPr>
            <p:cNvSpPr/>
            <p:nvPr/>
          </p:nvSpPr>
          <p:spPr>
            <a:xfrm>
              <a:off x="2846645" y="3195560"/>
              <a:ext cx="1005184" cy="1004856"/>
            </a:xfrm>
            <a:custGeom>
              <a:avLst/>
              <a:gdLst>
                <a:gd name="connsiteX0" fmla="*/ 1005123 w 1005184"/>
                <a:gd name="connsiteY0" fmla="*/ 912716 h 1004856"/>
                <a:gd name="connsiteX1" fmla="*/ 1005123 w 1005184"/>
                <a:gd name="connsiteY1" fmla="*/ 82706 h 1004856"/>
                <a:gd name="connsiteX2" fmla="*/ 1001408 w 1005184"/>
                <a:gd name="connsiteY2" fmla="*/ 58075 h 1004856"/>
                <a:gd name="connsiteX3" fmla="*/ 990455 w 1005184"/>
                <a:gd name="connsiteY3" fmla="*/ 35749 h 1004856"/>
                <a:gd name="connsiteX4" fmla="*/ 951683 w 1005184"/>
                <a:gd name="connsiteY4" fmla="*/ 5440 h 1004856"/>
                <a:gd name="connsiteX5" fmla="*/ 948758 w 1005184"/>
                <a:gd name="connsiteY5" fmla="*/ 4373 h 1004856"/>
                <a:gd name="connsiteX6" fmla="*/ 945791 w 1005184"/>
                <a:gd name="connsiteY6" fmla="*/ 3413 h 1004856"/>
                <a:gd name="connsiteX7" fmla="*/ 939749 w 1005184"/>
                <a:gd name="connsiteY7" fmla="*/ 1855 h 1004856"/>
                <a:gd name="connsiteX8" fmla="*/ 933578 w 1005184"/>
                <a:gd name="connsiteY8" fmla="*/ 851 h 1004856"/>
                <a:gd name="connsiteX9" fmla="*/ 930483 w 1005184"/>
                <a:gd name="connsiteY9" fmla="*/ 403 h 1004856"/>
                <a:gd name="connsiteX10" fmla="*/ 927344 w 1005184"/>
                <a:gd name="connsiteY10" fmla="*/ 275 h 1004856"/>
                <a:gd name="connsiteX11" fmla="*/ 924206 w 1005184"/>
                <a:gd name="connsiteY11" fmla="*/ 104 h 1004856"/>
                <a:gd name="connsiteX12" fmla="*/ 922647 w 1005184"/>
                <a:gd name="connsiteY12" fmla="*/ 19 h 1004856"/>
                <a:gd name="connsiteX13" fmla="*/ 920768 w 1005184"/>
                <a:gd name="connsiteY13" fmla="*/ 19 h 1004856"/>
                <a:gd name="connsiteX14" fmla="*/ 82730 w 1005184"/>
                <a:gd name="connsiteY14" fmla="*/ 19 h 1004856"/>
                <a:gd name="connsiteX15" fmla="*/ 58092 w 1005184"/>
                <a:gd name="connsiteY15" fmla="*/ 3733 h 1004856"/>
                <a:gd name="connsiteX16" fmla="*/ 35759 w 1005184"/>
                <a:gd name="connsiteY16" fmla="*/ 14682 h 1004856"/>
                <a:gd name="connsiteX17" fmla="*/ 5442 w 1005184"/>
                <a:gd name="connsiteY17" fmla="*/ 53443 h 1004856"/>
                <a:gd name="connsiteX18" fmla="*/ 4374 w 1005184"/>
                <a:gd name="connsiteY18" fmla="*/ 56368 h 1004856"/>
                <a:gd name="connsiteX19" fmla="*/ 3414 w 1005184"/>
                <a:gd name="connsiteY19" fmla="*/ 59334 h 1004856"/>
                <a:gd name="connsiteX20" fmla="*/ 1855 w 1005184"/>
                <a:gd name="connsiteY20" fmla="*/ 65375 h 1004856"/>
                <a:gd name="connsiteX21" fmla="*/ 852 w 1005184"/>
                <a:gd name="connsiteY21" fmla="*/ 71543 h 1004856"/>
                <a:gd name="connsiteX22" fmla="*/ 403 w 1005184"/>
                <a:gd name="connsiteY22" fmla="*/ 74638 h 1004856"/>
                <a:gd name="connsiteX23" fmla="*/ 275 w 1005184"/>
                <a:gd name="connsiteY23" fmla="*/ 77776 h 1004856"/>
                <a:gd name="connsiteX24" fmla="*/ 104 w 1005184"/>
                <a:gd name="connsiteY24" fmla="*/ 80913 h 1004856"/>
                <a:gd name="connsiteX25" fmla="*/ 19 w 1005184"/>
                <a:gd name="connsiteY25" fmla="*/ 82471 h 1004856"/>
                <a:gd name="connsiteX26" fmla="*/ 19 w 1005184"/>
                <a:gd name="connsiteY26" fmla="*/ 84350 h 1004856"/>
                <a:gd name="connsiteX27" fmla="*/ 19 w 1005184"/>
                <a:gd name="connsiteY27" fmla="*/ 922151 h 1004856"/>
                <a:gd name="connsiteX28" fmla="*/ 3734 w 1005184"/>
                <a:gd name="connsiteY28" fmla="*/ 946782 h 1004856"/>
                <a:gd name="connsiteX29" fmla="*/ 14687 w 1005184"/>
                <a:gd name="connsiteY29" fmla="*/ 969108 h 1004856"/>
                <a:gd name="connsiteX30" fmla="*/ 53459 w 1005184"/>
                <a:gd name="connsiteY30" fmla="*/ 999416 h 1004856"/>
                <a:gd name="connsiteX31" fmla="*/ 56384 w 1005184"/>
                <a:gd name="connsiteY31" fmla="*/ 1000484 h 1004856"/>
                <a:gd name="connsiteX32" fmla="*/ 59351 w 1005184"/>
                <a:gd name="connsiteY32" fmla="*/ 1001444 h 1004856"/>
                <a:gd name="connsiteX33" fmla="*/ 65393 w 1005184"/>
                <a:gd name="connsiteY33" fmla="*/ 1003002 h 1004856"/>
                <a:gd name="connsiteX34" fmla="*/ 71564 w 1005184"/>
                <a:gd name="connsiteY34" fmla="*/ 1004005 h 1004856"/>
                <a:gd name="connsiteX35" fmla="*/ 74659 w 1005184"/>
                <a:gd name="connsiteY35" fmla="*/ 1004454 h 1004856"/>
                <a:gd name="connsiteX36" fmla="*/ 77798 w 1005184"/>
                <a:gd name="connsiteY36" fmla="*/ 1004582 h 1004856"/>
                <a:gd name="connsiteX37" fmla="*/ 80936 w 1005184"/>
                <a:gd name="connsiteY37" fmla="*/ 1004752 h 1004856"/>
                <a:gd name="connsiteX38" fmla="*/ 82495 w 1005184"/>
                <a:gd name="connsiteY38" fmla="*/ 1004838 h 1004856"/>
                <a:gd name="connsiteX39" fmla="*/ 84374 w 1005184"/>
                <a:gd name="connsiteY39" fmla="*/ 1004838 h 1004856"/>
                <a:gd name="connsiteX40" fmla="*/ 922455 w 1005184"/>
                <a:gd name="connsiteY40" fmla="*/ 1004838 h 1004856"/>
                <a:gd name="connsiteX41" fmla="*/ 947093 w 1005184"/>
                <a:gd name="connsiteY41" fmla="*/ 1001124 h 1004856"/>
                <a:gd name="connsiteX42" fmla="*/ 969425 w 1005184"/>
                <a:gd name="connsiteY42" fmla="*/ 990174 h 1004856"/>
                <a:gd name="connsiteX43" fmla="*/ 999743 w 1005184"/>
                <a:gd name="connsiteY43" fmla="*/ 951413 h 1004856"/>
                <a:gd name="connsiteX44" fmla="*/ 1000810 w 1005184"/>
                <a:gd name="connsiteY44" fmla="*/ 948489 h 1004856"/>
                <a:gd name="connsiteX45" fmla="*/ 1001771 w 1005184"/>
                <a:gd name="connsiteY45" fmla="*/ 945522 h 1004856"/>
                <a:gd name="connsiteX46" fmla="*/ 1003329 w 1005184"/>
                <a:gd name="connsiteY46" fmla="*/ 939482 h 1004856"/>
                <a:gd name="connsiteX47" fmla="*/ 1004333 w 1005184"/>
                <a:gd name="connsiteY47" fmla="*/ 933314 h 1004856"/>
                <a:gd name="connsiteX48" fmla="*/ 1004781 w 1005184"/>
                <a:gd name="connsiteY48" fmla="*/ 930219 h 1004856"/>
                <a:gd name="connsiteX49" fmla="*/ 1004910 w 1005184"/>
                <a:gd name="connsiteY49" fmla="*/ 927081 h 1004856"/>
                <a:gd name="connsiteX50" fmla="*/ 1005080 w 1005184"/>
                <a:gd name="connsiteY50" fmla="*/ 923943 h 1004856"/>
                <a:gd name="connsiteX51" fmla="*/ 1005166 w 1005184"/>
                <a:gd name="connsiteY51" fmla="*/ 922385 h 1004856"/>
                <a:gd name="connsiteX52" fmla="*/ 1005166 w 1005184"/>
                <a:gd name="connsiteY52" fmla="*/ 920507 h 1004856"/>
                <a:gd name="connsiteX53" fmla="*/ 1005166 w 1005184"/>
                <a:gd name="connsiteY53" fmla="*/ 912674 h 1004856"/>
                <a:gd name="connsiteX54" fmla="*/ 961675 w 1005184"/>
                <a:gd name="connsiteY54" fmla="*/ 922279 h 1004856"/>
                <a:gd name="connsiteX55" fmla="*/ 961590 w 1005184"/>
                <a:gd name="connsiteY55" fmla="*/ 923026 h 1004856"/>
                <a:gd name="connsiteX56" fmla="*/ 961483 w 1005184"/>
                <a:gd name="connsiteY56" fmla="*/ 924541 h 1004856"/>
                <a:gd name="connsiteX57" fmla="*/ 961483 w 1005184"/>
                <a:gd name="connsiteY57" fmla="*/ 926057 h 1004856"/>
                <a:gd name="connsiteX58" fmla="*/ 961227 w 1005184"/>
                <a:gd name="connsiteY58" fmla="*/ 927508 h 1004856"/>
                <a:gd name="connsiteX59" fmla="*/ 960800 w 1005184"/>
                <a:gd name="connsiteY59" fmla="*/ 930432 h 1004856"/>
                <a:gd name="connsiteX60" fmla="*/ 960053 w 1005184"/>
                <a:gd name="connsiteY60" fmla="*/ 933271 h 1004856"/>
                <a:gd name="connsiteX61" fmla="*/ 959583 w 1005184"/>
                <a:gd name="connsiteY61" fmla="*/ 934658 h 1004856"/>
                <a:gd name="connsiteX62" fmla="*/ 959071 w 1005184"/>
                <a:gd name="connsiteY62" fmla="*/ 936024 h 1004856"/>
                <a:gd name="connsiteX63" fmla="*/ 944659 w 1005184"/>
                <a:gd name="connsiteY63" fmla="*/ 954487 h 1004856"/>
                <a:gd name="connsiteX64" fmla="*/ 934112 w 1005184"/>
                <a:gd name="connsiteY64" fmla="*/ 959695 h 1004856"/>
                <a:gd name="connsiteX65" fmla="*/ 922391 w 1005184"/>
                <a:gd name="connsiteY65" fmla="*/ 961466 h 1004856"/>
                <a:gd name="connsiteX66" fmla="*/ 83349 w 1005184"/>
                <a:gd name="connsiteY66" fmla="*/ 961466 h 1004856"/>
                <a:gd name="connsiteX67" fmla="*/ 82580 w 1005184"/>
                <a:gd name="connsiteY67" fmla="*/ 961466 h 1004856"/>
                <a:gd name="connsiteX68" fmla="*/ 81833 w 1005184"/>
                <a:gd name="connsiteY68" fmla="*/ 961381 h 1004856"/>
                <a:gd name="connsiteX69" fmla="*/ 80317 w 1005184"/>
                <a:gd name="connsiteY69" fmla="*/ 961274 h 1004856"/>
                <a:gd name="connsiteX70" fmla="*/ 78801 w 1005184"/>
                <a:gd name="connsiteY70" fmla="*/ 961274 h 1004856"/>
                <a:gd name="connsiteX71" fmla="*/ 77349 w 1005184"/>
                <a:gd name="connsiteY71" fmla="*/ 961018 h 1004856"/>
                <a:gd name="connsiteX72" fmla="*/ 74424 w 1005184"/>
                <a:gd name="connsiteY72" fmla="*/ 960591 h 1004856"/>
                <a:gd name="connsiteX73" fmla="*/ 71585 w 1005184"/>
                <a:gd name="connsiteY73" fmla="*/ 959844 h 1004856"/>
                <a:gd name="connsiteX74" fmla="*/ 70197 w 1005184"/>
                <a:gd name="connsiteY74" fmla="*/ 959375 h 1004856"/>
                <a:gd name="connsiteX75" fmla="*/ 68831 w 1005184"/>
                <a:gd name="connsiteY75" fmla="*/ 958863 h 1004856"/>
                <a:gd name="connsiteX76" fmla="*/ 50363 w 1005184"/>
                <a:gd name="connsiteY76" fmla="*/ 944455 h 1004856"/>
                <a:gd name="connsiteX77" fmla="*/ 45153 w 1005184"/>
                <a:gd name="connsiteY77" fmla="*/ 933911 h 1004856"/>
                <a:gd name="connsiteX78" fmla="*/ 43381 w 1005184"/>
                <a:gd name="connsiteY78" fmla="*/ 922193 h 1004856"/>
                <a:gd name="connsiteX79" fmla="*/ 43381 w 1005184"/>
                <a:gd name="connsiteY79" fmla="*/ 83325 h 1004856"/>
                <a:gd name="connsiteX80" fmla="*/ 43381 w 1005184"/>
                <a:gd name="connsiteY80" fmla="*/ 82557 h 1004856"/>
                <a:gd name="connsiteX81" fmla="*/ 43467 w 1005184"/>
                <a:gd name="connsiteY81" fmla="*/ 81810 h 1004856"/>
                <a:gd name="connsiteX82" fmla="*/ 43573 w 1005184"/>
                <a:gd name="connsiteY82" fmla="*/ 80294 h 1004856"/>
                <a:gd name="connsiteX83" fmla="*/ 43573 w 1005184"/>
                <a:gd name="connsiteY83" fmla="*/ 78779 h 1004856"/>
                <a:gd name="connsiteX84" fmla="*/ 43830 w 1005184"/>
                <a:gd name="connsiteY84" fmla="*/ 77328 h 1004856"/>
                <a:gd name="connsiteX85" fmla="*/ 44257 w 1005184"/>
                <a:gd name="connsiteY85" fmla="*/ 74403 h 1004856"/>
                <a:gd name="connsiteX86" fmla="*/ 45004 w 1005184"/>
                <a:gd name="connsiteY86" fmla="*/ 71565 h 1004856"/>
                <a:gd name="connsiteX87" fmla="*/ 45474 w 1005184"/>
                <a:gd name="connsiteY87" fmla="*/ 70177 h 1004856"/>
                <a:gd name="connsiteX88" fmla="*/ 45986 w 1005184"/>
                <a:gd name="connsiteY88" fmla="*/ 68811 h 1004856"/>
                <a:gd name="connsiteX89" fmla="*/ 60397 w 1005184"/>
                <a:gd name="connsiteY89" fmla="*/ 50348 h 1004856"/>
                <a:gd name="connsiteX90" fmla="*/ 70944 w 1005184"/>
                <a:gd name="connsiteY90" fmla="*/ 45141 h 1004856"/>
                <a:gd name="connsiteX91" fmla="*/ 82666 w 1005184"/>
                <a:gd name="connsiteY91" fmla="*/ 43369 h 1004856"/>
                <a:gd name="connsiteX92" fmla="*/ 921708 w 1005184"/>
                <a:gd name="connsiteY92" fmla="*/ 43369 h 1004856"/>
                <a:gd name="connsiteX93" fmla="*/ 922476 w 1005184"/>
                <a:gd name="connsiteY93" fmla="*/ 43369 h 1004856"/>
                <a:gd name="connsiteX94" fmla="*/ 923224 w 1005184"/>
                <a:gd name="connsiteY94" fmla="*/ 43454 h 1004856"/>
                <a:gd name="connsiteX95" fmla="*/ 924739 w 1005184"/>
                <a:gd name="connsiteY95" fmla="*/ 43561 h 1004856"/>
                <a:gd name="connsiteX96" fmla="*/ 926255 w 1005184"/>
                <a:gd name="connsiteY96" fmla="*/ 43561 h 1004856"/>
                <a:gd name="connsiteX97" fmla="*/ 927707 w 1005184"/>
                <a:gd name="connsiteY97" fmla="*/ 43817 h 1004856"/>
                <a:gd name="connsiteX98" fmla="*/ 930632 w 1005184"/>
                <a:gd name="connsiteY98" fmla="*/ 44244 h 1004856"/>
                <a:gd name="connsiteX99" fmla="*/ 933472 w 1005184"/>
                <a:gd name="connsiteY99" fmla="*/ 44991 h 1004856"/>
                <a:gd name="connsiteX100" fmla="*/ 934859 w 1005184"/>
                <a:gd name="connsiteY100" fmla="*/ 45461 h 1004856"/>
                <a:gd name="connsiteX101" fmla="*/ 936226 w 1005184"/>
                <a:gd name="connsiteY101" fmla="*/ 45973 h 1004856"/>
                <a:gd name="connsiteX102" fmla="*/ 954694 w 1005184"/>
                <a:gd name="connsiteY102" fmla="*/ 60380 h 1004856"/>
                <a:gd name="connsiteX103" fmla="*/ 959903 w 1005184"/>
                <a:gd name="connsiteY103" fmla="*/ 70924 h 1004856"/>
                <a:gd name="connsiteX104" fmla="*/ 961675 w 1005184"/>
                <a:gd name="connsiteY104" fmla="*/ 82642 h 1004856"/>
                <a:gd name="connsiteX105" fmla="*/ 961675 w 1005184"/>
                <a:gd name="connsiteY105" fmla="*/ 921510 h 1004856"/>
                <a:gd name="connsiteX106" fmla="*/ 961675 w 1005184"/>
                <a:gd name="connsiteY106" fmla="*/ 922279 h 1004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1005184" h="1004856">
                  <a:moveTo>
                    <a:pt x="1005123" y="912716"/>
                  </a:moveTo>
                  <a:lnTo>
                    <a:pt x="1005123" y="82706"/>
                  </a:lnTo>
                  <a:cubicBezTo>
                    <a:pt x="1004931" y="74339"/>
                    <a:pt x="1003735" y="66079"/>
                    <a:pt x="1001408" y="58075"/>
                  </a:cubicBezTo>
                  <a:cubicBezTo>
                    <a:pt x="998782" y="50178"/>
                    <a:pt x="995110" y="42665"/>
                    <a:pt x="990455" y="35749"/>
                  </a:cubicBezTo>
                  <a:cubicBezTo>
                    <a:pt x="980891" y="22132"/>
                    <a:pt x="967290" y="11182"/>
                    <a:pt x="951683" y="5440"/>
                  </a:cubicBezTo>
                  <a:lnTo>
                    <a:pt x="948758" y="4373"/>
                  </a:lnTo>
                  <a:cubicBezTo>
                    <a:pt x="947798" y="4010"/>
                    <a:pt x="946816" y="3626"/>
                    <a:pt x="945791" y="3413"/>
                  </a:cubicBezTo>
                  <a:lnTo>
                    <a:pt x="939749" y="1855"/>
                  </a:lnTo>
                  <a:cubicBezTo>
                    <a:pt x="937720" y="1406"/>
                    <a:pt x="935628" y="1214"/>
                    <a:pt x="933578" y="851"/>
                  </a:cubicBezTo>
                  <a:cubicBezTo>
                    <a:pt x="932554" y="702"/>
                    <a:pt x="931529" y="467"/>
                    <a:pt x="930483" y="403"/>
                  </a:cubicBezTo>
                  <a:lnTo>
                    <a:pt x="927344" y="275"/>
                  </a:lnTo>
                  <a:lnTo>
                    <a:pt x="924206" y="104"/>
                  </a:lnTo>
                  <a:lnTo>
                    <a:pt x="922647" y="19"/>
                  </a:lnTo>
                  <a:cubicBezTo>
                    <a:pt x="922135" y="-24"/>
                    <a:pt x="921387" y="19"/>
                    <a:pt x="920768" y="19"/>
                  </a:cubicBezTo>
                  <a:lnTo>
                    <a:pt x="82730" y="19"/>
                  </a:lnTo>
                  <a:cubicBezTo>
                    <a:pt x="74360" y="211"/>
                    <a:pt x="66098" y="1406"/>
                    <a:pt x="58092" y="3733"/>
                  </a:cubicBezTo>
                  <a:cubicBezTo>
                    <a:pt x="50192" y="6358"/>
                    <a:pt x="42677" y="10029"/>
                    <a:pt x="35759" y="14682"/>
                  </a:cubicBezTo>
                  <a:cubicBezTo>
                    <a:pt x="22138" y="24245"/>
                    <a:pt x="11185" y="37841"/>
                    <a:pt x="5442" y="53443"/>
                  </a:cubicBezTo>
                  <a:lnTo>
                    <a:pt x="4374" y="56368"/>
                  </a:lnTo>
                  <a:cubicBezTo>
                    <a:pt x="4011" y="57328"/>
                    <a:pt x="3627" y="58310"/>
                    <a:pt x="3414" y="59334"/>
                  </a:cubicBezTo>
                  <a:lnTo>
                    <a:pt x="1855" y="65375"/>
                  </a:lnTo>
                  <a:cubicBezTo>
                    <a:pt x="1407" y="67402"/>
                    <a:pt x="1215" y="69494"/>
                    <a:pt x="852" y="71543"/>
                  </a:cubicBezTo>
                  <a:cubicBezTo>
                    <a:pt x="702" y="72568"/>
                    <a:pt x="467" y="73592"/>
                    <a:pt x="403" y="74638"/>
                  </a:cubicBezTo>
                  <a:lnTo>
                    <a:pt x="275" y="77776"/>
                  </a:lnTo>
                  <a:lnTo>
                    <a:pt x="104" y="80913"/>
                  </a:lnTo>
                  <a:lnTo>
                    <a:pt x="19" y="82471"/>
                  </a:lnTo>
                  <a:cubicBezTo>
                    <a:pt x="-24" y="82984"/>
                    <a:pt x="19" y="83731"/>
                    <a:pt x="19" y="84350"/>
                  </a:cubicBezTo>
                  <a:lnTo>
                    <a:pt x="19" y="922151"/>
                  </a:lnTo>
                  <a:cubicBezTo>
                    <a:pt x="211" y="930517"/>
                    <a:pt x="1407" y="938778"/>
                    <a:pt x="3734" y="946782"/>
                  </a:cubicBezTo>
                  <a:cubicBezTo>
                    <a:pt x="6360" y="954679"/>
                    <a:pt x="10032" y="962192"/>
                    <a:pt x="14687" y="969108"/>
                  </a:cubicBezTo>
                  <a:cubicBezTo>
                    <a:pt x="24251" y="982725"/>
                    <a:pt x="37852" y="993675"/>
                    <a:pt x="53459" y="999416"/>
                  </a:cubicBezTo>
                  <a:lnTo>
                    <a:pt x="56384" y="1000484"/>
                  </a:lnTo>
                  <a:cubicBezTo>
                    <a:pt x="57344" y="1000846"/>
                    <a:pt x="58326" y="1001231"/>
                    <a:pt x="59351" y="1001444"/>
                  </a:cubicBezTo>
                  <a:lnTo>
                    <a:pt x="65393" y="1003002"/>
                  </a:lnTo>
                  <a:cubicBezTo>
                    <a:pt x="67422" y="1003450"/>
                    <a:pt x="69514" y="1003643"/>
                    <a:pt x="71564" y="1004005"/>
                  </a:cubicBezTo>
                  <a:cubicBezTo>
                    <a:pt x="72588" y="1004155"/>
                    <a:pt x="73613" y="1004390"/>
                    <a:pt x="74659" y="1004454"/>
                  </a:cubicBezTo>
                  <a:lnTo>
                    <a:pt x="77798" y="1004582"/>
                  </a:lnTo>
                  <a:lnTo>
                    <a:pt x="80936" y="1004752"/>
                  </a:lnTo>
                  <a:lnTo>
                    <a:pt x="82495" y="1004838"/>
                  </a:lnTo>
                  <a:cubicBezTo>
                    <a:pt x="83007" y="1004881"/>
                    <a:pt x="83755" y="1004838"/>
                    <a:pt x="84374" y="1004838"/>
                  </a:cubicBezTo>
                  <a:lnTo>
                    <a:pt x="922455" y="1004838"/>
                  </a:lnTo>
                  <a:cubicBezTo>
                    <a:pt x="930824" y="1004646"/>
                    <a:pt x="939087" y="1003450"/>
                    <a:pt x="947093" y="1001124"/>
                  </a:cubicBezTo>
                  <a:cubicBezTo>
                    <a:pt x="954993" y="998499"/>
                    <a:pt x="962508" y="994827"/>
                    <a:pt x="969425" y="990174"/>
                  </a:cubicBezTo>
                  <a:cubicBezTo>
                    <a:pt x="983047" y="980612"/>
                    <a:pt x="993999" y="967016"/>
                    <a:pt x="999743" y="951413"/>
                  </a:cubicBezTo>
                  <a:lnTo>
                    <a:pt x="1000810" y="948489"/>
                  </a:lnTo>
                  <a:cubicBezTo>
                    <a:pt x="1001173" y="947529"/>
                    <a:pt x="1001558" y="946547"/>
                    <a:pt x="1001771" y="945522"/>
                  </a:cubicBezTo>
                  <a:lnTo>
                    <a:pt x="1003329" y="939482"/>
                  </a:lnTo>
                  <a:cubicBezTo>
                    <a:pt x="1003778" y="937454"/>
                    <a:pt x="1003970" y="935363"/>
                    <a:pt x="1004333" y="933314"/>
                  </a:cubicBezTo>
                  <a:cubicBezTo>
                    <a:pt x="1004482" y="932289"/>
                    <a:pt x="1004717" y="931265"/>
                    <a:pt x="1004781" y="930219"/>
                  </a:cubicBezTo>
                  <a:lnTo>
                    <a:pt x="1004910" y="927081"/>
                  </a:lnTo>
                  <a:lnTo>
                    <a:pt x="1005080" y="923943"/>
                  </a:lnTo>
                  <a:lnTo>
                    <a:pt x="1005166" y="922385"/>
                  </a:lnTo>
                  <a:cubicBezTo>
                    <a:pt x="1005208" y="921873"/>
                    <a:pt x="1005166" y="921126"/>
                    <a:pt x="1005166" y="920507"/>
                  </a:cubicBezTo>
                  <a:lnTo>
                    <a:pt x="1005166" y="912674"/>
                  </a:lnTo>
                  <a:close/>
                  <a:moveTo>
                    <a:pt x="961675" y="922279"/>
                  </a:moveTo>
                  <a:lnTo>
                    <a:pt x="961590" y="923026"/>
                  </a:lnTo>
                  <a:cubicBezTo>
                    <a:pt x="961547" y="923538"/>
                    <a:pt x="961504" y="924029"/>
                    <a:pt x="961483" y="924541"/>
                  </a:cubicBezTo>
                  <a:cubicBezTo>
                    <a:pt x="961483" y="925053"/>
                    <a:pt x="961462" y="925544"/>
                    <a:pt x="961483" y="926057"/>
                  </a:cubicBezTo>
                  <a:cubicBezTo>
                    <a:pt x="961462" y="926547"/>
                    <a:pt x="961291" y="927038"/>
                    <a:pt x="961227" y="927508"/>
                  </a:cubicBezTo>
                  <a:cubicBezTo>
                    <a:pt x="961013" y="928468"/>
                    <a:pt x="961013" y="929472"/>
                    <a:pt x="960800" y="930432"/>
                  </a:cubicBezTo>
                  <a:cubicBezTo>
                    <a:pt x="960480" y="931371"/>
                    <a:pt x="960245" y="932310"/>
                    <a:pt x="960053" y="933271"/>
                  </a:cubicBezTo>
                  <a:cubicBezTo>
                    <a:pt x="960010" y="933762"/>
                    <a:pt x="959797" y="934210"/>
                    <a:pt x="959583" y="934658"/>
                  </a:cubicBezTo>
                  <a:cubicBezTo>
                    <a:pt x="959391" y="935106"/>
                    <a:pt x="959220" y="935555"/>
                    <a:pt x="959071" y="936024"/>
                  </a:cubicBezTo>
                  <a:cubicBezTo>
                    <a:pt x="956445" y="943388"/>
                    <a:pt x="951107" y="949877"/>
                    <a:pt x="944659" y="954487"/>
                  </a:cubicBezTo>
                  <a:cubicBezTo>
                    <a:pt x="941329" y="956664"/>
                    <a:pt x="937806" y="958372"/>
                    <a:pt x="934112" y="959695"/>
                  </a:cubicBezTo>
                  <a:cubicBezTo>
                    <a:pt x="930333" y="960719"/>
                    <a:pt x="926469" y="961253"/>
                    <a:pt x="922391" y="961466"/>
                  </a:cubicBezTo>
                  <a:lnTo>
                    <a:pt x="83349" y="961466"/>
                  </a:lnTo>
                  <a:cubicBezTo>
                    <a:pt x="83029" y="961466"/>
                    <a:pt x="82623" y="961466"/>
                    <a:pt x="82580" y="961466"/>
                  </a:cubicBezTo>
                  <a:lnTo>
                    <a:pt x="81833" y="961381"/>
                  </a:lnTo>
                  <a:cubicBezTo>
                    <a:pt x="81321" y="961338"/>
                    <a:pt x="80830" y="961296"/>
                    <a:pt x="80317" y="961274"/>
                  </a:cubicBezTo>
                  <a:cubicBezTo>
                    <a:pt x="79805" y="961274"/>
                    <a:pt x="79314" y="961253"/>
                    <a:pt x="78801" y="961274"/>
                  </a:cubicBezTo>
                  <a:cubicBezTo>
                    <a:pt x="78310" y="961253"/>
                    <a:pt x="77819" y="961082"/>
                    <a:pt x="77349" y="961018"/>
                  </a:cubicBezTo>
                  <a:cubicBezTo>
                    <a:pt x="76389" y="960805"/>
                    <a:pt x="75385" y="960805"/>
                    <a:pt x="74424" y="960591"/>
                  </a:cubicBezTo>
                  <a:cubicBezTo>
                    <a:pt x="73485" y="960271"/>
                    <a:pt x="72546" y="960036"/>
                    <a:pt x="71585" y="959844"/>
                  </a:cubicBezTo>
                  <a:cubicBezTo>
                    <a:pt x="71094" y="959802"/>
                    <a:pt x="70645" y="959588"/>
                    <a:pt x="70197" y="959375"/>
                  </a:cubicBezTo>
                  <a:cubicBezTo>
                    <a:pt x="69749" y="959183"/>
                    <a:pt x="69300" y="959012"/>
                    <a:pt x="68831" y="958863"/>
                  </a:cubicBezTo>
                  <a:cubicBezTo>
                    <a:pt x="61465" y="956237"/>
                    <a:pt x="54974" y="950901"/>
                    <a:pt x="50363" y="944455"/>
                  </a:cubicBezTo>
                  <a:cubicBezTo>
                    <a:pt x="48185" y="941126"/>
                    <a:pt x="46477" y="937604"/>
                    <a:pt x="45153" y="933911"/>
                  </a:cubicBezTo>
                  <a:cubicBezTo>
                    <a:pt x="44128" y="930133"/>
                    <a:pt x="43595" y="926270"/>
                    <a:pt x="43381" y="922193"/>
                  </a:cubicBezTo>
                  <a:lnTo>
                    <a:pt x="43381" y="83325"/>
                  </a:lnTo>
                  <a:cubicBezTo>
                    <a:pt x="43381" y="83005"/>
                    <a:pt x="43381" y="82600"/>
                    <a:pt x="43381" y="82557"/>
                  </a:cubicBezTo>
                  <a:lnTo>
                    <a:pt x="43467" y="81810"/>
                  </a:lnTo>
                  <a:cubicBezTo>
                    <a:pt x="43509" y="81298"/>
                    <a:pt x="43552" y="80807"/>
                    <a:pt x="43573" y="80294"/>
                  </a:cubicBezTo>
                  <a:cubicBezTo>
                    <a:pt x="43573" y="79782"/>
                    <a:pt x="43595" y="79291"/>
                    <a:pt x="43573" y="78779"/>
                  </a:cubicBezTo>
                  <a:cubicBezTo>
                    <a:pt x="43595" y="78288"/>
                    <a:pt x="43766" y="77797"/>
                    <a:pt x="43830" y="77328"/>
                  </a:cubicBezTo>
                  <a:cubicBezTo>
                    <a:pt x="44043" y="76367"/>
                    <a:pt x="44043" y="75364"/>
                    <a:pt x="44257" y="74403"/>
                  </a:cubicBezTo>
                  <a:cubicBezTo>
                    <a:pt x="44577" y="73464"/>
                    <a:pt x="44812" y="72525"/>
                    <a:pt x="45004" y="71565"/>
                  </a:cubicBezTo>
                  <a:cubicBezTo>
                    <a:pt x="45047" y="71074"/>
                    <a:pt x="45260" y="70625"/>
                    <a:pt x="45474" y="70177"/>
                  </a:cubicBezTo>
                  <a:cubicBezTo>
                    <a:pt x="45666" y="69729"/>
                    <a:pt x="45837" y="69281"/>
                    <a:pt x="45986" y="68811"/>
                  </a:cubicBezTo>
                  <a:cubicBezTo>
                    <a:pt x="48612" y="61447"/>
                    <a:pt x="53950" y="54959"/>
                    <a:pt x="60397" y="50348"/>
                  </a:cubicBezTo>
                  <a:cubicBezTo>
                    <a:pt x="63728" y="48171"/>
                    <a:pt x="67251" y="46464"/>
                    <a:pt x="70944" y="45141"/>
                  </a:cubicBezTo>
                  <a:cubicBezTo>
                    <a:pt x="74723" y="44116"/>
                    <a:pt x="78588" y="43582"/>
                    <a:pt x="82666" y="43369"/>
                  </a:cubicBezTo>
                  <a:lnTo>
                    <a:pt x="921708" y="43369"/>
                  </a:lnTo>
                  <a:cubicBezTo>
                    <a:pt x="922028" y="43369"/>
                    <a:pt x="922434" y="43369"/>
                    <a:pt x="922476" y="43369"/>
                  </a:cubicBezTo>
                  <a:lnTo>
                    <a:pt x="923224" y="43454"/>
                  </a:lnTo>
                  <a:cubicBezTo>
                    <a:pt x="923736" y="43497"/>
                    <a:pt x="924227" y="43540"/>
                    <a:pt x="924739" y="43561"/>
                  </a:cubicBezTo>
                  <a:cubicBezTo>
                    <a:pt x="925252" y="43561"/>
                    <a:pt x="925743" y="43582"/>
                    <a:pt x="926255" y="43561"/>
                  </a:cubicBezTo>
                  <a:cubicBezTo>
                    <a:pt x="926746" y="43582"/>
                    <a:pt x="927237" y="43753"/>
                    <a:pt x="927707" y="43817"/>
                  </a:cubicBezTo>
                  <a:cubicBezTo>
                    <a:pt x="928668" y="44031"/>
                    <a:pt x="929671" y="44031"/>
                    <a:pt x="930632" y="44244"/>
                  </a:cubicBezTo>
                  <a:cubicBezTo>
                    <a:pt x="931571" y="44564"/>
                    <a:pt x="932511" y="44799"/>
                    <a:pt x="933472" y="44991"/>
                  </a:cubicBezTo>
                  <a:cubicBezTo>
                    <a:pt x="933963" y="45034"/>
                    <a:pt x="934411" y="45247"/>
                    <a:pt x="934859" y="45461"/>
                  </a:cubicBezTo>
                  <a:cubicBezTo>
                    <a:pt x="935308" y="45653"/>
                    <a:pt x="935756" y="45824"/>
                    <a:pt x="936226" y="45973"/>
                  </a:cubicBezTo>
                  <a:cubicBezTo>
                    <a:pt x="943592" y="48598"/>
                    <a:pt x="950082" y="53934"/>
                    <a:pt x="954694" y="60380"/>
                  </a:cubicBezTo>
                  <a:cubicBezTo>
                    <a:pt x="956872" y="63710"/>
                    <a:pt x="958580" y="67232"/>
                    <a:pt x="959903" y="70924"/>
                  </a:cubicBezTo>
                  <a:cubicBezTo>
                    <a:pt x="960928" y="74702"/>
                    <a:pt x="961462" y="78565"/>
                    <a:pt x="961675" y="82642"/>
                  </a:cubicBezTo>
                  <a:lnTo>
                    <a:pt x="961675" y="921510"/>
                  </a:lnTo>
                  <a:cubicBezTo>
                    <a:pt x="961675" y="921830"/>
                    <a:pt x="961675" y="922236"/>
                    <a:pt x="961675" y="922279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976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46" name="Freeform 6">
              <a:extLst>
                <a:ext uri="{FF2B5EF4-FFF2-40B4-BE49-F238E27FC236}">
                  <a16:creationId xmlns:a16="http://schemas.microsoft.com/office/drawing/2014/main" id="{075BBBF1-BB9D-CFAC-AC77-A6ED7FDE4FEE}"/>
                </a:ext>
              </a:extLst>
            </p:cNvPr>
            <p:cNvSpPr/>
            <p:nvPr/>
          </p:nvSpPr>
          <p:spPr>
            <a:xfrm>
              <a:off x="3278899" y="3921921"/>
              <a:ext cx="149238" cy="149195"/>
            </a:xfrm>
            <a:custGeom>
              <a:avLst/>
              <a:gdLst>
                <a:gd name="connsiteX0" fmla="*/ 74619 w 149238"/>
                <a:gd name="connsiteY0" fmla="*/ 0 h 149195"/>
                <a:gd name="connsiteX1" fmla="*/ 0 w 149238"/>
                <a:gd name="connsiteY1" fmla="*/ 74598 h 149195"/>
                <a:gd name="connsiteX2" fmla="*/ 74619 w 149238"/>
                <a:gd name="connsiteY2" fmla="*/ 149196 h 149195"/>
                <a:gd name="connsiteX3" fmla="*/ 149238 w 149238"/>
                <a:gd name="connsiteY3" fmla="*/ 74598 h 149195"/>
                <a:gd name="connsiteX4" fmla="*/ 74619 w 149238"/>
                <a:gd name="connsiteY4" fmla="*/ 0 h 14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238" h="149195">
                  <a:moveTo>
                    <a:pt x="74619" y="0"/>
                  </a:moveTo>
                  <a:cubicBezTo>
                    <a:pt x="33477" y="0"/>
                    <a:pt x="0" y="33468"/>
                    <a:pt x="0" y="74598"/>
                  </a:cubicBezTo>
                  <a:cubicBezTo>
                    <a:pt x="0" y="115728"/>
                    <a:pt x="33477" y="149196"/>
                    <a:pt x="74619" y="149196"/>
                  </a:cubicBezTo>
                  <a:cubicBezTo>
                    <a:pt x="115761" y="149196"/>
                    <a:pt x="149238" y="115728"/>
                    <a:pt x="149238" y="74598"/>
                  </a:cubicBezTo>
                  <a:cubicBezTo>
                    <a:pt x="149238" y="33468"/>
                    <a:pt x="115761" y="0"/>
                    <a:pt x="74619" y="0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976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47" name="Freeform 7">
              <a:extLst>
                <a:ext uri="{FF2B5EF4-FFF2-40B4-BE49-F238E27FC236}">
                  <a16:creationId xmlns:a16="http://schemas.microsoft.com/office/drawing/2014/main" id="{24C53916-9AC1-E602-7C94-2BC83121F372}"/>
                </a:ext>
              </a:extLst>
            </p:cNvPr>
            <p:cNvSpPr/>
            <p:nvPr/>
          </p:nvSpPr>
          <p:spPr>
            <a:xfrm>
              <a:off x="3380355" y="3327807"/>
              <a:ext cx="347303" cy="743288"/>
            </a:xfrm>
            <a:custGeom>
              <a:avLst/>
              <a:gdLst>
                <a:gd name="connsiteX0" fmla="*/ 294035 w 347303"/>
                <a:gd name="connsiteY0" fmla="*/ 597252 h 743288"/>
                <a:gd name="connsiteX1" fmla="*/ 294035 w 347303"/>
                <a:gd name="connsiteY1" fmla="*/ 184029 h 743288"/>
                <a:gd name="connsiteX2" fmla="*/ 163222 w 347303"/>
                <a:gd name="connsiteY2" fmla="*/ 53254 h 743288"/>
                <a:gd name="connsiteX3" fmla="*/ 146099 w 347303"/>
                <a:gd name="connsiteY3" fmla="*/ 53254 h 743288"/>
                <a:gd name="connsiteX4" fmla="*/ 74619 w 347303"/>
                <a:gd name="connsiteY4" fmla="*/ 0 h 743288"/>
                <a:gd name="connsiteX5" fmla="*/ 0 w 347303"/>
                <a:gd name="connsiteY5" fmla="*/ 74598 h 743288"/>
                <a:gd name="connsiteX6" fmla="*/ 74619 w 347303"/>
                <a:gd name="connsiteY6" fmla="*/ 149196 h 743288"/>
                <a:gd name="connsiteX7" fmla="*/ 146099 w 347303"/>
                <a:gd name="connsiteY7" fmla="*/ 95942 h 743288"/>
                <a:gd name="connsiteX8" fmla="*/ 163222 w 347303"/>
                <a:gd name="connsiteY8" fmla="*/ 95942 h 743288"/>
                <a:gd name="connsiteX9" fmla="*/ 251335 w 347303"/>
                <a:gd name="connsiteY9" fmla="*/ 184029 h 743288"/>
                <a:gd name="connsiteX10" fmla="*/ 251335 w 347303"/>
                <a:gd name="connsiteY10" fmla="*/ 597231 h 743288"/>
                <a:gd name="connsiteX11" fmla="*/ 198066 w 347303"/>
                <a:gd name="connsiteY11" fmla="*/ 668691 h 743288"/>
                <a:gd name="connsiteX12" fmla="*/ 272685 w 347303"/>
                <a:gd name="connsiteY12" fmla="*/ 743289 h 743288"/>
                <a:gd name="connsiteX13" fmla="*/ 347304 w 347303"/>
                <a:gd name="connsiteY13" fmla="*/ 668691 h 743288"/>
                <a:gd name="connsiteX14" fmla="*/ 294035 w 347303"/>
                <a:gd name="connsiteY14" fmla="*/ 597231 h 743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7303" h="743288">
                  <a:moveTo>
                    <a:pt x="294035" y="597252"/>
                  </a:moveTo>
                  <a:lnTo>
                    <a:pt x="294035" y="184029"/>
                  </a:lnTo>
                  <a:cubicBezTo>
                    <a:pt x="294035" y="111929"/>
                    <a:pt x="235365" y="53254"/>
                    <a:pt x="163222" y="53254"/>
                  </a:cubicBezTo>
                  <a:lnTo>
                    <a:pt x="146099" y="53254"/>
                  </a:lnTo>
                  <a:cubicBezTo>
                    <a:pt x="136898" y="22497"/>
                    <a:pt x="108331" y="0"/>
                    <a:pt x="74619" y="0"/>
                  </a:cubicBezTo>
                  <a:cubicBezTo>
                    <a:pt x="33477" y="0"/>
                    <a:pt x="0" y="33468"/>
                    <a:pt x="0" y="74598"/>
                  </a:cubicBezTo>
                  <a:cubicBezTo>
                    <a:pt x="0" y="115728"/>
                    <a:pt x="33477" y="149196"/>
                    <a:pt x="74619" y="149196"/>
                  </a:cubicBezTo>
                  <a:cubicBezTo>
                    <a:pt x="108352" y="149196"/>
                    <a:pt x="136898" y="126699"/>
                    <a:pt x="146099" y="95942"/>
                  </a:cubicBezTo>
                  <a:lnTo>
                    <a:pt x="163222" y="95942"/>
                  </a:lnTo>
                  <a:cubicBezTo>
                    <a:pt x="211794" y="95942"/>
                    <a:pt x="251335" y="135450"/>
                    <a:pt x="251335" y="184029"/>
                  </a:cubicBezTo>
                  <a:lnTo>
                    <a:pt x="251335" y="597231"/>
                  </a:lnTo>
                  <a:cubicBezTo>
                    <a:pt x="220569" y="606430"/>
                    <a:pt x="198066" y="634989"/>
                    <a:pt x="198066" y="668691"/>
                  </a:cubicBezTo>
                  <a:cubicBezTo>
                    <a:pt x="198066" y="709821"/>
                    <a:pt x="231543" y="743289"/>
                    <a:pt x="272685" y="743289"/>
                  </a:cubicBezTo>
                  <a:cubicBezTo>
                    <a:pt x="313827" y="743289"/>
                    <a:pt x="347304" y="709821"/>
                    <a:pt x="347304" y="668691"/>
                  </a:cubicBezTo>
                  <a:cubicBezTo>
                    <a:pt x="347304" y="634967"/>
                    <a:pt x="324801" y="606430"/>
                    <a:pt x="294035" y="597231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976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48" name="Freeform 8">
              <a:extLst>
                <a:ext uri="{FF2B5EF4-FFF2-40B4-BE49-F238E27FC236}">
                  <a16:creationId xmlns:a16="http://schemas.microsoft.com/office/drawing/2014/main" id="{A2EF5798-C64B-7E32-BAF8-630AC32666F3}"/>
                </a:ext>
              </a:extLst>
            </p:cNvPr>
            <p:cNvSpPr/>
            <p:nvPr/>
          </p:nvSpPr>
          <p:spPr>
            <a:xfrm>
              <a:off x="2978736" y="3921921"/>
              <a:ext cx="149237" cy="149195"/>
            </a:xfrm>
            <a:custGeom>
              <a:avLst/>
              <a:gdLst>
                <a:gd name="connsiteX0" fmla="*/ 74619 w 149237"/>
                <a:gd name="connsiteY0" fmla="*/ 0 h 149195"/>
                <a:gd name="connsiteX1" fmla="*/ 0 w 149237"/>
                <a:gd name="connsiteY1" fmla="*/ 74598 h 149195"/>
                <a:gd name="connsiteX2" fmla="*/ 74619 w 149237"/>
                <a:gd name="connsiteY2" fmla="*/ 149196 h 149195"/>
                <a:gd name="connsiteX3" fmla="*/ 149238 w 149237"/>
                <a:gd name="connsiteY3" fmla="*/ 74598 h 149195"/>
                <a:gd name="connsiteX4" fmla="*/ 74619 w 149237"/>
                <a:gd name="connsiteY4" fmla="*/ 0 h 14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237" h="149195">
                  <a:moveTo>
                    <a:pt x="74619" y="0"/>
                  </a:moveTo>
                  <a:cubicBezTo>
                    <a:pt x="33477" y="0"/>
                    <a:pt x="0" y="33468"/>
                    <a:pt x="0" y="74598"/>
                  </a:cubicBezTo>
                  <a:cubicBezTo>
                    <a:pt x="0" y="115728"/>
                    <a:pt x="33477" y="149196"/>
                    <a:pt x="74619" y="149196"/>
                  </a:cubicBezTo>
                  <a:cubicBezTo>
                    <a:pt x="115761" y="149196"/>
                    <a:pt x="149238" y="115728"/>
                    <a:pt x="149238" y="74598"/>
                  </a:cubicBezTo>
                  <a:cubicBezTo>
                    <a:pt x="149238" y="33468"/>
                    <a:pt x="115761" y="0"/>
                    <a:pt x="74619" y="0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976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49" name="Freeform 10">
              <a:extLst>
                <a:ext uri="{FF2B5EF4-FFF2-40B4-BE49-F238E27FC236}">
                  <a16:creationId xmlns:a16="http://schemas.microsoft.com/office/drawing/2014/main" id="{83B8058F-FDC1-D94C-8CE9-A4BACC92F292}"/>
                </a:ext>
              </a:extLst>
            </p:cNvPr>
            <p:cNvSpPr/>
            <p:nvPr/>
          </p:nvSpPr>
          <p:spPr>
            <a:xfrm>
              <a:off x="2978736" y="3327828"/>
              <a:ext cx="535890" cy="547520"/>
            </a:xfrm>
            <a:custGeom>
              <a:avLst/>
              <a:gdLst>
                <a:gd name="connsiteX0" fmla="*/ 473548 w 535890"/>
                <a:gd name="connsiteY0" fmla="*/ 230282 h 547520"/>
                <a:gd name="connsiteX1" fmla="*/ 273155 w 535890"/>
                <a:gd name="connsiteY1" fmla="*/ 230282 h 547520"/>
                <a:gd name="connsiteX2" fmla="*/ 210812 w 535890"/>
                <a:gd name="connsiteY2" fmla="*/ 292607 h 547520"/>
                <a:gd name="connsiteX3" fmla="*/ 210812 w 535890"/>
                <a:gd name="connsiteY3" fmla="*/ 381505 h 547520"/>
                <a:gd name="connsiteX4" fmla="*/ 168923 w 535890"/>
                <a:gd name="connsiteY4" fmla="*/ 381505 h 547520"/>
                <a:gd name="connsiteX5" fmla="*/ 95969 w 535890"/>
                <a:gd name="connsiteY5" fmla="*/ 308572 h 547520"/>
                <a:gd name="connsiteX6" fmla="*/ 95969 w 535890"/>
                <a:gd name="connsiteY6" fmla="*/ 146058 h 547520"/>
                <a:gd name="connsiteX7" fmla="*/ 149238 w 535890"/>
                <a:gd name="connsiteY7" fmla="*/ 74598 h 547520"/>
                <a:gd name="connsiteX8" fmla="*/ 74619 w 535890"/>
                <a:gd name="connsiteY8" fmla="*/ 0 h 547520"/>
                <a:gd name="connsiteX9" fmla="*/ 0 w 535890"/>
                <a:gd name="connsiteY9" fmla="*/ 74598 h 547520"/>
                <a:gd name="connsiteX10" fmla="*/ 53269 w 535890"/>
                <a:gd name="connsiteY10" fmla="*/ 146058 h 547520"/>
                <a:gd name="connsiteX11" fmla="*/ 53269 w 535890"/>
                <a:gd name="connsiteY11" fmla="*/ 308572 h 547520"/>
                <a:gd name="connsiteX12" fmla="*/ 168923 w 535890"/>
                <a:gd name="connsiteY12" fmla="*/ 424194 h 547520"/>
                <a:gd name="connsiteX13" fmla="*/ 210812 w 535890"/>
                <a:gd name="connsiteY13" fmla="*/ 424194 h 547520"/>
                <a:gd name="connsiteX14" fmla="*/ 210812 w 535890"/>
                <a:gd name="connsiteY14" fmla="*/ 485195 h 547520"/>
                <a:gd name="connsiteX15" fmla="*/ 273155 w 535890"/>
                <a:gd name="connsiteY15" fmla="*/ 547520 h 547520"/>
                <a:gd name="connsiteX16" fmla="*/ 473548 w 535890"/>
                <a:gd name="connsiteY16" fmla="*/ 547520 h 547520"/>
                <a:gd name="connsiteX17" fmla="*/ 535890 w 535890"/>
                <a:gd name="connsiteY17" fmla="*/ 485195 h 547520"/>
                <a:gd name="connsiteX18" fmla="*/ 535890 w 535890"/>
                <a:gd name="connsiteY18" fmla="*/ 292607 h 547520"/>
                <a:gd name="connsiteX19" fmla="*/ 473548 w 535890"/>
                <a:gd name="connsiteY19" fmla="*/ 230282 h 547520"/>
                <a:gd name="connsiteX20" fmla="*/ 493190 w 535890"/>
                <a:gd name="connsiteY20" fmla="*/ 485195 h 547520"/>
                <a:gd name="connsiteX21" fmla="*/ 473548 w 535890"/>
                <a:gd name="connsiteY21" fmla="*/ 504832 h 547520"/>
                <a:gd name="connsiteX22" fmla="*/ 273155 w 535890"/>
                <a:gd name="connsiteY22" fmla="*/ 504832 h 547520"/>
                <a:gd name="connsiteX23" fmla="*/ 253512 w 535890"/>
                <a:gd name="connsiteY23" fmla="*/ 485195 h 547520"/>
                <a:gd name="connsiteX24" fmla="*/ 253512 w 535890"/>
                <a:gd name="connsiteY24" fmla="*/ 292607 h 547520"/>
                <a:gd name="connsiteX25" fmla="*/ 273155 w 535890"/>
                <a:gd name="connsiteY25" fmla="*/ 272970 h 547520"/>
                <a:gd name="connsiteX26" fmla="*/ 473548 w 535890"/>
                <a:gd name="connsiteY26" fmla="*/ 272970 h 547520"/>
                <a:gd name="connsiteX27" fmla="*/ 493190 w 535890"/>
                <a:gd name="connsiteY27" fmla="*/ 292607 h 547520"/>
                <a:gd name="connsiteX28" fmla="*/ 493190 w 535890"/>
                <a:gd name="connsiteY28" fmla="*/ 485195 h 547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35890" h="547520">
                  <a:moveTo>
                    <a:pt x="473548" y="230282"/>
                  </a:moveTo>
                  <a:lnTo>
                    <a:pt x="273155" y="230282"/>
                  </a:lnTo>
                  <a:cubicBezTo>
                    <a:pt x="238781" y="230282"/>
                    <a:pt x="210812" y="258243"/>
                    <a:pt x="210812" y="292607"/>
                  </a:cubicBezTo>
                  <a:lnTo>
                    <a:pt x="210812" y="381505"/>
                  </a:lnTo>
                  <a:lnTo>
                    <a:pt x="168923" y="381505"/>
                  </a:lnTo>
                  <a:cubicBezTo>
                    <a:pt x="128699" y="381505"/>
                    <a:pt x="95969" y="348785"/>
                    <a:pt x="95969" y="308572"/>
                  </a:cubicBezTo>
                  <a:lnTo>
                    <a:pt x="95969" y="146058"/>
                  </a:lnTo>
                  <a:cubicBezTo>
                    <a:pt x="126735" y="136859"/>
                    <a:pt x="149238" y="108300"/>
                    <a:pt x="149238" y="74598"/>
                  </a:cubicBezTo>
                  <a:cubicBezTo>
                    <a:pt x="149238" y="33468"/>
                    <a:pt x="115761" y="0"/>
                    <a:pt x="74619" y="0"/>
                  </a:cubicBezTo>
                  <a:cubicBezTo>
                    <a:pt x="33477" y="0"/>
                    <a:pt x="0" y="33468"/>
                    <a:pt x="0" y="74598"/>
                  </a:cubicBezTo>
                  <a:cubicBezTo>
                    <a:pt x="0" y="108322"/>
                    <a:pt x="22503" y="136859"/>
                    <a:pt x="53269" y="146058"/>
                  </a:cubicBezTo>
                  <a:lnTo>
                    <a:pt x="53269" y="308572"/>
                  </a:lnTo>
                  <a:cubicBezTo>
                    <a:pt x="53269" y="372327"/>
                    <a:pt x="105150" y="424194"/>
                    <a:pt x="168923" y="424194"/>
                  </a:cubicBezTo>
                  <a:lnTo>
                    <a:pt x="210812" y="424194"/>
                  </a:lnTo>
                  <a:lnTo>
                    <a:pt x="210812" y="485195"/>
                  </a:lnTo>
                  <a:cubicBezTo>
                    <a:pt x="210812" y="519559"/>
                    <a:pt x="238781" y="547520"/>
                    <a:pt x="273155" y="547520"/>
                  </a:cubicBezTo>
                  <a:lnTo>
                    <a:pt x="473548" y="547520"/>
                  </a:lnTo>
                  <a:cubicBezTo>
                    <a:pt x="507922" y="547520"/>
                    <a:pt x="535890" y="519559"/>
                    <a:pt x="535890" y="485195"/>
                  </a:cubicBezTo>
                  <a:lnTo>
                    <a:pt x="535890" y="292607"/>
                  </a:lnTo>
                  <a:cubicBezTo>
                    <a:pt x="535890" y="258243"/>
                    <a:pt x="507922" y="230282"/>
                    <a:pt x="473548" y="230282"/>
                  </a:cubicBezTo>
                  <a:close/>
                  <a:moveTo>
                    <a:pt x="493190" y="485195"/>
                  </a:moveTo>
                  <a:cubicBezTo>
                    <a:pt x="493190" y="496017"/>
                    <a:pt x="484372" y="504832"/>
                    <a:pt x="473548" y="504832"/>
                  </a:cubicBezTo>
                  <a:lnTo>
                    <a:pt x="273155" y="504832"/>
                  </a:lnTo>
                  <a:cubicBezTo>
                    <a:pt x="262330" y="504832"/>
                    <a:pt x="253512" y="496017"/>
                    <a:pt x="253512" y="485195"/>
                  </a:cubicBezTo>
                  <a:lnTo>
                    <a:pt x="253512" y="292607"/>
                  </a:lnTo>
                  <a:cubicBezTo>
                    <a:pt x="253512" y="281786"/>
                    <a:pt x="262330" y="272970"/>
                    <a:pt x="273155" y="272970"/>
                  </a:cubicBezTo>
                  <a:lnTo>
                    <a:pt x="473548" y="272970"/>
                  </a:lnTo>
                  <a:cubicBezTo>
                    <a:pt x="484372" y="272970"/>
                    <a:pt x="493190" y="281786"/>
                    <a:pt x="493190" y="292607"/>
                  </a:cubicBezTo>
                  <a:lnTo>
                    <a:pt x="493190" y="485195"/>
                  </a:ln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976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50" name="Freeform 11">
              <a:extLst>
                <a:ext uri="{FF2B5EF4-FFF2-40B4-BE49-F238E27FC236}">
                  <a16:creationId xmlns:a16="http://schemas.microsoft.com/office/drawing/2014/main" id="{8510EB26-9C98-CDA1-CE63-E0866F4C5D35}"/>
                </a:ext>
              </a:extLst>
            </p:cNvPr>
            <p:cNvSpPr/>
            <p:nvPr/>
          </p:nvSpPr>
          <p:spPr>
            <a:xfrm>
              <a:off x="4200812" y="3243052"/>
              <a:ext cx="247822" cy="934380"/>
            </a:xfrm>
            <a:custGeom>
              <a:avLst/>
              <a:gdLst>
                <a:gd name="connsiteX0" fmla="*/ 36264 w 247822"/>
                <a:gd name="connsiteY0" fmla="*/ 5184 h 934380"/>
                <a:gd name="connsiteX1" fmla="*/ 6160 w 247822"/>
                <a:gd name="connsiteY1" fmla="*/ 7404 h 934380"/>
                <a:gd name="connsiteX2" fmla="*/ 8380 w 247822"/>
                <a:gd name="connsiteY2" fmla="*/ 37499 h 934380"/>
                <a:gd name="connsiteX3" fmla="*/ 205122 w 247822"/>
                <a:gd name="connsiteY3" fmla="*/ 466772 h 934380"/>
                <a:gd name="connsiteX4" fmla="*/ 7441 w 247822"/>
                <a:gd name="connsiteY4" fmla="*/ 896857 h 934380"/>
                <a:gd name="connsiteX5" fmla="*/ 5156 w 247822"/>
                <a:gd name="connsiteY5" fmla="*/ 926953 h 934380"/>
                <a:gd name="connsiteX6" fmla="*/ 21361 w 247822"/>
                <a:gd name="connsiteY6" fmla="*/ 934380 h 934380"/>
                <a:gd name="connsiteX7" fmla="*/ 35260 w 247822"/>
                <a:gd name="connsiteY7" fmla="*/ 929215 h 934380"/>
                <a:gd name="connsiteX8" fmla="*/ 247823 w 247822"/>
                <a:gd name="connsiteY8" fmla="*/ 466751 h 934380"/>
                <a:gd name="connsiteX9" fmla="*/ 36285 w 247822"/>
                <a:gd name="connsiteY9" fmla="*/ 5162 h 934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7822" h="934380">
                  <a:moveTo>
                    <a:pt x="36264" y="5184"/>
                  </a:moveTo>
                  <a:cubicBezTo>
                    <a:pt x="27339" y="-2521"/>
                    <a:pt x="13846" y="-1518"/>
                    <a:pt x="6160" y="7404"/>
                  </a:cubicBezTo>
                  <a:cubicBezTo>
                    <a:pt x="-1548" y="16325"/>
                    <a:pt x="-544" y="29815"/>
                    <a:pt x="8380" y="37499"/>
                  </a:cubicBezTo>
                  <a:cubicBezTo>
                    <a:pt x="133407" y="145372"/>
                    <a:pt x="205122" y="301846"/>
                    <a:pt x="205122" y="466772"/>
                  </a:cubicBezTo>
                  <a:cubicBezTo>
                    <a:pt x="205122" y="631699"/>
                    <a:pt x="133065" y="788941"/>
                    <a:pt x="7441" y="896857"/>
                  </a:cubicBezTo>
                  <a:cubicBezTo>
                    <a:pt x="-1505" y="904541"/>
                    <a:pt x="-2530" y="918009"/>
                    <a:pt x="5156" y="926953"/>
                  </a:cubicBezTo>
                  <a:cubicBezTo>
                    <a:pt x="9384" y="931862"/>
                    <a:pt x="15362" y="934380"/>
                    <a:pt x="21361" y="934380"/>
                  </a:cubicBezTo>
                  <a:cubicBezTo>
                    <a:pt x="26293" y="934380"/>
                    <a:pt x="31225" y="932694"/>
                    <a:pt x="35260" y="929215"/>
                  </a:cubicBezTo>
                  <a:cubicBezTo>
                    <a:pt x="170343" y="813188"/>
                    <a:pt x="247823" y="644633"/>
                    <a:pt x="247823" y="466751"/>
                  </a:cubicBezTo>
                  <a:cubicBezTo>
                    <a:pt x="247823" y="288869"/>
                    <a:pt x="170727" y="121147"/>
                    <a:pt x="36285" y="5162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976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51" name="Freeform 13">
              <a:extLst>
                <a:ext uri="{FF2B5EF4-FFF2-40B4-BE49-F238E27FC236}">
                  <a16:creationId xmlns:a16="http://schemas.microsoft.com/office/drawing/2014/main" id="{5C28927D-47FF-808E-3A43-7E4A28674133}"/>
                </a:ext>
              </a:extLst>
            </p:cNvPr>
            <p:cNvSpPr/>
            <p:nvPr/>
          </p:nvSpPr>
          <p:spPr>
            <a:xfrm>
              <a:off x="4096302" y="3364649"/>
              <a:ext cx="191906" cy="691184"/>
            </a:xfrm>
            <a:custGeom>
              <a:avLst/>
              <a:gdLst>
                <a:gd name="connsiteX0" fmla="*/ 36007 w 191906"/>
                <a:gd name="connsiteY0" fmla="*/ 5184 h 691184"/>
                <a:gd name="connsiteX1" fmla="*/ 5904 w 191906"/>
                <a:gd name="connsiteY1" fmla="*/ 7404 h 691184"/>
                <a:gd name="connsiteX2" fmla="*/ 8124 w 191906"/>
                <a:gd name="connsiteY2" fmla="*/ 37499 h 691184"/>
                <a:gd name="connsiteX3" fmla="*/ 149206 w 191906"/>
                <a:gd name="connsiteY3" fmla="*/ 345282 h 691184"/>
                <a:gd name="connsiteX4" fmla="*/ 7441 w 191906"/>
                <a:gd name="connsiteY4" fmla="*/ 653641 h 691184"/>
                <a:gd name="connsiteX5" fmla="*/ 5156 w 191906"/>
                <a:gd name="connsiteY5" fmla="*/ 683736 h 691184"/>
                <a:gd name="connsiteX6" fmla="*/ 21361 w 191906"/>
                <a:gd name="connsiteY6" fmla="*/ 691185 h 691184"/>
                <a:gd name="connsiteX7" fmla="*/ 35260 w 191906"/>
                <a:gd name="connsiteY7" fmla="*/ 686041 h 691184"/>
                <a:gd name="connsiteX8" fmla="*/ 191907 w 191906"/>
                <a:gd name="connsiteY8" fmla="*/ 345282 h 691184"/>
                <a:gd name="connsiteX9" fmla="*/ 36007 w 191906"/>
                <a:gd name="connsiteY9" fmla="*/ 5162 h 691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1906" h="691184">
                  <a:moveTo>
                    <a:pt x="36007" y="5184"/>
                  </a:moveTo>
                  <a:cubicBezTo>
                    <a:pt x="27083" y="-2521"/>
                    <a:pt x="13590" y="-1518"/>
                    <a:pt x="5904" y="7404"/>
                  </a:cubicBezTo>
                  <a:cubicBezTo>
                    <a:pt x="-1804" y="16325"/>
                    <a:pt x="-800" y="29815"/>
                    <a:pt x="8124" y="37499"/>
                  </a:cubicBezTo>
                  <a:cubicBezTo>
                    <a:pt x="97795" y="114829"/>
                    <a:pt x="149206" y="227014"/>
                    <a:pt x="149206" y="345282"/>
                  </a:cubicBezTo>
                  <a:cubicBezTo>
                    <a:pt x="149206" y="463549"/>
                    <a:pt x="97539" y="576311"/>
                    <a:pt x="7441" y="653641"/>
                  </a:cubicBezTo>
                  <a:cubicBezTo>
                    <a:pt x="-1505" y="661324"/>
                    <a:pt x="-2530" y="674793"/>
                    <a:pt x="5156" y="683736"/>
                  </a:cubicBezTo>
                  <a:cubicBezTo>
                    <a:pt x="9384" y="688645"/>
                    <a:pt x="15362" y="691185"/>
                    <a:pt x="21361" y="691185"/>
                  </a:cubicBezTo>
                  <a:cubicBezTo>
                    <a:pt x="26293" y="691185"/>
                    <a:pt x="31225" y="689499"/>
                    <a:pt x="35260" y="686041"/>
                  </a:cubicBezTo>
                  <a:cubicBezTo>
                    <a:pt x="134816" y="600579"/>
                    <a:pt x="191907" y="476377"/>
                    <a:pt x="191907" y="345282"/>
                  </a:cubicBezTo>
                  <a:cubicBezTo>
                    <a:pt x="191907" y="214186"/>
                    <a:pt x="135094" y="90624"/>
                    <a:pt x="36007" y="5162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976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52" name="Freeform 14">
              <a:extLst>
                <a:ext uri="{FF2B5EF4-FFF2-40B4-BE49-F238E27FC236}">
                  <a16:creationId xmlns:a16="http://schemas.microsoft.com/office/drawing/2014/main" id="{EFA3BE63-0B33-DED8-F3C8-17B3101524CB}"/>
                </a:ext>
              </a:extLst>
            </p:cNvPr>
            <p:cNvSpPr/>
            <p:nvPr/>
          </p:nvSpPr>
          <p:spPr>
            <a:xfrm>
              <a:off x="3993934" y="3483789"/>
              <a:ext cx="130219" cy="452923"/>
            </a:xfrm>
            <a:custGeom>
              <a:avLst/>
              <a:gdLst>
                <a:gd name="connsiteX0" fmla="*/ 36577 w 130219"/>
                <a:gd name="connsiteY0" fmla="*/ 5977 h 452923"/>
                <a:gd name="connsiteX1" fmla="*/ 6388 w 130219"/>
                <a:gd name="connsiteY1" fmla="*/ 6532 h 452923"/>
                <a:gd name="connsiteX2" fmla="*/ 6943 w 130219"/>
                <a:gd name="connsiteY2" fmla="*/ 36713 h 452923"/>
                <a:gd name="connsiteX3" fmla="*/ 87540 w 130219"/>
                <a:gd name="connsiteY3" fmla="*/ 226249 h 452923"/>
                <a:gd name="connsiteX4" fmla="*/ 6559 w 130219"/>
                <a:gd name="connsiteY4" fmla="*/ 416169 h 452923"/>
                <a:gd name="connsiteX5" fmla="*/ 5940 w 130219"/>
                <a:gd name="connsiteY5" fmla="*/ 446350 h 452923"/>
                <a:gd name="connsiteX6" fmla="*/ 21333 w 130219"/>
                <a:gd name="connsiteY6" fmla="*/ 452924 h 452923"/>
                <a:gd name="connsiteX7" fmla="*/ 36108 w 130219"/>
                <a:gd name="connsiteY7" fmla="*/ 446969 h 452923"/>
                <a:gd name="connsiteX8" fmla="*/ 130220 w 130219"/>
                <a:gd name="connsiteY8" fmla="*/ 226249 h 452923"/>
                <a:gd name="connsiteX9" fmla="*/ 36556 w 130219"/>
                <a:gd name="connsiteY9" fmla="*/ 5977 h 452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0219" h="452923">
                  <a:moveTo>
                    <a:pt x="36577" y="5977"/>
                  </a:moveTo>
                  <a:cubicBezTo>
                    <a:pt x="28080" y="-2198"/>
                    <a:pt x="14565" y="-1963"/>
                    <a:pt x="6388" y="6532"/>
                  </a:cubicBezTo>
                  <a:cubicBezTo>
                    <a:pt x="-1789" y="15027"/>
                    <a:pt x="-1554" y="28538"/>
                    <a:pt x="6943" y="36713"/>
                  </a:cubicBezTo>
                  <a:cubicBezTo>
                    <a:pt x="58910" y="86786"/>
                    <a:pt x="87540" y="154106"/>
                    <a:pt x="87540" y="226249"/>
                  </a:cubicBezTo>
                  <a:cubicBezTo>
                    <a:pt x="87540" y="298392"/>
                    <a:pt x="58782" y="366053"/>
                    <a:pt x="6559" y="416169"/>
                  </a:cubicBezTo>
                  <a:cubicBezTo>
                    <a:pt x="-1938" y="424323"/>
                    <a:pt x="-2216" y="437855"/>
                    <a:pt x="5940" y="446350"/>
                  </a:cubicBezTo>
                  <a:cubicBezTo>
                    <a:pt x="10125" y="450725"/>
                    <a:pt x="15740" y="452924"/>
                    <a:pt x="21333" y="452924"/>
                  </a:cubicBezTo>
                  <a:cubicBezTo>
                    <a:pt x="26650" y="452924"/>
                    <a:pt x="31987" y="450960"/>
                    <a:pt x="36108" y="446969"/>
                  </a:cubicBezTo>
                  <a:cubicBezTo>
                    <a:pt x="96785" y="388721"/>
                    <a:pt x="130220" y="310345"/>
                    <a:pt x="130220" y="226249"/>
                  </a:cubicBezTo>
                  <a:cubicBezTo>
                    <a:pt x="130220" y="142153"/>
                    <a:pt x="96956" y="64161"/>
                    <a:pt x="36556" y="5977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976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53" name="Freeform 15">
              <a:extLst>
                <a:ext uri="{FF2B5EF4-FFF2-40B4-BE49-F238E27FC236}">
                  <a16:creationId xmlns:a16="http://schemas.microsoft.com/office/drawing/2014/main" id="{7F747B59-5215-2D82-CCDC-72607282DE0E}"/>
                </a:ext>
              </a:extLst>
            </p:cNvPr>
            <p:cNvSpPr/>
            <p:nvPr/>
          </p:nvSpPr>
          <p:spPr>
            <a:xfrm>
              <a:off x="2238888" y="3243059"/>
              <a:ext cx="247822" cy="934394"/>
            </a:xfrm>
            <a:custGeom>
              <a:avLst/>
              <a:gdLst>
                <a:gd name="connsiteX0" fmla="*/ 239443 w 247822"/>
                <a:gd name="connsiteY0" fmla="*/ 896871 h 934394"/>
                <a:gd name="connsiteX1" fmla="*/ 42700 w 247822"/>
                <a:gd name="connsiteY1" fmla="*/ 467597 h 934394"/>
                <a:gd name="connsiteX2" fmla="*/ 240382 w 247822"/>
                <a:gd name="connsiteY2" fmla="*/ 37534 h 934394"/>
                <a:gd name="connsiteX3" fmla="*/ 242667 w 247822"/>
                <a:gd name="connsiteY3" fmla="*/ 7439 h 934394"/>
                <a:gd name="connsiteX4" fmla="*/ 212563 w 247822"/>
                <a:gd name="connsiteY4" fmla="*/ 5155 h 934394"/>
                <a:gd name="connsiteX5" fmla="*/ 0 w 247822"/>
                <a:gd name="connsiteY5" fmla="*/ 467619 h 934394"/>
                <a:gd name="connsiteX6" fmla="*/ 211538 w 247822"/>
                <a:gd name="connsiteY6" fmla="*/ 929207 h 934394"/>
                <a:gd name="connsiteX7" fmla="*/ 225480 w 247822"/>
                <a:gd name="connsiteY7" fmla="*/ 934394 h 934394"/>
                <a:gd name="connsiteX8" fmla="*/ 241663 w 247822"/>
                <a:gd name="connsiteY8" fmla="*/ 926988 h 934394"/>
                <a:gd name="connsiteX9" fmla="*/ 239443 w 247822"/>
                <a:gd name="connsiteY9" fmla="*/ 896892 h 934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7822" h="934394">
                  <a:moveTo>
                    <a:pt x="239443" y="896871"/>
                  </a:moveTo>
                  <a:cubicBezTo>
                    <a:pt x="114416" y="788998"/>
                    <a:pt x="42700" y="632545"/>
                    <a:pt x="42700" y="467597"/>
                  </a:cubicBezTo>
                  <a:cubicBezTo>
                    <a:pt x="42700" y="302650"/>
                    <a:pt x="114757" y="145429"/>
                    <a:pt x="240382" y="37534"/>
                  </a:cubicBezTo>
                  <a:cubicBezTo>
                    <a:pt x="249328" y="29850"/>
                    <a:pt x="250353" y="16382"/>
                    <a:pt x="242667" y="7439"/>
                  </a:cubicBezTo>
                  <a:cubicBezTo>
                    <a:pt x="234980" y="-1505"/>
                    <a:pt x="221508" y="-2529"/>
                    <a:pt x="212563" y="5155"/>
                  </a:cubicBezTo>
                  <a:cubicBezTo>
                    <a:pt x="77480" y="121160"/>
                    <a:pt x="0" y="289737"/>
                    <a:pt x="0" y="467619"/>
                  </a:cubicBezTo>
                  <a:cubicBezTo>
                    <a:pt x="0" y="645501"/>
                    <a:pt x="77096" y="813223"/>
                    <a:pt x="211538" y="929207"/>
                  </a:cubicBezTo>
                  <a:cubicBezTo>
                    <a:pt x="215573" y="932687"/>
                    <a:pt x="220526" y="934394"/>
                    <a:pt x="225480" y="934394"/>
                  </a:cubicBezTo>
                  <a:cubicBezTo>
                    <a:pt x="231479" y="934394"/>
                    <a:pt x="237436" y="931897"/>
                    <a:pt x="241663" y="926988"/>
                  </a:cubicBezTo>
                  <a:cubicBezTo>
                    <a:pt x="249370" y="918066"/>
                    <a:pt x="248367" y="904576"/>
                    <a:pt x="239443" y="896892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976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54" name="Freeform 16">
              <a:extLst>
                <a:ext uri="{FF2B5EF4-FFF2-40B4-BE49-F238E27FC236}">
                  <a16:creationId xmlns:a16="http://schemas.microsoft.com/office/drawing/2014/main" id="{06A028DB-BB87-3BB9-4196-2AC068836A98}"/>
                </a:ext>
              </a:extLst>
            </p:cNvPr>
            <p:cNvSpPr/>
            <p:nvPr/>
          </p:nvSpPr>
          <p:spPr>
            <a:xfrm>
              <a:off x="2399313" y="3364657"/>
              <a:ext cx="191906" cy="691220"/>
            </a:xfrm>
            <a:custGeom>
              <a:avLst/>
              <a:gdLst>
                <a:gd name="connsiteX0" fmla="*/ 183783 w 191906"/>
                <a:gd name="connsiteY0" fmla="*/ 653676 h 691220"/>
                <a:gd name="connsiteX1" fmla="*/ 42700 w 191906"/>
                <a:gd name="connsiteY1" fmla="*/ 345893 h 691220"/>
                <a:gd name="connsiteX2" fmla="*/ 184466 w 191906"/>
                <a:gd name="connsiteY2" fmla="*/ 37534 h 691220"/>
                <a:gd name="connsiteX3" fmla="*/ 186750 w 191906"/>
                <a:gd name="connsiteY3" fmla="*/ 7439 h 691220"/>
                <a:gd name="connsiteX4" fmla="*/ 156647 w 191906"/>
                <a:gd name="connsiteY4" fmla="*/ 5155 h 691220"/>
                <a:gd name="connsiteX5" fmla="*/ 0 w 191906"/>
                <a:gd name="connsiteY5" fmla="*/ 345914 h 691220"/>
                <a:gd name="connsiteX6" fmla="*/ 155899 w 191906"/>
                <a:gd name="connsiteY6" fmla="*/ 686034 h 691220"/>
                <a:gd name="connsiteX7" fmla="*/ 169841 w 191906"/>
                <a:gd name="connsiteY7" fmla="*/ 691220 h 691220"/>
                <a:gd name="connsiteX8" fmla="*/ 186024 w 191906"/>
                <a:gd name="connsiteY8" fmla="*/ 683814 h 691220"/>
                <a:gd name="connsiteX9" fmla="*/ 183804 w 191906"/>
                <a:gd name="connsiteY9" fmla="*/ 653718 h 691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1906" h="691220">
                  <a:moveTo>
                    <a:pt x="183783" y="653676"/>
                  </a:moveTo>
                  <a:cubicBezTo>
                    <a:pt x="94112" y="576346"/>
                    <a:pt x="42700" y="464161"/>
                    <a:pt x="42700" y="345893"/>
                  </a:cubicBezTo>
                  <a:cubicBezTo>
                    <a:pt x="42700" y="227625"/>
                    <a:pt x="94368" y="114864"/>
                    <a:pt x="184466" y="37534"/>
                  </a:cubicBezTo>
                  <a:cubicBezTo>
                    <a:pt x="193412" y="29850"/>
                    <a:pt x="194436" y="16382"/>
                    <a:pt x="186750" y="7439"/>
                  </a:cubicBezTo>
                  <a:cubicBezTo>
                    <a:pt x="179064" y="-1505"/>
                    <a:pt x="165592" y="-2529"/>
                    <a:pt x="156647" y="5155"/>
                  </a:cubicBezTo>
                  <a:cubicBezTo>
                    <a:pt x="57090" y="90617"/>
                    <a:pt x="0" y="214819"/>
                    <a:pt x="0" y="345914"/>
                  </a:cubicBezTo>
                  <a:cubicBezTo>
                    <a:pt x="0" y="477010"/>
                    <a:pt x="56813" y="600571"/>
                    <a:pt x="155899" y="686034"/>
                  </a:cubicBezTo>
                  <a:cubicBezTo>
                    <a:pt x="159934" y="689513"/>
                    <a:pt x="164888" y="691220"/>
                    <a:pt x="169841" y="691220"/>
                  </a:cubicBezTo>
                  <a:cubicBezTo>
                    <a:pt x="175840" y="691220"/>
                    <a:pt x="181797" y="688702"/>
                    <a:pt x="186024" y="683814"/>
                  </a:cubicBezTo>
                  <a:cubicBezTo>
                    <a:pt x="193732" y="674892"/>
                    <a:pt x="192728" y="661402"/>
                    <a:pt x="183804" y="653718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976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55" name="Freeform 17">
              <a:extLst>
                <a:ext uri="{FF2B5EF4-FFF2-40B4-BE49-F238E27FC236}">
                  <a16:creationId xmlns:a16="http://schemas.microsoft.com/office/drawing/2014/main" id="{594C9EA7-C271-75C0-E99D-068BA5B31CA2}"/>
                </a:ext>
              </a:extLst>
            </p:cNvPr>
            <p:cNvSpPr/>
            <p:nvPr/>
          </p:nvSpPr>
          <p:spPr>
            <a:xfrm>
              <a:off x="2563325" y="3483785"/>
              <a:ext cx="130240" cy="452906"/>
            </a:xfrm>
            <a:custGeom>
              <a:avLst/>
              <a:gdLst>
                <a:gd name="connsiteX0" fmla="*/ 123682 w 130240"/>
                <a:gd name="connsiteY0" fmla="*/ 36738 h 452906"/>
                <a:gd name="connsiteX1" fmla="*/ 124301 w 130240"/>
                <a:gd name="connsiteY1" fmla="*/ 6557 h 452906"/>
                <a:gd name="connsiteX2" fmla="*/ 94112 w 130240"/>
                <a:gd name="connsiteY2" fmla="*/ 5938 h 452906"/>
                <a:gd name="connsiteX3" fmla="*/ 0 w 130240"/>
                <a:gd name="connsiteY3" fmla="*/ 226658 h 452906"/>
                <a:gd name="connsiteX4" fmla="*/ 93663 w 130240"/>
                <a:gd name="connsiteY4" fmla="*/ 446930 h 452906"/>
                <a:gd name="connsiteX5" fmla="*/ 108480 w 130240"/>
                <a:gd name="connsiteY5" fmla="*/ 452906 h 452906"/>
                <a:gd name="connsiteX6" fmla="*/ 123853 w 130240"/>
                <a:gd name="connsiteY6" fmla="*/ 446375 h 452906"/>
                <a:gd name="connsiteX7" fmla="*/ 123297 w 130240"/>
                <a:gd name="connsiteY7" fmla="*/ 416194 h 452906"/>
                <a:gd name="connsiteX8" fmla="*/ 42700 w 130240"/>
                <a:gd name="connsiteY8" fmla="*/ 226658 h 452906"/>
                <a:gd name="connsiteX9" fmla="*/ 123682 w 130240"/>
                <a:gd name="connsiteY9" fmla="*/ 36738 h 452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0240" h="452906">
                  <a:moveTo>
                    <a:pt x="123682" y="36738"/>
                  </a:moveTo>
                  <a:cubicBezTo>
                    <a:pt x="132179" y="28584"/>
                    <a:pt x="132457" y="15074"/>
                    <a:pt x="124301" y="6557"/>
                  </a:cubicBezTo>
                  <a:cubicBezTo>
                    <a:pt x="116145" y="-1938"/>
                    <a:pt x="102609" y="-2215"/>
                    <a:pt x="94112" y="5938"/>
                  </a:cubicBezTo>
                  <a:cubicBezTo>
                    <a:pt x="33434" y="64186"/>
                    <a:pt x="0" y="142562"/>
                    <a:pt x="0" y="226658"/>
                  </a:cubicBezTo>
                  <a:cubicBezTo>
                    <a:pt x="0" y="310754"/>
                    <a:pt x="33264" y="388746"/>
                    <a:pt x="93663" y="446930"/>
                  </a:cubicBezTo>
                  <a:cubicBezTo>
                    <a:pt x="97805" y="450921"/>
                    <a:pt x="103143" y="452906"/>
                    <a:pt x="108480" y="452906"/>
                  </a:cubicBezTo>
                  <a:cubicBezTo>
                    <a:pt x="114074" y="452906"/>
                    <a:pt x="119668" y="450729"/>
                    <a:pt x="123853" y="446375"/>
                  </a:cubicBezTo>
                  <a:cubicBezTo>
                    <a:pt x="132030" y="437880"/>
                    <a:pt x="131795" y="424369"/>
                    <a:pt x="123297" y="416194"/>
                  </a:cubicBezTo>
                  <a:cubicBezTo>
                    <a:pt x="71331" y="366121"/>
                    <a:pt x="42700" y="298801"/>
                    <a:pt x="42700" y="226658"/>
                  </a:cubicBezTo>
                  <a:cubicBezTo>
                    <a:pt x="42700" y="154515"/>
                    <a:pt x="71459" y="86854"/>
                    <a:pt x="123682" y="36738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976">
                <a:solidFill>
                  <a:srgbClr val="13161E"/>
                </a:solidFill>
                <a:latin typeface="Calibri"/>
              </a:endParaRPr>
            </a:p>
          </p:txBody>
        </p:sp>
      </p:grpSp>
      <p:sp>
        <p:nvSpPr>
          <p:cNvPr id="256" name="TextBox 255">
            <a:extLst>
              <a:ext uri="{FF2B5EF4-FFF2-40B4-BE49-F238E27FC236}">
                <a16:creationId xmlns:a16="http://schemas.microsoft.com/office/drawing/2014/main" id="{2085EF60-38D5-7C40-0C2B-1FEA4FE3D7F7}"/>
              </a:ext>
            </a:extLst>
          </p:cNvPr>
          <p:cNvSpPr txBox="1"/>
          <p:nvPr/>
        </p:nvSpPr>
        <p:spPr>
          <a:xfrm>
            <a:off x="7041798" y="2410533"/>
            <a:ext cx="1427399" cy="14414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743407">
              <a:lnSpc>
                <a:spcPct val="96000"/>
              </a:lnSpc>
              <a:defRPr/>
            </a:pPr>
            <a:r>
              <a:rPr lang="en-US" sz="976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Duplexing evolution</a:t>
            </a:r>
          </a:p>
        </p:txBody>
      </p: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9CEB5453-16D8-3F24-9530-28FD74CD0305}"/>
              </a:ext>
            </a:extLst>
          </p:cNvPr>
          <p:cNvGrpSpPr/>
          <p:nvPr/>
        </p:nvGrpSpPr>
        <p:grpSpPr>
          <a:xfrm>
            <a:off x="7565582" y="2009823"/>
            <a:ext cx="326124" cy="355995"/>
            <a:chOff x="2371158" y="2738576"/>
            <a:chExt cx="1893230" cy="2066630"/>
          </a:xfrm>
          <a:solidFill>
            <a:schemeClr val="accent3"/>
          </a:solidFill>
        </p:grpSpPr>
        <p:sp>
          <p:nvSpPr>
            <p:cNvPr id="258" name="Freeform 3">
              <a:extLst>
                <a:ext uri="{FF2B5EF4-FFF2-40B4-BE49-F238E27FC236}">
                  <a16:creationId xmlns:a16="http://schemas.microsoft.com/office/drawing/2014/main" id="{16524A9F-6759-0782-1B52-CA5208D25B5C}"/>
                </a:ext>
              </a:extLst>
            </p:cNvPr>
            <p:cNvSpPr/>
            <p:nvPr/>
          </p:nvSpPr>
          <p:spPr>
            <a:xfrm>
              <a:off x="3214541" y="3966196"/>
              <a:ext cx="50505" cy="62408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59" name="Freeform 4">
              <a:extLst>
                <a:ext uri="{FF2B5EF4-FFF2-40B4-BE49-F238E27FC236}">
                  <a16:creationId xmlns:a16="http://schemas.microsoft.com/office/drawing/2014/main" id="{E526FC86-1556-C4F5-FCFC-C7BF67DFD995}"/>
                </a:ext>
              </a:extLst>
            </p:cNvPr>
            <p:cNvSpPr/>
            <p:nvPr/>
          </p:nvSpPr>
          <p:spPr>
            <a:xfrm>
              <a:off x="3214541" y="3866917"/>
              <a:ext cx="50505" cy="62408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60" name="Freeform 5">
              <a:extLst>
                <a:ext uri="{FF2B5EF4-FFF2-40B4-BE49-F238E27FC236}">
                  <a16:creationId xmlns:a16="http://schemas.microsoft.com/office/drawing/2014/main" id="{79D1B1D4-67B8-F559-BA6E-18F17F94CB6C}"/>
                </a:ext>
              </a:extLst>
            </p:cNvPr>
            <p:cNvSpPr/>
            <p:nvPr/>
          </p:nvSpPr>
          <p:spPr>
            <a:xfrm>
              <a:off x="3214541" y="3767618"/>
              <a:ext cx="50505" cy="62387"/>
            </a:xfrm>
            <a:custGeom>
              <a:avLst/>
              <a:gdLst>
                <a:gd name="connsiteX0" fmla="*/ 0 w 50505"/>
                <a:gd name="connsiteY0" fmla="*/ 51301 h 62387"/>
                <a:gd name="connsiteX1" fmla="*/ 9382 w 50505"/>
                <a:gd name="connsiteY1" fmla="*/ 62387 h 62387"/>
                <a:gd name="connsiteX2" fmla="*/ 41123 w 50505"/>
                <a:gd name="connsiteY2" fmla="*/ 62387 h 62387"/>
                <a:gd name="connsiteX3" fmla="*/ 50505 w 50505"/>
                <a:gd name="connsiteY3" fmla="*/ 51301 h 62387"/>
                <a:gd name="connsiteX4" fmla="*/ 50505 w 50505"/>
                <a:gd name="connsiteY4" fmla="*/ 11107 h 62387"/>
                <a:gd name="connsiteX5" fmla="*/ 41123 w 50505"/>
                <a:gd name="connsiteY5" fmla="*/ 0 h 62387"/>
                <a:gd name="connsiteX6" fmla="*/ 9382 w 50505"/>
                <a:gd name="connsiteY6" fmla="*/ 0 h 62387"/>
                <a:gd name="connsiteX7" fmla="*/ 0 w 50505"/>
                <a:gd name="connsiteY7" fmla="*/ 11107 h 62387"/>
                <a:gd name="connsiteX8" fmla="*/ 0 w 50505"/>
                <a:gd name="connsiteY8" fmla="*/ 51301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387">
                  <a:moveTo>
                    <a:pt x="0" y="51301"/>
                  </a:moveTo>
                  <a:cubicBezTo>
                    <a:pt x="0" y="57412"/>
                    <a:pt x="4195" y="62387"/>
                    <a:pt x="9382" y="62387"/>
                  </a:cubicBezTo>
                  <a:lnTo>
                    <a:pt x="41123" y="62387"/>
                  </a:lnTo>
                  <a:cubicBezTo>
                    <a:pt x="46310" y="62387"/>
                    <a:pt x="50505" y="57412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61" name="Freeform 6">
              <a:extLst>
                <a:ext uri="{FF2B5EF4-FFF2-40B4-BE49-F238E27FC236}">
                  <a16:creationId xmlns:a16="http://schemas.microsoft.com/office/drawing/2014/main" id="{D72A43A0-08C4-97C6-F657-7BFE854F06F3}"/>
                </a:ext>
              </a:extLst>
            </p:cNvPr>
            <p:cNvSpPr/>
            <p:nvPr/>
          </p:nvSpPr>
          <p:spPr>
            <a:xfrm>
              <a:off x="3214541" y="3668338"/>
              <a:ext cx="50505" cy="62387"/>
            </a:xfrm>
            <a:custGeom>
              <a:avLst/>
              <a:gdLst>
                <a:gd name="connsiteX0" fmla="*/ 0 w 50505"/>
                <a:gd name="connsiteY0" fmla="*/ 51301 h 62387"/>
                <a:gd name="connsiteX1" fmla="*/ 9382 w 50505"/>
                <a:gd name="connsiteY1" fmla="*/ 62387 h 62387"/>
                <a:gd name="connsiteX2" fmla="*/ 41123 w 50505"/>
                <a:gd name="connsiteY2" fmla="*/ 62387 h 62387"/>
                <a:gd name="connsiteX3" fmla="*/ 50505 w 50505"/>
                <a:gd name="connsiteY3" fmla="*/ 51301 h 62387"/>
                <a:gd name="connsiteX4" fmla="*/ 50505 w 50505"/>
                <a:gd name="connsiteY4" fmla="*/ 11086 h 62387"/>
                <a:gd name="connsiteX5" fmla="*/ 41123 w 50505"/>
                <a:gd name="connsiteY5" fmla="*/ 0 h 62387"/>
                <a:gd name="connsiteX6" fmla="*/ 9382 w 50505"/>
                <a:gd name="connsiteY6" fmla="*/ 0 h 62387"/>
                <a:gd name="connsiteX7" fmla="*/ 0 w 50505"/>
                <a:gd name="connsiteY7" fmla="*/ 11086 h 62387"/>
                <a:gd name="connsiteX8" fmla="*/ 0 w 50505"/>
                <a:gd name="connsiteY8" fmla="*/ 51301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387">
                  <a:moveTo>
                    <a:pt x="0" y="51301"/>
                  </a:moveTo>
                  <a:cubicBezTo>
                    <a:pt x="0" y="57412"/>
                    <a:pt x="4195" y="62387"/>
                    <a:pt x="9382" y="62387"/>
                  </a:cubicBezTo>
                  <a:lnTo>
                    <a:pt x="41123" y="62387"/>
                  </a:lnTo>
                  <a:cubicBezTo>
                    <a:pt x="46310" y="62387"/>
                    <a:pt x="50505" y="57412"/>
                    <a:pt x="50505" y="51301"/>
                  </a:cubicBezTo>
                  <a:lnTo>
                    <a:pt x="50505" y="11086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086"/>
                  </a:cubicBezTo>
                  <a:lnTo>
                    <a:pt x="0" y="51301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62" name="Freeform 7">
              <a:extLst>
                <a:ext uri="{FF2B5EF4-FFF2-40B4-BE49-F238E27FC236}">
                  <a16:creationId xmlns:a16="http://schemas.microsoft.com/office/drawing/2014/main" id="{12BB2A6F-0EBD-605D-5944-891BF2D3630F}"/>
                </a:ext>
              </a:extLst>
            </p:cNvPr>
            <p:cNvSpPr/>
            <p:nvPr/>
          </p:nvSpPr>
          <p:spPr>
            <a:xfrm>
              <a:off x="3214541" y="3569018"/>
              <a:ext cx="50505" cy="62408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63" name="Freeform 8">
              <a:extLst>
                <a:ext uri="{FF2B5EF4-FFF2-40B4-BE49-F238E27FC236}">
                  <a16:creationId xmlns:a16="http://schemas.microsoft.com/office/drawing/2014/main" id="{2E3BB2A8-ED7F-0650-3B14-F47419CB3B7E}"/>
                </a:ext>
              </a:extLst>
            </p:cNvPr>
            <p:cNvSpPr/>
            <p:nvPr/>
          </p:nvSpPr>
          <p:spPr>
            <a:xfrm>
              <a:off x="3214541" y="3469739"/>
              <a:ext cx="50505" cy="62408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64" name="Freeform 10">
              <a:extLst>
                <a:ext uri="{FF2B5EF4-FFF2-40B4-BE49-F238E27FC236}">
                  <a16:creationId xmlns:a16="http://schemas.microsoft.com/office/drawing/2014/main" id="{6B0F0A6A-2304-C06C-B136-DFA8B1ACB3A4}"/>
                </a:ext>
              </a:extLst>
            </p:cNvPr>
            <p:cNvSpPr/>
            <p:nvPr/>
          </p:nvSpPr>
          <p:spPr>
            <a:xfrm>
              <a:off x="3214541" y="3370439"/>
              <a:ext cx="50505" cy="62408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12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12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65" name="Freeform 11">
              <a:extLst>
                <a:ext uri="{FF2B5EF4-FFF2-40B4-BE49-F238E27FC236}">
                  <a16:creationId xmlns:a16="http://schemas.microsoft.com/office/drawing/2014/main" id="{D8E30832-0D9B-1328-A3BC-A4880963869B}"/>
                </a:ext>
              </a:extLst>
            </p:cNvPr>
            <p:cNvSpPr/>
            <p:nvPr/>
          </p:nvSpPr>
          <p:spPr>
            <a:xfrm>
              <a:off x="3214541" y="3271140"/>
              <a:ext cx="50505" cy="62387"/>
            </a:xfrm>
            <a:custGeom>
              <a:avLst/>
              <a:gdLst>
                <a:gd name="connsiteX0" fmla="*/ 0 w 50505"/>
                <a:gd name="connsiteY0" fmla="*/ 51301 h 62387"/>
                <a:gd name="connsiteX1" fmla="*/ 9382 w 50505"/>
                <a:gd name="connsiteY1" fmla="*/ 62387 h 62387"/>
                <a:gd name="connsiteX2" fmla="*/ 41123 w 50505"/>
                <a:gd name="connsiteY2" fmla="*/ 62387 h 62387"/>
                <a:gd name="connsiteX3" fmla="*/ 50505 w 50505"/>
                <a:gd name="connsiteY3" fmla="*/ 51301 h 62387"/>
                <a:gd name="connsiteX4" fmla="*/ 50505 w 50505"/>
                <a:gd name="connsiteY4" fmla="*/ 11086 h 62387"/>
                <a:gd name="connsiteX5" fmla="*/ 41123 w 50505"/>
                <a:gd name="connsiteY5" fmla="*/ 0 h 62387"/>
                <a:gd name="connsiteX6" fmla="*/ 9382 w 50505"/>
                <a:gd name="connsiteY6" fmla="*/ 0 h 62387"/>
                <a:gd name="connsiteX7" fmla="*/ 0 w 50505"/>
                <a:gd name="connsiteY7" fmla="*/ 11086 h 62387"/>
                <a:gd name="connsiteX8" fmla="*/ 0 w 50505"/>
                <a:gd name="connsiteY8" fmla="*/ 51301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387">
                  <a:moveTo>
                    <a:pt x="0" y="51301"/>
                  </a:moveTo>
                  <a:cubicBezTo>
                    <a:pt x="0" y="57412"/>
                    <a:pt x="4195" y="62387"/>
                    <a:pt x="9382" y="62387"/>
                  </a:cubicBezTo>
                  <a:lnTo>
                    <a:pt x="41123" y="62387"/>
                  </a:lnTo>
                  <a:cubicBezTo>
                    <a:pt x="46310" y="62387"/>
                    <a:pt x="50505" y="57412"/>
                    <a:pt x="50505" y="51301"/>
                  </a:cubicBezTo>
                  <a:lnTo>
                    <a:pt x="50505" y="11086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086"/>
                  </a:cubicBezTo>
                  <a:lnTo>
                    <a:pt x="0" y="51301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66" name="Freeform 14">
              <a:extLst>
                <a:ext uri="{FF2B5EF4-FFF2-40B4-BE49-F238E27FC236}">
                  <a16:creationId xmlns:a16="http://schemas.microsoft.com/office/drawing/2014/main" id="{8555C7EC-14A2-67CD-216B-C793AC5A5484}"/>
                </a:ext>
              </a:extLst>
            </p:cNvPr>
            <p:cNvSpPr/>
            <p:nvPr/>
          </p:nvSpPr>
          <p:spPr>
            <a:xfrm>
              <a:off x="3214541" y="3171840"/>
              <a:ext cx="50505" cy="62408"/>
            </a:xfrm>
            <a:custGeom>
              <a:avLst/>
              <a:gdLst>
                <a:gd name="connsiteX0" fmla="*/ 9382 w 50505"/>
                <a:gd name="connsiteY0" fmla="*/ 62408 h 62408"/>
                <a:gd name="connsiteX1" fmla="*/ 41123 w 50505"/>
                <a:gd name="connsiteY1" fmla="*/ 62408 h 62408"/>
                <a:gd name="connsiteX2" fmla="*/ 50505 w 50505"/>
                <a:gd name="connsiteY2" fmla="*/ 51301 h 62408"/>
                <a:gd name="connsiteX3" fmla="*/ 50505 w 50505"/>
                <a:gd name="connsiteY3" fmla="*/ 11107 h 62408"/>
                <a:gd name="connsiteX4" fmla="*/ 41123 w 50505"/>
                <a:gd name="connsiteY4" fmla="*/ 0 h 62408"/>
                <a:gd name="connsiteX5" fmla="*/ 9382 w 50505"/>
                <a:gd name="connsiteY5" fmla="*/ 0 h 62408"/>
                <a:gd name="connsiteX6" fmla="*/ 0 w 50505"/>
                <a:gd name="connsiteY6" fmla="*/ 11107 h 62408"/>
                <a:gd name="connsiteX7" fmla="*/ 0 w 50505"/>
                <a:gd name="connsiteY7" fmla="*/ 51301 h 62408"/>
                <a:gd name="connsiteX8" fmla="*/ 9382 w 50505"/>
                <a:gd name="connsiteY8" fmla="*/ 62408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9382" y="62408"/>
                  </a:move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96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96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67" name="Freeform 15">
              <a:extLst>
                <a:ext uri="{FF2B5EF4-FFF2-40B4-BE49-F238E27FC236}">
                  <a16:creationId xmlns:a16="http://schemas.microsoft.com/office/drawing/2014/main" id="{E4C8971F-5B26-B986-60C6-12CBBD8D0FBF}"/>
                </a:ext>
              </a:extLst>
            </p:cNvPr>
            <p:cNvSpPr/>
            <p:nvPr/>
          </p:nvSpPr>
          <p:spPr>
            <a:xfrm>
              <a:off x="3294453" y="3966196"/>
              <a:ext cx="50505" cy="62408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68" name="Freeform 16">
              <a:extLst>
                <a:ext uri="{FF2B5EF4-FFF2-40B4-BE49-F238E27FC236}">
                  <a16:creationId xmlns:a16="http://schemas.microsoft.com/office/drawing/2014/main" id="{5BF088E9-E382-3068-EE18-7CC9C40F076E}"/>
                </a:ext>
              </a:extLst>
            </p:cNvPr>
            <p:cNvSpPr/>
            <p:nvPr/>
          </p:nvSpPr>
          <p:spPr>
            <a:xfrm>
              <a:off x="3294453" y="3866917"/>
              <a:ext cx="50505" cy="62408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69" name="Freeform 17">
              <a:extLst>
                <a:ext uri="{FF2B5EF4-FFF2-40B4-BE49-F238E27FC236}">
                  <a16:creationId xmlns:a16="http://schemas.microsoft.com/office/drawing/2014/main" id="{3B442CB6-0FBF-682A-92F2-0F93148679BA}"/>
                </a:ext>
              </a:extLst>
            </p:cNvPr>
            <p:cNvSpPr/>
            <p:nvPr/>
          </p:nvSpPr>
          <p:spPr>
            <a:xfrm>
              <a:off x="3294453" y="3767618"/>
              <a:ext cx="50505" cy="62408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70" name="Freeform 18">
              <a:extLst>
                <a:ext uri="{FF2B5EF4-FFF2-40B4-BE49-F238E27FC236}">
                  <a16:creationId xmlns:a16="http://schemas.microsoft.com/office/drawing/2014/main" id="{ADC019EC-9F32-6304-448E-617A86218708}"/>
                </a:ext>
              </a:extLst>
            </p:cNvPr>
            <p:cNvSpPr/>
            <p:nvPr/>
          </p:nvSpPr>
          <p:spPr>
            <a:xfrm>
              <a:off x="3294453" y="3668318"/>
              <a:ext cx="50505" cy="62408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71" name="Freeform 19">
              <a:extLst>
                <a:ext uri="{FF2B5EF4-FFF2-40B4-BE49-F238E27FC236}">
                  <a16:creationId xmlns:a16="http://schemas.microsoft.com/office/drawing/2014/main" id="{693E1C3A-FFC8-0286-6A90-CE655B12ABA1}"/>
                </a:ext>
              </a:extLst>
            </p:cNvPr>
            <p:cNvSpPr/>
            <p:nvPr/>
          </p:nvSpPr>
          <p:spPr>
            <a:xfrm>
              <a:off x="3294453" y="3569018"/>
              <a:ext cx="50505" cy="62408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72" name="Freeform 20">
              <a:extLst>
                <a:ext uri="{FF2B5EF4-FFF2-40B4-BE49-F238E27FC236}">
                  <a16:creationId xmlns:a16="http://schemas.microsoft.com/office/drawing/2014/main" id="{397A63BE-9D88-8B88-A6F3-31295F6FEF30}"/>
                </a:ext>
              </a:extLst>
            </p:cNvPr>
            <p:cNvSpPr/>
            <p:nvPr/>
          </p:nvSpPr>
          <p:spPr>
            <a:xfrm>
              <a:off x="3294453" y="3469739"/>
              <a:ext cx="50505" cy="62408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73" name="Freeform 21">
              <a:extLst>
                <a:ext uri="{FF2B5EF4-FFF2-40B4-BE49-F238E27FC236}">
                  <a16:creationId xmlns:a16="http://schemas.microsoft.com/office/drawing/2014/main" id="{EE9E90A6-56F4-20FD-45C5-6A1E6B793C8B}"/>
                </a:ext>
              </a:extLst>
            </p:cNvPr>
            <p:cNvSpPr/>
            <p:nvPr/>
          </p:nvSpPr>
          <p:spPr>
            <a:xfrm>
              <a:off x="3294453" y="3370439"/>
              <a:ext cx="50505" cy="62408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74" name="Freeform 22">
              <a:extLst>
                <a:ext uri="{FF2B5EF4-FFF2-40B4-BE49-F238E27FC236}">
                  <a16:creationId xmlns:a16="http://schemas.microsoft.com/office/drawing/2014/main" id="{F057DFDF-51E3-5887-4922-874BE53BEACC}"/>
                </a:ext>
              </a:extLst>
            </p:cNvPr>
            <p:cNvSpPr/>
            <p:nvPr/>
          </p:nvSpPr>
          <p:spPr>
            <a:xfrm>
              <a:off x="3294453" y="3271140"/>
              <a:ext cx="50505" cy="62408"/>
            </a:xfrm>
            <a:custGeom>
              <a:avLst/>
              <a:gdLst>
                <a:gd name="connsiteX0" fmla="*/ 0 w 50505"/>
                <a:gd name="connsiteY0" fmla="*/ 51301 h 62408"/>
                <a:gd name="connsiteX1" fmla="*/ 9382 w 50505"/>
                <a:gd name="connsiteY1" fmla="*/ 62408 h 62408"/>
                <a:gd name="connsiteX2" fmla="*/ 41123 w 50505"/>
                <a:gd name="connsiteY2" fmla="*/ 62408 h 62408"/>
                <a:gd name="connsiteX3" fmla="*/ 50505 w 50505"/>
                <a:gd name="connsiteY3" fmla="*/ 51301 h 62408"/>
                <a:gd name="connsiteX4" fmla="*/ 50505 w 50505"/>
                <a:gd name="connsiteY4" fmla="*/ 11107 h 62408"/>
                <a:gd name="connsiteX5" fmla="*/ 41123 w 50505"/>
                <a:gd name="connsiteY5" fmla="*/ 0 h 62408"/>
                <a:gd name="connsiteX6" fmla="*/ 9382 w 50505"/>
                <a:gd name="connsiteY6" fmla="*/ 0 h 62408"/>
                <a:gd name="connsiteX7" fmla="*/ 0 w 50505"/>
                <a:gd name="connsiteY7" fmla="*/ 11107 h 62408"/>
                <a:gd name="connsiteX8" fmla="*/ 0 w 50505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0" y="51301"/>
                  </a:move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75" name="Freeform 23">
              <a:extLst>
                <a:ext uri="{FF2B5EF4-FFF2-40B4-BE49-F238E27FC236}">
                  <a16:creationId xmlns:a16="http://schemas.microsoft.com/office/drawing/2014/main" id="{5970FF5A-347F-68A8-8E95-348143B4D7E8}"/>
                </a:ext>
              </a:extLst>
            </p:cNvPr>
            <p:cNvSpPr/>
            <p:nvPr/>
          </p:nvSpPr>
          <p:spPr>
            <a:xfrm>
              <a:off x="3294453" y="3171840"/>
              <a:ext cx="50505" cy="62408"/>
            </a:xfrm>
            <a:custGeom>
              <a:avLst/>
              <a:gdLst>
                <a:gd name="connsiteX0" fmla="*/ 9382 w 50505"/>
                <a:gd name="connsiteY0" fmla="*/ 62408 h 62408"/>
                <a:gd name="connsiteX1" fmla="*/ 41123 w 50505"/>
                <a:gd name="connsiteY1" fmla="*/ 62408 h 62408"/>
                <a:gd name="connsiteX2" fmla="*/ 50505 w 50505"/>
                <a:gd name="connsiteY2" fmla="*/ 51301 h 62408"/>
                <a:gd name="connsiteX3" fmla="*/ 50505 w 50505"/>
                <a:gd name="connsiteY3" fmla="*/ 11107 h 62408"/>
                <a:gd name="connsiteX4" fmla="*/ 41123 w 50505"/>
                <a:gd name="connsiteY4" fmla="*/ 0 h 62408"/>
                <a:gd name="connsiteX5" fmla="*/ 9382 w 50505"/>
                <a:gd name="connsiteY5" fmla="*/ 0 h 62408"/>
                <a:gd name="connsiteX6" fmla="*/ 0 w 50505"/>
                <a:gd name="connsiteY6" fmla="*/ 11107 h 62408"/>
                <a:gd name="connsiteX7" fmla="*/ 0 w 50505"/>
                <a:gd name="connsiteY7" fmla="*/ 51301 h 62408"/>
                <a:gd name="connsiteX8" fmla="*/ 9382 w 50505"/>
                <a:gd name="connsiteY8" fmla="*/ 62408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9382" y="62408"/>
                  </a:move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76" name="Freeform 24">
              <a:extLst>
                <a:ext uri="{FF2B5EF4-FFF2-40B4-BE49-F238E27FC236}">
                  <a16:creationId xmlns:a16="http://schemas.microsoft.com/office/drawing/2014/main" id="{E247ED83-A04F-C6CF-CC35-D7264A012563}"/>
                </a:ext>
              </a:extLst>
            </p:cNvPr>
            <p:cNvSpPr/>
            <p:nvPr/>
          </p:nvSpPr>
          <p:spPr>
            <a:xfrm>
              <a:off x="3374365" y="3966196"/>
              <a:ext cx="50484" cy="62408"/>
            </a:xfrm>
            <a:custGeom>
              <a:avLst/>
              <a:gdLst>
                <a:gd name="connsiteX0" fmla="*/ 0 w 50484"/>
                <a:gd name="connsiteY0" fmla="*/ 51301 h 62408"/>
                <a:gd name="connsiteX1" fmla="*/ 9361 w 50484"/>
                <a:gd name="connsiteY1" fmla="*/ 62408 h 62408"/>
                <a:gd name="connsiteX2" fmla="*/ 41103 w 50484"/>
                <a:gd name="connsiteY2" fmla="*/ 62408 h 62408"/>
                <a:gd name="connsiteX3" fmla="*/ 50485 w 50484"/>
                <a:gd name="connsiteY3" fmla="*/ 51301 h 62408"/>
                <a:gd name="connsiteX4" fmla="*/ 50485 w 50484"/>
                <a:gd name="connsiteY4" fmla="*/ 11107 h 62408"/>
                <a:gd name="connsiteX5" fmla="*/ 41103 w 50484"/>
                <a:gd name="connsiteY5" fmla="*/ 0 h 62408"/>
                <a:gd name="connsiteX6" fmla="*/ 9361 w 50484"/>
                <a:gd name="connsiteY6" fmla="*/ 0 h 62408"/>
                <a:gd name="connsiteX7" fmla="*/ 0 w 50484"/>
                <a:gd name="connsiteY7" fmla="*/ 11107 h 62408"/>
                <a:gd name="connsiteX8" fmla="*/ 0 w 50484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0" y="51301"/>
                  </a:move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77" name="Freeform 25">
              <a:extLst>
                <a:ext uri="{FF2B5EF4-FFF2-40B4-BE49-F238E27FC236}">
                  <a16:creationId xmlns:a16="http://schemas.microsoft.com/office/drawing/2014/main" id="{E4A90229-397D-2B95-7012-9875B9F2D0A5}"/>
                </a:ext>
              </a:extLst>
            </p:cNvPr>
            <p:cNvSpPr/>
            <p:nvPr/>
          </p:nvSpPr>
          <p:spPr>
            <a:xfrm>
              <a:off x="3374365" y="3866917"/>
              <a:ext cx="50484" cy="62408"/>
            </a:xfrm>
            <a:custGeom>
              <a:avLst/>
              <a:gdLst>
                <a:gd name="connsiteX0" fmla="*/ 0 w 50484"/>
                <a:gd name="connsiteY0" fmla="*/ 51301 h 62408"/>
                <a:gd name="connsiteX1" fmla="*/ 9361 w 50484"/>
                <a:gd name="connsiteY1" fmla="*/ 62408 h 62408"/>
                <a:gd name="connsiteX2" fmla="*/ 41103 w 50484"/>
                <a:gd name="connsiteY2" fmla="*/ 62408 h 62408"/>
                <a:gd name="connsiteX3" fmla="*/ 50485 w 50484"/>
                <a:gd name="connsiteY3" fmla="*/ 51301 h 62408"/>
                <a:gd name="connsiteX4" fmla="*/ 50485 w 50484"/>
                <a:gd name="connsiteY4" fmla="*/ 11107 h 62408"/>
                <a:gd name="connsiteX5" fmla="*/ 41103 w 50484"/>
                <a:gd name="connsiteY5" fmla="*/ 0 h 62408"/>
                <a:gd name="connsiteX6" fmla="*/ 9361 w 50484"/>
                <a:gd name="connsiteY6" fmla="*/ 0 h 62408"/>
                <a:gd name="connsiteX7" fmla="*/ 0 w 50484"/>
                <a:gd name="connsiteY7" fmla="*/ 11107 h 62408"/>
                <a:gd name="connsiteX8" fmla="*/ 0 w 50484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0" y="51301"/>
                  </a:move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78" name="Freeform 26">
              <a:extLst>
                <a:ext uri="{FF2B5EF4-FFF2-40B4-BE49-F238E27FC236}">
                  <a16:creationId xmlns:a16="http://schemas.microsoft.com/office/drawing/2014/main" id="{0B2372E6-9DFD-10B4-F6A7-F8E76427C58D}"/>
                </a:ext>
              </a:extLst>
            </p:cNvPr>
            <p:cNvSpPr/>
            <p:nvPr/>
          </p:nvSpPr>
          <p:spPr>
            <a:xfrm>
              <a:off x="3374365" y="3767618"/>
              <a:ext cx="50484" cy="62387"/>
            </a:xfrm>
            <a:custGeom>
              <a:avLst/>
              <a:gdLst>
                <a:gd name="connsiteX0" fmla="*/ 0 w 50484"/>
                <a:gd name="connsiteY0" fmla="*/ 51301 h 62387"/>
                <a:gd name="connsiteX1" fmla="*/ 9361 w 50484"/>
                <a:gd name="connsiteY1" fmla="*/ 62387 h 62387"/>
                <a:gd name="connsiteX2" fmla="*/ 41103 w 50484"/>
                <a:gd name="connsiteY2" fmla="*/ 62387 h 62387"/>
                <a:gd name="connsiteX3" fmla="*/ 50485 w 50484"/>
                <a:gd name="connsiteY3" fmla="*/ 51301 h 62387"/>
                <a:gd name="connsiteX4" fmla="*/ 50485 w 50484"/>
                <a:gd name="connsiteY4" fmla="*/ 11107 h 62387"/>
                <a:gd name="connsiteX5" fmla="*/ 41103 w 50484"/>
                <a:gd name="connsiteY5" fmla="*/ 0 h 62387"/>
                <a:gd name="connsiteX6" fmla="*/ 9361 w 50484"/>
                <a:gd name="connsiteY6" fmla="*/ 0 h 62387"/>
                <a:gd name="connsiteX7" fmla="*/ 0 w 50484"/>
                <a:gd name="connsiteY7" fmla="*/ 11107 h 62387"/>
                <a:gd name="connsiteX8" fmla="*/ 0 w 50484"/>
                <a:gd name="connsiteY8" fmla="*/ 51301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387">
                  <a:moveTo>
                    <a:pt x="0" y="51301"/>
                  </a:moveTo>
                  <a:cubicBezTo>
                    <a:pt x="0" y="57412"/>
                    <a:pt x="4195" y="62387"/>
                    <a:pt x="9361" y="62387"/>
                  </a:cubicBezTo>
                  <a:lnTo>
                    <a:pt x="41103" y="62387"/>
                  </a:lnTo>
                  <a:cubicBezTo>
                    <a:pt x="46290" y="62387"/>
                    <a:pt x="50485" y="57412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79" name="Freeform 27">
              <a:extLst>
                <a:ext uri="{FF2B5EF4-FFF2-40B4-BE49-F238E27FC236}">
                  <a16:creationId xmlns:a16="http://schemas.microsoft.com/office/drawing/2014/main" id="{DE5893A4-966A-D366-BC4F-D72F63BEF6E3}"/>
                </a:ext>
              </a:extLst>
            </p:cNvPr>
            <p:cNvSpPr/>
            <p:nvPr/>
          </p:nvSpPr>
          <p:spPr>
            <a:xfrm>
              <a:off x="3374365" y="3668338"/>
              <a:ext cx="50484" cy="62387"/>
            </a:xfrm>
            <a:custGeom>
              <a:avLst/>
              <a:gdLst>
                <a:gd name="connsiteX0" fmla="*/ 0 w 50484"/>
                <a:gd name="connsiteY0" fmla="*/ 51301 h 62387"/>
                <a:gd name="connsiteX1" fmla="*/ 9361 w 50484"/>
                <a:gd name="connsiteY1" fmla="*/ 62387 h 62387"/>
                <a:gd name="connsiteX2" fmla="*/ 41103 w 50484"/>
                <a:gd name="connsiteY2" fmla="*/ 62387 h 62387"/>
                <a:gd name="connsiteX3" fmla="*/ 50485 w 50484"/>
                <a:gd name="connsiteY3" fmla="*/ 51301 h 62387"/>
                <a:gd name="connsiteX4" fmla="*/ 50485 w 50484"/>
                <a:gd name="connsiteY4" fmla="*/ 11086 h 62387"/>
                <a:gd name="connsiteX5" fmla="*/ 41103 w 50484"/>
                <a:gd name="connsiteY5" fmla="*/ 0 h 62387"/>
                <a:gd name="connsiteX6" fmla="*/ 9361 w 50484"/>
                <a:gd name="connsiteY6" fmla="*/ 0 h 62387"/>
                <a:gd name="connsiteX7" fmla="*/ 0 w 50484"/>
                <a:gd name="connsiteY7" fmla="*/ 11086 h 62387"/>
                <a:gd name="connsiteX8" fmla="*/ 0 w 50484"/>
                <a:gd name="connsiteY8" fmla="*/ 51301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387">
                  <a:moveTo>
                    <a:pt x="0" y="51301"/>
                  </a:moveTo>
                  <a:cubicBezTo>
                    <a:pt x="0" y="57412"/>
                    <a:pt x="4195" y="62387"/>
                    <a:pt x="9361" y="62387"/>
                  </a:cubicBezTo>
                  <a:lnTo>
                    <a:pt x="41103" y="62387"/>
                  </a:lnTo>
                  <a:cubicBezTo>
                    <a:pt x="46290" y="62387"/>
                    <a:pt x="50485" y="57412"/>
                    <a:pt x="50485" y="51301"/>
                  </a:cubicBezTo>
                  <a:lnTo>
                    <a:pt x="50485" y="11086"/>
                  </a:lnTo>
                  <a:cubicBezTo>
                    <a:pt x="50485" y="4975"/>
                    <a:pt x="46290" y="0"/>
                    <a:pt x="41103" y="0"/>
                  </a:cubicBezTo>
                  <a:lnTo>
                    <a:pt x="9361" y="0"/>
                  </a:lnTo>
                  <a:cubicBezTo>
                    <a:pt x="4195" y="0"/>
                    <a:pt x="0" y="4975"/>
                    <a:pt x="0" y="11086"/>
                  </a:cubicBezTo>
                  <a:lnTo>
                    <a:pt x="0" y="51301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80" name="Freeform 28">
              <a:extLst>
                <a:ext uri="{FF2B5EF4-FFF2-40B4-BE49-F238E27FC236}">
                  <a16:creationId xmlns:a16="http://schemas.microsoft.com/office/drawing/2014/main" id="{2BC0F02C-D44D-D3D8-D0D3-E3365223085B}"/>
                </a:ext>
              </a:extLst>
            </p:cNvPr>
            <p:cNvSpPr/>
            <p:nvPr/>
          </p:nvSpPr>
          <p:spPr>
            <a:xfrm>
              <a:off x="3374365" y="3569018"/>
              <a:ext cx="50484" cy="62408"/>
            </a:xfrm>
            <a:custGeom>
              <a:avLst/>
              <a:gdLst>
                <a:gd name="connsiteX0" fmla="*/ 0 w 50484"/>
                <a:gd name="connsiteY0" fmla="*/ 51301 h 62408"/>
                <a:gd name="connsiteX1" fmla="*/ 9361 w 50484"/>
                <a:gd name="connsiteY1" fmla="*/ 62408 h 62408"/>
                <a:gd name="connsiteX2" fmla="*/ 41103 w 50484"/>
                <a:gd name="connsiteY2" fmla="*/ 62408 h 62408"/>
                <a:gd name="connsiteX3" fmla="*/ 50485 w 50484"/>
                <a:gd name="connsiteY3" fmla="*/ 51301 h 62408"/>
                <a:gd name="connsiteX4" fmla="*/ 50485 w 50484"/>
                <a:gd name="connsiteY4" fmla="*/ 11107 h 62408"/>
                <a:gd name="connsiteX5" fmla="*/ 41103 w 50484"/>
                <a:gd name="connsiteY5" fmla="*/ 0 h 62408"/>
                <a:gd name="connsiteX6" fmla="*/ 9361 w 50484"/>
                <a:gd name="connsiteY6" fmla="*/ 0 h 62408"/>
                <a:gd name="connsiteX7" fmla="*/ 0 w 50484"/>
                <a:gd name="connsiteY7" fmla="*/ 11107 h 62408"/>
                <a:gd name="connsiteX8" fmla="*/ 0 w 50484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0" y="51301"/>
                  </a:move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81" name="Freeform 29">
              <a:extLst>
                <a:ext uri="{FF2B5EF4-FFF2-40B4-BE49-F238E27FC236}">
                  <a16:creationId xmlns:a16="http://schemas.microsoft.com/office/drawing/2014/main" id="{51A55646-F0E9-F0CE-D8F8-E3CFA2E27843}"/>
                </a:ext>
              </a:extLst>
            </p:cNvPr>
            <p:cNvSpPr/>
            <p:nvPr/>
          </p:nvSpPr>
          <p:spPr>
            <a:xfrm>
              <a:off x="3374365" y="3469739"/>
              <a:ext cx="50484" cy="62408"/>
            </a:xfrm>
            <a:custGeom>
              <a:avLst/>
              <a:gdLst>
                <a:gd name="connsiteX0" fmla="*/ 0 w 50484"/>
                <a:gd name="connsiteY0" fmla="*/ 51301 h 62408"/>
                <a:gd name="connsiteX1" fmla="*/ 9361 w 50484"/>
                <a:gd name="connsiteY1" fmla="*/ 62408 h 62408"/>
                <a:gd name="connsiteX2" fmla="*/ 41103 w 50484"/>
                <a:gd name="connsiteY2" fmla="*/ 62408 h 62408"/>
                <a:gd name="connsiteX3" fmla="*/ 50485 w 50484"/>
                <a:gd name="connsiteY3" fmla="*/ 51301 h 62408"/>
                <a:gd name="connsiteX4" fmla="*/ 50485 w 50484"/>
                <a:gd name="connsiteY4" fmla="*/ 11107 h 62408"/>
                <a:gd name="connsiteX5" fmla="*/ 41103 w 50484"/>
                <a:gd name="connsiteY5" fmla="*/ 0 h 62408"/>
                <a:gd name="connsiteX6" fmla="*/ 9361 w 50484"/>
                <a:gd name="connsiteY6" fmla="*/ 0 h 62408"/>
                <a:gd name="connsiteX7" fmla="*/ 0 w 50484"/>
                <a:gd name="connsiteY7" fmla="*/ 11107 h 62408"/>
                <a:gd name="connsiteX8" fmla="*/ 0 w 50484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0" y="51301"/>
                  </a:move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82" name="Freeform 30">
              <a:extLst>
                <a:ext uri="{FF2B5EF4-FFF2-40B4-BE49-F238E27FC236}">
                  <a16:creationId xmlns:a16="http://schemas.microsoft.com/office/drawing/2014/main" id="{35B6A747-532D-AD91-2BBE-F70B7F94B767}"/>
                </a:ext>
              </a:extLst>
            </p:cNvPr>
            <p:cNvSpPr/>
            <p:nvPr/>
          </p:nvSpPr>
          <p:spPr>
            <a:xfrm>
              <a:off x="3374365" y="3370439"/>
              <a:ext cx="50484" cy="62408"/>
            </a:xfrm>
            <a:custGeom>
              <a:avLst/>
              <a:gdLst>
                <a:gd name="connsiteX0" fmla="*/ 0 w 50484"/>
                <a:gd name="connsiteY0" fmla="*/ 51301 h 62408"/>
                <a:gd name="connsiteX1" fmla="*/ 9361 w 50484"/>
                <a:gd name="connsiteY1" fmla="*/ 62408 h 62408"/>
                <a:gd name="connsiteX2" fmla="*/ 41103 w 50484"/>
                <a:gd name="connsiteY2" fmla="*/ 62408 h 62408"/>
                <a:gd name="connsiteX3" fmla="*/ 50485 w 50484"/>
                <a:gd name="connsiteY3" fmla="*/ 51301 h 62408"/>
                <a:gd name="connsiteX4" fmla="*/ 50485 w 50484"/>
                <a:gd name="connsiteY4" fmla="*/ 11107 h 62408"/>
                <a:gd name="connsiteX5" fmla="*/ 41103 w 50484"/>
                <a:gd name="connsiteY5" fmla="*/ 0 h 62408"/>
                <a:gd name="connsiteX6" fmla="*/ 9361 w 50484"/>
                <a:gd name="connsiteY6" fmla="*/ 0 h 62408"/>
                <a:gd name="connsiteX7" fmla="*/ 0 w 50484"/>
                <a:gd name="connsiteY7" fmla="*/ 11107 h 62408"/>
                <a:gd name="connsiteX8" fmla="*/ 0 w 50484"/>
                <a:gd name="connsiteY8" fmla="*/ 51301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0" y="51301"/>
                  </a:moveTo>
                  <a:cubicBezTo>
                    <a:pt x="0" y="57412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12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83" name="Freeform 31">
              <a:extLst>
                <a:ext uri="{FF2B5EF4-FFF2-40B4-BE49-F238E27FC236}">
                  <a16:creationId xmlns:a16="http://schemas.microsoft.com/office/drawing/2014/main" id="{92DE1B51-1DE1-1BD0-0506-8A14DA25CE9A}"/>
                </a:ext>
              </a:extLst>
            </p:cNvPr>
            <p:cNvSpPr/>
            <p:nvPr/>
          </p:nvSpPr>
          <p:spPr>
            <a:xfrm>
              <a:off x="3374365" y="3271140"/>
              <a:ext cx="50484" cy="62387"/>
            </a:xfrm>
            <a:custGeom>
              <a:avLst/>
              <a:gdLst>
                <a:gd name="connsiteX0" fmla="*/ 0 w 50484"/>
                <a:gd name="connsiteY0" fmla="*/ 51301 h 62387"/>
                <a:gd name="connsiteX1" fmla="*/ 9361 w 50484"/>
                <a:gd name="connsiteY1" fmla="*/ 62387 h 62387"/>
                <a:gd name="connsiteX2" fmla="*/ 41103 w 50484"/>
                <a:gd name="connsiteY2" fmla="*/ 62387 h 62387"/>
                <a:gd name="connsiteX3" fmla="*/ 50485 w 50484"/>
                <a:gd name="connsiteY3" fmla="*/ 51301 h 62387"/>
                <a:gd name="connsiteX4" fmla="*/ 50485 w 50484"/>
                <a:gd name="connsiteY4" fmla="*/ 11086 h 62387"/>
                <a:gd name="connsiteX5" fmla="*/ 41103 w 50484"/>
                <a:gd name="connsiteY5" fmla="*/ 0 h 62387"/>
                <a:gd name="connsiteX6" fmla="*/ 9361 w 50484"/>
                <a:gd name="connsiteY6" fmla="*/ 0 h 62387"/>
                <a:gd name="connsiteX7" fmla="*/ 0 w 50484"/>
                <a:gd name="connsiteY7" fmla="*/ 11086 h 62387"/>
                <a:gd name="connsiteX8" fmla="*/ 0 w 50484"/>
                <a:gd name="connsiteY8" fmla="*/ 51301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387">
                  <a:moveTo>
                    <a:pt x="0" y="51301"/>
                  </a:moveTo>
                  <a:cubicBezTo>
                    <a:pt x="0" y="57412"/>
                    <a:pt x="4195" y="62387"/>
                    <a:pt x="9361" y="62387"/>
                  </a:cubicBezTo>
                  <a:lnTo>
                    <a:pt x="41103" y="62387"/>
                  </a:lnTo>
                  <a:cubicBezTo>
                    <a:pt x="46290" y="62387"/>
                    <a:pt x="50485" y="57412"/>
                    <a:pt x="50485" y="51301"/>
                  </a:cubicBezTo>
                  <a:lnTo>
                    <a:pt x="50485" y="11086"/>
                  </a:lnTo>
                  <a:cubicBezTo>
                    <a:pt x="50485" y="4975"/>
                    <a:pt x="46290" y="0"/>
                    <a:pt x="41103" y="0"/>
                  </a:cubicBezTo>
                  <a:lnTo>
                    <a:pt x="9361" y="0"/>
                  </a:lnTo>
                  <a:cubicBezTo>
                    <a:pt x="4195" y="0"/>
                    <a:pt x="0" y="4975"/>
                    <a:pt x="0" y="11086"/>
                  </a:cubicBezTo>
                  <a:lnTo>
                    <a:pt x="0" y="51301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84" name="Freeform 32">
              <a:extLst>
                <a:ext uri="{FF2B5EF4-FFF2-40B4-BE49-F238E27FC236}">
                  <a16:creationId xmlns:a16="http://schemas.microsoft.com/office/drawing/2014/main" id="{37E3F3E8-F38A-FD24-8CB7-4A18DC554A2E}"/>
                </a:ext>
              </a:extLst>
            </p:cNvPr>
            <p:cNvSpPr/>
            <p:nvPr/>
          </p:nvSpPr>
          <p:spPr>
            <a:xfrm>
              <a:off x="3374385" y="3171840"/>
              <a:ext cx="50484" cy="62408"/>
            </a:xfrm>
            <a:custGeom>
              <a:avLst/>
              <a:gdLst>
                <a:gd name="connsiteX0" fmla="*/ 9361 w 50484"/>
                <a:gd name="connsiteY0" fmla="*/ 62408 h 62408"/>
                <a:gd name="connsiteX1" fmla="*/ 41103 w 50484"/>
                <a:gd name="connsiteY1" fmla="*/ 62408 h 62408"/>
                <a:gd name="connsiteX2" fmla="*/ 50485 w 50484"/>
                <a:gd name="connsiteY2" fmla="*/ 51301 h 62408"/>
                <a:gd name="connsiteX3" fmla="*/ 50485 w 50484"/>
                <a:gd name="connsiteY3" fmla="*/ 11107 h 62408"/>
                <a:gd name="connsiteX4" fmla="*/ 41103 w 50484"/>
                <a:gd name="connsiteY4" fmla="*/ 0 h 62408"/>
                <a:gd name="connsiteX5" fmla="*/ 9361 w 50484"/>
                <a:gd name="connsiteY5" fmla="*/ 0 h 62408"/>
                <a:gd name="connsiteX6" fmla="*/ 0 w 50484"/>
                <a:gd name="connsiteY6" fmla="*/ 11107 h 62408"/>
                <a:gd name="connsiteX7" fmla="*/ 0 w 50484"/>
                <a:gd name="connsiteY7" fmla="*/ 51301 h 62408"/>
                <a:gd name="connsiteX8" fmla="*/ 9361 w 50484"/>
                <a:gd name="connsiteY8" fmla="*/ 62408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9361" y="62408"/>
                  </a:move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96"/>
                    <a:pt x="46290" y="0"/>
                    <a:pt x="41103" y="0"/>
                  </a:cubicBezTo>
                  <a:lnTo>
                    <a:pt x="9361" y="0"/>
                  </a:lnTo>
                  <a:cubicBezTo>
                    <a:pt x="4195" y="0"/>
                    <a:pt x="0" y="4996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61" y="62408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85" name="Freeform 33">
              <a:extLst>
                <a:ext uri="{FF2B5EF4-FFF2-40B4-BE49-F238E27FC236}">
                  <a16:creationId xmlns:a16="http://schemas.microsoft.com/office/drawing/2014/main" id="{503A5311-7305-62FD-C6E3-7C7403B062C3}"/>
                </a:ext>
              </a:extLst>
            </p:cNvPr>
            <p:cNvSpPr/>
            <p:nvPr/>
          </p:nvSpPr>
          <p:spPr>
            <a:xfrm>
              <a:off x="2540405" y="3752010"/>
              <a:ext cx="50505" cy="62408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86" name="Freeform 34">
              <a:extLst>
                <a:ext uri="{FF2B5EF4-FFF2-40B4-BE49-F238E27FC236}">
                  <a16:creationId xmlns:a16="http://schemas.microsoft.com/office/drawing/2014/main" id="{8FE61F6C-0260-AC20-86A8-C36FD553580F}"/>
                </a:ext>
              </a:extLst>
            </p:cNvPr>
            <p:cNvSpPr/>
            <p:nvPr/>
          </p:nvSpPr>
          <p:spPr>
            <a:xfrm>
              <a:off x="2540405" y="3652731"/>
              <a:ext cx="50505" cy="62408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87" name="Freeform 35">
              <a:extLst>
                <a:ext uri="{FF2B5EF4-FFF2-40B4-BE49-F238E27FC236}">
                  <a16:creationId xmlns:a16="http://schemas.microsoft.com/office/drawing/2014/main" id="{AF28B0DF-5D6D-C1FE-B5D1-BC3EB330C00A}"/>
                </a:ext>
              </a:extLst>
            </p:cNvPr>
            <p:cNvSpPr/>
            <p:nvPr/>
          </p:nvSpPr>
          <p:spPr>
            <a:xfrm>
              <a:off x="2540405" y="3553432"/>
              <a:ext cx="50505" cy="62387"/>
            </a:xfrm>
            <a:custGeom>
              <a:avLst/>
              <a:gdLst>
                <a:gd name="connsiteX0" fmla="*/ 41123 w 50505"/>
                <a:gd name="connsiteY0" fmla="*/ 0 h 62387"/>
                <a:gd name="connsiteX1" fmla="*/ 9382 w 50505"/>
                <a:gd name="connsiteY1" fmla="*/ 0 h 62387"/>
                <a:gd name="connsiteX2" fmla="*/ 0 w 50505"/>
                <a:gd name="connsiteY2" fmla="*/ 11107 h 62387"/>
                <a:gd name="connsiteX3" fmla="*/ 0 w 50505"/>
                <a:gd name="connsiteY3" fmla="*/ 51301 h 62387"/>
                <a:gd name="connsiteX4" fmla="*/ 9382 w 50505"/>
                <a:gd name="connsiteY4" fmla="*/ 62387 h 62387"/>
                <a:gd name="connsiteX5" fmla="*/ 41123 w 50505"/>
                <a:gd name="connsiteY5" fmla="*/ 62387 h 62387"/>
                <a:gd name="connsiteX6" fmla="*/ 50505 w 50505"/>
                <a:gd name="connsiteY6" fmla="*/ 51301 h 62387"/>
                <a:gd name="connsiteX7" fmla="*/ 50505 w 50505"/>
                <a:gd name="connsiteY7" fmla="*/ 11107 h 62387"/>
                <a:gd name="connsiteX8" fmla="*/ 41123 w 50505"/>
                <a:gd name="connsiteY8" fmla="*/ 0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387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12"/>
                    <a:pt x="4195" y="62387"/>
                    <a:pt x="9382" y="62387"/>
                  </a:cubicBezTo>
                  <a:lnTo>
                    <a:pt x="41123" y="62387"/>
                  </a:lnTo>
                  <a:cubicBezTo>
                    <a:pt x="46310" y="62387"/>
                    <a:pt x="50505" y="57412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88" name="Freeform 36">
              <a:extLst>
                <a:ext uri="{FF2B5EF4-FFF2-40B4-BE49-F238E27FC236}">
                  <a16:creationId xmlns:a16="http://schemas.microsoft.com/office/drawing/2014/main" id="{86CF3A45-9DD3-BA2F-5C26-D8CF98370E02}"/>
                </a:ext>
              </a:extLst>
            </p:cNvPr>
            <p:cNvSpPr/>
            <p:nvPr/>
          </p:nvSpPr>
          <p:spPr>
            <a:xfrm>
              <a:off x="2540405" y="3454153"/>
              <a:ext cx="50505" cy="62387"/>
            </a:xfrm>
            <a:custGeom>
              <a:avLst/>
              <a:gdLst>
                <a:gd name="connsiteX0" fmla="*/ 41123 w 50505"/>
                <a:gd name="connsiteY0" fmla="*/ 0 h 62387"/>
                <a:gd name="connsiteX1" fmla="*/ 9382 w 50505"/>
                <a:gd name="connsiteY1" fmla="*/ 0 h 62387"/>
                <a:gd name="connsiteX2" fmla="*/ 0 w 50505"/>
                <a:gd name="connsiteY2" fmla="*/ 11086 h 62387"/>
                <a:gd name="connsiteX3" fmla="*/ 0 w 50505"/>
                <a:gd name="connsiteY3" fmla="*/ 51301 h 62387"/>
                <a:gd name="connsiteX4" fmla="*/ 9382 w 50505"/>
                <a:gd name="connsiteY4" fmla="*/ 62387 h 62387"/>
                <a:gd name="connsiteX5" fmla="*/ 41123 w 50505"/>
                <a:gd name="connsiteY5" fmla="*/ 62387 h 62387"/>
                <a:gd name="connsiteX6" fmla="*/ 50505 w 50505"/>
                <a:gd name="connsiteY6" fmla="*/ 51301 h 62387"/>
                <a:gd name="connsiteX7" fmla="*/ 50505 w 50505"/>
                <a:gd name="connsiteY7" fmla="*/ 11086 h 62387"/>
                <a:gd name="connsiteX8" fmla="*/ 41123 w 50505"/>
                <a:gd name="connsiteY8" fmla="*/ 0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387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086"/>
                  </a:cubicBezTo>
                  <a:lnTo>
                    <a:pt x="0" y="51301"/>
                  </a:lnTo>
                  <a:cubicBezTo>
                    <a:pt x="0" y="57412"/>
                    <a:pt x="4195" y="62387"/>
                    <a:pt x="9382" y="62387"/>
                  </a:cubicBezTo>
                  <a:lnTo>
                    <a:pt x="41123" y="62387"/>
                  </a:lnTo>
                  <a:cubicBezTo>
                    <a:pt x="46310" y="62387"/>
                    <a:pt x="50505" y="57412"/>
                    <a:pt x="50505" y="51301"/>
                  </a:cubicBezTo>
                  <a:lnTo>
                    <a:pt x="50505" y="11086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89" name="Freeform 37">
              <a:extLst>
                <a:ext uri="{FF2B5EF4-FFF2-40B4-BE49-F238E27FC236}">
                  <a16:creationId xmlns:a16="http://schemas.microsoft.com/office/drawing/2014/main" id="{26282DC3-94D6-46E1-E71A-FB967C91B97C}"/>
                </a:ext>
              </a:extLst>
            </p:cNvPr>
            <p:cNvSpPr/>
            <p:nvPr/>
          </p:nvSpPr>
          <p:spPr>
            <a:xfrm>
              <a:off x="2540405" y="3354832"/>
              <a:ext cx="50505" cy="62408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90" name="Freeform 38">
              <a:extLst>
                <a:ext uri="{FF2B5EF4-FFF2-40B4-BE49-F238E27FC236}">
                  <a16:creationId xmlns:a16="http://schemas.microsoft.com/office/drawing/2014/main" id="{CC1C280F-6520-FD43-5CEE-6099941BD44F}"/>
                </a:ext>
              </a:extLst>
            </p:cNvPr>
            <p:cNvSpPr/>
            <p:nvPr/>
          </p:nvSpPr>
          <p:spPr>
            <a:xfrm>
              <a:off x="2540405" y="3255553"/>
              <a:ext cx="50505" cy="62408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91" name="Freeform 39">
              <a:extLst>
                <a:ext uri="{FF2B5EF4-FFF2-40B4-BE49-F238E27FC236}">
                  <a16:creationId xmlns:a16="http://schemas.microsoft.com/office/drawing/2014/main" id="{DAD3E65B-8202-83D0-0612-1D090E3BB342}"/>
                </a:ext>
              </a:extLst>
            </p:cNvPr>
            <p:cNvSpPr/>
            <p:nvPr/>
          </p:nvSpPr>
          <p:spPr>
            <a:xfrm>
              <a:off x="2540405" y="3156254"/>
              <a:ext cx="50505" cy="62408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12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12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92" name="Freeform 40">
              <a:extLst>
                <a:ext uri="{FF2B5EF4-FFF2-40B4-BE49-F238E27FC236}">
                  <a16:creationId xmlns:a16="http://schemas.microsoft.com/office/drawing/2014/main" id="{1191BF62-6CE8-2C2D-79C8-89B2BCFC0518}"/>
                </a:ext>
              </a:extLst>
            </p:cNvPr>
            <p:cNvSpPr/>
            <p:nvPr/>
          </p:nvSpPr>
          <p:spPr>
            <a:xfrm>
              <a:off x="2540405" y="3056974"/>
              <a:ext cx="50505" cy="62387"/>
            </a:xfrm>
            <a:custGeom>
              <a:avLst/>
              <a:gdLst>
                <a:gd name="connsiteX0" fmla="*/ 41123 w 50505"/>
                <a:gd name="connsiteY0" fmla="*/ 0 h 62387"/>
                <a:gd name="connsiteX1" fmla="*/ 9382 w 50505"/>
                <a:gd name="connsiteY1" fmla="*/ 0 h 62387"/>
                <a:gd name="connsiteX2" fmla="*/ 0 w 50505"/>
                <a:gd name="connsiteY2" fmla="*/ 11086 h 62387"/>
                <a:gd name="connsiteX3" fmla="*/ 0 w 50505"/>
                <a:gd name="connsiteY3" fmla="*/ 51301 h 62387"/>
                <a:gd name="connsiteX4" fmla="*/ 9382 w 50505"/>
                <a:gd name="connsiteY4" fmla="*/ 62387 h 62387"/>
                <a:gd name="connsiteX5" fmla="*/ 41123 w 50505"/>
                <a:gd name="connsiteY5" fmla="*/ 62387 h 62387"/>
                <a:gd name="connsiteX6" fmla="*/ 50505 w 50505"/>
                <a:gd name="connsiteY6" fmla="*/ 51301 h 62387"/>
                <a:gd name="connsiteX7" fmla="*/ 50505 w 50505"/>
                <a:gd name="connsiteY7" fmla="*/ 11086 h 62387"/>
                <a:gd name="connsiteX8" fmla="*/ 41123 w 50505"/>
                <a:gd name="connsiteY8" fmla="*/ 0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387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086"/>
                  </a:cubicBezTo>
                  <a:lnTo>
                    <a:pt x="0" y="51301"/>
                  </a:lnTo>
                  <a:cubicBezTo>
                    <a:pt x="0" y="57412"/>
                    <a:pt x="4195" y="62387"/>
                    <a:pt x="9382" y="62387"/>
                  </a:cubicBezTo>
                  <a:lnTo>
                    <a:pt x="41123" y="62387"/>
                  </a:lnTo>
                  <a:cubicBezTo>
                    <a:pt x="46310" y="62387"/>
                    <a:pt x="50505" y="57412"/>
                    <a:pt x="50505" y="51301"/>
                  </a:cubicBezTo>
                  <a:lnTo>
                    <a:pt x="50505" y="11086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93" name="Freeform 41">
              <a:extLst>
                <a:ext uri="{FF2B5EF4-FFF2-40B4-BE49-F238E27FC236}">
                  <a16:creationId xmlns:a16="http://schemas.microsoft.com/office/drawing/2014/main" id="{BFB698D2-C361-EF1C-D8CD-489F7BA9EA8D}"/>
                </a:ext>
              </a:extLst>
            </p:cNvPr>
            <p:cNvSpPr/>
            <p:nvPr/>
          </p:nvSpPr>
          <p:spPr>
            <a:xfrm>
              <a:off x="2540405" y="2957654"/>
              <a:ext cx="50505" cy="62408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96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96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94" name="Freeform 42">
              <a:extLst>
                <a:ext uri="{FF2B5EF4-FFF2-40B4-BE49-F238E27FC236}">
                  <a16:creationId xmlns:a16="http://schemas.microsoft.com/office/drawing/2014/main" id="{1342EFF7-DD6A-811C-A130-CD99B9A35571}"/>
                </a:ext>
              </a:extLst>
            </p:cNvPr>
            <p:cNvSpPr/>
            <p:nvPr/>
          </p:nvSpPr>
          <p:spPr>
            <a:xfrm>
              <a:off x="2620317" y="3752031"/>
              <a:ext cx="50505" cy="62408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95" name="Freeform 43">
              <a:extLst>
                <a:ext uri="{FF2B5EF4-FFF2-40B4-BE49-F238E27FC236}">
                  <a16:creationId xmlns:a16="http://schemas.microsoft.com/office/drawing/2014/main" id="{2BBDF781-1785-50BC-7BDB-5C2A4FB2F59A}"/>
                </a:ext>
              </a:extLst>
            </p:cNvPr>
            <p:cNvSpPr/>
            <p:nvPr/>
          </p:nvSpPr>
          <p:spPr>
            <a:xfrm>
              <a:off x="2620317" y="3652731"/>
              <a:ext cx="50505" cy="62408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96" name="Freeform 44">
              <a:extLst>
                <a:ext uri="{FF2B5EF4-FFF2-40B4-BE49-F238E27FC236}">
                  <a16:creationId xmlns:a16="http://schemas.microsoft.com/office/drawing/2014/main" id="{EAFCCAD4-C0D1-4D3E-38E1-21C315C0D998}"/>
                </a:ext>
              </a:extLst>
            </p:cNvPr>
            <p:cNvSpPr/>
            <p:nvPr/>
          </p:nvSpPr>
          <p:spPr>
            <a:xfrm>
              <a:off x="2620317" y="3553432"/>
              <a:ext cx="50505" cy="62408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97" name="Freeform 45">
              <a:extLst>
                <a:ext uri="{FF2B5EF4-FFF2-40B4-BE49-F238E27FC236}">
                  <a16:creationId xmlns:a16="http://schemas.microsoft.com/office/drawing/2014/main" id="{062DF71B-AAA6-FC57-D65F-806F04612741}"/>
                </a:ext>
              </a:extLst>
            </p:cNvPr>
            <p:cNvSpPr/>
            <p:nvPr/>
          </p:nvSpPr>
          <p:spPr>
            <a:xfrm>
              <a:off x="2620317" y="3454132"/>
              <a:ext cx="50505" cy="62408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98" name="Freeform 46">
              <a:extLst>
                <a:ext uri="{FF2B5EF4-FFF2-40B4-BE49-F238E27FC236}">
                  <a16:creationId xmlns:a16="http://schemas.microsoft.com/office/drawing/2014/main" id="{E059BC3D-FA85-B637-D1E1-A3D8583B5B75}"/>
                </a:ext>
              </a:extLst>
            </p:cNvPr>
            <p:cNvSpPr/>
            <p:nvPr/>
          </p:nvSpPr>
          <p:spPr>
            <a:xfrm>
              <a:off x="2620317" y="3354853"/>
              <a:ext cx="50505" cy="62408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299" name="Freeform 47">
              <a:extLst>
                <a:ext uri="{FF2B5EF4-FFF2-40B4-BE49-F238E27FC236}">
                  <a16:creationId xmlns:a16="http://schemas.microsoft.com/office/drawing/2014/main" id="{632008DA-D3D9-9C31-D2FB-916BBB928331}"/>
                </a:ext>
              </a:extLst>
            </p:cNvPr>
            <p:cNvSpPr/>
            <p:nvPr/>
          </p:nvSpPr>
          <p:spPr>
            <a:xfrm>
              <a:off x="2620317" y="3255553"/>
              <a:ext cx="50505" cy="62408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00" name="Freeform 48">
              <a:extLst>
                <a:ext uri="{FF2B5EF4-FFF2-40B4-BE49-F238E27FC236}">
                  <a16:creationId xmlns:a16="http://schemas.microsoft.com/office/drawing/2014/main" id="{05D42262-E620-7995-7419-915A73B9A876}"/>
                </a:ext>
              </a:extLst>
            </p:cNvPr>
            <p:cNvSpPr/>
            <p:nvPr/>
          </p:nvSpPr>
          <p:spPr>
            <a:xfrm>
              <a:off x="2620317" y="3156254"/>
              <a:ext cx="50505" cy="62408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01" name="Freeform 49">
              <a:extLst>
                <a:ext uri="{FF2B5EF4-FFF2-40B4-BE49-F238E27FC236}">
                  <a16:creationId xmlns:a16="http://schemas.microsoft.com/office/drawing/2014/main" id="{01E6F991-635A-4F08-E437-94C1F16418A5}"/>
                </a:ext>
              </a:extLst>
            </p:cNvPr>
            <p:cNvSpPr/>
            <p:nvPr/>
          </p:nvSpPr>
          <p:spPr>
            <a:xfrm>
              <a:off x="2620317" y="3056954"/>
              <a:ext cx="50505" cy="62408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02" name="Freeform 50">
              <a:extLst>
                <a:ext uri="{FF2B5EF4-FFF2-40B4-BE49-F238E27FC236}">
                  <a16:creationId xmlns:a16="http://schemas.microsoft.com/office/drawing/2014/main" id="{19EC05E2-9378-7ED6-C877-B9EDAA0F16B6}"/>
                </a:ext>
              </a:extLst>
            </p:cNvPr>
            <p:cNvSpPr/>
            <p:nvPr/>
          </p:nvSpPr>
          <p:spPr>
            <a:xfrm>
              <a:off x="2620317" y="2957654"/>
              <a:ext cx="50505" cy="62408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03" name="Freeform 51">
              <a:extLst>
                <a:ext uri="{FF2B5EF4-FFF2-40B4-BE49-F238E27FC236}">
                  <a16:creationId xmlns:a16="http://schemas.microsoft.com/office/drawing/2014/main" id="{5ADC92E8-0A18-AC0E-8A9A-A02E090311AF}"/>
                </a:ext>
              </a:extLst>
            </p:cNvPr>
            <p:cNvSpPr/>
            <p:nvPr/>
          </p:nvSpPr>
          <p:spPr>
            <a:xfrm>
              <a:off x="2700229" y="3752010"/>
              <a:ext cx="50484" cy="62408"/>
            </a:xfrm>
            <a:custGeom>
              <a:avLst/>
              <a:gdLst>
                <a:gd name="connsiteX0" fmla="*/ 41103 w 50484"/>
                <a:gd name="connsiteY0" fmla="*/ 0 h 62408"/>
                <a:gd name="connsiteX1" fmla="*/ 9361 w 50484"/>
                <a:gd name="connsiteY1" fmla="*/ 0 h 62408"/>
                <a:gd name="connsiteX2" fmla="*/ 0 w 50484"/>
                <a:gd name="connsiteY2" fmla="*/ 11107 h 62408"/>
                <a:gd name="connsiteX3" fmla="*/ 0 w 50484"/>
                <a:gd name="connsiteY3" fmla="*/ 51301 h 62408"/>
                <a:gd name="connsiteX4" fmla="*/ 9361 w 50484"/>
                <a:gd name="connsiteY4" fmla="*/ 62408 h 62408"/>
                <a:gd name="connsiteX5" fmla="*/ 41103 w 50484"/>
                <a:gd name="connsiteY5" fmla="*/ 62408 h 62408"/>
                <a:gd name="connsiteX6" fmla="*/ 50485 w 50484"/>
                <a:gd name="connsiteY6" fmla="*/ 51301 h 62408"/>
                <a:gd name="connsiteX7" fmla="*/ 50485 w 50484"/>
                <a:gd name="connsiteY7" fmla="*/ 11107 h 62408"/>
                <a:gd name="connsiteX8" fmla="*/ 41103 w 50484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04" name="Freeform 52">
              <a:extLst>
                <a:ext uri="{FF2B5EF4-FFF2-40B4-BE49-F238E27FC236}">
                  <a16:creationId xmlns:a16="http://schemas.microsoft.com/office/drawing/2014/main" id="{5BDB3738-0CB6-31DC-A032-446CF2141398}"/>
                </a:ext>
              </a:extLst>
            </p:cNvPr>
            <p:cNvSpPr/>
            <p:nvPr/>
          </p:nvSpPr>
          <p:spPr>
            <a:xfrm>
              <a:off x="2700229" y="3652731"/>
              <a:ext cx="50484" cy="62408"/>
            </a:xfrm>
            <a:custGeom>
              <a:avLst/>
              <a:gdLst>
                <a:gd name="connsiteX0" fmla="*/ 41103 w 50484"/>
                <a:gd name="connsiteY0" fmla="*/ 0 h 62408"/>
                <a:gd name="connsiteX1" fmla="*/ 9361 w 50484"/>
                <a:gd name="connsiteY1" fmla="*/ 0 h 62408"/>
                <a:gd name="connsiteX2" fmla="*/ 0 w 50484"/>
                <a:gd name="connsiteY2" fmla="*/ 11107 h 62408"/>
                <a:gd name="connsiteX3" fmla="*/ 0 w 50484"/>
                <a:gd name="connsiteY3" fmla="*/ 51301 h 62408"/>
                <a:gd name="connsiteX4" fmla="*/ 9361 w 50484"/>
                <a:gd name="connsiteY4" fmla="*/ 62408 h 62408"/>
                <a:gd name="connsiteX5" fmla="*/ 41103 w 50484"/>
                <a:gd name="connsiteY5" fmla="*/ 62408 h 62408"/>
                <a:gd name="connsiteX6" fmla="*/ 50485 w 50484"/>
                <a:gd name="connsiteY6" fmla="*/ 51301 h 62408"/>
                <a:gd name="connsiteX7" fmla="*/ 50485 w 50484"/>
                <a:gd name="connsiteY7" fmla="*/ 11107 h 62408"/>
                <a:gd name="connsiteX8" fmla="*/ 41103 w 50484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05" name="Freeform 53">
              <a:extLst>
                <a:ext uri="{FF2B5EF4-FFF2-40B4-BE49-F238E27FC236}">
                  <a16:creationId xmlns:a16="http://schemas.microsoft.com/office/drawing/2014/main" id="{A3436EAB-5FB9-6B84-FB59-C25AEDF74D01}"/>
                </a:ext>
              </a:extLst>
            </p:cNvPr>
            <p:cNvSpPr/>
            <p:nvPr/>
          </p:nvSpPr>
          <p:spPr>
            <a:xfrm>
              <a:off x="2700229" y="3553432"/>
              <a:ext cx="50484" cy="62387"/>
            </a:xfrm>
            <a:custGeom>
              <a:avLst/>
              <a:gdLst>
                <a:gd name="connsiteX0" fmla="*/ 41103 w 50484"/>
                <a:gd name="connsiteY0" fmla="*/ 0 h 62387"/>
                <a:gd name="connsiteX1" fmla="*/ 9361 w 50484"/>
                <a:gd name="connsiteY1" fmla="*/ 0 h 62387"/>
                <a:gd name="connsiteX2" fmla="*/ 0 w 50484"/>
                <a:gd name="connsiteY2" fmla="*/ 11107 h 62387"/>
                <a:gd name="connsiteX3" fmla="*/ 0 w 50484"/>
                <a:gd name="connsiteY3" fmla="*/ 51301 h 62387"/>
                <a:gd name="connsiteX4" fmla="*/ 9361 w 50484"/>
                <a:gd name="connsiteY4" fmla="*/ 62387 h 62387"/>
                <a:gd name="connsiteX5" fmla="*/ 41103 w 50484"/>
                <a:gd name="connsiteY5" fmla="*/ 62387 h 62387"/>
                <a:gd name="connsiteX6" fmla="*/ 50485 w 50484"/>
                <a:gd name="connsiteY6" fmla="*/ 51301 h 62387"/>
                <a:gd name="connsiteX7" fmla="*/ 50485 w 50484"/>
                <a:gd name="connsiteY7" fmla="*/ 11107 h 62387"/>
                <a:gd name="connsiteX8" fmla="*/ 41103 w 50484"/>
                <a:gd name="connsiteY8" fmla="*/ 0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387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12"/>
                    <a:pt x="4195" y="62387"/>
                    <a:pt x="9361" y="62387"/>
                  </a:cubicBezTo>
                  <a:lnTo>
                    <a:pt x="41103" y="62387"/>
                  </a:lnTo>
                  <a:cubicBezTo>
                    <a:pt x="46290" y="62387"/>
                    <a:pt x="50485" y="57412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06" name="Freeform 54">
              <a:extLst>
                <a:ext uri="{FF2B5EF4-FFF2-40B4-BE49-F238E27FC236}">
                  <a16:creationId xmlns:a16="http://schemas.microsoft.com/office/drawing/2014/main" id="{5A8F0A40-B842-98EC-B454-4364998BE9BA}"/>
                </a:ext>
              </a:extLst>
            </p:cNvPr>
            <p:cNvSpPr/>
            <p:nvPr/>
          </p:nvSpPr>
          <p:spPr>
            <a:xfrm>
              <a:off x="2700229" y="3454153"/>
              <a:ext cx="50484" cy="62387"/>
            </a:xfrm>
            <a:custGeom>
              <a:avLst/>
              <a:gdLst>
                <a:gd name="connsiteX0" fmla="*/ 41103 w 50484"/>
                <a:gd name="connsiteY0" fmla="*/ 0 h 62387"/>
                <a:gd name="connsiteX1" fmla="*/ 9361 w 50484"/>
                <a:gd name="connsiteY1" fmla="*/ 0 h 62387"/>
                <a:gd name="connsiteX2" fmla="*/ 0 w 50484"/>
                <a:gd name="connsiteY2" fmla="*/ 11086 h 62387"/>
                <a:gd name="connsiteX3" fmla="*/ 0 w 50484"/>
                <a:gd name="connsiteY3" fmla="*/ 51301 h 62387"/>
                <a:gd name="connsiteX4" fmla="*/ 9361 w 50484"/>
                <a:gd name="connsiteY4" fmla="*/ 62387 h 62387"/>
                <a:gd name="connsiteX5" fmla="*/ 41103 w 50484"/>
                <a:gd name="connsiteY5" fmla="*/ 62387 h 62387"/>
                <a:gd name="connsiteX6" fmla="*/ 50485 w 50484"/>
                <a:gd name="connsiteY6" fmla="*/ 51301 h 62387"/>
                <a:gd name="connsiteX7" fmla="*/ 50485 w 50484"/>
                <a:gd name="connsiteY7" fmla="*/ 11086 h 62387"/>
                <a:gd name="connsiteX8" fmla="*/ 41103 w 50484"/>
                <a:gd name="connsiteY8" fmla="*/ 0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387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086"/>
                  </a:cubicBezTo>
                  <a:lnTo>
                    <a:pt x="0" y="51301"/>
                  </a:lnTo>
                  <a:cubicBezTo>
                    <a:pt x="0" y="57412"/>
                    <a:pt x="4195" y="62387"/>
                    <a:pt x="9361" y="62387"/>
                  </a:cubicBezTo>
                  <a:lnTo>
                    <a:pt x="41103" y="62387"/>
                  </a:lnTo>
                  <a:cubicBezTo>
                    <a:pt x="46290" y="62387"/>
                    <a:pt x="50485" y="57412"/>
                    <a:pt x="50485" y="51301"/>
                  </a:cubicBezTo>
                  <a:lnTo>
                    <a:pt x="50485" y="11086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07" name="Freeform 55">
              <a:extLst>
                <a:ext uri="{FF2B5EF4-FFF2-40B4-BE49-F238E27FC236}">
                  <a16:creationId xmlns:a16="http://schemas.microsoft.com/office/drawing/2014/main" id="{86951A11-3D0E-B3E1-3145-E6DF2FFD2822}"/>
                </a:ext>
              </a:extLst>
            </p:cNvPr>
            <p:cNvSpPr/>
            <p:nvPr/>
          </p:nvSpPr>
          <p:spPr>
            <a:xfrm>
              <a:off x="2700229" y="3354832"/>
              <a:ext cx="50484" cy="62408"/>
            </a:xfrm>
            <a:custGeom>
              <a:avLst/>
              <a:gdLst>
                <a:gd name="connsiteX0" fmla="*/ 41103 w 50484"/>
                <a:gd name="connsiteY0" fmla="*/ 0 h 62408"/>
                <a:gd name="connsiteX1" fmla="*/ 9361 w 50484"/>
                <a:gd name="connsiteY1" fmla="*/ 0 h 62408"/>
                <a:gd name="connsiteX2" fmla="*/ 0 w 50484"/>
                <a:gd name="connsiteY2" fmla="*/ 11107 h 62408"/>
                <a:gd name="connsiteX3" fmla="*/ 0 w 50484"/>
                <a:gd name="connsiteY3" fmla="*/ 51301 h 62408"/>
                <a:gd name="connsiteX4" fmla="*/ 9361 w 50484"/>
                <a:gd name="connsiteY4" fmla="*/ 62408 h 62408"/>
                <a:gd name="connsiteX5" fmla="*/ 41103 w 50484"/>
                <a:gd name="connsiteY5" fmla="*/ 62408 h 62408"/>
                <a:gd name="connsiteX6" fmla="*/ 50485 w 50484"/>
                <a:gd name="connsiteY6" fmla="*/ 51301 h 62408"/>
                <a:gd name="connsiteX7" fmla="*/ 50485 w 50484"/>
                <a:gd name="connsiteY7" fmla="*/ 11107 h 62408"/>
                <a:gd name="connsiteX8" fmla="*/ 41103 w 50484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08" name="Freeform 56">
              <a:extLst>
                <a:ext uri="{FF2B5EF4-FFF2-40B4-BE49-F238E27FC236}">
                  <a16:creationId xmlns:a16="http://schemas.microsoft.com/office/drawing/2014/main" id="{244CCAC6-26D1-D114-6AFB-EA7BF47F61AA}"/>
                </a:ext>
              </a:extLst>
            </p:cNvPr>
            <p:cNvSpPr/>
            <p:nvPr/>
          </p:nvSpPr>
          <p:spPr>
            <a:xfrm>
              <a:off x="2700229" y="3255553"/>
              <a:ext cx="50484" cy="62408"/>
            </a:xfrm>
            <a:custGeom>
              <a:avLst/>
              <a:gdLst>
                <a:gd name="connsiteX0" fmla="*/ 41103 w 50484"/>
                <a:gd name="connsiteY0" fmla="*/ 0 h 62408"/>
                <a:gd name="connsiteX1" fmla="*/ 9361 w 50484"/>
                <a:gd name="connsiteY1" fmla="*/ 0 h 62408"/>
                <a:gd name="connsiteX2" fmla="*/ 0 w 50484"/>
                <a:gd name="connsiteY2" fmla="*/ 11107 h 62408"/>
                <a:gd name="connsiteX3" fmla="*/ 0 w 50484"/>
                <a:gd name="connsiteY3" fmla="*/ 51301 h 62408"/>
                <a:gd name="connsiteX4" fmla="*/ 9361 w 50484"/>
                <a:gd name="connsiteY4" fmla="*/ 62408 h 62408"/>
                <a:gd name="connsiteX5" fmla="*/ 41103 w 50484"/>
                <a:gd name="connsiteY5" fmla="*/ 62408 h 62408"/>
                <a:gd name="connsiteX6" fmla="*/ 50485 w 50484"/>
                <a:gd name="connsiteY6" fmla="*/ 51301 h 62408"/>
                <a:gd name="connsiteX7" fmla="*/ 50485 w 50484"/>
                <a:gd name="connsiteY7" fmla="*/ 11107 h 62408"/>
                <a:gd name="connsiteX8" fmla="*/ 41103 w 50484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09" name="Freeform 57">
              <a:extLst>
                <a:ext uri="{FF2B5EF4-FFF2-40B4-BE49-F238E27FC236}">
                  <a16:creationId xmlns:a16="http://schemas.microsoft.com/office/drawing/2014/main" id="{1D6CF032-003C-BB02-F040-20687BD40497}"/>
                </a:ext>
              </a:extLst>
            </p:cNvPr>
            <p:cNvSpPr/>
            <p:nvPr/>
          </p:nvSpPr>
          <p:spPr>
            <a:xfrm>
              <a:off x="2700229" y="3156254"/>
              <a:ext cx="50484" cy="62408"/>
            </a:xfrm>
            <a:custGeom>
              <a:avLst/>
              <a:gdLst>
                <a:gd name="connsiteX0" fmla="*/ 41103 w 50484"/>
                <a:gd name="connsiteY0" fmla="*/ 0 h 62408"/>
                <a:gd name="connsiteX1" fmla="*/ 9361 w 50484"/>
                <a:gd name="connsiteY1" fmla="*/ 0 h 62408"/>
                <a:gd name="connsiteX2" fmla="*/ 0 w 50484"/>
                <a:gd name="connsiteY2" fmla="*/ 11107 h 62408"/>
                <a:gd name="connsiteX3" fmla="*/ 0 w 50484"/>
                <a:gd name="connsiteY3" fmla="*/ 51301 h 62408"/>
                <a:gd name="connsiteX4" fmla="*/ 9361 w 50484"/>
                <a:gd name="connsiteY4" fmla="*/ 62408 h 62408"/>
                <a:gd name="connsiteX5" fmla="*/ 41103 w 50484"/>
                <a:gd name="connsiteY5" fmla="*/ 62408 h 62408"/>
                <a:gd name="connsiteX6" fmla="*/ 50485 w 50484"/>
                <a:gd name="connsiteY6" fmla="*/ 51301 h 62408"/>
                <a:gd name="connsiteX7" fmla="*/ 50485 w 50484"/>
                <a:gd name="connsiteY7" fmla="*/ 11107 h 62408"/>
                <a:gd name="connsiteX8" fmla="*/ 41103 w 50484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12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12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10" name="Freeform 58">
              <a:extLst>
                <a:ext uri="{FF2B5EF4-FFF2-40B4-BE49-F238E27FC236}">
                  <a16:creationId xmlns:a16="http://schemas.microsoft.com/office/drawing/2014/main" id="{3BFFEF89-9D63-4E73-F92C-C88A3B2078B8}"/>
                </a:ext>
              </a:extLst>
            </p:cNvPr>
            <p:cNvSpPr/>
            <p:nvPr/>
          </p:nvSpPr>
          <p:spPr>
            <a:xfrm>
              <a:off x="2700229" y="3056974"/>
              <a:ext cx="50484" cy="62387"/>
            </a:xfrm>
            <a:custGeom>
              <a:avLst/>
              <a:gdLst>
                <a:gd name="connsiteX0" fmla="*/ 41103 w 50484"/>
                <a:gd name="connsiteY0" fmla="*/ 0 h 62387"/>
                <a:gd name="connsiteX1" fmla="*/ 9361 w 50484"/>
                <a:gd name="connsiteY1" fmla="*/ 0 h 62387"/>
                <a:gd name="connsiteX2" fmla="*/ 0 w 50484"/>
                <a:gd name="connsiteY2" fmla="*/ 11086 h 62387"/>
                <a:gd name="connsiteX3" fmla="*/ 0 w 50484"/>
                <a:gd name="connsiteY3" fmla="*/ 51301 h 62387"/>
                <a:gd name="connsiteX4" fmla="*/ 9361 w 50484"/>
                <a:gd name="connsiteY4" fmla="*/ 62387 h 62387"/>
                <a:gd name="connsiteX5" fmla="*/ 41103 w 50484"/>
                <a:gd name="connsiteY5" fmla="*/ 62387 h 62387"/>
                <a:gd name="connsiteX6" fmla="*/ 50485 w 50484"/>
                <a:gd name="connsiteY6" fmla="*/ 51301 h 62387"/>
                <a:gd name="connsiteX7" fmla="*/ 50485 w 50484"/>
                <a:gd name="connsiteY7" fmla="*/ 11086 h 62387"/>
                <a:gd name="connsiteX8" fmla="*/ 41103 w 50484"/>
                <a:gd name="connsiteY8" fmla="*/ 0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387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086"/>
                  </a:cubicBezTo>
                  <a:lnTo>
                    <a:pt x="0" y="51301"/>
                  </a:lnTo>
                  <a:cubicBezTo>
                    <a:pt x="0" y="57412"/>
                    <a:pt x="4195" y="62387"/>
                    <a:pt x="9361" y="62387"/>
                  </a:cubicBezTo>
                  <a:lnTo>
                    <a:pt x="41103" y="62387"/>
                  </a:lnTo>
                  <a:cubicBezTo>
                    <a:pt x="46290" y="62387"/>
                    <a:pt x="50485" y="57412"/>
                    <a:pt x="50485" y="51301"/>
                  </a:cubicBezTo>
                  <a:lnTo>
                    <a:pt x="50485" y="11086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11" name="Freeform 59">
              <a:extLst>
                <a:ext uri="{FF2B5EF4-FFF2-40B4-BE49-F238E27FC236}">
                  <a16:creationId xmlns:a16="http://schemas.microsoft.com/office/drawing/2014/main" id="{507F9586-753E-F7EC-B9DE-F3808C2E49E3}"/>
                </a:ext>
              </a:extLst>
            </p:cNvPr>
            <p:cNvSpPr/>
            <p:nvPr/>
          </p:nvSpPr>
          <p:spPr>
            <a:xfrm>
              <a:off x="2700229" y="2957654"/>
              <a:ext cx="50484" cy="62408"/>
            </a:xfrm>
            <a:custGeom>
              <a:avLst/>
              <a:gdLst>
                <a:gd name="connsiteX0" fmla="*/ 41103 w 50484"/>
                <a:gd name="connsiteY0" fmla="*/ 0 h 62408"/>
                <a:gd name="connsiteX1" fmla="*/ 9361 w 50484"/>
                <a:gd name="connsiteY1" fmla="*/ 0 h 62408"/>
                <a:gd name="connsiteX2" fmla="*/ 0 w 50484"/>
                <a:gd name="connsiteY2" fmla="*/ 11107 h 62408"/>
                <a:gd name="connsiteX3" fmla="*/ 0 w 50484"/>
                <a:gd name="connsiteY3" fmla="*/ 51301 h 62408"/>
                <a:gd name="connsiteX4" fmla="*/ 9361 w 50484"/>
                <a:gd name="connsiteY4" fmla="*/ 62408 h 62408"/>
                <a:gd name="connsiteX5" fmla="*/ 41103 w 50484"/>
                <a:gd name="connsiteY5" fmla="*/ 62408 h 62408"/>
                <a:gd name="connsiteX6" fmla="*/ 50485 w 50484"/>
                <a:gd name="connsiteY6" fmla="*/ 51301 h 62408"/>
                <a:gd name="connsiteX7" fmla="*/ 50485 w 50484"/>
                <a:gd name="connsiteY7" fmla="*/ 11107 h 62408"/>
                <a:gd name="connsiteX8" fmla="*/ 41103 w 50484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96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96"/>
                    <a:pt x="46290" y="0"/>
                    <a:pt x="4110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12" name="Freeform 60">
              <a:extLst>
                <a:ext uri="{FF2B5EF4-FFF2-40B4-BE49-F238E27FC236}">
                  <a16:creationId xmlns:a16="http://schemas.microsoft.com/office/drawing/2014/main" id="{4DA98BEF-9065-9DB2-8A47-23D9C1CD0AF0}"/>
                </a:ext>
              </a:extLst>
            </p:cNvPr>
            <p:cNvSpPr/>
            <p:nvPr/>
          </p:nvSpPr>
          <p:spPr>
            <a:xfrm>
              <a:off x="3884565" y="3752010"/>
              <a:ext cx="50505" cy="62408"/>
            </a:xfrm>
            <a:custGeom>
              <a:avLst/>
              <a:gdLst>
                <a:gd name="connsiteX0" fmla="*/ 41124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4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4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4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4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4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13" name="Freeform 61">
              <a:extLst>
                <a:ext uri="{FF2B5EF4-FFF2-40B4-BE49-F238E27FC236}">
                  <a16:creationId xmlns:a16="http://schemas.microsoft.com/office/drawing/2014/main" id="{9E2BDEBE-55A3-5F5C-DD58-ED05F8832389}"/>
                </a:ext>
              </a:extLst>
            </p:cNvPr>
            <p:cNvSpPr/>
            <p:nvPr/>
          </p:nvSpPr>
          <p:spPr>
            <a:xfrm>
              <a:off x="3884565" y="3652731"/>
              <a:ext cx="50505" cy="62408"/>
            </a:xfrm>
            <a:custGeom>
              <a:avLst/>
              <a:gdLst>
                <a:gd name="connsiteX0" fmla="*/ 41124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4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4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4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4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4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14" name="Freeform 62">
              <a:extLst>
                <a:ext uri="{FF2B5EF4-FFF2-40B4-BE49-F238E27FC236}">
                  <a16:creationId xmlns:a16="http://schemas.microsoft.com/office/drawing/2014/main" id="{D456B21A-3259-6CFD-A702-8DC6F5CCF62B}"/>
                </a:ext>
              </a:extLst>
            </p:cNvPr>
            <p:cNvSpPr/>
            <p:nvPr/>
          </p:nvSpPr>
          <p:spPr>
            <a:xfrm>
              <a:off x="3884565" y="3553432"/>
              <a:ext cx="50505" cy="62387"/>
            </a:xfrm>
            <a:custGeom>
              <a:avLst/>
              <a:gdLst>
                <a:gd name="connsiteX0" fmla="*/ 41124 w 50505"/>
                <a:gd name="connsiteY0" fmla="*/ 0 h 62387"/>
                <a:gd name="connsiteX1" fmla="*/ 9382 w 50505"/>
                <a:gd name="connsiteY1" fmla="*/ 0 h 62387"/>
                <a:gd name="connsiteX2" fmla="*/ 0 w 50505"/>
                <a:gd name="connsiteY2" fmla="*/ 11107 h 62387"/>
                <a:gd name="connsiteX3" fmla="*/ 0 w 50505"/>
                <a:gd name="connsiteY3" fmla="*/ 51301 h 62387"/>
                <a:gd name="connsiteX4" fmla="*/ 9382 w 50505"/>
                <a:gd name="connsiteY4" fmla="*/ 62387 h 62387"/>
                <a:gd name="connsiteX5" fmla="*/ 41124 w 50505"/>
                <a:gd name="connsiteY5" fmla="*/ 62387 h 62387"/>
                <a:gd name="connsiteX6" fmla="*/ 50505 w 50505"/>
                <a:gd name="connsiteY6" fmla="*/ 51301 h 62387"/>
                <a:gd name="connsiteX7" fmla="*/ 50505 w 50505"/>
                <a:gd name="connsiteY7" fmla="*/ 11107 h 62387"/>
                <a:gd name="connsiteX8" fmla="*/ 41124 w 50505"/>
                <a:gd name="connsiteY8" fmla="*/ 0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387">
                  <a:moveTo>
                    <a:pt x="41124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12"/>
                    <a:pt x="4195" y="62387"/>
                    <a:pt x="9382" y="62387"/>
                  </a:cubicBezTo>
                  <a:lnTo>
                    <a:pt x="41124" y="62387"/>
                  </a:lnTo>
                  <a:cubicBezTo>
                    <a:pt x="46310" y="62387"/>
                    <a:pt x="50505" y="57412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4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15" name="Freeform 63">
              <a:extLst>
                <a:ext uri="{FF2B5EF4-FFF2-40B4-BE49-F238E27FC236}">
                  <a16:creationId xmlns:a16="http://schemas.microsoft.com/office/drawing/2014/main" id="{FB3B609C-9069-5BE9-B12F-E019EEDE2838}"/>
                </a:ext>
              </a:extLst>
            </p:cNvPr>
            <p:cNvSpPr/>
            <p:nvPr/>
          </p:nvSpPr>
          <p:spPr>
            <a:xfrm>
              <a:off x="3884565" y="3454153"/>
              <a:ext cx="50505" cy="62387"/>
            </a:xfrm>
            <a:custGeom>
              <a:avLst/>
              <a:gdLst>
                <a:gd name="connsiteX0" fmla="*/ 41124 w 50505"/>
                <a:gd name="connsiteY0" fmla="*/ 0 h 62387"/>
                <a:gd name="connsiteX1" fmla="*/ 9382 w 50505"/>
                <a:gd name="connsiteY1" fmla="*/ 0 h 62387"/>
                <a:gd name="connsiteX2" fmla="*/ 0 w 50505"/>
                <a:gd name="connsiteY2" fmla="*/ 11086 h 62387"/>
                <a:gd name="connsiteX3" fmla="*/ 0 w 50505"/>
                <a:gd name="connsiteY3" fmla="*/ 51301 h 62387"/>
                <a:gd name="connsiteX4" fmla="*/ 9382 w 50505"/>
                <a:gd name="connsiteY4" fmla="*/ 62387 h 62387"/>
                <a:gd name="connsiteX5" fmla="*/ 41124 w 50505"/>
                <a:gd name="connsiteY5" fmla="*/ 62387 h 62387"/>
                <a:gd name="connsiteX6" fmla="*/ 50505 w 50505"/>
                <a:gd name="connsiteY6" fmla="*/ 51301 h 62387"/>
                <a:gd name="connsiteX7" fmla="*/ 50505 w 50505"/>
                <a:gd name="connsiteY7" fmla="*/ 11086 h 62387"/>
                <a:gd name="connsiteX8" fmla="*/ 41124 w 50505"/>
                <a:gd name="connsiteY8" fmla="*/ 0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387">
                  <a:moveTo>
                    <a:pt x="41124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086"/>
                  </a:cubicBezTo>
                  <a:lnTo>
                    <a:pt x="0" y="51301"/>
                  </a:lnTo>
                  <a:cubicBezTo>
                    <a:pt x="0" y="57412"/>
                    <a:pt x="4195" y="62387"/>
                    <a:pt x="9382" y="62387"/>
                  </a:cubicBezTo>
                  <a:lnTo>
                    <a:pt x="41124" y="62387"/>
                  </a:lnTo>
                  <a:cubicBezTo>
                    <a:pt x="46310" y="62387"/>
                    <a:pt x="50505" y="57412"/>
                    <a:pt x="50505" y="51301"/>
                  </a:cubicBezTo>
                  <a:lnTo>
                    <a:pt x="50505" y="11086"/>
                  </a:lnTo>
                  <a:cubicBezTo>
                    <a:pt x="50505" y="4975"/>
                    <a:pt x="46310" y="0"/>
                    <a:pt x="41124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16" name="Freeform 64">
              <a:extLst>
                <a:ext uri="{FF2B5EF4-FFF2-40B4-BE49-F238E27FC236}">
                  <a16:creationId xmlns:a16="http://schemas.microsoft.com/office/drawing/2014/main" id="{B5468EF3-1EF2-E37F-E9CF-D7A74B7A5B67}"/>
                </a:ext>
              </a:extLst>
            </p:cNvPr>
            <p:cNvSpPr/>
            <p:nvPr/>
          </p:nvSpPr>
          <p:spPr>
            <a:xfrm>
              <a:off x="3884565" y="3354832"/>
              <a:ext cx="50505" cy="62408"/>
            </a:xfrm>
            <a:custGeom>
              <a:avLst/>
              <a:gdLst>
                <a:gd name="connsiteX0" fmla="*/ 41124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4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4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4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4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4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17" name="Freeform 65">
              <a:extLst>
                <a:ext uri="{FF2B5EF4-FFF2-40B4-BE49-F238E27FC236}">
                  <a16:creationId xmlns:a16="http://schemas.microsoft.com/office/drawing/2014/main" id="{204BC6EC-C6FC-CBE3-4219-15AF8E87962B}"/>
                </a:ext>
              </a:extLst>
            </p:cNvPr>
            <p:cNvSpPr/>
            <p:nvPr/>
          </p:nvSpPr>
          <p:spPr>
            <a:xfrm>
              <a:off x="3884565" y="3255553"/>
              <a:ext cx="50505" cy="62408"/>
            </a:xfrm>
            <a:custGeom>
              <a:avLst/>
              <a:gdLst>
                <a:gd name="connsiteX0" fmla="*/ 41124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4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4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4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4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4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18" name="Freeform 66">
              <a:extLst>
                <a:ext uri="{FF2B5EF4-FFF2-40B4-BE49-F238E27FC236}">
                  <a16:creationId xmlns:a16="http://schemas.microsoft.com/office/drawing/2014/main" id="{5A6B3412-605D-B4B1-66A3-F85A2C9A44F3}"/>
                </a:ext>
              </a:extLst>
            </p:cNvPr>
            <p:cNvSpPr/>
            <p:nvPr/>
          </p:nvSpPr>
          <p:spPr>
            <a:xfrm>
              <a:off x="3884565" y="3156254"/>
              <a:ext cx="50505" cy="62408"/>
            </a:xfrm>
            <a:custGeom>
              <a:avLst/>
              <a:gdLst>
                <a:gd name="connsiteX0" fmla="*/ 41124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4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4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4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12"/>
                    <a:pt x="4195" y="62408"/>
                    <a:pt x="9382" y="62408"/>
                  </a:cubicBezTo>
                  <a:lnTo>
                    <a:pt x="41124" y="62408"/>
                  </a:lnTo>
                  <a:cubicBezTo>
                    <a:pt x="46310" y="62408"/>
                    <a:pt x="50505" y="57412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4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19" name="Freeform 67">
              <a:extLst>
                <a:ext uri="{FF2B5EF4-FFF2-40B4-BE49-F238E27FC236}">
                  <a16:creationId xmlns:a16="http://schemas.microsoft.com/office/drawing/2014/main" id="{710B37E8-08C6-554D-EC26-5616AA25657F}"/>
                </a:ext>
              </a:extLst>
            </p:cNvPr>
            <p:cNvSpPr/>
            <p:nvPr/>
          </p:nvSpPr>
          <p:spPr>
            <a:xfrm>
              <a:off x="3884565" y="3056974"/>
              <a:ext cx="50505" cy="62387"/>
            </a:xfrm>
            <a:custGeom>
              <a:avLst/>
              <a:gdLst>
                <a:gd name="connsiteX0" fmla="*/ 41124 w 50505"/>
                <a:gd name="connsiteY0" fmla="*/ 0 h 62387"/>
                <a:gd name="connsiteX1" fmla="*/ 9382 w 50505"/>
                <a:gd name="connsiteY1" fmla="*/ 0 h 62387"/>
                <a:gd name="connsiteX2" fmla="*/ 0 w 50505"/>
                <a:gd name="connsiteY2" fmla="*/ 11086 h 62387"/>
                <a:gd name="connsiteX3" fmla="*/ 0 w 50505"/>
                <a:gd name="connsiteY3" fmla="*/ 51301 h 62387"/>
                <a:gd name="connsiteX4" fmla="*/ 9382 w 50505"/>
                <a:gd name="connsiteY4" fmla="*/ 62387 h 62387"/>
                <a:gd name="connsiteX5" fmla="*/ 41124 w 50505"/>
                <a:gd name="connsiteY5" fmla="*/ 62387 h 62387"/>
                <a:gd name="connsiteX6" fmla="*/ 50505 w 50505"/>
                <a:gd name="connsiteY6" fmla="*/ 51301 h 62387"/>
                <a:gd name="connsiteX7" fmla="*/ 50505 w 50505"/>
                <a:gd name="connsiteY7" fmla="*/ 11086 h 62387"/>
                <a:gd name="connsiteX8" fmla="*/ 41124 w 50505"/>
                <a:gd name="connsiteY8" fmla="*/ 0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387">
                  <a:moveTo>
                    <a:pt x="41124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086"/>
                  </a:cubicBezTo>
                  <a:lnTo>
                    <a:pt x="0" y="51301"/>
                  </a:lnTo>
                  <a:cubicBezTo>
                    <a:pt x="0" y="57412"/>
                    <a:pt x="4195" y="62387"/>
                    <a:pt x="9382" y="62387"/>
                  </a:cubicBezTo>
                  <a:lnTo>
                    <a:pt x="41124" y="62387"/>
                  </a:lnTo>
                  <a:cubicBezTo>
                    <a:pt x="46310" y="62387"/>
                    <a:pt x="50505" y="57412"/>
                    <a:pt x="50505" y="51301"/>
                  </a:cubicBezTo>
                  <a:lnTo>
                    <a:pt x="50505" y="11086"/>
                  </a:lnTo>
                  <a:cubicBezTo>
                    <a:pt x="50505" y="4975"/>
                    <a:pt x="46310" y="0"/>
                    <a:pt x="41124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20" name="Freeform 68">
              <a:extLst>
                <a:ext uri="{FF2B5EF4-FFF2-40B4-BE49-F238E27FC236}">
                  <a16:creationId xmlns:a16="http://schemas.microsoft.com/office/drawing/2014/main" id="{445379FF-DE79-171C-0128-99D142008AF5}"/>
                </a:ext>
              </a:extLst>
            </p:cNvPr>
            <p:cNvSpPr/>
            <p:nvPr/>
          </p:nvSpPr>
          <p:spPr>
            <a:xfrm>
              <a:off x="3884565" y="2957654"/>
              <a:ext cx="50505" cy="62408"/>
            </a:xfrm>
            <a:custGeom>
              <a:avLst/>
              <a:gdLst>
                <a:gd name="connsiteX0" fmla="*/ 41124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4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4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4" y="0"/>
                  </a:moveTo>
                  <a:lnTo>
                    <a:pt x="9382" y="0"/>
                  </a:lnTo>
                  <a:cubicBezTo>
                    <a:pt x="4195" y="0"/>
                    <a:pt x="0" y="4996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4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96"/>
                    <a:pt x="46310" y="0"/>
                    <a:pt x="41124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21" name="Freeform 69">
              <a:extLst>
                <a:ext uri="{FF2B5EF4-FFF2-40B4-BE49-F238E27FC236}">
                  <a16:creationId xmlns:a16="http://schemas.microsoft.com/office/drawing/2014/main" id="{D446F202-BD06-7DBB-9722-4156C0D9A60D}"/>
                </a:ext>
              </a:extLst>
            </p:cNvPr>
            <p:cNvSpPr/>
            <p:nvPr/>
          </p:nvSpPr>
          <p:spPr>
            <a:xfrm>
              <a:off x="3964476" y="3752031"/>
              <a:ext cx="50505" cy="62408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22" name="Freeform 70">
              <a:extLst>
                <a:ext uri="{FF2B5EF4-FFF2-40B4-BE49-F238E27FC236}">
                  <a16:creationId xmlns:a16="http://schemas.microsoft.com/office/drawing/2014/main" id="{B177D35D-F7E0-5109-2CD5-6581498B5170}"/>
                </a:ext>
              </a:extLst>
            </p:cNvPr>
            <p:cNvSpPr/>
            <p:nvPr/>
          </p:nvSpPr>
          <p:spPr>
            <a:xfrm>
              <a:off x="3964476" y="3652731"/>
              <a:ext cx="50505" cy="62408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23" name="Freeform 71">
              <a:extLst>
                <a:ext uri="{FF2B5EF4-FFF2-40B4-BE49-F238E27FC236}">
                  <a16:creationId xmlns:a16="http://schemas.microsoft.com/office/drawing/2014/main" id="{FC7CAC2F-4A85-AF98-A29A-4CB4342D153F}"/>
                </a:ext>
              </a:extLst>
            </p:cNvPr>
            <p:cNvSpPr/>
            <p:nvPr/>
          </p:nvSpPr>
          <p:spPr>
            <a:xfrm>
              <a:off x="3964476" y="3553432"/>
              <a:ext cx="50505" cy="62408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24" name="Freeform 72">
              <a:extLst>
                <a:ext uri="{FF2B5EF4-FFF2-40B4-BE49-F238E27FC236}">
                  <a16:creationId xmlns:a16="http://schemas.microsoft.com/office/drawing/2014/main" id="{DE4BA96B-6489-1A5C-7C0D-E5CCC35197D1}"/>
                </a:ext>
              </a:extLst>
            </p:cNvPr>
            <p:cNvSpPr/>
            <p:nvPr/>
          </p:nvSpPr>
          <p:spPr>
            <a:xfrm>
              <a:off x="3964476" y="3454132"/>
              <a:ext cx="50505" cy="62408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25" name="Freeform 73">
              <a:extLst>
                <a:ext uri="{FF2B5EF4-FFF2-40B4-BE49-F238E27FC236}">
                  <a16:creationId xmlns:a16="http://schemas.microsoft.com/office/drawing/2014/main" id="{E65018D8-FEC8-D5E2-0639-C7EB7D859FB3}"/>
                </a:ext>
              </a:extLst>
            </p:cNvPr>
            <p:cNvSpPr/>
            <p:nvPr/>
          </p:nvSpPr>
          <p:spPr>
            <a:xfrm>
              <a:off x="3964476" y="3354853"/>
              <a:ext cx="50505" cy="62408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26" name="Freeform 74">
              <a:extLst>
                <a:ext uri="{FF2B5EF4-FFF2-40B4-BE49-F238E27FC236}">
                  <a16:creationId xmlns:a16="http://schemas.microsoft.com/office/drawing/2014/main" id="{BE0A3318-90E2-3363-2F10-F3D996C215D8}"/>
                </a:ext>
              </a:extLst>
            </p:cNvPr>
            <p:cNvSpPr/>
            <p:nvPr/>
          </p:nvSpPr>
          <p:spPr>
            <a:xfrm>
              <a:off x="3964476" y="3255553"/>
              <a:ext cx="50505" cy="62408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27" name="Freeform 75">
              <a:extLst>
                <a:ext uri="{FF2B5EF4-FFF2-40B4-BE49-F238E27FC236}">
                  <a16:creationId xmlns:a16="http://schemas.microsoft.com/office/drawing/2014/main" id="{4BDCE5EF-533F-8D02-8662-BBFD35A24984}"/>
                </a:ext>
              </a:extLst>
            </p:cNvPr>
            <p:cNvSpPr/>
            <p:nvPr/>
          </p:nvSpPr>
          <p:spPr>
            <a:xfrm>
              <a:off x="3964476" y="3156254"/>
              <a:ext cx="50505" cy="62408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28" name="Freeform 76">
              <a:extLst>
                <a:ext uri="{FF2B5EF4-FFF2-40B4-BE49-F238E27FC236}">
                  <a16:creationId xmlns:a16="http://schemas.microsoft.com/office/drawing/2014/main" id="{E9DEACD9-8696-6EBC-6BF9-7831024C9471}"/>
                </a:ext>
              </a:extLst>
            </p:cNvPr>
            <p:cNvSpPr/>
            <p:nvPr/>
          </p:nvSpPr>
          <p:spPr>
            <a:xfrm>
              <a:off x="3964476" y="3056954"/>
              <a:ext cx="50505" cy="62408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29" name="Freeform 77">
              <a:extLst>
                <a:ext uri="{FF2B5EF4-FFF2-40B4-BE49-F238E27FC236}">
                  <a16:creationId xmlns:a16="http://schemas.microsoft.com/office/drawing/2014/main" id="{4AEF5A9D-D052-AF8C-35C5-38F44A41DB26}"/>
                </a:ext>
              </a:extLst>
            </p:cNvPr>
            <p:cNvSpPr/>
            <p:nvPr/>
          </p:nvSpPr>
          <p:spPr>
            <a:xfrm>
              <a:off x="3964476" y="2957654"/>
              <a:ext cx="50505" cy="62408"/>
            </a:xfrm>
            <a:custGeom>
              <a:avLst/>
              <a:gdLst>
                <a:gd name="connsiteX0" fmla="*/ 41123 w 50505"/>
                <a:gd name="connsiteY0" fmla="*/ 0 h 62408"/>
                <a:gd name="connsiteX1" fmla="*/ 9382 w 50505"/>
                <a:gd name="connsiteY1" fmla="*/ 0 h 62408"/>
                <a:gd name="connsiteX2" fmla="*/ 0 w 50505"/>
                <a:gd name="connsiteY2" fmla="*/ 11107 h 62408"/>
                <a:gd name="connsiteX3" fmla="*/ 0 w 50505"/>
                <a:gd name="connsiteY3" fmla="*/ 51301 h 62408"/>
                <a:gd name="connsiteX4" fmla="*/ 9382 w 50505"/>
                <a:gd name="connsiteY4" fmla="*/ 62408 h 62408"/>
                <a:gd name="connsiteX5" fmla="*/ 41123 w 50505"/>
                <a:gd name="connsiteY5" fmla="*/ 62408 h 62408"/>
                <a:gd name="connsiteX6" fmla="*/ 50505 w 50505"/>
                <a:gd name="connsiteY6" fmla="*/ 51301 h 62408"/>
                <a:gd name="connsiteX7" fmla="*/ 50505 w 50505"/>
                <a:gd name="connsiteY7" fmla="*/ 11107 h 62408"/>
                <a:gd name="connsiteX8" fmla="*/ 41123 w 50505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505" h="62408">
                  <a:moveTo>
                    <a:pt x="41123" y="0"/>
                  </a:moveTo>
                  <a:lnTo>
                    <a:pt x="9382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82" y="62408"/>
                  </a:cubicBezTo>
                  <a:lnTo>
                    <a:pt x="41123" y="62408"/>
                  </a:lnTo>
                  <a:cubicBezTo>
                    <a:pt x="46310" y="62408"/>
                    <a:pt x="50505" y="57433"/>
                    <a:pt x="50505" y="51301"/>
                  </a:cubicBezTo>
                  <a:lnTo>
                    <a:pt x="50505" y="11107"/>
                  </a:lnTo>
                  <a:cubicBezTo>
                    <a:pt x="50505" y="4975"/>
                    <a:pt x="46310" y="0"/>
                    <a:pt x="4112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30" name="Freeform 78">
              <a:extLst>
                <a:ext uri="{FF2B5EF4-FFF2-40B4-BE49-F238E27FC236}">
                  <a16:creationId xmlns:a16="http://schemas.microsoft.com/office/drawing/2014/main" id="{24207E33-A482-1C9D-F035-537D47FDBF2F}"/>
                </a:ext>
              </a:extLst>
            </p:cNvPr>
            <p:cNvSpPr/>
            <p:nvPr/>
          </p:nvSpPr>
          <p:spPr>
            <a:xfrm>
              <a:off x="4044388" y="3752010"/>
              <a:ext cx="50484" cy="62408"/>
            </a:xfrm>
            <a:custGeom>
              <a:avLst/>
              <a:gdLst>
                <a:gd name="connsiteX0" fmla="*/ 41103 w 50484"/>
                <a:gd name="connsiteY0" fmla="*/ 0 h 62408"/>
                <a:gd name="connsiteX1" fmla="*/ 9361 w 50484"/>
                <a:gd name="connsiteY1" fmla="*/ 0 h 62408"/>
                <a:gd name="connsiteX2" fmla="*/ 0 w 50484"/>
                <a:gd name="connsiteY2" fmla="*/ 11107 h 62408"/>
                <a:gd name="connsiteX3" fmla="*/ 0 w 50484"/>
                <a:gd name="connsiteY3" fmla="*/ 51301 h 62408"/>
                <a:gd name="connsiteX4" fmla="*/ 9361 w 50484"/>
                <a:gd name="connsiteY4" fmla="*/ 62408 h 62408"/>
                <a:gd name="connsiteX5" fmla="*/ 41103 w 50484"/>
                <a:gd name="connsiteY5" fmla="*/ 62408 h 62408"/>
                <a:gd name="connsiteX6" fmla="*/ 50485 w 50484"/>
                <a:gd name="connsiteY6" fmla="*/ 51301 h 62408"/>
                <a:gd name="connsiteX7" fmla="*/ 50485 w 50484"/>
                <a:gd name="connsiteY7" fmla="*/ 11107 h 62408"/>
                <a:gd name="connsiteX8" fmla="*/ 41103 w 50484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31" name="Freeform 79">
              <a:extLst>
                <a:ext uri="{FF2B5EF4-FFF2-40B4-BE49-F238E27FC236}">
                  <a16:creationId xmlns:a16="http://schemas.microsoft.com/office/drawing/2014/main" id="{5BFB35FE-C5A6-3C78-A884-377719F204A6}"/>
                </a:ext>
              </a:extLst>
            </p:cNvPr>
            <p:cNvSpPr/>
            <p:nvPr/>
          </p:nvSpPr>
          <p:spPr>
            <a:xfrm>
              <a:off x="4044388" y="3652731"/>
              <a:ext cx="50484" cy="62408"/>
            </a:xfrm>
            <a:custGeom>
              <a:avLst/>
              <a:gdLst>
                <a:gd name="connsiteX0" fmla="*/ 41103 w 50484"/>
                <a:gd name="connsiteY0" fmla="*/ 0 h 62408"/>
                <a:gd name="connsiteX1" fmla="*/ 9361 w 50484"/>
                <a:gd name="connsiteY1" fmla="*/ 0 h 62408"/>
                <a:gd name="connsiteX2" fmla="*/ 0 w 50484"/>
                <a:gd name="connsiteY2" fmla="*/ 11107 h 62408"/>
                <a:gd name="connsiteX3" fmla="*/ 0 w 50484"/>
                <a:gd name="connsiteY3" fmla="*/ 51301 h 62408"/>
                <a:gd name="connsiteX4" fmla="*/ 9361 w 50484"/>
                <a:gd name="connsiteY4" fmla="*/ 62408 h 62408"/>
                <a:gd name="connsiteX5" fmla="*/ 41103 w 50484"/>
                <a:gd name="connsiteY5" fmla="*/ 62408 h 62408"/>
                <a:gd name="connsiteX6" fmla="*/ 50485 w 50484"/>
                <a:gd name="connsiteY6" fmla="*/ 51301 h 62408"/>
                <a:gd name="connsiteX7" fmla="*/ 50485 w 50484"/>
                <a:gd name="connsiteY7" fmla="*/ 11107 h 62408"/>
                <a:gd name="connsiteX8" fmla="*/ 41103 w 50484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32" name="Freeform 80">
              <a:extLst>
                <a:ext uri="{FF2B5EF4-FFF2-40B4-BE49-F238E27FC236}">
                  <a16:creationId xmlns:a16="http://schemas.microsoft.com/office/drawing/2014/main" id="{B3407763-ACC5-08AF-2AFB-A00D814E4823}"/>
                </a:ext>
              </a:extLst>
            </p:cNvPr>
            <p:cNvSpPr/>
            <p:nvPr/>
          </p:nvSpPr>
          <p:spPr>
            <a:xfrm>
              <a:off x="4044388" y="3553432"/>
              <a:ext cx="50484" cy="62387"/>
            </a:xfrm>
            <a:custGeom>
              <a:avLst/>
              <a:gdLst>
                <a:gd name="connsiteX0" fmla="*/ 41103 w 50484"/>
                <a:gd name="connsiteY0" fmla="*/ 0 h 62387"/>
                <a:gd name="connsiteX1" fmla="*/ 9361 w 50484"/>
                <a:gd name="connsiteY1" fmla="*/ 0 h 62387"/>
                <a:gd name="connsiteX2" fmla="*/ 0 w 50484"/>
                <a:gd name="connsiteY2" fmla="*/ 11107 h 62387"/>
                <a:gd name="connsiteX3" fmla="*/ 0 w 50484"/>
                <a:gd name="connsiteY3" fmla="*/ 51301 h 62387"/>
                <a:gd name="connsiteX4" fmla="*/ 9361 w 50484"/>
                <a:gd name="connsiteY4" fmla="*/ 62387 h 62387"/>
                <a:gd name="connsiteX5" fmla="*/ 41103 w 50484"/>
                <a:gd name="connsiteY5" fmla="*/ 62387 h 62387"/>
                <a:gd name="connsiteX6" fmla="*/ 50485 w 50484"/>
                <a:gd name="connsiteY6" fmla="*/ 51301 h 62387"/>
                <a:gd name="connsiteX7" fmla="*/ 50485 w 50484"/>
                <a:gd name="connsiteY7" fmla="*/ 11107 h 62387"/>
                <a:gd name="connsiteX8" fmla="*/ 41103 w 50484"/>
                <a:gd name="connsiteY8" fmla="*/ 0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387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12"/>
                    <a:pt x="4195" y="62387"/>
                    <a:pt x="9361" y="62387"/>
                  </a:cubicBezTo>
                  <a:lnTo>
                    <a:pt x="41103" y="62387"/>
                  </a:lnTo>
                  <a:cubicBezTo>
                    <a:pt x="46290" y="62387"/>
                    <a:pt x="50485" y="57412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33" name="Freeform 81">
              <a:extLst>
                <a:ext uri="{FF2B5EF4-FFF2-40B4-BE49-F238E27FC236}">
                  <a16:creationId xmlns:a16="http://schemas.microsoft.com/office/drawing/2014/main" id="{C10A71D2-F21C-FA9D-E226-425C41F761A9}"/>
                </a:ext>
              </a:extLst>
            </p:cNvPr>
            <p:cNvSpPr/>
            <p:nvPr/>
          </p:nvSpPr>
          <p:spPr>
            <a:xfrm>
              <a:off x="4044388" y="3454153"/>
              <a:ext cx="50484" cy="62387"/>
            </a:xfrm>
            <a:custGeom>
              <a:avLst/>
              <a:gdLst>
                <a:gd name="connsiteX0" fmla="*/ 41103 w 50484"/>
                <a:gd name="connsiteY0" fmla="*/ 0 h 62387"/>
                <a:gd name="connsiteX1" fmla="*/ 9361 w 50484"/>
                <a:gd name="connsiteY1" fmla="*/ 0 h 62387"/>
                <a:gd name="connsiteX2" fmla="*/ 0 w 50484"/>
                <a:gd name="connsiteY2" fmla="*/ 11086 h 62387"/>
                <a:gd name="connsiteX3" fmla="*/ 0 w 50484"/>
                <a:gd name="connsiteY3" fmla="*/ 51301 h 62387"/>
                <a:gd name="connsiteX4" fmla="*/ 9361 w 50484"/>
                <a:gd name="connsiteY4" fmla="*/ 62387 h 62387"/>
                <a:gd name="connsiteX5" fmla="*/ 41103 w 50484"/>
                <a:gd name="connsiteY5" fmla="*/ 62387 h 62387"/>
                <a:gd name="connsiteX6" fmla="*/ 50485 w 50484"/>
                <a:gd name="connsiteY6" fmla="*/ 51301 h 62387"/>
                <a:gd name="connsiteX7" fmla="*/ 50485 w 50484"/>
                <a:gd name="connsiteY7" fmla="*/ 11086 h 62387"/>
                <a:gd name="connsiteX8" fmla="*/ 41103 w 50484"/>
                <a:gd name="connsiteY8" fmla="*/ 0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387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086"/>
                  </a:cubicBezTo>
                  <a:lnTo>
                    <a:pt x="0" y="51301"/>
                  </a:lnTo>
                  <a:cubicBezTo>
                    <a:pt x="0" y="57412"/>
                    <a:pt x="4195" y="62387"/>
                    <a:pt x="9361" y="62387"/>
                  </a:cubicBezTo>
                  <a:lnTo>
                    <a:pt x="41103" y="62387"/>
                  </a:lnTo>
                  <a:cubicBezTo>
                    <a:pt x="46290" y="62387"/>
                    <a:pt x="50485" y="57412"/>
                    <a:pt x="50485" y="51301"/>
                  </a:cubicBezTo>
                  <a:lnTo>
                    <a:pt x="50485" y="11086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34" name="Freeform 82">
              <a:extLst>
                <a:ext uri="{FF2B5EF4-FFF2-40B4-BE49-F238E27FC236}">
                  <a16:creationId xmlns:a16="http://schemas.microsoft.com/office/drawing/2014/main" id="{CA645C51-53B3-62BF-5D87-ED1681415EC4}"/>
                </a:ext>
              </a:extLst>
            </p:cNvPr>
            <p:cNvSpPr/>
            <p:nvPr/>
          </p:nvSpPr>
          <p:spPr>
            <a:xfrm>
              <a:off x="4044388" y="3354832"/>
              <a:ext cx="50484" cy="62408"/>
            </a:xfrm>
            <a:custGeom>
              <a:avLst/>
              <a:gdLst>
                <a:gd name="connsiteX0" fmla="*/ 41103 w 50484"/>
                <a:gd name="connsiteY0" fmla="*/ 0 h 62408"/>
                <a:gd name="connsiteX1" fmla="*/ 9361 w 50484"/>
                <a:gd name="connsiteY1" fmla="*/ 0 h 62408"/>
                <a:gd name="connsiteX2" fmla="*/ 0 w 50484"/>
                <a:gd name="connsiteY2" fmla="*/ 11107 h 62408"/>
                <a:gd name="connsiteX3" fmla="*/ 0 w 50484"/>
                <a:gd name="connsiteY3" fmla="*/ 51301 h 62408"/>
                <a:gd name="connsiteX4" fmla="*/ 9361 w 50484"/>
                <a:gd name="connsiteY4" fmla="*/ 62408 h 62408"/>
                <a:gd name="connsiteX5" fmla="*/ 41103 w 50484"/>
                <a:gd name="connsiteY5" fmla="*/ 62408 h 62408"/>
                <a:gd name="connsiteX6" fmla="*/ 50485 w 50484"/>
                <a:gd name="connsiteY6" fmla="*/ 51301 h 62408"/>
                <a:gd name="connsiteX7" fmla="*/ 50485 w 50484"/>
                <a:gd name="connsiteY7" fmla="*/ 11107 h 62408"/>
                <a:gd name="connsiteX8" fmla="*/ 41103 w 50484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35" name="Freeform 83">
              <a:extLst>
                <a:ext uri="{FF2B5EF4-FFF2-40B4-BE49-F238E27FC236}">
                  <a16:creationId xmlns:a16="http://schemas.microsoft.com/office/drawing/2014/main" id="{E24BC1D8-7B07-BE65-0C62-A51E104F2742}"/>
                </a:ext>
              </a:extLst>
            </p:cNvPr>
            <p:cNvSpPr/>
            <p:nvPr/>
          </p:nvSpPr>
          <p:spPr>
            <a:xfrm>
              <a:off x="4044388" y="3255553"/>
              <a:ext cx="50484" cy="62408"/>
            </a:xfrm>
            <a:custGeom>
              <a:avLst/>
              <a:gdLst>
                <a:gd name="connsiteX0" fmla="*/ 41103 w 50484"/>
                <a:gd name="connsiteY0" fmla="*/ 0 h 62408"/>
                <a:gd name="connsiteX1" fmla="*/ 9361 w 50484"/>
                <a:gd name="connsiteY1" fmla="*/ 0 h 62408"/>
                <a:gd name="connsiteX2" fmla="*/ 0 w 50484"/>
                <a:gd name="connsiteY2" fmla="*/ 11107 h 62408"/>
                <a:gd name="connsiteX3" fmla="*/ 0 w 50484"/>
                <a:gd name="connsiteY3" fmla="*/ 51301 h 62408"/>
                <a:gd name="connsiteX4" fmla="*/ 9361 w 50484"/>
                <a:gd name="connsiteY4" fmla="*/ 62408 h 62408"/>
                <a:gd name="connsiteX5" fmla="*/ 41103 w 50484"/>
                <a:gd name="connsiteY5" fmla="*/ 62408 h 62408"/>
                <a:gd name="connsiteX6" fmla="*/ 50485 w 50484"/>
                <a:gd name="connsiteY6" fmla="*/ 51301 h 62408"/>
                <a:gd name="connsiteX7" fmla="*/ 50485 w 50484"/>
                <a:gd name="connsiteY7" fmla="*/ 11107 h 62408"/>
                <a:gd name="connsiteX8" fmla="*/ 41103 w 50484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36" name="Freeform 84">
              <a:extLst>
                <a:ext uri="{FF2B5EF4-FFF2-40B4-BE49-F238E27FC236}">
                  <a16:creationId xmlns:a16="http://schemas.microsoft.com/office/drawing/2014/main" id="{04117A44-94A0-7CB1-C7B2-3BF1EC8A521C}"/>
                </a:ext>
              </a:extLst>
            </p:cNvPr>
            <p:cNvSpPr/>
            <p:nvPr/>
          </p:nvSpPr>
          <p:spPr>
            <a:xfrm>
              <a:off x="4044388" y="3156254"/>
              <a:ext cx="50484" cy="62408"/>
            </a:xfrm>
            <a:custGeom>
              <a:avLst/>
              <a:gdLst>
                <a:gd name="connsiteX0" fmla="*/ 41103 w 50484"/>
                <a:gd name="connsiteY0" fmla="*/ 0 h 62408"/>
                <a:gd name="connsiteX1" fmla="*/ 9361 w 50484"/>
                <a:gd name="connsiteY1" fmla="*/ 0 h 62408"/>
                <a:gd name="connsiteX2" fmla="*/ 0 w 50484"/>
                <a:gd name="connsiteY2" fmla="*/ 11107 h 62408"/>
                <a:gd name="connsiteX3" fmla="*/ 0 w 50484"/>
                <a:gd name="connsiteY3" fmla="*/ 51301 h 62408"/>
                <a:gd name="connsiteX4" fmla="*/ 9361 w 50484"/>
                <a:gd name="connsiteY4" fmla="*/ 62408 h 62408"/>
                <a:gd name="connsiteX5" fmla="*/ 41103 w 50484"/>
                <a:gd name="connsiteY5" fmla="*/ 62408 h 62408"/>
                <a:gd name="connsiteX6" fmla="*/ 50485 w 50484"/>
                <a:gd name="connsiteY6" fmla="*/ 51301 h 62408"/>
                <a:gd name="connsiteX7" fmla="*/ 50485 w 50484"/>
                <a:gd name="connsiteY7" fmla="*/ 11107 h 62408"/>
                <a:gd name="connsiteX8" fmla="*/ 41103 w 50484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107"/>
                  </a:cubicBezTo>
                  <a:lnTo>
                    <a:pt x="0" y="51301"/>
                  </a:lnTo>
                  <a:cubicBezTo>
                    <a:pt x="0" y="57412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12"/>
                    <a:pt x="50485" y="51301"/>
                  </a:cubicBezTo>
                  <a:lnTo>
                    <a:pt x="50485" y="11107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37" name="Freeform 85">
              <a:extLst>
                <a:ext uri="{FF2B5EF4-FFF2-40B4-BE49-F238E27FC236}">
                  <a16:creationId xmlns:a16="http://schemas.microsoft.com/office/drawing/2014/main" id="{900CC5A1-24D8-4A1B-5BCA-62CC6C069868}"/>
                </a:ext>
              </a:extLst>
            </p:cNvPr>
            <p:cNvSpPr/>
            <p:nvPr/>
          </p:nvSpPr>
          <p:spPr>
            <a:xfrm>
              <a:off x="4044388" y="3056974"/>
              <a:ext cx="50484" cy="62387"/>
            </a:xfrm>
            <a:custGeom>
              <a:avLst/>
              <a:gdLst>
                <a:gd name="connsiteX0" fmla="*/ 41103 w 50484"/>
                <a:gd name="connsiteY0" fmla="*/ 0 h 62387"/>
                <a:gd name="connsiteX1" fmla="*/ 9361 w 50484"/>
                <a:gd name="connsiteY1" fmla="*/ 0 h 62387"/>
                <a:gd name="connsiteX2" fmla="*/ 0 w 50484"/>
                <a:gd name="connsiteY2" fmla="*/ 11086 h 62387"/>
                <a:gd name="connsiteX3" fmla="*/ 0 w 50484"/>
                <a:gd name="connsiteY3" fmla="*/ 51301 h 62387"/>
                <a:gd name="connsiteX4" fmla="*/ 9361 w 50484"/>
                <a:gd name="connsiteY4" fmla="*/ 62387 h 62387"/>
                <a:gd name="connsiteX5" fmla="*/ 41103 w 50484"/>
                <a:gd name="connsiteY5" fmla="*/ 62387 h 62387"/>
                <a:gd name="connsiteX6" fmla="*/ 50485 w 50484"/>
                <a:gd name="connsiteY6" fmla="*/ 51301 h 62387"/>
                <a:gd name="connsiteX7" fmla="*/ 50485 w 50484"/>
                <a:gd name="connsiteY7" fmla="*/ 11086 h 62387"/>
                <a:gd name="connsiteX8" fmla="*/ 41103 w 50484"/>
                <a:gd name="connsiteY8" fmla="*/ 0 h 6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387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75"/>
                    <a:pt x="0" y="11086"/>
                  </a:cubicBezTo>
                  <a:lnTo>
                    <a:pt x="0" y="51301"/>
                  </a:lnTo>
                  <a:cubicBezTo>
                    <a:pt x="0" y="57412"/>
                    <a:pt x="4195" y="62387"/>
                    <a:pt x="9361" y="62387"/>
                  </a:cubicBezTo>
                  <a:lnTo>
                    <a:pt x="41103" y="62387"/>
                  </a:lnTo>
                  <a:cubicBezTo>
                    <a:pt x="46290" y="62387"/>
                    <a:pt x="50485" y="57412"/>
                    <a:pt x="50485" y="51301"/>
                  </a:cubicBezTo>
                  <a:lnTo>
                    <a:pt x="50485" y="11086"/>
                  </a:lnTo>
                  <a:cubicBezTo>
                    <a:pt x="50485" y="4975"/>
                    <a:pt x="46290" y="0"/>
                    <a:pt x="4110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38" name="Freeform 86">
              <a:extLst>
                <a:ext uri="{FF2B5EF4-FFF2-40B4-BE49-F238E27FC236}">
                  <a16:creationId xmlns:a16="http://schemas.microsoft.com/office/drawing/2014/main" id="{7AAD2C0B-632E-37AD-83BC-B22B2D05B054}"/>
                </a:ext>
              </a:extLst>
            </p:cNvPr>
            <p:cNvSpPr/>
            <p:nvPr/>
          </p:nvSpPr>
          <p:spPr>
            <a:xfrm>
              <a:off x="4044388" y="2957654"/>
              <a:ext cx="50484" cy="62408"/>
            </a:xfrm>
            <a:custGeom>
              <a:avLst/>
              <a:gdLst>
                <a:gd name="connsiteX0" fmla="*/ 41103 w 50484"/>
                <a:gd name="connsiteY0" fmla="*/ 0 h 62408"/>
                <a:gd name="connsiteX1" fmla="*/ 9361 w 50484"/>
                <a:gd name="connsiteY1" fmla="*/ 0 h 62408"/>
                <a:gd name="connsiteX2" fmla="*/ 0 w 50484"/>
                <a:gd name="connsiteY2" fmla="*/ 11107 h 62408"/>
                <a:gd name="connsiteX3" fmla="*/ 0 w 50484"/>
                <a:gd name="connsiteY3" fmla="*/ 51301 h 62408"/>
                <a:gd name="connsiteX4" fmla="*/ 9361 w 50484"/>
                <a:gd name="connsiteY4" fmla="*/ 62408 h 62408"/>
                <a:gd name="connsiteX5" fmla="*/ 41103 w 50484"/>
                <a:gd name="connsiteY5" fmla="*/ 62408 h 62408"/>
                <a:gd name="connsiteX6" fmla="*/ 50485 w 50484"/>
                <a:gd name="connsiteY6" fmla="*/ 51301 h 62408"/>
                <a:gd name="connsiteX7" fmla="*/ 50485 w 50484"/>
                <a:gd name="connsiteY7" fmla="*/ 11107 h 62408"/>
                <a:gd name="connsiteX8" fmla="*/ 41103 w 50484"/>
                <a:gd name="connsiteY8" fmla="*/ 0 h 6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4" h="62408">
                  <a:moveTo>
                    <a:pt x="41103" y="0"/>
                  </a:moveTo>
                  <a:lnTo>
                    <a:pt x="9361" y="0"/>
                  </a:lnTo>
                  <a:cubicBezTo>
                    <a:pt x="4195" y="0"/>
                    <a:pt x="0" y="4996"/>
                    <a:pt x="0" y="11107"/>
                  </a:cubicBezTo>
                  <a:lnTo>
                    <a:pt x="0" y="51301"/>
                  </a:lnTo>
                  <a:cubicBezTo>
                    <a:pt x="0" y="57433"/>
                    <a:pt x="4195" y="62408"/>
                    <a:pt x="9361" y="62408"/>
                  </a:cubicBezTo>
                  <a:lnTo>
                    <a:pt x="41103" y="62408"/>
                  </a:lnTo>
                  <a:cubicBezTo>
                    <a:pt x="46290" y="62408"/>
                    <a:pt x="50485" y="57433"/>
                    <a:pt x="50485" y="51301"/>
                  </a:cubicBezTo>
                  <a:lnTo>
                    <a:pt x="50485" y="11107"/>
                  </a:lnTo>
                  <a:cubicBezTo>
                    <a:pt x="50485" y="4996"/>
                    <a:pt x="46290" y="0"/>
                    <a:pt x="41103" y="0"/>
                  </a:cubicBez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39" name="Freeform 87">
              <a:extLst>
                <a:ext uri="{FF2B5EF4-FFF2-40B4-BE49-F238E27FC236}">
                  <a16:creationId xmlns:a16="http://schemas.microsoft.com/office/drawing/2014/main" id="{E4D30039-AEF0-82CF-5470-0736870A33F1}"/>
                </a:ext>
              </a:extLst>
            </p:cNvPr>
            <p:cNvSpPr/>
            <p:nvPr/>
          </p:nvSpPr>
          <p:spPr>
            <a:xfrm>
              <a:off x="2453777" y="2867170"/>
              <a:ext cx="379658" cy="1051028"/>
            </a:xfrm>
            <a:custGeom>
              <a:avLst/>
              <a:gdLst>
                <a:gd name="connsiteX0" fmla="*/ 379287 w 379658"/>
                <a:gd name="connsiteY0" fmla="*/ 63791 h 1051028"/>
                <a:gd name="connsiteX1" fmla="*/ 379059 w 379658"/>
                <a:gd name="connsiteY1" fmla="*/ 62367 h 1051028"/>
                <a:gd name="connsiteX2" fmla="*/ 378605 w 379658"/>
                <a:gd name="connsiteY2" fmla="*/ 59497 h 1051028"/>
                <a:gd name="connsiteX3" fmla="*/ 378191 w 379658"/>
                <a:gd name="connsiteY3" fmla="*/ 56628 h 1051028"/>
                <a:gd name="connsiteX4" fmla="*/ 377447 w 379658"/>
                <a:gd name="connsiteY4" fmla="*/ 53820 h 1051028"/>
                <a:gd name="connsiteX5" fmla="*/ 352773 w 379658"/>
                <a:gd name="connsiteY5" fmla="*/ 15483 h 1051028"/>
                <a:gd name="connsiteX6" fmla="*/ 332584 w 379658"/>
                <a:gd name="connsiteY6" fmla="*/ 4273 h 1051028"/>
                <a:gd name="connsiteX7" fmla="*/ 329876 w 379658"/>
                <a:gd name="connsiteY7" fmla="*/ 3262 h 1051028"/>
                <a:gd name="connsiteX8" fmla="*/ 327066 w 379658"/>
                <a:gd name="connsiteY8" fmla="*/ 2539 h 1051028"/>
                <a:gd name="connsiteX9" fmla="*/ 324256 w 379658"/>
                <a:gd name="connsiteY9" fmla="*/ 1817 h 1051028"/>
                <a:gd name="connsiteX10" fmla="*/ 322850 w 379658"/>
                <a:gd name="connsiteY10" fmla="*/ 1445 h 1051028"/>
                <a:gd name="connsiteX11" fmla="*/ 321404 w 379658"/>
                <a:gd name="connsiteY11" fmla="*/ 1239 h 1051028"/>
                <a:gd name="connsiteX12" fmla="*/ 315659 w 379658"/>
                <a:gd name="connsiteY12" fmla="*/ 372 h 1051028"/>
                <a:gd name="connsiteX13" fmla="*/ 309831 w 379658"/>
                <a:gd name="connsiteY13" fmla="*/ 83 h 1051028"/>
                <a:gd name="connsiteX14" fmla="*/ 71129 w 379658"/>
                <a:gd name="connsiteY14" fmla="*/ 0 h 1051028"/>
                <a:gd name="connsiteX15" fmla="*/ 27939 w 379658"/>
                <a:gd name="connsiteY15" fmla="*/ 14719 h 1051028"/>
                <a:gd name="connsiteX16" fmla="*/ 12027 w 379658"/>
                <a:gd name="connsiteY16" fmla="*/ 31545 h 1051028"/>
                <a:gd name="connsiteX17" fmla="*/ 2542 w 379658"/>
                <a:gd name="connsiteY17" fmla="*/ 52581 h 1051028"/>
                <a:gd name="connsiteX18" fmla="*/ 1819 w 379658"/>
                <a:gd name="connsiteY18" fmla="*/ 55389 h 1051028"/>
                <a:gd name="connsiteX19" fmla="*/ 1447 w 379658"/>
                <a:gd name="connsiteY19" fmla="*/ 56793 h 1051028"/>
                <a:gd name="connsiteX20" fmla="*/ 1240 w 379658"/>
                <a:gd name="connsiteY20" fmla="*/ 58238 h 1051028"/>
                <a:gd name="connsiteX21" fmla="*/ 372 w 379658"/>
                <a:gd name="connsiteY21" fmla="*/ 63977 h 1051028"/>
                <a:gd name="connsiteX22" fmla="*/ 83 w 379658"/>
                <a:gd name="connsiteY22" fmla="*/ 69799 h 1051028"/>
                <a:gd name="connsiteX23" fmla="*/ 0 w 379658"/>
                <a:gd name="connsiteY23" fmla="*/ 71306 h 1051028"/>
                <a:gd name="connsiteX24" fmla="*/ 0 w 379658"/>
                <a:gd name="connsiteY24" fmla="*/ 979950 h 1051028"/>
                <a:gd name="connsiteX25" fmla="*/ 310 w 379658"/>
                <a:gd name="connsiteY25" fmla="*/ 985771 h 1051028"/>
                <a:gd name="connsiteX26" fmla="*/ 372 w 379658"/>
                <a:gd name="connsiteY26" fmla="*/ 987237 h 1051028"/>
                <a:gd name="connsiteX27" fmla="*/ 599 w 379658"/>
                <a:gd name="connsiteY27" fmla="*/ 988662 h 1051028"/>
                <a:gd name="connsiteX28" fmla="*/ 1054 w 379658"/>
                <a:gd name="connsiteY28" fmla="*/ 991531 h 1051028"/>
                <a:gd name="connsiteX29" fmla="*/ 1467 w 379658"/>
                <a:gd name="connsiteY29" fmla="*/ 994401 h 1051028"/>
                <a:gd name="connsiteX30" fmla="*/ 2211 w 379658"/>
                <a:gd name="connsiteY30" fmla="*/ 997208 h 1051028"/>
                <a:gd name="connsiteX31" fmla="*/ 26885 w 379658"/>
                <a:gd name="connsiteY31" fmla="*/ 1035545 h 1051028"/>
                <a:gd name="connsiteX32" fmla="*/ 47075 w 379658"/>
                <a:gd name="connsiteY32" fmla="*/ 1046755 h 1051028"/>
                <a:gd name="connsiteX33" fmla="*/ 49782 w 379658"/>
                <a:gd name="connsiteY33" fmla="*/ 1047767 h 1051028"/>
                <a:gd name="connsiteX34" fmla="*/ 52593 w 379658"/>
                <a:gd name="connsiteY34" fmla="*/ 1048489 h 1051028"/>
                <a:gd name="connsiteX35" fmla="*/ 55403 w 379658"/>
                <a:gd name="connsiteY35" fmla="*/ 1049212 h 1051028"/>
                <a:gd name="connsiteX36" fmla="*/ 56808 w 379658"/>
                <a:gd name="connsiteY36" fmla="*/ 1049583 h 1051028"/>
                <a:gd name="connsiteX37" fmla="*/ 58255 w 379658"/>
                <a:gd name="connsiteY37" fmla="*/ 1049790 h 1051028"/>
                <a:gd name="connsiteX38" fmla="*/ 64000 w 379658"/>
                <a:gd name="connsiteY38" fmla="*/ 1050657 h 1051028"/>
                <a:gd name="connsiteX39" fmla="*/ 69827 w 379658"/>
                <a:gd name="connsiteY39" fmla="*/ 1050946 h 1051028"/>
                <a:gd name="connsiteX40" fmla="*/ 308529 w 379658"/>
                <a:gd name="connsiteY40" fmla="*/ 1051028 h 1051028"/>
                <a:gd name="connsiteX41" fmla="*/ 351719 w 379658"/>
                <a:gd name="connsiteY41" fmla="*/ 1036309 h 1051028"/>
                <a:gd name="connsiteX42" fmla="*/ 367632 w 379658"/>
                <a:gd name="connsiteY42" fmla="*/ 1019484 h 1051028"/>
                <a:gd name="connsiteX43" fmla="*/ 377117 w 379658"/>
                <a:gd name="connsiteY43" fmla="*/ 998447 h 1051028"/>
                <a:gd name="connsiteX44" fmla="*/ 377840 w 379658"/>
                <a:gd name="connsiteY44" fmla="*/ 995639 h 1051028"/>
                <a:gd name="connsiteX45" fmla="*/ 378212 w 379658"/>
                <a:gd name="connsiteY45" fmla="*/ 994236 h 1051028"/>
                <a:gd name="connsiteX46" fmla="*/ 378419 w 379658"/>
                <a:gd name="connsiteY46" fmla="*/ 992790 h 1051028"/>
                <a:gd name="connsiteX47" fmla="*/ 379287 w 379658"/>
                <a:gd name="connsiteY47" fmla="*/ 987051 h 1051028"/>
                <a:gd name="connsiteX48" fmla="*/ 379576 w 379658"/>
                <a:gd name="connsiteY48" fmla="*/ 981230 h 1051028"/>
                <a:gd name="connsiteX49" fmla="*/ 379659 w 379658"/>
                <a:gd name="connsiteY49" fmla="*/ 979723 h 1051028"/>
                <a:gd name="connsiteX50" fmla="*/ 379659 w 379658"/>
                <a:gd name="connsiteY50" fmla="*/ 71058 h 1051028"/>
                <a:gd name="connsiteX51" fmla="*/ 379349 w 379658"/>
                <a:gd name="connsiteY51" fmla="*/ 65236 h 1051028"/>
                <a:gd name="connsiteX52" fmla="*/ 379287 w 379658"/>
                <a:gd name="connsiteY52" fmla="*/ 63771 h 1051028"/>
                <a:gd name="connsiteX53" fmla="*/ 337626 w 379658"/>
                <a:gd name="connsiteY53" fmla="*/ 406902 h 1051028"/>
                <a:gd name="connsiteX54" fmla="*/ 337626 w 379658"/>
                <a:gd name="connsiteY54" fmla="*/ 979702 h 1051028"/>
                <a:gd name="connsiteX55" fmla="*/ 337585 w 379658"/>
                <a:gd name="connsiteY55" fmla="*/ 980177 h 1051028"/>
                <a:gd name="connsiteX56" fmla="*/ 337543 w 379658"/>
                <a:gd name="connsiteY56" fmla="*/ 980486 h 1051028"/>
                <a:gd name="connsiteX57" fmla="*/ 337461 w 379658"/>
                <a:gd name="connsiteY57" fmla="*/ 982922 h 1051028"/>
                <a:gd name="connsiteX58" fmla="*/ 337068 w 379658"/>
                <a:gd name="connsiteY58" fmla="*/ 985255 h 1051028"/>
                <a:gd name="connsiteX59" fmla="*/ 337027 w 379658"/>
                <a:gd name="connsiteY59" fmla="*/ 985854 h 1051028"/>
                <a:gd name="connsiteX60" fmla="*/ 336841 w 379658"/>
                <a:gd name="connsiteY60" fmla="*/ 986411 h 1051028"/>
                <a:gd name="connsiteX61" fmla="*/ 336531 w 379658"/>
                <a:gd name="connsiteY61" fmla="*/ 987526 h 1051028"/>
                <a:gd name="connsiteX62" fmla="*/ 332728 w 379658"/>
                <a:gd name="connsiteY62" fmla="*/ 996073 h 1051028"/>
                <a:gd name="connsiteX63" fmla="*/ 326136 w 379658"/>
                <a:gd name="connsiteY63" fmla="*/ 1002968 h 1051028"/>
                <a:gd name="connsiteX64" fmla="*/ 317870 w 379658"/>
                <a:gd name="connsiteY64" fmla="*/ 1007407 h 1051028"/>
                <a:gd name="connsiteX65" fmla="*/ 308550 w 379658"/>
                <a:gd name="connsiteY65" fmla="*/ 1008996 h 1051028"/>
                <a:gd name="connsiteX66" fmla="*/ 70592 w 379658"/>
                <a:gd name="connsiteY66" fmla="*/ 1008914 h 1051028"/>
                <a:gd name="connsiteX67" fmla="*/ 68153 w 379658"/>
                <a:gd name="connsiteY67" fmla="*/ 1008831 h 1051028"/>
                <a:gd name="connsiteX68" fmla="*/ 65818 w 379658"/>
                <a:gd name="connsiteY68" fmla="*/ 1008439 h 1051028"/>
                <a:gd name="connsiteX69" fmla="*/ 65219 w 379658"/>
                <a:gd name="connsiteY69" fmla="*/ 1008398 h 1051028"/>
                <a:gd name="connsiteX70" fmla="*/ 64661 w 379658"/>
                <a:gd name="connsiteY70" fmla="*/ 1008212 h 1051028"/>
                <a:gd name="connsiteX71" fmla="*/ 63545 w 379658"/>
                <a:gd name="connsiteY71" fmla="*/ 1007902 h 1051028"/>
                <a:gd name="connsiteX72" fmla="*/ 62388 w 379658"/>
                <a:gd name="connsiteY72" fmla="*/ 1007675 h 1051028"/>
                <a:gd name="connsiteX73" fmla="*/ 61313 w 379658"/>
                <a:gd name="connsiteY73" fmla="*/ 1007200 h 1051028"/>
                <a:gd name="connsiteX74" fmla="*/ 53089 w 379658"/>
                <a:gd name="connsiteY74" fmla="*/ 1002658 h 1051028"/>
                <a:gd name="connsiteX75" fmla="*/ 43004 w 379658"/>
                <a:gd name="connsiteY75" fmla="*/ 987010 h 1051028"/>
                <a:gd name="connsiteX76" fmla="*/ 42653 w 379658"/>
                <a:gd name="connsiteY76" fmla="*/ 985895 h 1051028"/>
                <a:gd name="connsiteX77" fmla="*/ 42549 w 379658"/>
                <a:gd name="connsiteY77" fmla="*/ 984719 h 1051028"/>
                <a:gd name="connsiteX78" fmla="*/ 42343 w 379658"/>
                <a:gd name="connsiteY78" fmla="*/ 983562 h 1051028"/>
                <a:gd name="connsiteX79" fmla="*/ 42198 w 379658"/>
                <a:gd name="connsiteY79" fmla="*/ 982984 h 1051028"/>
                <a:gd name="connsiteX80" fmla="*/ 42198 w 379658"/>
                <a:gd name="connsiteY80" fmla="*/ 982365 h 1051028"/>
                <a:gd name="connsiteX81" fmla="*/ 42053 w 379658"/>
                <a:gd name="connsiteY81" fmla="*/ 979929 h 1051028"/>
                <a:gd name="connsiteX82" fmla="*/ 42053 w 379658"/>
                <a:gd name="connsiteY82" fmla="*/ 71285 h 1051028"/>
                <a:gd name="connsiteX83" fmla="*/ 42095 w 379658"/>
                <a:gd name="connsiteY83" fmla="*/ 70810 h 1051028"/>
                <a:gd name="connsiteX84" fmla="*/ 42136 w 379658"/>
                <a:gd name="connsiteY84" fmla="*/ 70501 h 1051028"/>
                <a:gd name="connsiteX85" fmla="*/ 42219 w 379658"/>
                <a:gd name="connsiteY85" fmla="*/ 68065 h 1051028"/>
                <a:gd name="connsiteX86" fmla="*/ 42611 w 379658"/>
                <a:gd name="connsiteY86" fmla="*/ 65732 h 1051028"/>
                <a:gd name="connsiteX87" fmla="*/ 42653 w 379658"/>
                <a:gd name="connsiteY87" fmla="*/ 65133 h 1051028"/>
                <a:gd name="connsiteX88" fmla="*/ 42839 w 379658"/>
                <a:gd name="connsiteY88" fmla="*/ 64576 h 1051028"/>
                <a:gd name="connsiteX89" fmla="*/ 43149 w 379658"/>
                <a:gd name="connsiteY89" fmla="*/ 63461 h 1051028"/>
                <a:gd name="connsiteX90" fmla="*/ 46951 w 379658"/>
                <a:gd name="connsiteY90" fmla="*/ 54914 h 1051028"/>
                <a:gd name="connsiteX91" fmla="*/ 53543 w 379658"/>
                <a:gd name="connsiteY91" fmla="*/ 48019 h 1051028"/>
                <a:gd name="connsiteX92" fmla="*/ 61809 w 379658"/>
                <a:gd name="connsiteY92" fmla="*/ 43580 h 1051028"/>
                <a:gd name="connsiteX93" fmla="*/ 71129 w 379658"/>
                <a:gd name="connsiteY93" fmla="*/ 41991 h 1051028"/>
                <a:gd name="connsiteX94" fmla="*/ 309087 w 379658"/>
                <a:gd name="connsiteY94" fmla="*/ 42073 h 1051028"/>
                <a:gd name="connsiteX95" fmla="*/ 311526 w 379658"/>
                <a:gd name="connsiteY95" fmla="*/ 42156 h 1051028"/>
                <a:gd name="connsiteX96" fmla="*/ 313861 w 379658"/>
                <a:gd name="connsiteY96" fmla="*/ 42548 h 1051028"/>
                <a:gd name="connsiteX97" fmla="*/ 314460 w 379658"/>
                <a:gd name="connsiteY97" fmla="*/ 42589 h 1051028"/>
                <a:gd name="connsiteX98" fmla="*/ 315018 w 379658"/>
                <a:gd name="connsiteY98" fmla="*/ 42775 h 1051028"/>
                <a:gd name="connsiteX99" fmla="*/ 316134 w 379658"/>
                <a:gd name="connsiteY99" fmla="*/ 43085 h 1051028"/>
                <a:gd name="connsiteX100" fmla="*/ 317291 w 379658"/>
                <a:gd name="connsiteY100" fmla="*/ 43312 h 1051028"/>
                <a:gd name="connsiteX101" fmla="*/ 318366 w 379658"/>
                <a:gd name="connsiteY101" fmla="*/ 43787 h 1051028"/>
                <a:gd name="connsiteX102" fmla="*/ 326591 w 379658"/>
                <a:gd name="connsiteY102" fmla="*/ 48329 h 1051028"/>
                <a:gd name="connsiteX103" fmla="*/ 336675 w 379658"/>
                <a:gd name="connsiteY103" fmla="*/ 63977 h 1051028"/>
                <a:gd name="connsiteX104" fmla="*/ 337027 w 379658"/>
                <a:gd name="connsiteY104" fmla="*/ 65092 h 1051028"/>
                <a:gd name="connsiteX105" fmla="*/ 337130 w 379658"/>
                <a:gd name="connsiteY105" fmla="*/ 66269 h 1051028"/>
                <a:gd name="connsiteX106" fmla="*/ 337337 w 379658"/>
                <a:gd name="connsiteY106" fmla="*/ 67425 h 1051028"/>
                <a:gd name="connsiteX107" fmla="*/ 337481 w 379658"/>
                <a:gd name="connsiteY107" fmla="*/ 68003 h 1051028"/>
                <a:gd name="connsiteX108" fmla="*/ 337481 w 379658"/>
                <a:gd name="connsiteY108" fmla="*/ 68622 h 1051028"/>
                <a:gd name="connsiteX109" fmla="*/ 337626 w 379658"/>
                <a:gd name="connsiteY109" fmla="*/ 71058 h 1051028"/>
                <a:gd name="connsiteX110" fmla="*/ 337626 w 379658"/>
                <a:gd name="connsiteY110" fmla="*/ 406902 h 105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379658" h="1051028">
                  <a:moveTo>
                    <a:pt x="379287" y="63791"/>
                  </a:moveTo>
                  <a:lnTo>
                    <a:pt x="379059" y="62367"/>
                  </a:lnTo>
                  <a:lnTo>
                    <a:pt x="378605" y="59497"/>
                  </a:lnTo>
                  <a:lnTo>
                    <a:pt x="378191" y="56628"/>
                  </a:lnTo>
                  <a:lnTo>
                    <a:pt x="377447" y="53820"/>
                  </a:lnTo>
                  <a:cubicBezTo>
                    <a:pt x="373934" y="38750"/>
                    <a:pt x="364800" y="25207"/>
                    <a:pt x="352773" y="15483"/>
                  </a:cubicBezTo>
                  <a:cubicBezTo>
                    <a:pt x="346780" y="10549"/>
                    <a:pt x="339816" y="6875"/>
                    <a:pt x="332584" y="4273"/>
                  </a:cubicBezTo>
                  <a:lnTo>
                    <a:pt x="329876" y="3262"/>
                  </a:lnTo>
                  <a:cubicBezTo>
                    <a:pt x="328947" y="2993"/>
                    <a:pt x="327996" y="2787"/>
                    <a:pt x="327066" y="2539"/>
                  </a:cubicBezTo>
                  <a:lnTo>
                    <a:pt x="324256" y="1817"/>
                  </a:lnTo>
                  <a:lnTo>
                    <a:pt x="322850" y="1445"/>
                  </a:lnTo>
                  <a:lnTo>
                    <a:pt x="321404" y="1239"/>
                  </a:lnTo>
                  <a:lnTo>
                    <a:pt x="315659" y="372"/>
                  </a:lnTo>
                  <a:lnTo>
                    <a:pt x="309831" y="83"/>
                  </a:lnTo>
                  <a:lnTo>
                    <a:pt x="71129" y="0"/>
                  </a:lnTo>
                  <a:cubicBezTo>
                    <a:pt x="55610" y="248"/>
                    <a:pt x="40152" y="5037"/>
                    <a:pt x="27939" y="14719"/>
                  </a:cubicBezTo>
                  <a:cubicBezTo>
                    <a:pt x="21802" y="19447"/>
                    <a:pt x="16408" y="25145"/>
                    <a:pt x="12027" y="31545"/>
                  </a:cubicBezTo>
                  <a:cubicBezTo>
                    <a:pt x="7729" y="38006"/>
                    <a:pt x="4567" y="45149"/>
                    <a:pt x="2542" y="52581"/>
                  </a:cubicBezTo>
                  <a:lnTo>
                    <a:pt x="1819" y="55389"/>
                  </a:lnTo>
                  <a:cubicBezTo>
                    <a:pt x="1695" y="55864"/>
                    <a:pt x="1550" y="56318"/>
                    <a:pt x="1447" y="56793"/>
                  </a:cubicBezTo>
                  <a:lnTo>
                    <a:pt x="1240" y="58238"/>
                  </a:lnTo>
                  <a:lnTo>
                    <a:pt x="372" y="63977"/>
                  </a:lnTo>
                  <a:lnTo>
                    <a:pt x="83" y="69799"/>
                  </a:lnTo>
                  <a:cubicBezTo>
                    <a:pt x="62" y="70315"/>
                    <a:pt x="21" y="70707"/>
                    <a:pt x="0" y="71306"/>
                  </a:cubicBezTo>
                  <a:lnTo>
                    <a:pt x="0" y="979950"/>
                  </a:lnTo>
                  <a:lnTo>
                    <a:pt x="310" y="985771"/>
                  </a:lnTo>
                  <a:lnTo>
                    <a:pt x="372" y="987237"/>
                  </a:lnTo>
                  <a:lnTo>
                    <a:pt x="599" y="988662"/>
                  </a:lnTo>
                  <a:lnTo>
                    <a:pt x="1054" y="991531"/>
                  </a:lnTo>
                  <a:lnTo>
                    <a:pt x="1467" y="994401"/>
                  </a:lnTo>
                  <a:lnTo>
                    <a:pt x="2211" y="997208"/>
                  </a:lnTo>
                  <a:cubicBezTo>
                    <a:pt x="5724" y="1012279"/>
                    <a:pt x="14858" y="1025822"/>
                    <a:pt x="26885" y="1035545"/>
                  </a:cubicBezTo>
                  <a:cubicBezTo>
                    <a:pt x="32878" y="1040479"/>
                    <a:pt x="39842" y="1044154"/>
                    <a:pt x="47075" y="1046755"/>
                  </a:cubicBezTo>
                  <a:lnTo>
                    <a:pt x="49782" y="1047767"/>
                  </a:lnTo>
                  <a:cubicBezTo>
                    <a:pt x="50712" y="1048035"/>
                    <a:pt x="51663" y="1048241"/>
                    <a:pt x="52593" y="1048489"/>
                  </a:cubicBezTo>
                  <a:lnTo>
                    <a:pt x="55403" y="1049212"/>
                  </a:lnTo>
                  <a:lnTo>
                    <a:pt x="56808" y="1049583"/>
                  </a:lnTo>
                  <a:lnTo>
                    <a:pt x="58255" y="1049790"/>
                  </a:lnTo>
                  <a:lnTo>
                    <a:pt x="64000" y="1050657"/>
                  </a:lnTo>
                  <a:lnTo>
                    <a:pt x="69827" y="1050946"/>
                  </a:lnTo>
                  <a:lnTo>
                    <a:pt x="308529" y="1051028"/>
                  </a:lnTo>
                  <a:cubicBezTo>
                    <a:pt x="324049" y="1050781"/>
                    <a:pt x="339506" y="1045991"/>
                    <a:pt x="351719" y="1036309"/>
                  </a:cubicBezTo>
                  <a:cubicBezTo>
                    <a:pt x="357857" y="1031581"/>
                    <a:pt x="363251" y="1025883"/>
                    <a:pt x="367632" y="1019484"/>
                  </a:cubicBezTo>
                  <a:cubicBezTo>
                    <a:pt x="371930" y="1013022"/>
                    <a:pt x="375092" y="1005879"/>
                    <a:pt x="377117" y="998447"/>
                  </a:cubicBezTo>
                  <a:lnTo>
                    <a:pt x="377840" y="995639"/>
                  </a:lnTo>
                  <a:cubicBezTo>
                    <a:pt x="377964" y="995165"/>
                    <a:pt x="378109" y="994710"/>
                    <a:pt x="378212" y="994236"/>
                  </a:cubicBezTo>
                  <a:lnTo>
                    <a:pt x="378419" y="992790"/>
                  </a:lnTo>
                  <a:lnTo>
                    <a:pt x="379287" y="987051"/>
                  </a:lnTo>
                  <a:lnTo>
                    <a:pt x="379576" y="981230"/>
                  </a:lnTo>
                  <a:cubicBezTo>
                    <a:pt x="379597" y="980714"/>
                    <a:pt x="379638" y="980321"/>
                    <a:pt x="379659" y="979723"/>
                  </a:cubicBezTo>
                  <a:lnTo>
                    <a:pt x="379659" y="71058"/>
                  </a:lnTo>
                  <a:lnTo>
                    <a:pt x="379349" y="65236"/>
                  </a:lnTo>
                  <a:lnTo>
                    <a:pt x="379287" y="63771"/>
                  </a:lnTo>
                  <a:close/>
                  <a:moveTo>
                    <a:pt x="337626" y="406902"/>
                  </a:moveTo>
                  <a:lnTo>
                    <a:pt x="337626" y="979702"/>
                  </a:lnTo>
                  <a:cubicBezTo>
                    <a:pt x="337626" y="980115"/>
                    <a:pt x="337605" y="980012"/>
                    <a:pt x="337585" y="980177"/>
                  </a:cubicBezTo>
                  <a:lnTo>
                    <a:pt x="337543" y="980486"/>
                  </a:lnTo>
                  <a:cubicBezTo>
                    <a:pt x="337440" y="981292"/>
                    <a:pt x="337419" y="982097"/>
                    <a:pt x="337461" y="982922"/>
                  </a:cubicBezTo>
                  <a:cubicBezTo>
                    <a:pt x="337295" y="983707"/>
                    <a:pt x="337130" y="984471"/>
                    <a:pt x="337068" y="985255"/>
                  </a:cubicBezTo>
                  <a:lnTo>
                    <a:pt x="337027" y="985854"/>
                  </a:lnTo>
                  <a:cubicBezTo>
                    <a:pt x="336985" y="986040"/>
                    <a:pt x="336903" y="986226"/>
                    <a:pt x="336841" y="986411"/>
                  </a:cubicBezTo>
                  <a:cubicBezTo>
                    <a:pt x="336717" y="986783"/>
                    <a:pt x="336613" y="987155"/>
                    <a:pt x="336531" y="987526"/>
                  </a:cubicBezTo>
                  <a:cubicBezTo>
                    <a:pt x="335704" y="990520"/>
                    <a:pt x="334485" y="993410"/>
                    <a:pt x="332728" y="996073"/>
                  </a:cubicBezTo>
                  <a:cubicBezTo>
                    <a:pt x="330889" y="998674"/>
                    <a:pt x="328657" y="1001028"/>
                    <a:pt x="326136" y="1002968"/>
                  </a:cubicBezTo>
                  <a:cubicBezTo>
                    <a:pt x="323636" y="1004929"/>
                    <a:pt x="320846" y="1006540"/>
                    <a:pt x="317870" y="1007407"/>
                  </a:cubicBezTo>
                  <a:cubicBezTo>
                    <a:pt x="314915" y="1008356"/>
                    <a:pt x="311836" y="1008872"/>
                    <a:pt x="308550" y="1008996"/>
                  </a:cubicBezTo>
                  <a:lnTo>
                    <a:pt x="70592" y="1008914"/>
                  </a:lnTo>
                  <a:cubicBezTo>
                    <a:pt x="69786" y="1008811"/>
                    <a:pt x="68980" y="1008790"/>
                    <a:pt x="68153" y="1008831"/>
                  </a:cubicBezTo>
                  <a:cubicBezTo>
                    <a:pt x="67368" y="1008666"/>
                    <a:pt x="66604" y="1008501"/>
                    <a:pt x="65818" y="1008439"/>
                  </a:cubicBezTo>
                  <a:lnTo>
                    <a:pt x="65219" y="1008398"/>
                  </a:lnTo>
                  <a:lnTo>
                    <a:pt x="64661" y="1008212"/>
                  </a:lnTo>
                  <a:cubicBezTo>
                    <a:pt x="64289" y="1008088"/>
                    <a:pt x="63917" y="1007985"/>
                    <a:pt x="63545" y="1007902"/>
                  </a:cubicBezTo>
                  <a:lnTo>
                    <a:pt x="62388" y="1007675"/>
                  </a:lnTo>
                  <a:cubicBezTo>
                    <a:pt x="62037" y="1007510"/>
                    <a:pt x="61685" y="1007345"/>
                    <a:pt x="61313" y="1007200"/>
                  </a:cubicBezTo>
                  <a:cubicBezTo>
                    <a:pt x="58399" y="1006147"/>
                    <a:pt x="55506" y="1004764"/>
                    <a:pt x="53089" y="1002658"/>
                  </a:cubicBezTo>
                  <a:cubicBezTo>
                    <a:pt x="48191" y="998592"/>
                    <a:pt x="44306" y="993100"/>
                    <a:pt x="43004" y="987010"/>
                  </a:cubicBezTo>
                  <a:cubicBezTo>
                    <a:pt x="42901" y="986638"/>
                    <a:pt x="42777" y="986267"/>
                    <a:pt x="42653" y="985895"/>
                  </a:cubicBezTo>
                  <a:cubicBezTo>
                    <a:pt x="42611" y="985503"/>
                    <a:pt x="42591" y="985111"/>
                    <a:pt x="42549" y="984719"/>
                  </a:cubicBezTo>
                  <a:cubicBezTo>
                    <a:pt x="42508" y="984326"/>
                    <a:pt x="42425" y="983934"/>
                    <a:pt x="42343" y="983562"/>
                  </a:cubicBezTo>
                  <a:lnTo>
                    <a:pt x="42198" y="982984"/>
                  </a:lnTo>
                  <a:lnTo>
                    <a:pt x="42198" y="982365"/>
                  </a:lnTo>
                  <a:cubicBezTo>
                    <a:pt x="42219" y="981539"/>
                    <a:pt x="42177" y="980775"/>
                    <a:pt x="42053" y="979929"/>
                  </a:cubicBezTo>
                  <a:lnTo>
                    <a:pt x="42053" y="71285"/>
                  </a:lnTo>
                  <a:cubicBezTo>
                    <a:pt x="42053" y="70872"/>
                    <a:pt x="42074" y="70976"/>
                    <a:pt x="42095" y="70810"/>
                  </a:cubicBezTo>
                  <a:lnTo>
                    <a:pt x="42136" y="70501"/>
                  </a:lnTo>
                  <a:cubicBezTo>
                    <a:pt x="42239" y="69696"/>
                    <a:pt x="42260" y="68890"/>
                    <a:pt x="42219" y="68065"/>
                  </a:cubicBezTo>
                  <a:cubicBezTo>
                    <a:pt x="42384" y="67280"/>
                    <a:pt x="42549" y="66516"/>
                    <a:pt x="42611" y="65732"/>
                  </a:cubicBezTo>
                  <a:lnTo>
                    <a:pt x="42653" y="65133"/>
                  </a:lnTo>
                  <a:cubicBezTo>
                    <a:pt x="42694" y="64947"/>
                    <a:pt x="42777" y="64762"/>
                    <a:pt x="42839" y="64576"/>
                  </a:cubicBezTo>
                  <a:cubicBezTo>
                    <a:pt x="42963" y="64204"/>
                    <a:pt x="43066" y="63833"/>
                    <a:pt x="43149" y="63461"/>
                  </a:cubicBezTo>
                  <a:cubicBezTo>
                    <a:pt x="43975" y="60468"/>
                    <a:pt x="45194" y="57577"/>
                    <a:pt x="46951" y="54914"/>
                  </a:cubicBezTo>
                  <a:cubicBezTo>
                    <a:pt x="48790" y="52313"/>
                    <a:pt x="51022" y="49960"/>
                    <a:pt x="53543" y="48019"/>
                  </a:cubicBezTo>
                  <a:cubicBezTo>
                    <a:pt x="56044" y="46058"/>
                    <a:pt x="58833" y="44447"/>
                    <a:pt x="61809" y="43580"/>
                  </a:cubicBezTo>
                  <a:cubicBezTo>
                    <a:pt x="64764" y="42631"/>
                    <a:pt x="67843" y="42115"/>
                    <a:pt x="71129" y="41991"/>
                  </a:cubicBezTo>
                  <a:lnTo>
                    <a:pt x="309087" y="42073"/>
                  </a:lnTo>
                  <a:cubicBezTo>
                    <a:pt x="309893" y="42177"/>
                    <a:pt x="310699" y="42197"/>
                    <a:pt x="311526" y="42156"/>
                  </a:cubicBezTo>
                  <a:cubicBezTo>
                    <a:pt x="312311" y="42321"/>
                    <a:pt x="313076" y="42486"/>
                    <a:pt x="313861" y="42548"/>
                  </a:cubicBezTo>
                  <a:lnTo>
                    <a:pt x="314460" y="42589"/>
                  </a:lnTo>
                  <a:lnTo>
                    <a:pt x="315018" y="42775"/>
                  </a:lnTo>
                  <a:cubicBezTo>
                    <a:pt x="315390" y="42899"/>
                    <a:pt x="315762" y="43002"/>
                    <a:pt x="316134" y="43085"/>
                  </a:cubicBezTo>
                  <a:lnTo>
                    <a:pt x="317291" y="43312"/>
                  </a:lnTo>
                  <a:cubicBezTo>
                    <a:pt x="317643" y="43477"/>
                    <a:pt x="317994" y="43642"/>
                    <a:pt x="318366" y="43787"/>
                  </a:cubicBezTo>
                  <a:cubicBezTo>
                    <a:pt x="321280" y="44840"/>
                    <a:pt x="324173" y="46223"/>
                    <a:pt x="326591" y="48329"/>
                  </a:cubicBezTo>
                  <a:cubicBezTo>
                    <a:pt x="331488" y="52396"/>
                    <a:pt x="335373" y="57887"/>
                    <a:pt x="336675" y="63977"/>
                  </a:cubicBezTo>
                  <a:cubicBezTo>
                    <a:pt x="336779" y="64349"/>
                    <a:pt x="336903" y="64720"/>
                    <a:pt x="337027" y="65092"/>
                  </a:cubicBezTo>
                  <a:cubicBezTo>
                    <a:pt x="337068" y="65484"/>
                    <a:pt x="337089" y="65876"/>
                    <a:pt x="337130" y="66269"/>
                  </a:cubicBezTo>
                  <a:cubicBezTo>
                    <a:pt x="337171" y="66661"/>
                    <a:pt x="337254" y="67053"/>
                    <a:pt x="337337" y="67425"/>
                  </a:cubicBezTo>
                  <a:lnTo>
                    <a:pt x="337481" y="68003"/>
                  </a:lnTo>
                  <a:lnTo>
                    <a:pt x="337481" y="68622"/>
                  </a:lnTo>
                  <a:cubicBezTo>
                    <a:pt x="337461" y="69448"/>
                    <a:pt x="337502" y="70212"/>
                    <a:pt x="337626" y="71058"/>
                  </a:cubicBezTo>
                  <a:lnTo>
                    <a:pt x="337626" y="406902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40" name="Freeform 88">
              <a:extLst>
                <a:ext uri="{FF2B5EF4-FFF2-40B4-BE49-F238E27FC236}">
                  <a16:creationId xmlns:a16="http://schemas.microsoft.com/office/drawing/2014/main" id="{1CE0BAA0-8049-7A65-8CB1-921603CC7C64}"/>
                </a:ext>
              </a:extLst>
            </p:cNvPr>
            <p:cNvSpPr/>
            <p:nvPr/>
          </p:nvSpPr>
          <p:spPr>
            <a:xfrm>
              <a:off x="2371158" y="2738576"/>
              <a:ext cx="1893230" cy="2066630"/>
            </a:xfrm>
            <a:custGeom>
              <a:avLst/>
              <a:gdLst>
                <a:gd name="connsiteX0" fmla="*/ 1892651 w 1893230"/>
                <a:gd name="connsiteY0" fmla="*/ 187204 h 2066630"/>
                <a:gd name="connsiteX1" fmla="*/ 1892445 w 1893230"/>
                <a:gd name="connsiteY1" fmla="*/ 184086 h 2066630"/>
                <a:gd name="connsiteX2" fmla="*/ 1892011 w 1893230"/>
                <a:gd name="connsiteY2" fmla="*/ 180969 h 2066630"/>
                <a:gd name="connsiteX3" fmla="*/ 1891102 w 1893230"/>
                <a:gd name="connsiteY3" fmla="*/ 174755 h 2066630"/>
                <a:gd name="connsiteX4" fmla="*/ 1890068 w 1893230"/>
                <a:gd name="connsiteY4" fmla="*/ 168562 h 2066630"/>
                <a:gd name="connsiteX5" fmla="*/ 1888560 w 1893230"/>
                <a:gd name="connsiteY5" fmla="*/ 162451 h 2066630"/>
                <a:gd name="connsiteX6" fmla="*/ 1868680 w 1893230"/>
                <a:gd name="connsiteY6" fmla="*/ 116476 h 2066630"/>
                <a:gd name="connsiteX7" fmla="*/ 1835182 w 1893230"/>
                <a:gd name="connsiteY7" fmla="*/ 79481 h 2066630"/>
                <a:gd name="connsiteX8" fmla="*/ 1742210 w 1893230"/>
                <a:gd name="connsiteY8" fmla="*/ 46120 h 2066630"/>
                <a:gd name="connsiteX9" fmla="*/ 1502040 w 1893230"/>
                <a:gd name="connsiteY9" fmla="*/ 46016 h 2066630"/>
                <a:gd name="connsiteX10" fmla="*/ 1452692 w 1893230"/>
                <a:gd name="connsiteY10" fmla="*/ 54212 h 2066630"/>
                <a:gd name="connsiteX11" fmla="*/ 1408531 w 1893230"/>
                <a:gd name="connsiteY11" fmla="*/ 77809 h 2066630"/>
                <a:gd name="connsiteX12" fmla="*/ 1374310 w 1893230"/>
                <a:gd name="connsiteY12" fmla="*/ 114143 h 2066630"/>
                <a:gd name="connsiteX13" fmla="*/ 1353644 w 1893230"/>
                <a:gd name="connsiteY13" fmla="*/ 159767 h 2066630"/>
                <a:gd name="connsiteX14" fmla="*/ 1352095 w 1893230"/>
                <a:gd name="connsiteY14" fmla="*/ 165857 h 2066630"/>
                <a:gd name="connsiteX15" fmla="*/ 1351371 w 1893230"/>
                <a:gd name="connsiteY15" fmla="*/ 168933 h 2066630"/>
                <a:gd name="connsiteX16" fmla="*/ 1350855 w 1893230"/>
                <a:gd name="connsiteY16" fmla="*/ 172030 h 2066630"/>
                <a:gd name="connsiteX17" fmla="*/ 1349036 w 1893230"/>
                <a:gd name="connsiteY17" fmla="*/ 184458 h 2066630"/>
                <a:gd name="connsiteX18" fmla="*/ 1348375 w 1893230"/>
                <a:gd name="connsiteY18" fmla="*/ 196927 h 2066630"/>
                <a:gd name="connsiteX19" fmla="*/ 1348272 w 1893230"/>
                <a:gd name="connsiteY19" fmla="*/ 199879 h 2066630"/>
                <a:gd name="connsiteX20" fmla="*/ 1348272 w 1893230"/>
                <a:gd name="connsiteY20" fmla="*/ 487890 h 2066630"/>
                <a:gd name="connsiteX21" fmla="*/ 1219673 w 1893230"/>
                <a:gd name="connsiteY21" fmla="*/ 648008 h 2066630"/>
                <a:gd name="connsiteX22" fmla="*/ 1219673 w 1893230"/>
                <a:gd name="connsiteY22" fmla="*/ 407211 h 2066630"/>
                <a:gd name="connsiteX23" fmla="*/ 1219094 w 1893230"/>
                <a:gd name="connsiteY23" fmla="*/ 394742 h 2066630"/>
                <a:gd name="connsiteX24" fmla="*/ 1218888 w 1893230"/>
                <a:gd name="connsiteY24" fmla="*/ 391625 h 2066630"/>
                <a:gd name="connsiteX25" fmla="*/ 1218454 w 1893230"/>
                <a:gd name="connsiteY25" fmla="*/ 388528 h 2066630"/>
                <a:gd name="connsiteX26" fmla="*/ 1217544 w 1893230"/>
                <a:gd name="connsiteY26" fmla="*/ 382314 h 2066630"/>
                <a:gd name="connsiteX27" fmla="*/ 1216490 w 1893230"/>
                <a:gd name="connsiteY27" fmla="*/ 376121 h 2066630"/>
                <a:gd name="connsiteX28" fmla="*/ 1215003 w 1893230"/>
                <a:gd name="connsiteY28" fmla="*/ 369989 h 2066630"/>
                <a:gd name="connsiteX29" fmla="*/ 1195123 w 1893230"/>
                <a:gd name="connsiteY29" fmla="*/ 324035 h 2066630"/>
                <a:gd name="connsiteX30" fmla="*/ 1161604 w 1893230"/>
                <a:gd name="connsiteY30" fmla="*/ 287040 h 2066630"/>
                <a:gd name="connsiteX31" fmla="*/ 1068653 w 1893230"/>
                <a:gd name="connsiteY31" fmla="*/ 253658 h 2066630"/>
                <a:gd name="connsiteX32" fmla="*/ 1061957 w 1893230"/>
                <a:gd name="connsiteY32" fmla="*/ 253658 h 2066630"/>
                <a:gd name="connsiteX33" fmla="*/ 1061957 w 1893230"/>
                <a:gd name="connsiteY33" fmla="*/ 109932 h 2066630"/>
                <a:gd name="connsiteX34" fmla="*/ 951916 w 1893230"/>
                <a:gd name="connsiteY34" fmla="*/ 0 h 2066630"/>
                <a:gd name="connsiteX35" fmla="*/ 948981 w 1893230"/>
                <a:gd name="connsiteY35" fmla="*/ 0 h 2066630"/>
                <a:gd name="connsiteX36" fmla="*/ 838940 w 1893230"/>
                <a:gd name="connsiteY36" fmla="*/ 109932 h 2066630"/>
                <a:gd name="connsiteX37" fmla="*/ 838940 w 1893230"/>
                <a:gd name="connsiteY37" fmla="*/ 253575 h 2066630"/>
                <a:gd name="connsiteX38" fmla="*/ 828483 w 1893230"/>
                <a:gd name="connsiteY38" fmla="*/ 253575 h 2066630"/>
                <a:gd name="connsiteX39" fmla="*/ 779135 w 1893230"/>
                <a:gd name="connsiteY39" fmla="*/ 261771 h 2066630"/>
                <a:gd name="connsiteX40" fmla="*/ 734974 w 1893230"/>
                <a:gd name="connsiteY40" fmla="*/ 285368 h 2066630"/>
                <a:gd name="connsiteX41" fmla="*/ 700752 w 1893230"/>
                <a:gd name="connsiteY41" fmla="*/ 321702 h 2066630"/>
                <a:gd name="connsiteX42" fmla="*/ 680087 w 1893230"/>
                <a:gd name="connsiteY42" fmla="*/ 367306 h 2066630"/>
                <a:gd name="connsiteX43" fmla="*/ 678537 w 1893230"/>
                <a:gd name="connsiteY43" fmla="*/ 373416 h 2066630"/>
                <a:gd name="connsiteX44" fmla="*/ 677814 w 1893230"/>
                <a:gd name="connsiteY44" fmla="*/ 376472 h 2066630"/>
                <a:gd name="connsiteX45" fmla="*/ 677298 w 1893230"/>
                <a:gd name="connsiteY45" fmla="*/ 379568 h 2066630"/>
                <a:gd name="connsiteX46" fmla="*/ 675479 w 1893230"/>
                <a:gd name="connsiteY46" fmla="*/ 391996 h 2066630"/>
                <a:gd name="connsiteX47" fmla="*/ 674818 w 1893230"/>
                <a:gd name="connsiteY47" fmla="*/ 404486 h 2066630"/>
                <a:gd name="connsiteX48" fmla="*/ 674714 w 1893230"/>
                <a:gd name="connsiteY48" fmla="*/ 407438 h 2066630"/>
                <a:gd name="connsiteX49" fmla="*/ 674714 w 1893230"/>
                <a:gd name="connsiteY49" fmla="*/ 644127 h 2066630"/>
                <a:gd name="connsiteX50" fmla="*/ 544938 w 1893230"/>
                <a:gd name="connsiteY50" fmla="*/ 482563 h 2066630"/>
                <a:gd name="connsiteX51" fmla="*/ 544938 w 1893230"/>
                <a:gd name="connsiteY51" fmla="*/ 199652 h 2066630"/>
                <a:gd name="connsiteX52" fmla="*/ 544359 w 1893230"/>
                <a:gd name="connsiteY52" fmla="*/ 187204 h 2066630"/>
                <a:gd name="connsiteX53" fmla="*/ 544153 w 1893230"/>
                <a:gd name="connsiteY53" fmla="*/ 184086 h 2066630"/>
                <a:gd name="connsiteX54" fmla="*/ 543739 w 1893230"/>
                <a:gd name="connsiteY54" fmla="*/ 180969 h 2066630"/>
                <a:gd name="connsiteX55" fmla="*/ 542809 w 1893230"/>
                <a:gd name="connsiteY55" fmla="*/ 174755 h 2066630"/>
                <a:gd name="connsiteX56" fmla="*/ 541776 w 1893230"/>
                <a:gd name="connsiteY56" fmla="*/ 168562 h 2066630"/>
                <a:gd name="connsiteX57" fmla="*/ 540268 w 1893230"/>
                <a:gd name="connsiteY57" fmla="*/ 162451 h 2066630"/>
                <a:gd name="connsiteX58" fmla="*/ 520388 w 1893230"/>
                <a:gd name="connsiteY58" fmla="*/ 116476 h 2066630"/>
                <a:gd name="connsiteX59" fmla="*/ 486890 w 1893230"/>
                <a:gd name="connsiteY59" fmla="*/ 79481 h 2066630"/>
                <a:gd name="connsiteX60" fmla="*/ 393938 w 1893230"/>
                <a:gd name="connsiteY60" fmla="*/ 46120 h 2066630"/>
                <a:gd name="connsiteX61" fmla="*/ 153769 w 1893230"/>
                <a:gd name="connsiteY61" fmla="*/ 46016 h 2066630"/>
                <a:gd name="connsiteX62" fmla="*/ 104400 w 1893230"/>
                <a:gd name="connsiteY62" fmla="*/ 54212 h 2066630"/>
                <a:gd name="connsiteX63" fmla="*/ 60259 w 1893230"/>
                <a:gd name="connsiteY63" fmla="*/ 77809 h 2066630"/>
                <a:gd name="connsiteX64" fmla="*/ 26017 w 1893230"/>
                <a:gd name="connsiteY64" fmla="*/ 114143 h 2066630"/>
                <a:gd name="connsiteX65" fmla="*/ 5352 w 1893230"/>
                <a:gd name="connsiteY65" fmla="*/ 159767 h 2066630"/>
                <a:gd name="connsiteX66" fmla="*/ 3802 w 1893230"/>
                <a:gd name="connsiteY66" fmla="*/ 165857 h 2066630"/>
                <a:gd name="connsiteX67" fmla="*/ 3079 w 1893230"/>
                <a:gd name="connsiteY67" fmla="*/ 168933 h 2066630"/>
                <a:gd name="connsiteX68" fmla="*/ 2562 w 1893230"/>
                <a:gd name="connsiteY68" fmla="*/ 172030 h 2066630"/>
                <a:gd name="connsiteX69" fmla="*/ 765 w 1893230"/>
                <a:gd name="connsiteY69" fmla="*/ 184458 h 2066630"/>
                <a:gd name="connsiteX70" fmla="*/ 83 w 1893230"/>
                <a:gd name="connsiteY70" fmla="*/ 196927 h 2066630"/>
                <a:gd name="connsiteX71" fmla="*/ 0 w 1893230"/>
                <a:gd name="connsiteY71" fmla="*/ 199879 h 2066630"/>
                <a:gd name="connsiteX72" fmla="*/ 0 w 1893230"/>
                <a:gd name="connsiteY72" fmla="*/ 1108523 h 2066630"/>
                <a:gd name="connsiteX73" fmla="*/ 579 w 1893230"/>
                <a:gd name="connsiteY73" fmla="*/ 1120992 h 2066630"/>
                <a:gd name="connsiteX74" fmla="*/ 785 w 1893230"/>
                <a:gd name="connsiteY74" fmla="*/ 1124110 h 2066630"/>
                <a:gd name="connsiteX75" fmla="*/ 1199 w 1893230"/>
                <a:gd name="connsiteY75" fmla="*/ 1127206 h 2066630"/>
                <a:gd name="connsiteX76" fmla="*/ 2129 w 1893230"/>
                <a:gd name="connsiteY76" fmla="*/ 1133420 h 2066630"/>
                <a:gd name="connsiteX77" fmla="*/ 3162 w 1893230"/>
                <a:gd name="connsiteY77" fmla="*/ 1139614 h 2066630"/>
                <a:gd name="connsiteX78" fmla="*/ 4670 w 1893230"/>
                <a:gd name="connsiteY78" fmla="*/ 1145745 h 2066630"/>
                <a:gd name="connsiteX79" fmla="*/ 24550 w 1893230"/>
                <a:gd name="connsiteY79" fmla="*/ 1191700 h 2066630"/>
                <a:gd name="connsiteX80" fmla="*/ 58048 w 1893230"/>
                <a:gd name="connsiteY80" fmla="*/ 1228694 h 2066630"/>
                <a:gd name="connsiteX81" fmla="*/ 151020 w 1893230"/>
                <a:gd name="connsiteY81" fmla="*/ 1262076 h 2066630"/>
                <a:gd name="connsiteX82" fmla="*/ 391169 w 1893230"/>
                <a:gd name="connsiteY82" fmla="*/ 1262159 h 2066630"/>
                <a:gd name="connsiteX83" fmla="*/ 440538 w 1893230"/>
                <a:gd name="connsiteY83" fmla="*/ 1253963 h 2066630"/>
                <a:gd name="connsiteX84" fmla="*/ 484699 w 1893230"/>
                <a:gd name="connsiteY84" fmla="*/ 1230366 h 2066630"/>
                <a:gd name="connsiteX85" fmla="*/ 518920 w 1893230"/>
                <a:gd name="connsiteY85" fmla="*/ 1194053 h 2066630"/>
                <a:gd name="connsiteX86" fmla="*/ 539586 w 1893230"/>
                <a:gd name="connsiteY86" fmla="*/ 1148429 h 2066630"/>
                <a:gd name="connsiteX87" fmla="*/ 541135 w 1893230"/>
                <a:gd name="connsiteY87" fmla="*/ 1142318 h 2066630"/>
                <a:gd name="connsiteX88" fmla="*/ 541859 w 1893230"/>
                <a:gd name="connsiteY88" fmla="*/ 1139263 h 2066630"/>
                <a:gd name="connsiteX89" fmla="*/ 542375 w 1893230"/>
                <a:gd name="connsiteY89" fmla="*/ 1136166 h 2066630"/>
                <a:gd name="connsiteX90" fmla="*/ 544173 w 1893230"/>
                <a:gd name="connsiteY90" fmla="*/ 1123738 h 2066630"/>
                <a:gd name="connsiteX91" fmla="*/ 544855 w 1893230"/>
                <a:gd name="connsiteY91" fmla="*/ 1111248 h 2066630"/>
                <a:gd name="connsiteX92" fmla="*/ 544938 w 1893230"/>
                <a:gd name="connsiteY92" fmla="*/ 1108296 h 2066630"/>
                <a:gd name="connsiteX93" fmla="*/ 544938 w 1893230"/>
                <a:gd name="connsiteY93" fmla="*/ 674846 h 2066630"/>
                <a:gd name="connsiteX94" fmla="*/ 674714 w 1893230"/>
                <a:gd name="connsiteY94" fmla="*/ 836409 h 2066630"/>
                <a:gd name="connsiteX95" fmla="*/ 674714 w 1893230"/>
                <a:gd name="connsiteY95" fmla="*/ 1316082 h 2066630"/>
                <a:gd name="connsiteX96" fmla="*/ 675293 w 1893230"/>
                <a:gd name="connsiteY96" fmla="*/ 1328551 h 2066630"/>
                <a:gd name="connsiteX97" fmla="*/ 675500 w 1893230"/>
                <a:gd name="connsiteY97" fmla="*/ 1331648 h 2066630"/>
                <a:gd name="connsiteX98" fmla="*/ 675934 w 1893230"/>
                <a:gd name="connsiteY98" fmla="*/ 1334765 h 2066630"/>
                <a:gd name="connsiteX99" fmla="*/ 676843 w 1893230"/>
                <a:gd name="connsiteY99" fmla="*/ 1340979 h 2066630"/>
                <a:gd name="connsiteX100" fmla="*/ 677897 w 1893230"/>
                <a:gd name="connsiteY100" fmla="*/ 1347173 h 2066630"/>
                <a:gd name="connsiteX101" fmla="*/ 679385 w 1893230"/>
                <a:gd name="connsiteY101" fmla="*/ 1353283 h 2066630"/>
                <a:gd name="connsiteX102" fmla="*/ 699265 w 1893230"/>
                <a:gd name="connsiteY102" fmla="*/ 1399259 h 2066630"/>
                <a:gd name="connsiteX103" fmla="*/ 732783 w 1893230"/>
                <a:gd name="connsiteY103" fmla="*/ 1436253 h 2066630"/>
                <a:gd name="connsiteX104" fmla="*/ 825735 w 1893230"/>
                <a:gd name="connsiteY104" fmla="*/ 1469615 h 2066630"/>
                <a:gd name="connsiteX105" fmla="*/ 838940 w 1893230"/>
                <a:gd name="connsiteY105" fmla="*/ 1469615 h 2066630"/>
                <a:gd name="connsiteX106" fmla="*/ 838940 w 1893230"/>
                <a:gd name="connsiteY106" fmla="*/ 1956699 h 2066630"/>
                <a:gd name="connsiteX107" fmla="*/ 948981 w 1893230"/>
                <a:gd name="connsiteY107" fmla="*/ 2066631 h 2066630"/>
                <a:gd name="connsiteX108" fmla="*/ 951916 w 1893230"/>
                <a:gd name="connsiteY108" fmla="*/ 2066631 h 2066630"/>
                <a:gd name="connsiteX109" fmla="*/ 1061957 w 1893230"/>
                <a:gd name="connsiteY109" fmla="*/ 1956699 h 2066630"/>
                <a:gd name="connsiteX110" fmla="*/ 1061957 w 1893230"/>
                <a:gd name="connsiteY110" fmla="*/ 1469718 h 2066630"/>
                <a:gd name="connsiteX111" fmla="*/ 1065904 w 1893230"/>
                <a:gd name="connsiteY111" fmla="*/ 1469718 h 2066630"/>
                <a:gd name="connsiteX112" fmla="*/ 1090847 w 1893230"/>
                <a:gd name="connsiteY112" fmla="*/ 1467571 h 2066630"/>
                <a:gd name="connsiteX113" fmla="*/ 1115252 w 1893230"/>
                <a:gd name="connsiteY113" fmla="*/ 1461522 h 2066630"/>
                <a:gd name="connsiteX114" fmla="*/ 1159414 w 1893230"/>
                <a:gd name="connsiteY114" fmla="*/ 1437926 h 2066630"/>
                <a:gd name="connsiteX115" fmla="*/ 1193635 w 1893230"/>
                <a:gd name="connsiteY115" fmla="*/ 1401591 h 2066630"/>
                <a:gd name="connsiteX116" fmla="*/ 1214300 w 1893230"/>
                <a:gd name="connsiteY116" fmla="*/ 1355967 h 2066630"/>
                <a:gd name="connsiteX117" fmla="*/ 1215850 w 1893230"/>
                <a:gd name="connsiteY117" fmla="*/ 1349877 h 2066630"/>
                <a:gd name="connsiteX118" fmla="*/ 1216573 w 1893230"/>
                <a:gd name="connsiteY118" fmla="*/ 1346801 h 2066630"/>
                <a:gd name="connsiteX119" fmla="*/ 1217090 w 1893230"/>
                <a:gd name="connsiteY119" fmla="*/ 1343704 h 2066630"/>
                <a:gd name="connsiteX120" fmla="*/ 1218908 w 1893230"/>
                <a:gd name="connsiteY120" fmla="*/ 1331276 h 2066630"/>
                <a:gd name="connsiteX121" fmla="*/ 1219570 w 1893230"/>
                <a:gd name="connsiteY121" fmla="*/ 1318807 h 2066630"/>
                <a:gd name="connsiteX122" fmla="*/ 1219673 w 1893230"/>
                <a:gd name="connsiteY122" fmla="*/ 1315855 h 2066630"/>
                <a:gd name="connsiteX123" fmla="*/ 1219673 w 1893230"/>
                <a:gd name="connsiteY123" fmla="*/ 840290 h 2066630"/>
                <a:gd name="connsiteX124" fmla="*/ 1348272 w 1893230"/>
                <a:gd name="connsiteY124" fmla="*/ 680172 h 2066630"/>
                <a:gd name="connsiteX125" fmla="*/ 1348272 w 1893230"/>
                <a:gd name="connsiteY125" fmla="*/ 1108523 h 2066630"/>
                <a:gd name="connsiteX126" fmla="*/ 1348850 w 1893230"/>
                <a:gd name="connsiteY126" fmla="*/ 1120992 h 2066630"/>
                <a:gd name="connsiteX127" fmla="*/ 1349078 w 1893230"/>
                <a:gd name="connsiteY127" fmla="*/ 1124110 h 2066630"/>
                <a:gd name="connsiteX128" fmla="*/ 1349491 w 1893230"/>
                <a:gd name="connsiteY128" fmla="*/ 1127206 h 2066630"/>
                <a:gd name="connsiteX129" fmla="*/ 1350400 w 1893230"/>
                <a:gd name="connsiteY129" fmla="*/ 1133420 h 2066630"/>
                <a:gd name="connsiteX130" fmla="*/ 1351454 w 1893230"/>
                <a:gd name="connsiteY130" fmla="*/ 1139614 h 2066630"/>
                <a:gd name="connsiteX131" fmla="*/ 1352942 w 1893230"/>
                <a:gd name="connsiteY131" fmla="*/ 1145745 h 2066630"/>
                <a:gd name="connsiteX132" fmla="*/ 1372842 w 1893230"/>
                <a:gd name="connsiteY132" fmla="*/ 1191700 h 2066630"/>
                <a:gd name="connsiteX133" fmla="*/ 1406340 w 1893230"/>
                <a:gd name="connsiteY133" fmla="*/ 1228694 h 2066630"/>
                <a:gd name="connsiteX134" fmla="*/ 1499292 w 1893230"/>
                <a:gd name="connsiteY134" fmla="*/ 1262076 h 2066630"/>
                <a:gd name="connsiteX135" fmla="*/ 1739461 w 1893230"/>
                <a:gd name="connsiteY135" fmla="*/ 1262159 h 2066630"/>
                <a:gd name="connsiteX136" fmla="*/ 1788809 w 1893230"/>
                <a:gd name="connsiteY136" fmla="*/ 1253963 h 2066630"/>
                <a:gd name="connsiteX137" fmla="*/ 1832971 w 1893230"/>
                <a:gd name="connsiteY137" fmla="*/ 1230366 h 2066630"/>
                <a:gd name="connsiteX138" fmla="*/ 1867213 w 1893230"/>
                <a:gd name="connsiteY138" fmla="*/ 1194053 h 2066630"/>
                <a:gd name="connsiteX139" fmla="*/ 1887857 w 1893230"/>
                <a:gd name="connsiteY139" fmla="*/ 1148429 h 2066630"/>
                <a:gd name="connsiteX140" fmla="*/ 1889407 w 1893230"/>
                <a:gd name="connsiteY140" fmla="*/ 1142318 h 2066630"/>
                <a:gd name="connsiteX141" fmla="*/ 1890130 w 1893230"/>
                <a:gd name="connsiteY141" fmla="*/ 1139263 h 2066630"/>
                <a:gd name="connsiteX142" fmla="*/ 1890647 w 1893230"/>
                <a:gd name="connsiteY142" fmla="*/ 1136166 h 2066630"/>
                <a:gd name="connsiteX143" fmla="*/ 1892465 w 1893230"/>
                <a:gd name="connsiteY143" fmla="*/ 1123738 h 2066630"/>
                <a:gd name="connsiteX144" fmla="*/ 1893127 w 1893230"/>
                <a:gd name="connsiteY144" fmla="*/ 1111248 h 2066630"/>
                <a:gd name="connsiteX145" fmla="*/ 1893230 w 1893230"/>
                <a:gd name="connsiteY145" fmla="*/ 1108296 h 2066630"/>
                <a:gd name="connsiteX146" fmla="*/ 1893230 w 1893230"/>
                <a:gd name="connsiteY146" fmla="*/ 199652 h 2066630"/>
                <a:gd name="connsiteX147" fmla="*/ 1892651 w 1893230"/>
                <a:gd name="connsiteY147" fmla="*/ 187204 h 2066630"/>
                <a:gd name="connsiteX148" fmla="*/ 502905 w 1893230"/>
                <a:gd name="connsiteY148" fmla="*/ 1108296 h 2066630"/>
                <a:gd name="connsiteX149" fmla="*/ 502822 w 1893230"/>
                <a:gd name="connsiteY149" fmla="*/ 1110526 h 2066630"/>
                <a:gd name="connsiteX150" fmla="*/ 502347 w 1893230"/>
                <a:gd name="connsiteY150" fmla="*/ 1119609 h 2066630"/>
                <a:gd name="connsiteX151" fmla="*/ 501025 w 1893230"/>
                <a:gd name="connsiteY151" fmla="*/ 1128631 h 2066630"/>
                <a:gd name="connsiteX152" fmla="*/ 500673 w 1893230"/>
                <a:gd name="connsiteY152" fmla="*/ 1130881 h 2066630"/>
                <a:gd name="connsiteX153" fmla="*/ 500115 w 1893230"/>
                <a:gd name="connsiteY153" fmla="*/ 1133111 h 2066630"/>
                <a:gd name="connsiteX154" fmla="*/ 498999 w 1893230"/>
                <a:gd name="connsiteY154" fmla="*/ 1137529 h 2066630"/>
                <a:gd name="connsiteX155" fmla="*/ 484017 w 1893230"/>
                <a:gd name="connsiteY155" fmla="*/ 1170663 h 2066630"/>
                <a:gd name="connsiteX156" fmla="*/ 459095 w 1893230"/>
                <a:gd name="connsiteY156" fmla="*/ 1197067 h 2066630"/>
                <a:gd name="connsiteX157" fmla="*/ 391169 w 1893230"/>
                <a:gd name="connsiteY157" fmla="*/ 1220168 h 2066630"/>
                <a:gd name="connsiteX158" fmla="*/ 151764 w 1893230"/>
                <a:gd name="connsiteY158" fmla="*/ 1220086 h 2066630"/>
                <a:gd name="connsiteX159" fmla="*/ 142651 w 1893230"/>
                <a:gd name="connsiteY159" fmla="*/ 1219611 h 2066630"/>
                <a:gd name="connsiteX160" fmla="*/ 133620 w 1893230"/>
                <a:gd name="connsiteY160" fmla="*/ 1218290 h 2066630"/>
                <a:gd name="connsiteX161" fmla="*/ 131368 w 1893230"/>
                <a:gd name="connsiteY161" fmla="*/ 1217918 h 2066630"/>
                <a:gd name="connsiteX162" fmla="*/ 129157 w 1893230"/>
                <a:gd name="connsiteY162" fmla="*/ 1217381 h 2066630"/>
                <a:gd name="connsiteX163" fmla="*/ 124714 w 1893230"/>
                <a:gd name="connsiteY163" fmla="*/ 1216246 h 2066630"/>
                <a:gd name="connsiteX164" fmla="*/ 120312 w 1893230"/>
                <a:gd name="connsiteY164" fmla="*/ 1215069 h 2066630"/>
                <a:gd name="connsiteX165" fmla="*/ 116014 w 1893230"/>
                <a:gd name="connsiteY165" fmla="*/ 1213521 h 2066630"/>
                <a:gd name="connsiteX166" fmla="*/ 84231 w 1893230"/>
                <a:gd name="connsiteY166" fmla="*/ 1195849 h 2066630"/>
                <a:gd name="connsiteX167" fmla="*/ 45442 w 1893230"/>
                <a:gd name="connsiteY167" fmla="*/ 1135588 h 2066630"/>
                <a:gd name="connsiteX168" fmla="*/ 44327 w 1893230"/>
                <a:gd name="connsiteY168" fmla="*/ 1131149 h 2066630"/>
                <a:gd name="connsiteX169" fmla="*/ 43603 w 1893230"/>
                <a:gd name="connsiteY169" fmla="*/ 1126649 h 2066630"/>
                <a:gd name="connsiteX170" fmla="*/ 42921 w 1893230"/>
                <a:gd name="connsiteY170" fmla="*/ 1122148 h 2066630"/>
                <a:gd name="connsiteX171" fmla="*/ 42611 w 1893230"/>
                <a:gd name="connsiteY171" fmla="*/ 1119878 h 2066630"/>
                <a:gd name="connsiteX172" fmla="*/ 42467 w 1893230"/>
                <a:gd name="connsiteY172" fmla="*/ 1117607 h 2066630"/>
                <a:gd name="connsiteX173" fmla="*/ 42033 w 1893230"/>
                <a:gd name="connsiteY173" fmla="*/ 1108523 h 2066630"/>
                <a:gd name="connsiteX174" fmla="*/ 42033 w 1893230"/>
                <a:gd name="connsiteY174" fmla="*/ 199879 h 2066630"/>
                <a:gd name="connsiteX175" fmla="*/ 42115 w 1893230"/>
                <a:gd name="connsiteY175" fmla="*/ 197670 h 2066630"/>
                <a:gd name="connsiteX176" fmla="*/ 42591 w 1893230"/>
                <a:gd name="connsiteY176" fmla="*/ 188566 h 2066630"/>
                <a:gd name="connsiteX177" fmla="*/ 43913 w 1893230"/>
                <a:gd name="connsiteY177" fmla="*/ 179545 h 2066630"/>
                <a:gd name="connsiteX178" fmla="*/ 44285 w 1893230"/>
                <a:gd name="connsiteY178" fmla="*/ 177294 h 2066630"/>
                <a:gd name="connsiteX179" fmla="*/ 44823 w 1893230"/>
                <a:gd name="connsiteY179" fmla="*/ 175085 h 2066630"/>
                <a:gd name="connsiteX180" fmla="*/ 45959 w 1893230"/>
                <a:gd name="connsiteY180" fmla="*/ 170647 h 2066630"/>
                <a:gd name="connsiteX181" fmla="*/ 60921 w 1893230"/>
                <a:gd name="connsiteY181" fmla="*/ 137533 h 2066630"/>
                <a:gd name="connsiteX182" fmla="*/ 85843 w 1893230"/>
                <a:gd name="connsiteY182" fmla="*/ 111129 h 2066630"/>
                <a:gd name="connsiteX183" fmla="*/ 153769 w 1893230"/>
                <a:gd name="connsiteY183" fmla="*/ 88007 h 2066630"/>
                <a:gd name="connsiteX184" fmla="*/ 393174 w 1893230"/>
                <a:gd name="connsiteY184" fmla="*/ 88090 h 2066630"/>
                <a:gd name="connsiteX185" fmla="*/ 402287 w 1893230"/>
                <a:gd name="connsiteY185" fmla="*/ 88565 h 2066630"/>
                <a:gd name="connsiteX186" fmla="*/ 411317 w 1893230"/>
                <a:gd name="connsiteY186" fmla="*/ 89906 h 2066630"/>
                <a:gd name="connsiteX187" fmla="*/ 413570 w 1893230"/>
                <a:gd name="connsiteY187" fmla="*/ 90257 h 2066630"/>
                <a:gd name="connsiteX188" fmla="*/ 415781 w 1893230"/>
                <a:gd name="connsiteY188" fmla="*/ 90815 h 2066630"/>
                <a:gd name="connsiteX189" fmla="*/ 420224 w 1893230"/>
                <a:gd name="connsiteY189" fmla="*/ 91930 h 2066630"/>
                <a:gd name="connsiteX190" fmla="*/ 424626 w 1893230"/>
                <a:gd name="connsiteY190" fmla="*/ 93127 h 2066630"/>
                <a:gd name="connsiteX191" fmla="*/ 428924 w 1893230"/>
                <a:gd name="connsiteY191" fmla="*/ 94675 h 2066630"/>
                <a:gd name="connsiteX192" fmla="*/ 460707 w 1893230"/>
                <a:gd name="connsiteY192" fmla="*/ 112326 h 2066630"/>
                <a:gd name="connsiteX193" fmla="*/ 499495 w 1893230"/>
                <a:gd name="connsiteY193" fmla="*/ 172608 h 2066630"/>
                <a:gd name="connsiteX194" fmla="*/ 500611 w 1893230"/>
                <a:gd name="connsiteY194" fmla="*/ 177026 h 2066630"/>
                <a:gd name="connsiteX195" fmla="*/ 501335 w 1893230"/>
                <a:gd name="connsiteY195" fmla="*/ 181526 h 2066630"/>
                <a:gd name="connsiteX196" fmla="*/ 502016 w 1893230"/>
                <a:gd name="connsiteY196" fmla="*/ 186048 h 2066630"/>
                <a:gd name="connsiteX197" fmla="*/ 502347 w 1893230"/>
                <a:gd name="connsiteY197" fmla="*/ 188298 h 2066630"/>
                <a:gd name="connsiteX198" fmla="*/ 502471 w 1893230"/>
                <a:gd name="connsiteY198" fmla="*/ 190569 h 2066630"/>
                <a:gd name="connsiteX199" fmla="*/ 502905 w 1893230"/>
                <a:gd name="connsiteY199" fmla="*/ 199652 h 2066630"/>
                <a:gd name="connsiteX200" fmla="*/ 502905 w 1893230"/>
                <a:gd name="connsiteY200" fmla="*/ 1108296 h 2066630"/>
                <a:gd name="connsiteX201" fmla="*/ 674714 w 1893230"/>
                <a:gd name="connsiteY201" fmla="*/ 770450 h 2066630"/>
                <a:gd name="connsiteX202" fmla="*/ 544938 w 1893230"/>
                <a:gd name="connsiteY202" fmla="*/ 608887 h 2066630"/>
                <a:gd name="connsiteX203" fmla="*/ 544938 w 1893230"/>
                <a:gd name="connsiteY203" fmla="*/ 548543 h 2066630"/>
                <a:gd name="connsiteX204" fmla="*/ 674714 w 1893230"/>
                <a:gd name="connsiteY204" fmla="*/ 710086 h 2066630"/>
                <a:gd name="connsiteX205" fmla="*/ 674714 w 1893230"/>
                <a:gd name="connsiteY205" fmla="*/ 770450 h 2066630"/>
                <a:gd name="connsiteX206" fmla="*/ 880270 w 1893230"/>
                <a:gd name="connsiteY206" fmla="*/ 109932 h 2066630"/>
                <a:gd name="connsiteX207" fmla="*/ 948981 w 1893230"/>
                <a:gd name="connsiteY207" fmla="*/ 41289 h 2066630"/>
                <a:gd name="connsiteX208" fmla="*/ 951916 w 1893230"/>
                <a:gd name="connsiteY208" fmla="*/ 41289 h 2066630"/>
                <a:gd name="connsiteX209" fmla="*/ 1020627 w 1893230"/>
                <a:gd name="connsiteY209" fmla="*/ 109932 h 2066630"/>
                <a:gd name="connsiteX210" fmla="*/ 1020627 w 1893230"/>
                <a:gd name="connsiteY210" fmla="*/ 253637 h 2066630"/>
                <a:gd name="connsiteX211" fmla="*/ 880270 w 1893230"/>
                <a:gd name="connsiteY211" fmla="*/ 253575 h 2066630"/>
                <a:gd name="connsiteX212" fmla="*/ 880270 w 1893230"/>
                <a:gd name="connsiteY212" fmla="*/ 109932 h 2066630"/>
                <a:gd name="connsiteX213" fmla="*/ 1020627 w 1893230"/>
                <a:gd name="connsiteY213" fmla="*/ 1956699 h 2066630"/>
                <a:gd name="connsiteX214" fmla="*/ 951916 w 1893230"/>
                <a:gd name="connsiteY214" fmla="*/ 2025342 h 2066630"/>
                <a:gd name="connsiteX215" fmla="*/ 948981 w 1893230"/>
                <a:gd name="connsiteY215" fmla="*/ 2025342 h 2066630"/>
                <a:gd name="connsiteX216" fmla="*/ 880270 w 1893230"/>
                <a:gd name="connsiteY216" fmla="*/ 1956699 h 2066630"/>
                <a:gd name="connsiteX217" fmla="*/ 880270 w 1893230"/>
                <a:gd name="connsiteY217" fmla="*/ 1469635 h 2066630"/>
                <a:gd name="connsiteX218" fmla="*/ 1020627 w 1893230"/>
                <a:gd name="connsiteY218" fmla="*/ 1469697 h 2066630"/>
                <a:gd name="connsiteX219" fmla="*/ 1020627 w 1893230"/>
                <a:gd name="connsiteY219" fmla="*/ 1956699 h 2066630"/>
                <a:gd name="connsiteX220" fmla="*/ 1177640 w 1893230"/>
                <a:gd name="connsiteY220" fmla="*/ 1315855 h 2066630"/>
                <a:gd name="connsiteX221" fmla="*/ 1177558 w 1893230"/>
                <a:gd name="connsiteY221" fmla="*/ 1318064 h 2066630"/>
                <a:gd name="connsiteX222" fmla="*/ 1177082 w 1893230"/>
                <a:gd name="connsiteY222" fmla="*/ 1327168 h 2066630"/>
                <a:gd name="connsiteX223" fmla="*/ 1175739 w 1893230"/>
                <a:gd name="connsiteY223" fmla="*/ 1336190 h 2066630"/>
                <a:gd name="connsiteX224" fmla="*/ 1175388 w 1893230"/>
                <a:gd name="connsiteY224" fmla="*/ 1338440 h 2066630"/>
                <a:gd name="connsiteX225" fmla="*/ 1174850 w 1893230"/>
                <a:gd name="connsiteY225" fmla="*/ 1340649 h 2066630"/>
                <a:gd name="connsiteX226" fmla="*/ 1173714 w 1893230"/>
                <a:gd name="connsiteY226" fmla="*/ 1345088 h 2066630"/>
                <a:gd name="connsiteX227" fmla="*/ 1158732 w 1893230"/>
                <a:gd name="connsiteY227" fmla="*/ 1378201 h 2066630"/>
                <a:gd name="connsiteX228" fmla="*/ 1133830 w 1893230"/>
                <a:gd name="connsiteY228" fmla="*/ 1404605 h 2066630"/>
                <a:gd name="connsiteX229" fmla="*/ 1065904 w 1893230"/>
                <a:gd name="connsiteY229" fmla="*/ 1427727 h 2066630"/>
                <a:gd name="connsiteX230" fmla="*/ 1061957 w 1893230"/>
                <a:gd name="connsiteY230" fmla="*/ 1427727 h 2066630"/>
                <a:gd name="connsiteX231" fmla="*/ 1020627 w 1893230"/>
                <a:gd name="connsiteY231" fmla="*/ 1427686 h 2066630"/>
                <a:gd name="connsiteX232" fmla="*/ 880270 w 1893230"/>
                <a:gd name="connsiteY232" fmla="*/ 1427645 h 2066630"/>
                <a:gd name="connsiteX233" fmla="*/ 826479 w 1893230"/>
                <a:gd name="connsiteY233" fmla="*/ 1427645 h 2066630"/>
                <a:gd name="connsiteX234" fmla="*/ 817386 w 1893230"/>
                <a:gd name="connsiteY234" fmla="*/ 1427170 h 2066630"/>
                <a:gd name="connsiteX235" fmla="*/ 808355 w 1893230"/>
                <a:gd name="connsiteY235" fmla="*/ 1425828 h 2066630"/>
                <a:gd name="connsiteX236" fmla="*/ 806103 w 1893230"/>
                <a:gd name="connsiteY236" fmla="*/ 1425477 h 2066630"/>
                <a:gd name="connsiteX237" fmla="*/ 803871 w 1893230"/>
                <a:gd name="connsiteY237" fmla="*/ 1424940 h 2066630"/>
                <a:gd name="connsiteX238" fmla="*/ 799449 w 1893230"/>
                <a:gd name="connsiteY238" fmla="*/ 1423805 h 2066630"/>
                <a:gd name="connsiteX239" fmla="*/ 795026 w 1893230"/>
                <a:gd name="connsiteY239" fmla="*/ 1422628 h 2066630"/>
                <a:gd name="connsiteX240" fmla="*/ 790728 w 1893230"/>
                <a:gd name="connsiteY240" fmla="*/ 1421080 h 2066630"/>
                <a:gd name="connsiteX241" fmla="*/ 758966 w 1893230"/>
                <a:gd name="connsiteY241" fmla="*/ 1403408 h 2066630"/>
                <a:gd name="connsiteX242" fmla="*/ 720178 w 1893230"/>
                <a:gd name="connsiteY242" fmla="*/ 1343126 h 2066630"/>
                <a:gd name="connsiteX243" fmla="*/ 719062 w 1893230"/>
                <a:gd name="connsiteY243" fmla="*/ 1338709 h 2066630"/>
                <a:gd name="connsiteX244" fmla="*/ 718338 w 1893230"/>
                <a:gd name="connsiteY244" fmla="*/ 1334208 h 2066630"/>
                <a:gd name="connsiteX245" fmla="*/ 717656 w 1893230"/>
                <a:gd name="connsiteY245" fmla="*/ 1329687 h 2066630"/>
                <a:gd name="connsiteX246" fmla="*/ 717326 w 1893230"/>
                <a:gd name="connsiteY246" fmla="*/ 1327437 h 2066630"/>
                <a:gd name="connsiteX247" fmla="*/ 717202 w 1893230"/>
                <a:gd name="connsiteY247" fmla="*/ 1325166 h 2066630"/>
                <a:gd name="connsiteX248" fmla="*/ 716747 w 1893230"/>
                <a:gd name="connsiteY248" fmla="*/ 1316082 h 2066630"/>
                <a:gd name="connsiteX249" fmla="*/ 716747 w 1893230"/>
                <a:gd name="connsiteY249" fmla="*/ 407438 h 2066630"/>
                <a:gd name="connsiteX250" fmla="*/ 716830 w 1893230"/>
                <a:gd name="connsiteY250" fmla="*/ 405209 h 2066630"/>
                <a:gd name="connsiteX251" fmla="*/ 717305 w 1893230"/>
                <a:gd name="connsiteY251" fmla="*/ 396125 h 2066630"/>
                <a:gd name="connsiteX252" fmla="*/ 718648 w 1893230"/>
                <a:gd name="connsiteY252" fmla="*/ 387104 h 2066630"/>
                <a:gd name="connsiteX253" fmla="*/ 719000 w 1893230"/>
                <a:gd name="connsiteY253" fmla="*/ 384853 h 2066630"/>
                <a:gd name="connsiteX254" fmla="*/ 719537 w 1893230"/>
                <a:gd name="connsiteY254" fmla="*/ 382624 h 2066630"/>
                <a:gd name="connsiteX255" fmla="*/ 720674 w 1893230"/>
                <a:gd name="connsiteY255" fmla="*/ 378206 h 2066630"/>
                <a:gd name="connsiteX256" fmla="*/ 735656 w 1893230"/>
                <a:gd name="connsiteY256" fmla="*/ 345072 h 2066630"/>
                <a:gd name="connsiteX257" fmla="*/ 760557 w 1893230"/>
                <a:gd name="connsiteY257" fmla="*/ 318667 h 2066630"/>
                <a:gd name="connsiteX258" fmla="*/ 828483 w 1893230"/>
                <a:gd name="connsiteY258" fmla="*/ 295566 h 2066630"/>
                <a:gd name="connsiteX259" fmla="*/ 880270 w 1893230"/>
                <a:gd name="connsiteY259" fmla="*/ 295566 h 2066630"/>
                <a:gd name="connsiteX260" fmla="*/ 1020627 w 1893230"/>
                <a:gd name="connsiteY260" fmla="*/ 295649 h 2066630"/>
                <a:gd name="connsiteX261" fmla="*/ 1067909 w 1893230"/>
                <a:gd name="connsiteY261" fmla="*/ 295649 h 2066630"/>
                <a:gd name="connsiteX262" fmla="*/ 1077001 w 1893230"/>
                <a:gd name="connsiteY262" fmla="*/ 296124 h 2066630"/>
                <a:gd name="connsiteX263" fmla="*/ 1086032 w 1893230"/>
                <a:gd name="connsiteY263" fmla="*/ 297445 h 2066630"/>
                <a:gd name="connsiteX264" fmla="*/ 1088284 w 1893230"/>
                <a:gd name="connsiteY264" fmla="*/ 297816 h 2066630"/>
                <a:gd name="connsiteX265" fmla="*/ 1090516 w 1893230"/>
                <a:gd name="connsiteY265" fmla="*/ 298353 h 2066630"/>
                <a:gd name="connsiteX266" fmla="*/ 1094939 w 1893230"/>
                <a:gd name="connsiteY266" fmla="*/ 299489 h 2066630"/>
                <a:gd name="connsiteX267" fmla="*/ 1099361 w 1893230"/>
                <a:gd name="connsiteY267" fmla="*/ 300665 h 2066630"/>
                <a:gd name="connsiteX268" fmla="*/ 1103659 w 1893230"/>
                <a:gd name="connsiteY268" fmla="*/ 302214 h 2066630"/>
                <a:gd name="connsiteX269" fmla="*/ 1135421 w 1893230"/>
                <a:gd name="connsiteY269" fmla="*/ 319885 h 2066630"/>
                <a:gd name="connsiteX270" fmla="*/ 1174210 w 1893230"/>
                <a:gd name="connsiteY270" fmla="*/ 380146 h 2066630"/>
                <a:gd name="connsiteX271" fmla="*/ 1175326 w 1893230"/>
                <a:gd name="connsiteY271" fmla="*/ 384585 h 2066630"/>
                <a:gd name="connsiteX272" fmla="*/ 1176049 w 1893230"/>
                <a:gd name="connsiteY272" fmla="*/ 389086 h 2066630"/>
                <a:gd name="connsiteX273" fmla="*/ 1176731 w 1893230"/>
                <a:gd name="connsiteY273" fmla="*/ 393586 h 2066630"/>
                <a:gd name="connsiteX274" fmla="*/ 1177062 w 1893230"/>
                <a:gd name="connsiteY274" fmla="*/ 395857 h 2066630"/>
                <a:gd name="connsiteX275" fmla="*/ 1177186 w 1893230"/>
                <a:gd name="connsiteY275" fmla="*/ 398128 h 2066630"/>
                <a:gd name="connsiteX276" fmla="*/ 1177640 w 1893230"/>
                <a:gd name="connsiteY276" fmla="*/ 407211 h 2066630"/>
                <a:gd name="connsiteX277" fmla="*/ 1177640 w 1893230"/>
                <a:gd name="connsiteY277" fmla="*/ 1315855 h 2066630"/>
                <a:gd name="connsiteX278" fmla="*/ 1348272 w 1893230"/>
                <a:gd name="connsiteY278" fmla="*/ 614213 h 2066630"/>
                <a:gd name="connsiteX279" fmla="*/ 1219673 w 1893230"/>
                <a:gd name="connsiteY279" fmla="*/ 774311 h 2066630"/>
                <a:gd name="connsiteX280" fmla="*/ 1219673 w 1893230"/>
                <a:gd name="connsiteY280" fmla="*/ 713967 h 2066630"/>
                <a:gd name="connsiteX281" fmla="*/ 1348272 w 1893230"/>
                <a:gd name="connsiteY281" fmla="*/ 553849 h 2066630"/>
                <a:gd name="connsiteX282" fmla="*/ 1348272 w 1893230"/>
                <a:gd name="connsiteY282" fmla="*/ 614213 h 2066630"/>
                <a:gd name="connsiteX283" fmla="*/ 1851197 w 1893230"/>
                <a:gd name="connsiteY283" fmla="*/ 1108296 h 2066630"/>
                <a:gd name="connsiteX284" fmla="*/ 1851115 w 1893230"/>
                <a:gd name="connsiteY284" fmla="*/ 1110526 h 2066630"/>
                <a:gd name="connsiteX285" fmla="*/ 1850639 w 1893230"/>
                <a:gd name="connsiteY285" fmla="*/ 1119609 h 2066630"/>
                <a:gd name="connsiteX286" fmla="*/ 1849317 w 1893230"/>
                <a:gd name="connsiteY286" fmla="*/ 1128631 h 2066630"/>
                <a:gd name="connsiteX287" fmla="*/ 1848945 w 1893230"/>
                <a:gd name="connsiteY287" fmla="*/ 1130881 h 2066630"/>
                <a:gd name="connsiteX288" fmla="*/ 1848408 w 1893230"/>
                <a:gd name="connsiteY288" fmla="*/ 1133111 h 2066630"/>
                <a:gd name="connsiteX289" fmla="*/ 1847271 w 1893230"/>
                <a:gd name="connsiteY289" fmla="*/ 1137529 h 2066630"/>
                <a:gd name="connsiteX290" fmla="*/ 1832289 w 1893230"/>
                <a:gd name="connsiteY290" fmla="*/ 1170663 h 2066630"/>
                <a:gd name="connsiteX291" fmla="*/ 1807387 w 1893230"/>
                <a:gd name="connsiteY291" fmla="*/ 1197067 h 2066630"/>
                <a:gd name="connsiteX292" fmla="*/ 1739461 w 1893230"/>
                <a:gd name="connsiteY292" fmla="*/ 1220168 h 2066630"/>
                <a:gd name="connsiteX293" fmla="*/ 1500036 w 1893230"/>
                <a:gd name="connsiteY293" fmla="*/ 1220086 h 2066630"/>
                <a:gd name="connsiteX294" fmla="*/ 1490943 w 1893230"/>
                <a:gd name="connsiteY294" fmla="*/ 1219611 h 2066630"/>
                <a:gd name="connsiteX295" fmla="*/ 1481913 w 1893230"/>
                <a:gd name="connsiteY295" fmla="*/ 1218290 h 2066630"/>
                <a:gd name="connsiteX296" fmla="*/ 1479660 w 1893230"/>
                <a:gd name="connsiteY296" fmla="*/ 1217918 h 2066630"/>
                <a:gd name="connsiteX297" fmla="*/ 1477428 w 1893230"/>
                <a:gd name="connsiteY297" fmla="*/ 1217381 h 2066630"/>
                <a:gd name="connsiteX298" fmla="*/ 1473006 w 1893230"/>
                <a:gd name="connsiteY298" fmla="*/ 1216246 h 2066630"/>
                <a:gd name="connsiteX299" fmla="*/ 1468584 w 1893230"/>
                <a:gd name="connsiteY299" fmla="*/ 1215069 h 2066630"/>
                <a:gd name="connsiteX300" fmla="*/ 1464285 w 1893230"/>
                <a:gd name="connsiteY300" fmla="*/ 1213521 h 2066630"/>
                <a:gd name="connsiteX301" fmla="*/ 1432523 w 1893230"/>
                <a:gd name="connsiteY301" fmla="*/ 1195849 h 2066630"/>
                <a:gd name="connsiteX302" fmla="*/ 1393735 w 1893230"/>
                <a:gd name="connsiteY302" fmla="*/ 1135588 h 2066630"/>
                <a:gd name="connsiteX303" fmla="*/ 1392619 w 1893230"/>
                <a:gd name="connsiteY303" fmla="*/ 1131149 h 2066630"/>
                <a:gd name="connsiteX304" fmla="*/ 1391896 w 1893230"/>
                <a:gd name="connsiteY304" fmla="*/ 1126649 h 2066630"/>
                <a:gd name="connsiteX305" fmla="*/ 1391214 w 1893230"/>
                <a:gd name="connsiteY305" fmla="*/ 1122148 h 2066630"/>
                <a:gd name="connsiteX306" fmla="*/ 1390883 w 1893230"/>
                <a:gd name="connsiteY306" fmla="*/ 1119878 h 2066630"/>
                <a:gd name="connsiteX307" fmla="*/ 1390759 w 1893230"/>
                <a:gd name="connsiteY307" fmla="*/ 1117607 h 2066630"/>
                <a:gd name="connsiteX308" fmla="*/ 1390304 w 1893230"/>
                <a:gd name="connsiteY308" fmla="*/ 1108523 h 2066630"/>
                <a:gd name="connsiteX309" fmla="*/ 1390304 w 1893230"/>
                <a:gd name="connsiteY309" fmla="*/ 199879 h 2066630"/>
                <a:gd name="connsiteX310" fmla="*/ 1390387 w 1893230"/>
                <a:gd name="connsiteY310" fmla="*/ 197670 h 2066630"/>
                <a:gd name="connsiteX311" fmla="*/ 1390862 w 1893230"/>
                <a:gd name="connsiteY311" fmla="*/ 188566 h 2066630"/>
                <a:gd name="connsiteX312" fmla="*/ 1392206 w 1893230"/>
                <a:gd name="connsiteY312" fmla="*/ 179545 h 2066630"/>
                <a:gd name="connsiteX313" fmla="*/ 1392557 w 1893230"/>
                <a:gd name="connsiteY313" fmla="*/ 177294 h 2066630"/>
                <a:gd name="connsiteX314" fmla="*/ 1393094 w 1893230"/>
                <a:gd name="connsiteY314" fmla="*/ 175085 h 2066630"/>
                <a:gd name="connsiteX315" fmla="*/ 1394231 w 1893230"/>
                <a:gd name="connsiteY315" fmla="*/ 170647 h 2066630"/>
                <a:gd name="connsiteX316" fmla="*/ 1409213 w 1893230"/>
                <a:gd name="connsiteY316" fmla="*/ 137533 h 2066630"/>
                <a:gd name="connsiteX317" fmla="*/ 1434114 w 1893230"/>
                <a:gd name="connsiteY317" fmla="*/ 111129 h 2066630"/>
                <a:gd name="connsiteX318" fmla="*/ 1502040 w 1893230"/>
                <a:gd name="connsiteY318" fmla="*/ 88007 h 2066630"/>
                <a:gd name="connsiteX319" fmla="*/ 1741466 w 1893230"/>
                <a:gd name="connsiteY319" fmla="*/ 88090 h 2066630"/>
                <a:gd name="connsiteX320" fmla="*/ 1750558 w 1893230"/>
                <a:gd name="connsiteY320" fmla="*/ 88565 h 2066630"/>
                <a:gd name="connsiteX321" fmla="*/ 1759589 w 1893230"/>
                <a:gd name="connsiteY321" fmla="*/ 89906 h 2066630"/>
                <a:gd name="connsiteX322" fmla="*/ 1761862 w 1893230"/>
                <a:gd name="connsiteY322" fmla="*/ 90257 h 2066630"/>
                <a:gd name="connsiteX323" fmla="*/ 1764073 w 1893230"/>
                <a:gd name="connsiteY323" fmla="*/ 90815 h 2066630"/>
                <a:gd name="connsiteX324" fmla="*/ 1768496 w 1893230"/>
                <a:gd name="connsiteY324" fmla="*/ 91930 h 2066630"/>
                <a:gd name="connsiteX325" fmla="*/ 1772918 w 1893230"/>
                <a:gd name="connsiteY325" fmla="*/ 93127 h 2066630"/>
                <a:gd name="connsiteX326" fmla="*/ 1777216 w 1893230"/>
                <a:gd name="connsiteY326" fmla="*/ 94675 h 2066630"/>
                <a:gd name="connsiteX327" fmla="*/ 1808979 w 1893230"/>
                <a:gd name="connsiteY327" fmla="*/ 112326 h 2066630"/>
                <a:gd name="connsiteX328" fmla="*/ 1847767 w 1893230"/>
                <a:gd name="connsiteY328" fmla="*/ 172608 h 2066630"/>
                <a:gd name="connsiteX329" fmla="*/ 1848883 w 1893230"/>
                <a:gd name="connsiteY329" fmla="*/ 177026 h 2066630"/>
                <a:gd name="connsiteX330" fmla="*/ 1849627 w 1893230"/>
                <a:gd name="connsiteY330" fmla="*/ 181526 h 2066630"/>
                <a:gd name="connsiteX331" fmla="*/ 1850288 w 1893230"/>
                <a:gd name="connsiteY331" fmla="*/ 186048 h 2066630"/>
                <a:gd name="connsiteX332" fmla="*/ 1850619 w 1893230"/>
                <a:gd name="connsiteY332" fmla="*/ 188298 h 2066630"/>
                <a:gd name="connsiteX333" fmla="*/ 1850743 w 1893230"/>
                <a:gd name="connsiteY333" fmla="*/ 190569 h 2066630"/>
                <a:gd name="connsiteX334" fmla="*/ 1851197 w 1893230"/>
                <a:gd name="connsiteY334" fmla="*/ 199652 h 2066630"/>
                <a:gd name="connsiteX335" fmla="*/ 1851197 w 1893230"/>
                <a:gd name="connsiteY335" fmla="*/ 1108296 h 2066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</a:cxnLst>
              <a:rect l="l" t="t" r="r" b="b"/>
              <a:pathLst>
                <a:path w="1893230" h="2066630">
                  <a:moveTo>
                    <a:pt x="1892651" y="187204"/>
                  </a:moveTo>
                  <a:lnTo>
                    <a:pt x="1892445" y="184086"/>
                  </a:lnTo>
                  <a:lnTo>
                    <a:pt x="1892011" y="180969"/>
                  </a:lnTo>
                  <a:lnTo>
                    <a:pt x="1891102" y="174755"/>
                  </a:lnTo>
                  <a:cubicBezTo>
                    <a:pt x="1890771" y="172691"/>
                    <a:pt x="1890440" y="170626"/>
                    <a:pt x="1890068" y="168562"/>
                  </a:cubicBezTo>
                  <a:lnTo>
                    <a:pt x="1888560" y="162451"/>
                  </a:lnTo>
                  <a:cubicBezTo>
                    <a:pt x="1884530" y="146163"/>
                    <a:pt x="1877855" y="130473"/>
                    <a:pt x="1868680" y="116476"/>
                  </a:cubicBezTo>
                  <a:cubicBezTo>
                    <a:pt x="1859567" y="102438"/>
                    <a:pt x="1848222" y="89927"/>
                    <a:pt x="1835182" y="79481"/>
                  </a:cubicBezTo>
                  <a:cubicBezTo>
                    <a:pt x="1809123" y="58548"/>
                    <a:pt x="1775563" y="46636"/>
                    <a:pt x="1742210" y="46120"/>
                  </a:cubicBezTo>
                  <a:lnTo>
                    <a:pt x="1502040" y="46016"/>
                  </a:lnTo>
                  <a:cubicBezTo>
                    <a:pt x="1485405" y="46140"/>
                    <a:pt x="1468625" y="48865"/>
                    <a:pt x="1452692" y="54212"/>
                  </a:cubicBezTo>
                  <a:cubicBezTo>
                    <a:pt x="1436718" y="59497"/>
                    <a:pt x="1421757" y="67631"/>
                    <a:pt x="1408531" y="77809"/>
                  </a:cubicBezTo>
                  <a:cubicBezTo>
                    <a:pt x="1395285" y="88007"/>
                    <a:pt x="1383692" y="100291"/>
                    <a:pt x="1374310" y="114143"/>
                  </a:cubicBezTo>
                  <a:cubicBezTo>
                    <a:pt x="1364990" y="128057"/>
                    <a:pt x="1358025" y="143561"/>
                    <a:pt x="1353644" y="159767"/>
                  </a:cubicBezTo>
                  <a:lnTo>
                    <a:pt x="1352095" y="165857"/>
                  </a:lnTo>
                  <a:lnTo>
                    <a:pt x="1351371" y="168933"/>
                  </a:lnTo>
                  <a:lnTo>
                    <a:pt x="1350855" y="172030"/>
                  </a:lnTo>
                  <a:cubicBezTo>
                    <a:pt x="1350173" y="176159"/>
                    <a:pt x="1349532" y="180308"/>
                    <a:pt x="1349036" y="184458"/>
                  </a:cubicBezTo>
                  <a:cubicBezTo>
                    <a:pt x="1348747" y="188607"/>
                    <a:pt x="1348520" y="192778"/>
                    <a:pt x="1348375" y="196927"/>
                  </a:cubicBezTo>
                  <a:lnTo>
                    <a:pt x="1348272" y="199879"/>
                  </a:lnTo>
                  <a:lnTo>
                    <a:pt x="1348272" y="487890"/>
                  </a:lnTo>
                  <a:lnTo>
                    <a:pt x="1219673" y="648008"/>
                  </a:lnTo>
                  <a:lnTo>
                    <a:pt x="1219673" y="407211"/>
                  </a:lnTo>
                  <a:cubicBezTo>
                    <a:pt x="1219549" y="403082"/>
                    <a:pt x="1219342" y="398892"/>
                    <a:pt x="1219094" y="394742"/>
                  </a:cubicBezTo>
                  <a:lnTo>
                    <a:pt x="1218888" y="391625"/>
                  </a:lnTo>
                  <a:lnTo>
                    <a:pt x="1218454" y="388528"/>
                  </a:lnTo>
                  <a:lnTo>
                    <a:pt x="1217544" y="382314"/>
                  </a:lnTo>
                  <a:cubicBezTo>
                    <a:pt x="1217214" y="380229"/>
                    <a:pt x="1216883" y="378165"/>
                    <a:pt x="1216490" y="376121"/>
                  </a:cubicBezTo>
                  <a:lnTo>
                    <a:pt x="1215003" y="369989"/>
                  </a:lnTo>
                  <a:cubicBezTo>
                    <a:pt x="1210973" y="353722"/>
                    <a:pt x="1204298" y="338011"/>
                    <a:pt x="1195123" y="324035"/>
                  </a:cubicBezTo>
                  <a:cubicBezTo>
                    <a:pt x="1186009" y="309997"/>
                    <a:pt x="1174664" y="297486"/>
                    <a:pt x="1161604" y="287040"/>
                  </a:cubicBezTo>
                  <a:cubicBezTo>
                    <a:pt x="1135566" y="266107"/>
                    <a:pt x="1102006" y="254174"/>
                    <a:pt x="1068653" y="253658"/>
                  </a:cubicBezTo>
                  <a:lnTo>
                    <a:pt x="1061957" y="253658"/>
                  </a:lnTo>
                  <a:lnTo>
                    <a:pt x="1061957" y="109932"/>
                  </a:lnTo>
                  <a:cubicBezTo>
                    <a:pt x="1061957" y="49299"/>
                    <a:pt x="1012588" y="0"/>
                    <a:pt x="951916" y="0"/>
                  </a:cubicBezTo>
                  <a:lnTo>
                    <a:pt x="948981" y="0"/>
                  </a:lnTo>
                  <a:cubicBezTo>
                    <a:pt x="888309" y="0"/>
                    <a:pt x="838940" y="49299"/>
                    <a:pt x="838940" y="109932"/>
                  </a:cubicBezTo>
                  <a:lnTo>
                    <a:pt x="838940" y="253575"/>
                  </a:lnTo>
                  <a:lnTo>
                    <a:pt x="828483" y="253575"/>
                  </a:lnTo>
                  <a:cubicBezTo>
                    <a:pt x="811848" y="253699"/>
                    <a:pt x="795047" y="256404"/>
                    <a:pt x="779135" y="261771"/>
                  </a:cubicBezTo>
                  <a:cubicBezTo>
                    <a:pt x="763161" y="267036"/>
                    <a:pt x="748199" y="275170"/>
                    <a:pt x="734974" y="285368"/>
                  </a:cubicBezTo>
                  <a:cubicBezTo>
                    <a:pt x="721727" y="295546"/>
                    <a:pt x="710134" y="307850"/>
                    <a:pt x="700752" y="321702"/>
                  </a:cubicBezTo>
                  <a:cubicBezTo>
                    <a:pt x="691432" y="335596"/>
                    <a:pt x="684448" y="351120"/>
                    <a:pt x="680087" y="367306"/>
                  </a:cubicBezTo>
                  <a:lnTo>
                    <a:pt x="678537" y="373416"/>
                  </a:lnTo>
                  <a:lnTo>
                    <a:pt x="677814" y="376472"/>
                  </a:lnTo>
                  <a:lnTo>
                    <a:pt x="677298" y="379568"/>
                  </a:lnTo>
                  <a:cubicBezTo>
                    <a:pt x="676616" y="383718"/>
                    <a:pt x="675975" y="387847"/>
                    <a:pt x="675479" y="391996"/>
                  </a:cubicBezTo>
                  <a:cubicBezTo>
                    <a:pt x="675190" y="396146"/>
                    <a:pt x="674962" y="400316"/>
                    <a:pt x="674818" y="404486"/>
                  </a:cubicBezTo>
                  <a:lnTo>
                    <a:pt x="674714" y="407438"/>
                  </a:lnTo>
                  <a:lnTo>
                    <a:pt x="674714" y="644127"/>
                  </a:lnTo>
                  <a:lnTo>
                    <a:pt x="544938" y="482563"/>
                  </a:lnTo>
                  <a:lnTo>
                    <a:pt x="544938" y="199652"/>
                  </a:lnTo>
                  <a:cubicBezTo>
                    <a:pt x="544814" y="195544"/>
                    <a:pt x="544628" y="191353"/>
                    <a:pt x="544359" y="187204"/>
                  </a:cubicBezTo>
                  <a:lnTo>
                    <a:pt x="544153" y="184086"/>
                  </a:lnTo>
                  <a:lnTo>
                    <a:pt x="543739" y="180969"/>
                  </a:lnTo>
                  <a:lnTo>
                    <a:pt x="542809" y="174755"/>
                  </a:lnTo>
                  <a:cubicBezTo>
                    <a:pt x="542479" y="172691"/>
                    <a:pt x="542148" y="170626"/>
                    <a:pt x="541776" y="168562"/>
                  </a:cubicBezTo>
                  <a:lnTo>
                    <a:pt x="540268" y="162451"/>
                  </a:lnTo>
                  <a:cubicBezTo>
                    <a:pt x="536238" y="146163"/>
                    <a:pt x="529584" y="130473"/>
                    <a:pt x="520388" y="116476"/>
                  </a:cubicBezTo>
                  <a:cubicBezTo>
                    <a:pt x="511274" y="102438"/>
                    <a:pt x="499929" y="89927"/>
                    <a:pt x="486890" y="79481"/>
                  </a:cubicBezTo>
                  <a:cubicBezTo>
                    <a:pt x="460852" y="58548"/>
                    <a:pt x="427271" y="46636"/>
                    <a:pt x="393938" y="46120"/>
                  </a:cubicBezTo>
                  <a:lnTo>
                    <a:pt x="153769" y="46016"/>
                  </a:lnTo>
                  <a:cubicBezTo>
                    <a:pt x="137113" y="46140"/>
                    <a:pt x="120333" y="48865"/>
                    <a:pt x="104400" y="54212"/>
                  </a:cubicBezTo>
                  <a:cubicBezTo>
                    <a:pt x="88426" y="59497"/>
                    <a:pt x="73485" y="67631"/>
                    <a:pt x="60259" y="77809"/>
                  </a:cubicBezTo>
                  <a:cubicBezTo>
                    <a:pt x="46992" y="88007"/>
                    <a:pt x="35420" y="100291"/>
                    <a:pt x="26017" y="114143"/>
                  </a:cubicBezTo>
                  <a:cubicBezTo>
                    <a:pt x="16718" y="128057"/>
                    <a:pt x="9733" y="143561"/>
                    <a:pt x="5352" y="159767"/>
                  </a:cubicBezTo>
                  <a:lnTo>
                    <a:pt x="3802" y="165857"/>
                  </a:lnTo>
                  <a:lnTo>
                    <a:pt x="3079" y="168933"/>
                  </a:lnTo>
                  <a:lnTo>
                    <a:pt x="2562" y="172030"/>
                  </a:lnTo>
                  <a:cubicBezTo>
                    <a:pt x="1901" y="176159"/>
                    <a:pt x="1240" y="180308"/>
                    <a:pt x="765" y="184458"/>
                  </a:cubicBezTo>
                  <a:cubicBezTo>
                    <a:pt x="475" y="188607"/>
                    <a:pt x="248" y="192778"/>
                    <a:pt x="83" y="196927"/>
                  </a:cubicBezTo>
                  <a:lnTo>
                    <a:pt x="0" y="199879"/>
                  </a:lnTo>
                  <a:lnTo>
                    <a:pt x="0" y="1108523"/>
                  </a:lnTo>
                  <a:cubicBezTo>
                    <a:pt x="124" y="1112652"/>
                    <a:pt x="310" y="1116843"/>
                    <a:pt x="579" y="1120992"/>
                  </a:cubicBezTo>
                  <a:lnTo>
                    <a:pt x="785" y="1124110"/>
                  </a:lnTo>
                  <a:lnTo>
                    <a:pt x="1199" y="1127206"/>
                  </a:lnTo>
                  <a:lnTo>
                    <a:pt x="2129" y="1133420"/>
                  </a:lnTo>
                  <a:cubicBezTo>
                    <a:pt x="2459" y="1135505"/>
                    <a:pt x="2790" y="1137570"/>
                    <a:pt x="3162" y="1139614"/>
                  </a:cubicBezTo>
                  <a:lnTo>
                    <a:pt x="4670" y="1145745"/>
                  </a:lnTo>
                  <a:cubicBezTo>
                    <a:pt x="8700" y="1162013"/>
                    <a:pt x="15354" y="1177723"/>
                    <a:pt x="24550" y="1191700"/>
                  </a:cubicBezTo>
                  <a:cubicBezTo>
                    <a:pt x="33663" y="1205738"/>
                    <a:pt x="45009" y="1218248"/>
                    <a:pt x="58048" y="1228694"/>
                  </a:cubicBezTo>
                  <a:cubicBezTo>
                    <a:pt x="84107" y="1249628"/>
                    <a:pt x="117667" y="1261560"/>
                    <a:pt x="151020" y="1262076"/>
                  </a:cubicBezTo>
                  <a:lnTo>
                    <a:pt x="391169" y="1262159"/>
                  </a:lnTo>
                  <a:cubicBezTo>
                    <a:pt x="407825" y="1262035"/>
                    <a:pt x="424605" y="1259331"/>
                    <a:pt x="440538" y="1253963"/>
                  </a:cubicBezTo>
                  <a:cubicBezTo>
                    <a:pt x="456512" y="1248699"/>
                    <a:pt x="471453" y="1240565"/>
                    <a:pt x="484699" y="1230366"/>
                  </a:cubicBezTo>
                  <a:cubicBezTo>
                    <a:pt x="497945" y="1220189"/>
                    <a:pt x="509518" y="1207905"/>
                    <a:pt x="518920" y="1194053"/>
                  </a:cubicBezTo>
                  <a:cubicBezTo>
                    <a:pt x="528240" y="1180139"/>
                    <a:pt x="535205" y="1164614"/>
                    <a:pt x="539586" y="1148429"/>
                  </a:cubicBezTo>
                  <a:lnTo>
                    <a:pt x="541135" y="1142318"/>
                  </a:lnTo>
                  <a:lnTo>
                    <a:pt x="541859" y="1139263"/>
                  </a:lnTo>
                  <a:lnTo>
                    <a:pt x="542375" y="1136166"/>
                  </a:lnTo>
                  <a:cubicBezTo>
                    <a:pt x="543037" y="1132037"/>
                    <a:pt x="543698" y="1127888"/>
                    <a:pt x="544173" y="1123738"/>
                  </a:cubicBezTo>
                  <a:cubicBezTo>
                    <a:pt x="544463" y="1119589"/>
                    <a:pt x="544690" y="1115418"/>
                    <a:pt x="544855" y="1111248"/>
                  </a:cubicBezTo>
                  <a:lnTo>
                    <a:pt x="544938" y="1108296"/>
                  </a:lnTo>
                  <a:lnTo>
                    <a:pt x="544938" y="674846"/>
                  </a:lnTo>
                  <a:lnTo>
                    <a:pt x="674714" y="836409"/>
                  </a:lnTo>
                  <a:lnTo>
                    <a:pt x="674714" y="1316082"/>
                  </a:lnTo>
                  <a:cubicBezTo>
                    <a:pt x="674838" y="1320211"/>
                    <a:pt x="675045" y="1324402"/>
                    <a:pt x="675293" y="1328551"/>
                  </a:cubicBezTo>
                  <a:lnTo>
                    <a:pt x="675500" y="1331648"/>
                  </a:lnTo>
                  <a:lnTo>
                    <a:pt x="675934" y="1334765"/>
                  </a:lnTo>
                  <a:lnTo>
                    <a:pt x="676843" y="1340979"/>
                  </a:lnTo>
                  <a:cubicBezTo>
                    <a:pt x="677174" y="1343044"/>
                    <a:pt x="677504" y="1345108"/>
                    <a:pt x="677897" y="1347173"/>
                  </a:cubicBezTo>
                  <a:lnTo>
                    <a:pt x="679385" y="1353283"/>
                  </a:lnTo>
                  <a:cubicBezTo>
                    <a:pt x="683414" y="1369572"/>
                    <a:pt x="690089" y="1385262"/>
                    <a:pt x="699265" y="1399259"/>
                  </a:cubicBezTo>
                  <a:cubicBezTo>
                    <a:pt x="708378" y="1413297"/>
                    <a:pt x="719723" y="1425807"/>
                    <a:pt x="732783" y="1436253"/>
                  </a:cubicBezTo>
                  <a:cubicBezTo>
                    <a:pt x="758821" y="1457187"/>
                    <a:pt x="792381" y="1469099"/>
                    <a:pt x="825735" y="1469615"/>
                  </a:cubicBezTo>
                  <a:lnTo>
                    <a:pt x="838940" y="1469615"/>
                  </a:lnTo>
                  <a:lnTo>
                    <a:pt x="838940" y="1956699"/>
                  </a:lnTo>
                  <a:cubicBezTo>
                    <a:pt x="838940" y="2017332"/>
                    <a:pt x="888309" y="2066631"/>
                    <a:pt x="948981" y="2066631"/>
                  </a:cubicBezTo>
                  <a:lnTo>
                    <a:pt x="951916" y="2066631"/>
                  </a:lnTo>
                  <a:cubicBezTo>
                    <a:pt x="1012588" y="2066631"/>
                    <a:pt x="1061957" y="2017332"/>
                    <a:pt x="1061957" y="1956699"/>
                  </a:cubicBezTo>
                  <a:lnTo>
                    <a:pt x="1061957" y="1469718"/>
                  </a:lnTo>
                  <a:lnTo>
                    <a:pt x="1065904" y="1469718"/>
                  </a:lnTo>
                  <a:cubicBezTo>
                    <a:pt x="1074232" y="1469656"/>
                    <a:pt x="1082581" y="1468954"/>
                    <a:pt x="1090847" y="1467571"/>
                  </a:cubicBezTo>
                  <a:cubicBezTo>
                    <a:pt x="1099113" y="1466208"/>
                    <a:pt x="1107296" y="1464206"/>
                    <a:pt x="1115252" y="1461522"/>
                  </a:cubicBezTo>
                  <a:cubicBezTo>
                    <a:pt x="1131226" y="1456258"/>
                    <a:pt x="1146188" y="1448124"/>
                    <a:pt x="1159414" y="1437926"/>
                  </a:cubicBezTo>
                  <a:cubicBezTo>
                    <a:pt x="1172660" y="1427748"/>
                    <a:pt x="1184253" y="1415444"/>
                    <a:pt x="1193635" y="1401591"/>
                  </a:cubicBezTo>
                  <a:cubicBezTo>
                    <a:pt x="1202955" y="1387677"/>
                    <a:pt x="1209919" y="1372173"/>
                    <a:pt x="1214300" y="1355967"/>
                  </a:cubicBezTo>
                  <a:lnTo>
                    <a:pt x="1215850" y="1349877"/>
                  </a:lnTo>
                  <a:lnTo>
                    <a:pt x="1216573" y="1346801"/>
                  </a:lnTo>
                  <a:lnTo>
                    <a:pt x="1217090" y="1343704"/>
                  </a:lnTo>
                  <a:cubicBezTo>
                    <a:pt x="1217772" y="1339576"/>
                    <a:pt x="1218412" y="1335426"/>
                    <a:pt x="1218908" y="1331276"/>
                  </a:cubicBezTo>
                  <a:cubicBezTo>
                    <a:pt x="1219198" y="1327127"/>
                    <a:pt x="1219425" y="1322977"/>
                    <a:pt x="1219570" y="1318807"/>
                  </a:cubicBezTo>
                  <a:lnTo>
                    <a:pt x="1219673" y="1315855"/>
                  </a:lnTo>
                  <a:lnTo>
                    <a:pt x="1219673" y="840290"/>
                  </a:lnTo>
                  <a:lnTo>
                    <a:pt x="1348272" y="680172"/>
                  </a:lnTo>
                  <a:lnTo>
                    <a:pt x="1348272" y="1108523"/>
                  </a:lnTo>
                  <a:cubicBezTo>
                    <a:pt x="1348396" y="1112652"/>
                    <a:pt x="1348602" y="1116843"/>
                    <a:pt x="1348850" y="1120992"/>
                  </a:cubicBezTo>
                  <a:lnTo>
                    <a:pt x="1349078" y="1124110"/>
                  </a:lnTo>
                  <a:lnTo>
                    <a:pt x="1349491" y="1127206"/>
                  </a:lnTo>
                  <a:lnTo>
                    <a:pt x="1350400" y="1133420"/>
                  </a:lnTo>
                  <a:cubicBezTo>
                    <a:pt x="1350731" y="1135505"/>
                    <a:pt x="1351061" y="1137570"/>
                    <a:pt x="1351454" y="1139614"/>
                  </a:cubicBezTo>
                  <a:lnTo>
                    <a:pt x="1352942" y="1145745"/>
                  </a:lnTo>
                  <a:cubicBezTo>
                    <a:pt x="1356972" y="1162013"/>
                    <a:pt x="1363646" y="1177723"/>
                    <a:pt x="1372842" y="1191700"/>
                  </a:cubicBezTo>
                  <a:cubicBezTo>
                    <a:pt x="1381956" y="1205738"/>
                    <a:pt x="1393280" y="1218248"/>
                    <a:pt x="1406340" y="1228694"/>
                  </a:cubicBezTo>
                  <a:cubicBezTo>
                    <a:pt x="1432378" y="1249628"/>
                    <a:pt x="1465938" y="1261560"/>
                    <a:pt x="1499292" y="1262076"/>
                  </a:cubicBezTo>
                  <a:lnTo>
                    <a:pt x="1739461" y="1262159"/>
                  </a:lnTo>
                  <a:cubicBezTo>
                    <a:pt x="1756097" y="1262035"/>
                    <a:pt x="1772897" y="1259331"/>
                    <a:pt x="1788809" y="1253963"/>
                  </a:cubicBezTo>
                  <a:cubicBezTo>
                    <a:pt x="1804784" y="1248699"/>
                    <a:pt x="1819745" y="1240565"/>
                    <a:pt x="1832971" y="1230366"/>
                  </a:cubicBezTo>
                  <a:cubicBezTo>
                    <a:pt x="1846217" y="1220189"/>
                    <a:pt x="1857810" y="1207905"/>
                    <a:pt x="1867213" y="1194053"/>
                  </a:cubicBezTo>
                  <a:cubicBezTo>
                    <a:pt x="1876512" y="1180139"/>
                    <a:pt x="1883497" y="1164614"/>
                    <a:pt x="1887857" y="1148429"/>
                  </a:cubicBezTo>
                  <a:lnTo>
                    <a:pt x="1889407" y="1142318"/>
                  </a:lnTo>
                  <a:lnTo>
                    <a:pt x="1890130" y="1139263"/>
                  </a:lnTo>
                  <a:lnTo>
                    <a:pt x="1890647" y="1136166"/>
                  </a:lnTo>
                  <a:cubicBezTo>
                    <a:pt x="1891329" y="1132037"/>
                    <a:pt x="1891969" y="1127888"/>
                    <a:pt x="1892465" y="1123738"/>
                  </a:cubicBezTo>
                  <a:cubicBezTo>
                    <a:pt x="1892755" y="1119589"/>
                    <a:pt x="1892982" y="1115418"/>
                    <a:pt x="1893127" y="1111248"/>
                  </a:cubicBezTo>
                  <a:lnTo>
                    <a:pt x="1893230" y="1108296"/>
                  </a:lnTo>
                  <a:lnTo>
                    <a:pt x="1893230" y="199652"/>
                  </a:lnTo>
                  <a:cubicBezTo>
                    <a:pt x="1893106" y="195544"/>
                    <a:pt x="1892899" y="191353"/>
                    <a:pt x="1892651" y="187204"/>
                  </a:cubicBezTo>
                  <a:close/>
                  <a:moveTo>
                    <a:pt x="502905" y="1108296"/>
                  </a:moveTo>
                  <a:lnTo>
                    <a:pt x="502822" y="1110526"/>
                  </a:lnTo>
                  <a:lnTo>
                    <a:pt x="502347" y="1119609"/>
                  </a:lnTo>
                  <a:cubicBezTo>
                    <a:pt x="501975" y="1122623"/>
                    <a:pt x="501479" y="1125637"/>
                    <a:pt x="501025" y="1128631"/>
                  </a:cubicBezTo>
                  <a:lnTo>
                    <a:pt x="500673" y="1130881"/>
                  </a:lnTo>
                  <a:lnTo>
                    <a:pt x="500115" y="1133111"/>
                  </a:lnTo>
                  <a:lnTo>
                    <a:pt x="498999" y="1137529"/>
                  </a:lnTo>
                  <a:cubicBezTo>
                    <a:pt x="495817" y="1149275"/>
                    <a:pt x="490775" y="1160526"/>
                    <a:pt x="484017" y="1170663"/>
                  </a:cubicBezTo>
                  <a:cubicBezTo>
                    <a:pt x="477177" y="1180717"/>
                    <a:pt x="468725" y="1189656"/>
                    <a:pt x="459095" y="1197067"/>
                  </a:cubicBezTo>
                  <a:cubicBezTo>
                    <a:pt x="439939" y="1212138"/>
                    <a:pt x="415430" y="1219982"/>
                    <a:pt x="391169" y="1220168"/>
                  </a:cubicBezTo>
                  <a:lnTo>
                    <a:pt x="151764" y="1220086"/>
                  </a:lnTo>
                  <a:lnTo>
                    <a:pt x="142651" y="1219611"/>
                  </a:lnTo>
                  <a:cubicBezTo>
                    <a:pt x="139634" y="1219239"/>
                    <a:pt x="136637" y="1218744"/>
                    <a:pt x="133620" y="1218290"/>
                  </a:cubicBezTo>
                  <a:lnTo>
                    <a:pt x="131368" y="1217918"/>
                  </a:lnTo>
                  <a:lnTo>
                    <a:pt x="129157" y="1217381"/>
                  </a:lnTo>
                  <a:lnTo>
                    <a:pt x="124714" y="1216246"/>
                  </a:lnTo>
                  <a:cubicBezTo>
                    <a:pt x="123246" y="1215854"/>
                    <a:pt x="121759" y="1215503"/>
                    <a:pt x="120312" y="1215069"/>
                  </a:cubicBezTo>
                  <a:lnTo>
                    <a:pt x="116014" y="1213521"/>
                  </a:lnTo>
                  <a:cubicBezTo>
                    <a:pt x="104565" y="1209392"/>
                    <a:pt x="93675" y="1203529"/>
                    <a:pt x="84231" y="1195849"/>
                  </a:cubicBezTo>
                  <a:cubicBezTo>
                    <a:pt x="65302" y="1180675"/>
                    <a:pt x="51105" y="1159350"/>
                    <a:pt x="45442" y="1135588"/>
                  </a:cubicBezTo>
                  <a:lnTo>
                    <a:pt x="44327" y="1131149"/>
                  </a:lnTo>
                  <a:lnTo>
                    <a:pt x="43603" y="1126649"/>
                  </a:lnTo>
                  <a:lnTo>
                    <a:pt x="42921" y="1122148"/>
                  </a:lnTo>
                  <a:lnTo>
                    <a:pt x="42611" y="1119878"/>
                  </a:lnTo>
                  <a:lnTo>
                    <a:pt x="42467" y="1117607"/>
                  </a:lnTo>
                  <a:lnTo>
                    <a:pt x="42033" y="1108523"/>
                  </a:lnTo>
                  <a:lnTo>
                    <a:pt x="42033" y="199879"/>
                  </a:lnTo>
                  <a:lnTo>
                    <a:pt x="42115" y="197670"/>
                  </a:lnTo>
                  <a:lnTo>
                    <a:pt x="42591" y="188566"/>
                  </a:lnTo>
                  <a:cubicBezTo>
                    <a:pt x="42963" y="185552"/>
                    <a:pt x="43459" y="182559"/>
                    <a:pt x="43913" y="179545"/>
                  </a:cubicBezTo>
                  <a:lnTo>
                    <a:pt x="44285" y="177294"/>
                  </a:lnTo>
                  <a:lnTo>
                    <a:pt x="44823" y="175085"/>
                  </a:lnTo>
                  <a:lnTo>
                    <a:pt x="45959" y="170647"/>
                  </a:lnTo>
                  <a:cubicBezTo>
                    <a:pt x="49142" y="158900"/>
                    <a:pt x="54163" y="147649"/>
                    <a:pt x="60921" y="137533"/>
                  </a:cubicBezTo>
                  <a:cubicBezTo>
                    <a:pt x="67781" y="127479"/>
                    <a:pt x="76213" y="118540"/>
                    <a:pt x="85843" y="111129"/>
                  </a:cubicBezTo>
                  <a:cubicBezTo>
                    <a:pt x="104999" y="96038"/>
                    <a:pt x="129508" y="88214"/>
                    <a:pt x="153769" y="88007"/>
                  </a:cubicBezTo>
                  <a:lnTo>
                    <a:pt x="393174" y="88090"/>
                  </a:lnTo>
                  <a:lnTo>
                    <a:pt x="402287" y="88565"/>
                  </a:lnTo>
                  <a:cubicBezTo>
                    <a:pt x="405304" y="88957"/>
                    <a:pt x="408300" y="89432"/>
                    <a:pt x="411317" y="89906"/>
                  </a:cubicBezTo>
                  <a:lnTo>
                    <a:pt x="413570" y="90257"/>
                  </a:lnTo>
                  <a:lnTo>
                    <a:pt x="415781" y="90815"/>
                  </a:lnTo>
                  <a:lnTo>
                    <a:pt x="420224" y="91930"/>
                  </a:lnTo>
                  <a:cubicBezTo>
                    <a:pt x="421691" y="92322"/>
                    <a:pt x="423179" y="92693"/>
                    <a:pt x="424626" y="93127"/>
                  </a:cubicBezTo>
                  <a:lnTo>
                    <a:pt x="428924" y="94675"/>
                  </a:lnTo>
                  <a:cubicBezTo>
                    <a:pt x="440373" y="98784"/>
                    <a:pt x="451263" y="104647"/>
                    <a:pt x="460707" y="112326"/>
                  </a:cubicBezTo>
                  <a:cubicBezTo>
                    <a:pt x="479636" y="127500"/>
                    <a:pt x="493833" y="148846"/>
                    <a:pt x="499495" y="172608"/>
                  </a:cubicBezTo>
                  <a:lnTo>
                    <a:pt x="500611" y="177026"/>
                  </a:lnTo>
                  <a:lnTo>
                    <a:pt x="501335" y="181526"/>
                  </a:lnTo>
                  <a:lnTo>
                    <a:pt x="502016" y="186048"/>
                  </a:lnTo>
                  <a:lnTo>
                    <a:pt x="502347" y="188298"/>
                  </a:lnTo>
                  <a:lnTo>
                    <a:pt x="502471" y="190569"/>
                  </a:lnTo>
                  <a:lnTo>
                    <a:pt x="502905" y="199652"/>
                  </a:lnTo>
                  <a:lnTo>
                    <a:pt x="502905" y="1108296"/>
                  </a:lnTo>
                  <a:close/>
                  <a:moveTo>
                    <a:pt x="674714" y="770450"/>
                  </a:moveTo>
                  <a:lnTo>
                    <a:pt x="544938" y="608887"/>
                  </a:lnTo>
                  <a:lnTo>
                    <a:pt x="544938" y="548543"/>
                  </a:lnTo>
                  <a:lnTo>
                    <a:pt x="674714" y="710086"/>
                  </a:lnTo>
                  <a:lnTo>
                    <a:pt x="674714" y="770450"/>
                  </a:lnTo>
                  <a:close/>
                  <a:moveTo>
                    <a:pt x="880270" y="109932"/>
                  </a:moveTo>
                  <a:cubicBezTo>
                    <a:pt x="880270" y="72090"/>
                    <a:pt x="911102" y="41289"/>
                    <a:pt x="948981" y="41289"/>
                  </a:cubicBezTo>
                  <a:lnTo>
                    <a:pt x="951916" y="41289"/>
                  </a:lnTo>
                  <a:cubicBezTo>
                    <a:pt x="989795" y="41289"/>
                    <a:pt x="1020627" y="72090"/>
                    <a:pt x="1020627" y="109932"/>
                  </a:cubicBezTo>
                  <a:lnTo>
                    <a:pt x="1020627" y="253637"/>
                  </a:lnTo>
                  <a:lnTo>
                    <a:pt x="880270" y="253575"/>
                  </a:lnTo>
                  <a:lnTo>
                    <a:pt x="880270" y="109932"/>
                  </a:lnTo>
                  <a:close/>
                  <a:moveTo>
                    <a:pt x="1020627" y="1956699"/>
                  </a:moveTo>
                  <a:cubicBezTo>
                    <a:pt x="1020627" y="1994541"/>
                    <a:pt x="989795" y="2025342"/>
                    <a:pt x="951916" y="2025342"/>
                  </a:cubicBezTo>
                  <a:lnTo>
                    <a:pt x="948981" y="2025342"/>
                  </a:lnTo>
                  <a:cubicBezTo>
                    <a:pt x="911102" y="2025342"/>
                    <a:pt x="880270" y="1994541"/>
                    <a:pt x="880270" y="1956699"/>
                  </a:cubicBezTo>
                  <a:lnTo>
                    <a:pt x="880270" y="1469635"/>
                  </a:lnTo>
                  <a:lnTo>
                    <a:pt x="1020627" y="1469697"/>
                  </a:lnTo>
                  <a:lnTo>
                    <a:pt x="1020627" y="1956699"/>
                  </a:lnTo>
                  <a:close/>
                  <a:moveTo>
                    <a:pt x="1177640" y="1315855"/>
                  </a:moveTo>
                  <a:lnTo>
                    <a:pt x="1177558" y="1318064"/>
                  </a:lnTo>
                  <a:lnTo>
                    <a:pt x="1177082" y="1327168"/>
                  </a:lnTo>
                  <a:cubicBezTo>
                    <a:pt x="1176710" y="1330182"/>
                    <a:pt x="1176214" y="1333176"/>
                    <a:pt x="1175739" y="1336190"/>
                  </a:cubicBezTo>
                  <a:lnTo>
                    <a:pt x="1175388" y="1338440"/>
                  </a:lnTo>
                  <a:lnTo>
                    <a:pt x="1174850" y="1340649"/>
                  </a:lnTo>
                  <a:lnTo>
                    <a:pt x="1173714" y="1345088"/>
                  </a:lnTo>
                  <a:cubicBezTo>
                    <a:pt x="1170531" y="1356834"/>
                    <a:pt x="1165510" y="1368086"/>
                    <a:pt x="1158732" y="1378201"/>
                  </a:cubicBezTo>
                  <a:cubicBezTo>
                    <a:pt x="1151891" y="1388276"/>
                    <a:pt x="1143460" y="1397194"/>
                    <a:pt x="1133830" y="1404605"/>
                  </a:cubicBezTo>
                  <a:cubicBezTo>
                    <a:pt x="1114674" y="1419697"/>
                    <a:pt x="1090144" y="1427521"/>
                    <a:pt x="1065904" y="1427727"/>
                  </a:cubicBezTo>
                  <a:lnTo>
                    <a:pt x="1061957" y="1427727"/>
                  </a:lnTo>
                  <a:lnTo>
                    <a:pt x="1020627" y="1427686"/>
                  </a:lnTo>
                  <a:lnTo>
                    <a:pt x="880270" y="1427645"/>
                  </a:lnTo>
                  <a:lnTo>
                    <a:pt x="826479" y="1427645"/>
                  </a:lnTo>
                  <a:lnTo>
                    <a:pt x="817386" y="1427170"/>
                  </a:lnTo>
                  <a:cubicBezTo>
                    <a:pt x="814369" y="1426778"/>
                    <a:pt x="811352" y="1426303"/>
                    <a:pt x="808355" y="1425828"/>
                  </a:cubicBezTo>
                  <a:lnTo>
                    <a:pt x="806103" y="1425477"/>
                  </a:lnTo>
                  <a:lnTo>
                    <a:pt x="803871" y="1424940"/>
                  </a:lnTo>
                  <a:lnTo>
                    <a:pt x="799449" y="1423805"/>
                  </a:lnTo>
                  <a:cubicBezTo>
                    <a:pt x="797982" y="1423413"/>
                    <a:pt x="796494" y="1423041"/>
                    <a:pt x="795026" y="1422628"/>
                  </a:cubicBezTo>
                  <a:lnTo>
                    <a:pt x="790728" y="1421080"/>
                  </a:lnTo>
                  <a:cubicBezTo>
                    <a:pt x="779280" y="1416951"/>
                    <a:pt x="768389" y="1411088"/>
                    <a:pt x="758966" y="1403408"/>
                  </a:cubicBezTo>
                  <a:cubicBezTo>
                    <a:pt x="740037" y="1388234"/>
                    <a:pt x="725840" y="1366888"/>
                    <a:pt x="720178" y="1343126"/>
                  </a:cubicBezTo>
                  <a:lnTo>
                    <a:pt x="719062" y="1338709"/>
                  </a:lnTo>
                  <a:lnTo>
                    <a:pt x="718338" y="1334208"/>
                  </a:lnTo>
                  <a:lnTo>
                    <a:pt x="717656" y="1329687"/>
                  </a:lnTo>
                  <a:lnTo>
                    <a:pt x="717326" y="1327437"/>
                  </a:lnTo>
                  <a:lnTo>
                    <a:pt x="717202" y="1325166"/>
                  </a:lnTo>
                  <a:lnTo>
                    <a:pt x="716747" y="1316082"/>
                  </a:lnTo>
                  <a:lnTo>
                    <a:pt x="716747" y="407438"/>
                  </a:lnTo>
                  <a:lnTo>
                    <a:pt x="716830" y="405209"/>
                  </a:lnTo>
                  <a:lnTo>
                    <a:pt x="717305" y="396125"/>
                  </a:lnTo>
                  <a:cubicBezTo>
                    <a:pt x="717677" y="393111"/>
                    <a:pt x="718173" y="390097"/>
                    <a:pt x="718648" y="387104"/>
                  </a:cubicBezTo>
                  <a:lnTo>
                    <a:pt x="719000" y="384853"/>
                  </a:lnTo>
                  <a:lnTo>
                    <a:pt x="719537" y="382624"/>
                  </a:lnTo>
                  <a:lnTo>
                    <a:pt x="720674" y="378206"/>
                  </a:lnTo>
                  <a:cubicBezTo>
                    <a:pt x="723856" y="366459"/>
                    <a:pt x="728878" y="355208"/>
                    <a:pt x="735656" y="345072"/>
                  </a:cubicBezTo>
                  <a:cubicBezTo>
                    <a:pt x="742496" y="335018"/>
                    <a:pt x="750927" y="326079"/>
                    <a:pt x="760557" y="318667"/>
                  </a:cubicBezTo>
                  <a:cubicBezTo>
                    <a:pt x="779714" y="303597"/>
                    <a:pt x="804243" y="295752"/>
                    <a:pt x="828483" y="295566"/>
                  </a:cubicBezTo>
                  <a:lnTo>
                    <a:pt x="880270" y="295566"/>
                  </a:lnTo>
                  <a:lnTo>
                    <a:pt x="1020627" y="295649"/>
                  </a:lnTo>
                  <a:lnTo>
                    <a:pt x="1067909" y="295649"/>
                  </a:lnTo>
                  <a:lnTo>
                    <a:pt x="1077001" y="296124"/>
                  </a:lnTo>
                  <a:cubicBezTo>
                    <a:pt x="1080018" y="296495"/>
                    <a:pt x="1083036" y="296991"/>
                    <a:pt x="1086032" y="297445"/>
                  </a:cubicBezTo>
                  <a:lnTo>
                    <a:pt x="1088284" y="297816"/>
                  </a:lnTo>
                  <a:lnTo>
                    <a:pt x="1090516" y="298353"/>
                  </a:lnTo>
                  <a:lnTo>
                    <a:pt x="1094939" y="299489"/>
                  </a:lnTo>
                  <a:cubicBezTo>
                    <a:pt x="1096406" y="299881"/>
                    <a:pt x="1097894" y="300232"/>
                    <a:pt x="1099361" y="300665"/>
                  </a:cubicBezTo>
                  <a:lnTo>
                    <a:pt x="1103659" y="302214"/>
                  </a:lnTo>
                  <a:cubicBezTo>
                    <a:pt x="1115108" y="306343"/>
                    <a:pt x="1125998" y="312206"/>
                    <a:pt x="1135421" y="319885"/>
                  </a:cubicBezTo>
                  <a:cubicBezTo>
                    <a:pt x="1154351" y="335059"/>
                    <a:pt x="1168547" y="356385"/>
                    <a:pt x="1174210" y="380146"/>
                  </a:cubicBezTo>
                  <a:lnTo>
                    <a:pt x="1175326" y="384585"/>
                  </a:lnTo>
                  <a:lnTo>
                    <a:pt x="1176049" y="389086"/>
                  </a:lnTo>
                  <a:lnTo>
                    <a:pt x="1176731" y="393586"/>
                  </a:lnTo>
                  <a:lnTo>
                    <a:pt x="1177062" y="395857"/>
                  </a:lnTo>
                  <a:lnTo>
                    <a:pt x="1177186" y="398128"/>
                  </a:lnTo>
                  <a:lnTo>
                    <a:pt x="1177640" y="407211"/>
                  </a:lnTo>
                  <a:lnTo>
                    <a:pt x="1177640" y="1315855"/>
                  </a:lnTo>
                  <a:close/>
                  <a:moveTo>
                    <a:pt x="1348272" y="614213"/>
                  </a:moveTo>
                  <a:lnTo>
                    <a:pt x="1219673" y="774311"/>
                  </a:lnTo>
                  <a:lnTo>
                    <a:pt x="1219673" y="713967"/>
                  </a:lnTo>
                  <a:lnTo>
                    <a:pt x="1348272" y="553849"/>
                  </a:lnTo>
                  <a:lnTo>
                    <a:pt x="1348272" y="614213"/>
                  </a:lnTo>
                  <a:close/>
                  <a:moveTo>
                    <a:pt x="1851197" y="1108296"/>
                  </a:moveTo>
                  <a:lnTo>
                    <a:pt x="1851115" y="1110526"/>
                  </a:lnTo>
                  <a:lnTo>
                    <a:pt x="1850639" y="1119609"/>
                  </a:lnTo>
                  <a:cubicBezTo>
                    <a:pt x="1850267" y="1122623"/>
                    <a:pt x="1849771" y="1125637"/>
                    <a:pt x="1849317" y="1128631"/>
                  </a:cubicBezTo>
                  <a:lnTo>
                    <a:pt x="1848945" y="1130881"/>
                  </a:lnTo>
                  <a:lnTo>
                    <a:pt x="1848408" y="1133111"/>
                  </a:lnTo>
                  <a:lnTo>
                    <a:pt x="1847271" y="1137529"/>
                  </a:lnTo>
                  <a:cubicBezTo>
                    <a:pt x="1844089" y="1149275"/>
                    <a:pt x="1839067" y="1160526"/>
                    <a:pt x="1832289" y="1170663"/>
                  </a:cubicBezTo>
                  <a:cubicBezTo>
                    <a:pt x="1825449" y="1180717"/>
                    <a:pt x="1817017" y="1189656"/>
                    <a:pt x="1807387" y="1197067"/>
                  </a:cubicBezTo>
                  <a:cubicBezTo>
                    <a:pt x="1788231" y="1212138"/>
                    <a:pt x="1763701" y="1219982"/>
                    <a:pt x="1739461" y="1220168"/>
                  </a:cubicBezTo>
                  <a:lnTo>
                    <a:pt x="1500036" y="1220086"/>
                  </a:lnTo>
                  <a:lnTo>
                    <a:pt x="1490943" y="1219611"/>
                  </a:lnTo>
                  <a:cubicBezTo>
                    <a:pt x="1487926" y="1219239"/>
                    <a:pt x="1484909" y="1218744"/>
                    <a:pt x="1481913" y="1218290"/>
                  </a:cubicBezTo>
                  <a:lnTo>
                    <a:pt x="1479660" y="1217918"/>
                  </a:lnTo>
                  <a:lnTo>
                    <a:pt x="1477428" y="1217381"/>
                  </a:lnTo>
                  <a:lnTo>
                    <a:pt x="1473006" y="1216246"/>
                  </a:lnTo>
                  <a:cubicBezTo>
                    <a:pt x="1471539" y="1215854"/>
                    <a:pt x="1470051" y="1215503"/>
                    <a:pt x="1468584" y="1215069"/>
                  </a:cubicBezTo>
                  <a:lnTo>
                    <a:pt x="1464285" y="1213521"/>
                  </a:lnTo>
                  <a:cubicBezTo>
                    <a:pt x="1452837" y="1209392"/>
                    <a:pt x="1441946" y="1203529"/>
                    <a:pt x="1432523" y="1195849"/>
                  </a:cubicBezTo>
                  <a:cubicBezTo>
                    <a:pt x="1413594" y="1180675"/>
                    <a:pt x="1399397" y="1159350"/>
                    <a:pt x="1393735" y="1135588"/>
                  </a:cubicBezTo>
                  <a:lnTo>
                    <a:pt x="1392619" y="1131149"/>
                  </a:lnTo>
                  <a:lnTo>
                    <a:pt x="1391896" y="1126649"/>
                  </a:lnTo>
                  <a:lnTo>
                    <a:pt x="1391214" y="1122148"/>
                  </a:lnTo>
                  <a:lnTo>
                    <a:pt x="1390883" y="1119878"/>
                  </a:lnTo>
                  <a:lnTo>
                    <a:pt x="1390759" y="1117607"/>
                  </a:lnTo>
                  <a:lnTo>
                    <a:pt x="1390304" y="1108523"/>
                  </a:lnTo>
                  <a:lnTo>
                    <a:pt x="1390304" y="199879"/>
                  </a:lnTo>
                  <a:lnTo>
                    <a:pt x="1390387" y="197670"/>
                  </a:lnTo>
                  <a:lnTo>
                    <a:pt x="1390862" y="188566"/>
                  </a:lnTo>
                  <a:cubicBezTo>
                    <a:pt x="1391234" y="185552"/>
                    <a:pt x="1391730" y="182559"/>
                    <a:pt x="1392206" y="179545"/>
                  </a:cubicBezTo>
                  <a:lnTo>
                    <a:pt x="1392557" y="177294"/>
                  </a:lnTo>
                  <a:lnTo>
                    <a:pt x="1393094" y="175085"/>
                  </a:lnTo>
                  <a:lnTo>
                    <a:pt x="1394231" y="170647"/>
                  </a:lnTo>
                  <a:cubicBezTo>
                    <a:pt x="1397413" y="158900"/>
                    <a:pt x="1402455" y="147649"/>
                    <a:pt x="1409213" y="137533"/>
                  </a:cubicBezTo>
                  <a:cubicBezTo>
                    <a:pt x="1416053" y="127479"/>
                    <a:pt x="1424484" y="118540"/>
                    <a:pt x="1434114" y="111129"/>
                  </a:cubicBezTo>
                  <a:cubicBezTo>
                    <a:pt x="1453291" y="96038"/>
                    <a:pt x="1477800" y="88214"/>
                    <a:pt x="1502040" y="88007"/>
                  </a:cubicBezTo>
                  <a:lnTo>
                    <a:pt x="1741466" y="88090"/>
                  </a:lnTo>
                  <a:lnTo>
                    <a:pt x="1750558" y="88565"/>
                  </a:lnTo>
                  <a:cubicBezTo>
                    <a:pt x="1753576" y="88957"/>
                    <a:pt x="1756593" y="89432"/>
                    <a:pt x="1759589" y="89906"/>
                  </a:cubicBezTo>
                  <a:lnTo>
                    <a:pt x="1761862" y="90257"/>
                  </a:lnTo>
                  <a:lnTo>
                    <a:pt x="1764073" y="90815"/>
                  </a:lnTo>
                  <a:lnTo>
                    <a:pt x="1768496" y="91930"/>
                  </a:lnTo>
                  <a:cubicBezTo>
                    <a:pt x="1769984" y="92322"/>
                    <a:pt x="1771451" y="92693"/>
                    <a:pt x="1772918" y="93127"/>
                  </a:cubicBezTo>
                  <a:lnTo>
                    <a:pt x="1777216" y="94675"/>
                  </a:lnTo>
                  <a:cubicBezTo>
                    <a:pt x="1788665" y="98784"/>
                    <a:pt x="1799555" y="104647"/>
                    <a:pt x="1808979" y="112326"/>
                  </a:cubicBezTo>
                  <a:cubicBezTo>
                    <a:pt x="1827908" y="127500"/>
                    <a:pt x="1842105" y="148846"/>
                    <a:pt x="1847767" y="172608"/>
                  </a:cubicBezTo>
                  <a:lnTo>
                    <a:pt x="1848883" y="177026"/>
                  </a:lnTo>
                  <a:lnTo>
                    <a:pt x="1849627" y="181526"/>
                  </a:lnTo>
                  <a:lnTo>
                    <a:pt x="1850288" y="186048"/>
                  </a:lnTo>
                  <a:lnTo>
                    <a:pt x="1850619" y="188298"/>
                  </a:lnTo>
                  <a:lnTo>
                    <a:pt x="1850743" y="190569"/>
                  </a:lnTo>
                  <a:lnTo>
                    <a:pt x="1851197" y="199652"/>
                  </a:lnTo>
                  <a:lnTo>
                    <a:pt x="1851197" y="1108296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41" name="Freeform 89">
              <a:extLst>
                <a:ext uri="{FF2B5EF4-FFF2-40B4-BE49-F238E27FC236}">
                  <a16:creationId xmlns:a16="http://schemas.microsoft.com/office/drawing/2014/main" id="{155289F4-5D36-1627-D7FE-39562BCAAEEB}"/>
                </a:ext>
              </a:extLst>
            </p:cNvPr>
            <p:cNvSpPr/>
            <p:nvPr/>
          </p:nvSpPr>
          <p:spPr>
            <a:xfrm>
              <a:off x="3128533" y="3074729"/>
              <a:ext cx="379637" cy="1050966"/>
            </a:xfrm>
            <a:custGeom>
              <a:avLst/>
              <a:gdLst>
                <a:gd name="connsiteX0" fmla="*/ 379328 w 379637"/>
                <a:gd name="connsiteY0" fmla="*/ 65236 h 1050966"/>
                <a:gd name="connsiteX1" fmla="*/ 379266 w 379637"/>
                <a:gd name="connsiteY1" fmla="*/ 63771 h 1050966"/>
                <a:gd name="connsiteX2" fmla="*/ 379039 w 379637"/>
                <a:gd name="connsiteY2" fmla="*/ 62346 h 1050966"/>
                <a:gd name="connsiteX3" fmla="*/ 378584 w 379637"/>
                <a:gd name="connsiteY3" fmla="*/ 59477 h 1050966"/>
                <a:gd name="connsiteX4" fmla="*/ 378171 w 379637"/>
                <a:gd name="connsiteY4" fmla="*/ 56607 h 1050966"/>
                <a:gd name="connsiteX5" fmla="*/ 377427 w 379637"/>
                <a:gd name="connsiteY5" fmla="*/ 53820 h 1050966"/>
                <a:gd name="connsiteX6" fmla="*/ 352732 w 379637"/>
                <a:gd name="connsiteY6" fmla="*/ 15483 h 1050966"/>
                <a:gd name="connsiteX7" fmla="*/ 332542 w 379637"/>
                <a:gd name="connsiteY7" fmla="*/ 4253 h 1050966"/>
                <a:gd name="connsiteX8" fmla="*/ 329835 w 379637"/>
                <a:gd name="connsiteY8" fmla="*/ 3241 h 1050966"/>
                <a:gd name="connsiteX9" fmla="*/ 327025 w 379637"/>
                <a:gd name="connsiteY9" fmla="*/ 2539 h 1050966"/>
                <a:gd name="connsiteX10" fmla="*/ 324214 w 379637"/>
                <a:gd name="connsiteY10" fmla="*/ 1796 h 1050966"/>
                <a:gd name="connsiteX11" fmla="*/ 322809 w 379637"/>
                <a:gd name="connsiteY11" fmla="*/ 1424 h 1050966"/>
                <a:gd name="connsiteX12" fmla="*/ 321362 w 379637"/>
                <a:gd name="connsiteY12" fmla="*/ 1239 h 1050966"/>
                <a:gd name="connsiteX13" fmla="*/ 315638 w 379637"/>
                <a:gd name="connsiteY13" fmla="*/ 351 h 1050966"/>
                <a:gd name="connsiteX14" fmla="*/ 309811 w 379637"/>
                <a:gd name="connsiteY14" fmla="*/ 83 h 1050966"/>
                <a:gd name="connsiteX15" fmla="*/ 304582 w 379637"/>
                <a:gd name="connsiteY15" fmla="*/ 83 h 1050966"/>
                <a:gd name="connsiteX16" fmla="*/ 263252 w 379637"/>
                <a:gd name="connsiteY16" fmla="*/ 41 h 1050966"/>
                <a:gd name="connsiteX17" fmla="*/ 122895 w 379637"/>
                <a:gd name="connsiteY17" fmla="*/ 0 h 1050966"/>
                <a:gd name="connsiteX18" fmla="*/ 71109 w 379637"/>
                <a:gd name="connsiteY18" fmla="*/ 0 h 1050966"/>
                <a:gd name="connsiteX19" fmla="*/ 27919 w 379637"/>
                <a:gd name="connsiteY19" fmla="*/ 14719 h 1050966"/>
                <a:gd name="connsiteX20" fmla="*/ 12006 w 379637"/>
                <a:gd name="connsiteY20" fmla="*/ 31545 h 1050966"/>
                <a:gd name="connsiteX21" fmla="*/ 2542 w 379637"/>
                <a:gd name="connsiteY21" fmla="*/ 52581 h 1050966"/>
                <a:gd name="connsiteX22" fmla="*/ 1798 w 379637"/>
                <a:gd name="connsiteY22" fmla="*/ 55389 h 1050966"/>
                <a:gd name="connsiteX23" fmla="*/ 1447 w 379637"/>
                <a:gd name="connsiteY23" fmla="*/ 56772 h 1050966"/>
                <a:gd name="connsiteX24" fmla="*/ 1240 w 379637"/>
                <a:gd name="connsiteY24" fmla="*/ 58217 h 1050966"/>
                <a:gd name="connsiteX25" fmla="*/ 372 w 379637"/>
                <a:gd name="connsiteY25" fmla="*/ 63956 h 1050966"/>
                <a:gd name="connsiteX26" fmla="*/ 83 w 379637"/>
                <a:gd name="connsiteY26" fmla="*/ 69778 h 1050966"/>
                <a:gd name="connsiteX27" fmla="*/ 0 w 379637"/>
                <a:gd name="connsiteY27" fmla="*/ 71285 h 1050966"/>
                <a:gd name="connsiteX28" fmla="*/ 0 w 379637"/>
                <a:gd name="connsiteY28" fmla="*/ 979929 h 1050966"/>
                <a:gd name="connsiteX29" fmla="*/ 310 w 379637"/>
                <a:gd name="connsiteY29" fmla="*/ 985751 h 1050966"/>
                <a:gd name="connsiteX30" fmla="*/ 372 w 379637"/>
                <a:gd name="connsiteY30" fmla="*/ 987196 h 1050966"/>
                <a:gd name="connsiteX31" fmla="*/ 599 w 379637"/>
                <a:gd name="connsiteY31" fmla="*/ 988641 h 1050966"/>
                <a:gd name="connsiteX32" fmla="*/ 1054 w 379637"/>
                <a:gd name="connsiteY32" fmla="*/ 991490 h 1050966"/>
                <a:gd name="connsiteX33" fmla="*/ 1467 w 379637"/>
                <a:gd name="connsiteY33" fmla="*/ 994359 h 1050966"/>
                <a:gd name="connsiteX34" fmla="*/ 2211 w 379637"/>
                <a:gd name="connsiteY34" fmla="*/ 997167 h 1050966"/>
                <a:gd name="connsiteX35" fmla="*/ 26885 w 379637"/>
                <a:gd name="connsiteY35" fmla="*/ 1035504 h 1050966"/>
                <a:gd name="connsiteX36" fmla="*/ 47096 w 379637"/>
                <a:gd name="connsiteY36" fmla="*/ 1046714 h 1050966"/>
                <a:gd name="connsiteX37" fmla="*/ 49803 w 379637"/>
                <a:gd name="connsiteY37" fmla="*/ 1047725 h 1050966"/>
                <a:gd name="connsiteX38" fmla="*/ 52613 w 379637"/>
                <a:gd name="connsiteY38" fmla="*/ 1048448 h 1050966"/>
                <a:gd name="connsiteX39" fmla="*/ 55424 w 379637"/>
                <a:gd name="connsiteY39" fmla="*/ 1049170 h 1050966"/>
                <a:gd name="connsiteX40" fmla="*/ 56829 w 379637"/>
                <a:gd name="connsiteY40" fmla="*/ 1049542 h 1050966"/>
                <a:gd name="connsiteX41" fmla="*/ 58255 w 379637"/>
                <a:gd name="connsiteY41" fmla="*/ 1049748 h 1050966"/>
                <a:gd name="connsiteX42" fmla="*/ 64000 w 379637"/>
                <a:gd name="connsiteY42" fmla="*/ 1050616 h 1050966"/>
                <a:gd name="connsiteX43" fmla="*/ 69827 w 379637"/>
                <a:gd name="connsiteY43" fmla="*/ 1050905 h 1050966"/>
                <a:gd name="connsiteX44" fmla="*/ 122895 w 379637"/>
                <a:gd name="connsiteY44" fmla="*/ 1050905 h 1050966"/>
                <a:gd name="connsiteX45" fmla="*/ 263252 w 379637"/>
                <a:gd name="connsiteY45" fmla="*/ 1050966 h 1050966"/>
                <a:gd name="connsiteX46" fmla="*/ 308529 w 379637"/>
                <a:gd name="connsiteY46" fmla="*/ 1050966 h 1050966"/>
                <a:gd name="connsiteX47" fmla="*/ 331344 w 379637"/>
                <a:gd name="connsiteY47" fmla="*/ 1047168 h 1050966"/>
                <a:gd name="connsiteX48" fmla="*/ 351719 w 379637"/>
                <a:gd name="connsiteY48" fmla="*/ 1036268 h 1050966"/>
                <a:gd name="connsiteX49" fmla="*/ 367611 w 379637"/>
                <a:gd name="connsiteY49" fmla="*/ 1019442 h 1050966"/>
                <a:gd name="connsiteX50" fmla="*/ 377096 w 379637"/>
                <a:gd name="connsiteY50" fmla="*/ 998406 h 1050966"/>
                <a:gd name="connsiteX51" fmla="*/ 377819 w 379637"/>
                <a:gd name="connsiteY51" fmla="*/ 995598 h 1050966"/>
                <a:gd name="connsiteX52" fmla="*/ 378191 w 379637"/>
                <a:gd name="connsiteY52" fmla="*/ 994194 h 1050966"/>
                <a:gd name="connsiteX53" fmla="*/ 378398 w 379637"/>
                <a:gd name="connsiteY53" fmla="*/ 992770 h 1050966"/>
                <a:gd name="connsiteX54" fmla="*/ 379266 w 379637"/>
                <a:gd name="connsiteY54" fmla="*/ 987031 h 1050966"/>
                <a:gd name="connsiteX55" fmla="*/ 379555 w 379637"/>
                <a:gd name="connsiteY55" fmla="*/ 981209 h 1050966"/>
                <a:gd name="connsiteX56" fmla="*/ 379638 w 379637"/>
                <a:gd name="connsiteY56" fmla="*/ 979702 h 1050966"/>
                <a:gd name="connsiteX57" fmla="*/ 379638 w 379637"/>
                <a:gd name="connsiteY57" fmla="*/ 71058 h 1050966"/>
                <a:gd name="connsiteX58" fmla="*/ 379328 w 379637"/>
                <a:gd name="connsiteY58" fmla="*/ 65236 h 1050966"/>
                <a:gd name="connsiteX59" fmla="*/ 337605 w 379637"/>
                <a:gd name="connsiteY59" fmla="*/ 979702 h 1050966"/>
                <a:gd name="connsiteX60" fmla="*/ 337564 w 379637"/>
                <a:gd name="connsiteY60" fmla="*/ 980177 h 1050966"/>
                <a:gd name="connsiteX61" fmla="*/ 337523 w 379637"/>
                <a:gd name="connsiteY61" fmla="*/ 980486 h 1050966"/>
                <a:gd name="connsiteX62" fmla="*/ 337440 w 379637"/>
                <a:gd name="connsiteY62" fmla="*/ 982902 h 1050966"/>
                <a:gd name="connsiteX63" fmla="*/ 337047 w 379637"/>
                <a:gd name="connsiteY63" fmla="*/ 985235 h 1050966"/>
                <a:gd name="connsiteX64" fmla="*/ 337006 w 379637"/>
                <a:gd name="connsiteY64" fmla="*/ 985833 h 1050966"/>
                <a:gd name="connsiteX65" fmla="*/ 336820 w 379637"/>
                <a:gd name="connsiteY65" fmla="*/ 986391 h 1050966"/>
                <a:gd name="connsiteX66" fmla="*/ 336510 w 379637"/>
                <a:gd name="connsiteY66" fmla="*/ 987505 h 1050966"/>
                <a:gd name="connsiteX67" fmla="*/ 332708 w 379637"/>
                <a:gd name="connsiteY67" fmla="*/ 996052 h 1050966"/>
                <a:gd name="connsiteX68" fmla="*/ 326115 w 379637"/>
                <a:gd name="connsiteY68" fmla="*/ 1002948 h 1050966"/>
                <a:gd name="connsiteX69" fmla="*/ 317849 w 379637"/>
                <a:gd name="connsiteY69" fmla="*/ 1007407 h 1050966"/>
                <a:gd name="connsiteX70" fmla="*/ 308529 w 379637"/>
                <a:gd name="connsiteY70" fmla="*/ 1008996 h 1050966"/>
                <a:gd name="connsiteX71" fmla="*/ 304582 w 379637"/>
                <a:gd name="connsiteY71" fmla="*/ 1008996 h 1050966"/>
                <a:gd name="connsiteX72" fmla="*/ 263252 w 379637"/>
                <a:gd name="connsiteY72" fmla="*/ 1008955 h 1050966"/>
                <a:gd name="connsiteX73" fmla="*/ 122895 w 379637"/>
                <a:gd name="connsiteY73" fmla="*/ 1008955 h 1050966"/>
                <a:gd name="connsiteX74" fmla="*/ 81565 w 379637"/>
                <a:gd name="connsiteY74" fmla="*/ 1008914 h 1050966"/>
                <a:gd name="connsiteX75" fmla="*/ 70571 w 379637"/>
                <a:gd name="connsiteY75" fmla="*/ 1008914 h 1050966"/>
                <a:gd name="connsiteX76" fmla="*/ 68133 w 379637"/>
                <a:gd name="connsiteY76" fmla="*/ 1008831 h 1050966"/>
                <a:gd name="connsiteX77" fmla="*/ 65798 w 379637"/>
                <a:gd name="connsiteY77" fmla="*/ 1008439 h 1050966"/>
                <a:gd name="connsiteX78" fmla="*/ 65219 w 379637"/>
                <a:gd name="connsiteY78" fmla="*/ 1008398 h 1050966"/>
                <a:gd name="connsiteX79" fmla="*/ 64661 w 379637"/>
                <a:gd name="connsiteY79" fmla="*/ 1008212 h 1050966"/>
                <a:gd name="connsiteX80" fmla="*/ 63524 w 379637"/>
                <a:gd name="connsiteY80" fmla="*/ 1007902 h 1050966"/>
                <a:gd name="connsiteX81" fmla="*/ 62388 w 379637"/>
                <a:gd name="connsiteY81" fmla="*/ 1007675 h 1050966"/>
                <a:gd name="connsiteX82" fmla="*/ 61313 w 379637"/>
                <a:gd name="connsiteY82" fmla="*/ 1007200 h 1050966"/>
                <a:gd name="connsiteX83" fmla="*/ 53089 w 379637"/>
                <a:gd name="connsiteY83" fmla="*/ 1002659 h 1050966"/>
                <a:gd name="connsiteX84" fmla="*/ 43004 w 379637"/>
                <a:gd name="connsiteY84" fmla="*/ 987010 h 1050966"/>
                <a:gd name="connsiteX85" fmla="*/ 42632 w 379637"/>
                <a:gd name="connsiteY85" fmla="*/ 985895 h 1050966"/>
                <a:gd name="connsiteX86" fmla="*/ 42529 w 379637"/>
                <a:gd name="connsiteY86" fmla="*/ 984718 h 1050966"/>
                <a:gd name="connsiteX87" fmla="*/ 42322 w 379637"/>
                <a:gd name="connsiteY87" fmla="*/ 983562 h 1050966"/>
                <a:gd name="connsiteX88" fmla="*/ 42198 w 379637"/>
                <a:gd name="connsiteY88" fmla="*/ 982984 h 1050966"/>
                <a:gd name="connsiteX89" fmla="*/ 42198 w 379637"/>
                <a:gd name="connsiteY89" fmla="*/ 982365 h 1050966"/>
                <a:gd name="connsiteX90" fmla="*/ 42033 w 379637"/>
                <a:gd name="connsiteY90" fmla="*/ 979929 h 1050966"/>
                <a:gd name="connsiteX91" fmla="*/ 42033 w 379637"/>
                <a:gd name="connsiteY91" fmla="*/ 71285 h 1050966"/>
                <a:gd name="connsiteX92" fmla="*/ 42074 w 379637"/>
                <a:gd name="connsiteY92" fmla="*/ 70810 h 1050966"/>
                <a:gd name="connsiteX93" fmla="*/ 42115 w 379637"/>
                <a:gd name="connsiteY93" fmla="*/ 70501 h 1050966"/>
                <a:gd name="connsiteX94" fmla="*/ 42198 w 379637"/>
                <a:gd name="connsiteY94" fmla="*/ 68085 h 1050966"/>
                <a:gd name="connsiteX95" fmla="*/ 42591 w 379637"/>
                <a:gd name="connsiteY95" fmla="*/ 65752 h 1050966"/>
                <a:gd name="connsiteX96" fmla="*/ 42632 w 379637"/>
                <a:gd name="connsiteY96" fmla="*/ 65154 h 1050966"/>
                <a:gd name="connsiteX97" fmla="*/ 42818 w 379637"/>
                <a:gd name="connsiteY97" fmla="*/ 64596 h 1050966"/>
                <a:gd name="connsiteX98" fmla="*/ 43128 w 379637"/>
                <a:gd name="connsiteY98" fmla="*/ 63461 h 1050966"/>
                <a:gd name="connsiteX99" fmla="*/ 46930 w 379637"/>
                <a:gd name="connsiteY99" fmla="*/ 54935 h 1050966"/>
                <a:gd name="connsiteX100" fmla="*/ 53523 w 379637"/>
                <a:gd name="connsiteY100" fmla="*/ 48019 h 1050966"/>
                <a:gd name="connsiteX101" fmla="*/ 61789 w 379637"/>
                <a:gd name="connsiteY101" fmla="*/ 43580 h 1050966"/>
                <a:gd name="connsiteX102" fmla="*/ 71109 w 379637"/>
                <a:gd name="connsiteY102" fmla="*/ 41991 h 1050966"/>
                <a:gd name="connsiteX103" fmla="*/ 122895 w 379637"/>
                <a:gd name="connsiteY103" fmla="*/ 41991 h 1050966"/>
                <a:gd name="connsiteX104" fmla="*/ 263252 w 379637"/>
                <a:gd name="connsiteY104" fmla="*/ 42053 h 1050966"/>
                <a:gd name="connsiteX105" fmla="*/ 309046 w 379637"/>
                <a:gd name="connsiteY105" fmla="*/ 42053 h 1050966"/>
                <a:gd name="connsiteX106" fmla="*/ 309087 w 379637"/>
                <a:gd name="connsiteY106" fmla="*/ 40009 h 1050966"/>
                <a:gd name="connsiteX107" fmla="*/ 309087 w 379637"/>
                <a:gd name="connsiteY107" fmla="*/ 40009 h 1050966"/>
                <a:gd name="connsiteX108" fmla="*/ 309046 w 379637"/>
                <a:gd name="connsiteY108" fmla="*/ 42053 h 1050966"/>
                <a:gd name="connsiteX109" fmla="*/ 311464 w 379637"/>
                <a:gd name="connsiteY109" fmla="*/ 42135 h 1050966"/>
                <a:gd name="connsiteX110" fmla="*/ 313799 w 379637"/>
                <a:gd name="connsiteY110" fmla="*/ 42548 h 1050966"/>
                <a:gd name="connsiteX111" fmla="*/ 314398 w 379637"/>
                <a:gd name="connsiteY111" fmla="*/ 42548 h 1050966"/>
                <a:gd name="connsiteX112" fmla="*/ 314956 w 379637"/>
                <a:gd name="connsiteY112" fmla="*/ 42775 h 1050966"/>
                <a:gd name="connsiteX113" fmla="*/ 316093 w 379637"/>
                <a:gd name="connsiteY113" fmla="*/ 43085 h 1050966"/>
                <a:gd name="connsiteX114" fmla="*/ 317229 w 379637"/>
                <a:gd name="connsiteY114" fmla="*/ 43312 h 1050966"/>
                <a:gd name="connsiteX115" fmla="*/ 318304 w 379637"/>
                <a:gd name="connsiteY115" fmla="*/ 43787 h 1050966"/>
                <a:gd name="connsiteX116" fmla="*/ 326529 w 379637"/>
                <a:gd name="connsiteY116" fmla="*/ 48329 h 1050966"/>
                <a:gd name="connsiteX117" fmla="*/ 336613 w 379637"/>
                <a:gd name="connsiteY117" fmla="*/ 63956 h 1050966"/>
                <a:gd name="connsiteX118" fmla="*/ 336965 w 379637"/>
                <a:gd name="connsiteY118" fmla="*/ 65071 h 1050966"/>
                <a:gd name="connsiteX119" fmla="*/ 337089 w 379637"/>
                <a:gd name="connsiteY119" fmla="*/ 66269 h 1050966"/>
                <a:gd name="connsiteX120" fmla="*/ 337295 w 379637"/>
                <a:gd name="connsiteY120" fmla="*/ 67425 h 1050966"/>
                <a:gd name="connsiteX121" fmla="*/ 337419 w 379637"/>
                <a:gd name="connsiteY121" fmla="*/ 68003 h 1050966"/>
                <a:gd name="connsiteX122" fmla="*/ 337419 w 379637"/>
                <a:gd name="connsiteY122" fmla="*/ 68622 h 1050966"/>
                <a:gd name="connsiteX123" fmla="*/ 337584 w 379637"/>
                <a:gd name="connsiteY123" fmla="*/ 71058 h 1050966"/>
                <a:gd name="connsiteX124" fmla="*/ 337584 w 379637"/>
                <a:gd name="connsiteY124" fmla="*/ 979702 h 1050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379637" h="1050966">
                  <a:moveTo>
                    <a:pt x="379328" y="65236"/>
                  </a:moveTo>
                  <a:lnTo>
                    <a:pt x="379266" y="63771"/>
                  </a:lnTo>
                  <a:lnTo>
                    <a:pt x="379039" y="62346"/>
                  </a:lnTo>
                  <a:lnTo>
                    <a:pt x="378584" y="59477"/>
                  </a:lnTo>
                  <a:lnTo>
                    <a:pt x="378171" y="56607"/>
                  </a:lnTo>
                  <a:lnTo>
                    <a:pt x="377427" y="53820"/>
                  </a:lnTo>
                  <a:cubicBezTo>
                    <a:pt x="373914" y="38750"/>
                    <a:pt x="364780" y="25207"/>
                    <a:pt x="352732" y="15483"/>
                  </a:cubicBezTo>
                  <a:cubicBezTo>
                    <a:pt x="346739" y="10529"/>
                    <a:pt x="339796" y="6875"/>
                    <a:pt x="332542" y="4253"/>
                  </a:cubicBezTo>
                  <a:lnTo>
                    <a:pt x="329835" y="3241"/>
                  </a:lnTo>
                  <a:cubicBezTo>
                    <a:pt x="328905" y="2973"/>
                    <a:pt x="327955" y="2787"/>
                    <a:pt x="327025" y="2539"/>
                  </a:cubicBezTo>
                  <a:lnTo>
                    <a:pt x="324214" y="1796"/>
                  </a:lnTo>
                  <a:lnTo>
                    <a:pt x="322809" y="1424"/>
                  </a:lnTo>
                  <a:lnTo>
                    <a:pt x="321362" y="1239"/>
                  </a:lnTo>
                  <a:lnTo>
                    <a:pt x="315638" y="351"/>
                  </a:lnTo>
                  <a:lnTo>
                    <a:pt x="309811" y="83"/>
                  </a:lnTo>
                  <a:lnTo>
                    <a:pt x="304582" y="83"/>
                  </a:lnTo>
                  <a:lnTo>
                    <a:pt x="263252" y="41"/>
                  </a:lnTo>
                  <a:lnTo>
                    <a:pt x="122895" y="0"/>
                  </a:lnTo>
                  <a:lnTo>
                    <a:pt x="71109" y="0"/>
                  </a:lnTo>
                  <a:cubicBezTo>
                    <a:pt x="55589" y="248"/>
                    <a:pt x="40152" y="5037"/>
                    <a:pt x="27919" y="14719"/>
                  </a:cubicBezTo>
                  <a:cubicBezTo>
                    <a:pt x="21781" y="19447"/>
                    <a:pt x="16408" y="25145"/>
                    <a:pt x="12006" y="31545"/>
                  </a:cubicBezTo>
                  <a:cubicBezTo>
                    <a:pt x="7708" y="37986"/>
                    <a:pt x="4567" y="45149"/>
                    <a:pt x="2542" y="52581"/>
                  </a:cubicBezTo>
                  <a:lnTo>
                    <a:pt x="1798" y="55389"/>
                  </a:lnTo>
                  <a:cubicBezTo>
                    <a:pt x="1695" y="55843"/>
                    <a:pt x="1550" y="56318"/>
                    <a:pt x="1447" y="56772"/>
                  </a:cubicBezTo>
                  <a:lnTo>
                    <a:pt x="1240" y="58217"/>
                  </a:lnTo>
                  <a:lnTo>
                    <a:pt x="372" y="63956"/>
                  </a:lnTo>
                  <a:lnTo>
                    <a:pt x="83" y="69778"/>
                  </a:lnTo>
                  <a:cubicBezTo>
                    <a:pt x="62" y="70274"/>
                    <a:pt x="21" y="70687"/>
                    <a:pt x="0" y="71285"/>
                  </a:cubicBezTo>
                  <a:lnTo>
                    <a:pt x="0" y="979929"/>
                  </a:lnTo>
                  <a:lnTo>
                    <a:pt x="310" y="985751"/>
                  </a:lnTo>
                  <a:lnTo>
                    <a:pt x="372" y="987196"/>
                  </a:lnTo>
                  <a:lnTo>
                    <a:pt x="599" y="988641"/>
                  </a:lnTo>
                  <a:lnTo>
                    <a:pt x="1054" y="991490"/>
                  </a:lnTo>
                  <a:lnTo>
                    <a:pt x="1467" y="994359"/>
                  </a:lnTo>
                  <a:lnTo>
                    <a:pt x="2211" y="997167"/>
                  </a:lnTo>
                  <a:cubicBezTo>
                    <a:pt x="5724" y="1012238"/>
                    <a:pt x="14858" y="1025780"/>
                    <a:pt x="26885" y="1035504"/>
                  </a:cubicBezTo>
                  <a:cubicBezTo>
                    <a:pt x="32878" y="1040438"/>
                    <a:pt x="39842" y="1044113"/>
                    <a:pt x="47096" y="1046714"/>
                  </a:cubicBezTo>
                  <a:lnTo>
                    <a:pt x="49803" y="1047725"/>
                  </a:lnTo>
                  <a:cubicBezTo>
                    <a:pt x="50733" y="1047994"/>
                    <a:pt x="51683" y="1048200"/>
                    <a:pt x="52613" y="1048448"/>
                  </a:cubicBezTo>
                  <a:lnTo>
                    <a:pt x="55424" y="1049170"/>
                  </a:lnTo>
                  <a:lnTo>
                    <a:pt x="56829" y="1049542"/>
                  </a:lnTo>
                  <a:lnTo>
                    <a:pt x="58255" y="1049748"/>
                  </a:lnTo>
                  <a:lnTo>
                    <a:pt x="64000" y="1050616"/>
                  </a:lnTo>
                  <a:lnTo>
                    <a:pt x="69827" y="1050905"/>
                  </a:lnTo>
                  <a:lnTo>
                    <a:pt x="122895" y="1050905"/>
                  </a:lnTo>
                  <a:lnTo>
                    <a:pt x="263252" y="1050966"/>
                  </a:lnTo>
                  <a:lnTo>
                    <a:pt x="308529" y="1050966"/>
                  </a:lnTo>
                  <a:cubicBezTo>
                    <a:pt x="316279" y="1050863"/>
                    <a:pt x="324008" y="1049604"/>
                    <a:pt x="331344" y="1047168"/>
                  </a:cubicBezTo>
                  <a:cubicBezTo>
                    <a:pt x="338680" y="1044732"/>
                    <a:pt x="345603" y="1041098"/>
                    <a:pt x="351719" y="1036268"/>
                  </a:cubicBezTo>
                  <a:cubicBezTo>
                    <a:pt x="357836" y="1031540"/>
                    <a:pt x="363230" y="1025842"/>
                    <a:pt x="367611" y="1019442"/>
                  </a:cubicBezTo>
                  <a:cubicBezTo>
                    <a:pt x="371909" y="1012981"/>
                    <a:pt x="375071" y="1005838"/>
                    <a:pt x="377096" y="998406"/>
                  </a:cubicBezTo>
                  <a:lnTo>
                    <a:pt x="377819" y="995598"/>
                  </a:lnTo>
                  <a:cubicBezTo>
                    <a:pt x="377943" y="995123"/>
                    <a:pt x="378088" y="994669"/>
                    <a:pt x="378191" y="994194"/>
                  </a:cubicBezTo>
                  <a:lnTo>
                    <a:pt x="378398" y="992770"/>
                  </a:lnTo>
                  <a:lnTo>
                    <a:pt x="379266" y="987031"/>
                  </a:lnTo>
                  <a:lnTo>
                    <a:pt x="379555" y="981209"/>
                  </a:lnTo>
                  <a:cubicBezTo>
                    <a:pt x="379576" y="980693"/>
                    <a:pt x="379617" y="980301"/>
                    <a:pt x="379638" y="979702"/>
                  </a:cubicBezTo>
                  <a:lnTo>
                    <a:pt x="379638" y="71058"/>
                  </a:lnTo>
                  <a:lnTo>
                    <a:pt x="379328" y="65236"/>
                  </a:lnTo>
                  <a:close/>
                  <a:moveTo>
                    <a:pt x="337605" y="979702"/>
                  </a:moveTo>
                  <a:cubicBezTo>
                    <a:pt x="337605" y="980115"/>
                    <a:pt x="337584" y="980012"/>
                    <a:pt x="337564" y="980177"/>
                  </a:cubicBezTo>
                  <a:lnTo>
                    <a:pt x="337523" y="980486"/>
                  </a:lnTo>
                  <a:cubicBezTo>
                    <a:pt x="337440" y="981291"/>
                    <a:pt x="337399" y="982097"/>
                    <a:pt x="337440" y="982902"/>
                  </a:cubicBezTo>
                  <a:cubicBezTo>
                    <a:pt x="337295" y="983686"/>
                    <a:pt x="337109" y="984450"/>
                    <a:pt x="337047" y="985235"/>
                  </a:cubicBezTo>
                  <a:lnTo>
                    <a:pt x="337006" y="985833"/>
                  </a:lnTo>
                  <a:cubicBezTo>
                    <a:pt x="336965" y="986019"/>
                    <a:pt x="336882" y="986205"/>
                    <a:pt x="336820" y="986391"/>
                  </a:cubicBezTo>
                  <a:cubicBezTo>
                    <a:pt x="336696" y="986762"/>
                    <a:pt x="336593" y="987134"/>
                    <a:pt x="336510" y="987505"/>
                  </a:cubicBezTo>
                  <a:cubicBezTo>
                    <a:pt x="335683" y="990499"/>
                    <a:pt x="334464" y="993389"/>
                    <a:pt x="332708" y="996052"/>
                  </a:cubicBezTo>
                  <a:cubicBezTo>
                    <a:pt x="330868" y="998653"/>
                    <a:pt x="328637" y="1001007"/>
                    <a:pt x="326115" y="1002948"/>
                  </a:cubicBezTo>
                  <a:cubicBezTo>
                    <a:pt x="323615" y="1004909"/>
                    <a:pt x="320846" y="1006519"/>
                    <a:pt x="317849" y="1007407"/>
                  </a:cubicBezTo>
                  <a:cubicBezTo>
                    <a:pt x="314894" y="1008336"/>
                    <a:pt x="311815" y="1008852"/>
                    <a:pt x="308529" y="1008996"/>
                  </a:cubicBezTo>
                  <a:lnTo>
                    <a:pt x="304582" y="1008996"/>
                  </a:lnTo>
                  <a:lnTo>
                    <a:pt x="263252" y="1008955"/>
                  </a:lnTo>
                  <a:lnTo>
                    <a:pt x="122895" y="1008955"/>
                  </a:lnTo>
                  <a:lnTo>
                    <a:pt x="81565" y="1008914"/>
                  </a:lnTo>
                  <a:lnTo>
                    <a:pt x="70571" y="1008914"/>
                  </a:lnTo>
                  <a:cubicBezTo>
                    <a:pt x="69765" y="1008831"/>
                    <a:pt x="68959" y="1008790"/>
                    <a:pt x="68133" y="1008831"/>
                  </a:cubicBezTo>
                  <a:cubicBezTo>
                    <a:pt x="67368" y="1008687"/>
                    <a:pt x="66604" y="1008501"/>
                    <a:pt x="65798" y="1008439"/>
                  </a:cubicBezTo>
                  <a:lnTo>
                    <a:pt x="65219" y="1008398"/>
                  </a:lnTo>
                  <a:lnTo>
                    <a:pt x="64661" y="1008212"/>
                  </a:lnTo>
                  <a:cubicBezTo>
                    <a:pt x="64289" y="1008088"/>
                    <a:pt x="63917" y="1007985"/>
                    <a:pt x="63524" y="1007902"/>
                  </a:cubicBezTo>
                  <a:lnTo>
                    <a:pt x="62388" y="1007675"/>
                  </a:lnTo>
                  <a:cubicBezTo>
                    <a:pt x="62037" y="1007489"/>
                    <a:pt x="61665" y="1007345"/>
                    <a:pt x="61313" y="1007200"/>
                  </a:cubicBezTo>
                  <a:cubicBezTo>
                    <a:pt x="58399" y="1006147"/>
                    <a:pt x="55506" y="1004764"/>
                    <a:pt x="53089" y="1002659"/>
                  </a:cubicBezTo>
                  <a:cubicBezTo>
                    <a:pt x="48170" y="998591"/>
                    <a:pt x="44285" y="993100"/>
                    <a:pt x="43004" y="987010"/>
                  </a:cubicBezTo>
                  <a:cubicBezTo>
                    <a:pt x="42901" y="986638"/>
                    <a:pt x="42777" y="986267"/>
                    <a:pt x="42632" y="985895"/>
                  </a:cubicBezTo>
                  <a:cubicBezTo>
                    <a:pt x="42632" y="985503"/>
                    <a:pt x="42591" y="985111"/>
                    <a:pt x="42529" y="984718"/>
                  </a:cubicBezTo>
                  <a:cubicBezTo>
                    <a:pt x="42487" y="984326"/>
                    <a:pt x="42405" y="983955"/>
                    <a:pt x="42322" y="983562"/>
                  </a:cubicBezTo>
                  <a:lnTo>
                    <a:pt x="42198" y="982984"/>
                  </a:lnTo>
                  <a:lnTo>
                    <a:pt x="42198" y="982365"/>
                  </a:lnTo>
                  <a:cubicBezTo>
                    <a:pt x="42219" y="981539"/>
                    <a:pt x="42157" y="980775"/>
                    <a:pt x="42033" y="979929"/>
                  </a:cubicBezTo>
                  <a:lnTo>
                    <a:pt x="42033" y="71285"/>
                  </a:lnTo>
                  <a:cubicBezTo>
                    <a:pt x="42033" y="70872"/>
                    <a:pt x="42053" y="70976"/>
                    <a:pt x="42074" y="70810"/>
                  </a:cubicBezTo>
                  <a:lnTo>
                    <a:pt x="42115" y="70501"/>
                  </a:lnTo>
                  <a:cubicBezTo>
                    <a:pt x="42198" y="69696"/>
                    <a:pt x="42239" y="68890"/>
                    <a:pt x="42198" y="68085"/>
                  </a:cubicBezTo>
                  <a:cubicBezTo>
                    <a:pt x="42343" y="67301"/>
                    <a:pt x="42529" y="66537"/>
                    <a:pt x="42591" y="65752"/>
                  </a:cubicBezTo>
                  <a:lnTo>
                    <a:pt x="42632" y="65154"/>
                  </a:lnTo>
                  <a:cubicBezTo>
                    <a:pt x="42673" y="64968"/>
                    <a:pt x="42756" y="64782"/>
                    <a:pt x="42818" y="64596"/>
                  </a:cubicBezTo>
                  <a:cubicBezTo>
                    <a:pt x="42942" y="64225"/>
                    <a:pt x="43045" y="63853"/>
                    <a:pt x="43128" y="63461"/>
                  </a:cubicBezTo>
                  <a:cubicBezTo>
                    <a:pt x="43955" y="60488"/>
                    <a:pt x="45174" y="57598"/>
                    <a:pt x="46930" y="54935"/>
                  </a:cubicBezTo>
                  <a:cubicBezTo>
                    <a:pt x="48770" y="52334"/>
                    <a:pt x="51001" y="49980"/>
                    <a:pt x="53523" y="48019"/>
                  </a:cubicBezTo>
                  <a:cubicBezTo>
                    <a:pt x="56023" y="46058"/>
                    <a:pt x="58792" y="44468"/>
                    <a:pt x="61789" y="43580"/>
                  </a:cubicBezTo>
                  <a:cubicBezTo>
                    <a:pt x="64744" y="42631"/>
                    <a:pt x="67823" y="42115"/>
                    <a:pt x="71109" y="41991"/>
                  </a:cubicBezTo>
                  <a:lnTo>
                    <a:pt x="122895" y="41991"/>
                  </a:lnTo>
                  <a:lnTo>
                    <a:pt x="263252" y="42053"/>
                  </a:lnTo>
                  <a:lnTo>
                    <a:pt x="309046" y="42053"/>
                  </a:lnTo>
                  <a:lnTo>
                    <a:pt x="309087" y="40009"/>
                  </a:lnTo>
                  <a:lnTo>
                    <a:pt x="309087" y="40009"/>
                  </a:lnTo>
                  <a:lnTo>
                    <a:pt x="309046" y="42053"/>
                  </a:lnTo>
                  <a:cubicBezTo>
                    <a:pt x="309852" y="42156"/>
                    <a:pt x="310658" y="42177"/>
                    <a:pt x="311464" y="42135"/>
                  </a:cubicBezTo>
                  <a:cubicBezTo>
                    <a:pt x="312249" y="42300"/>
                    <a:pt x="313014" y="42486"/>
                    <a:pt x="313799" y="42548"/>
                  </a:cubicBezTo>
                  <a:lnTo>
                    <a:pt x="314398" y="42548"/>
                  </a:lnTo>
                  <a:lnTo>
                    <a:pt x="314956" y="42775"/>
                  </a:lnTo>
                  <a:cubicBezTo>
                    <a:pt x="315328" y="42878"/>
                    <a:pt x="315700" y="43002"/>
                    <a:pt x="316093" y="43085"/>
                  </a:cubicBezTo>
                  <a:lnTo>
                    <a:pt x="317229" y="43312"/>
                  </a:lnTo>
                  <a:cubicBezTo>
                    <a:pt x="317581" y="43477"/>
                    <a:pt x="317953" y="43642"/>
                    <a:pt x="318304" y="43787"/>
                  </a:cubicBezTo>
                  <a:cubicBezTo>
                    <a:pt x="321218" y="44840"/>
                    <a:pt x="324111" y="46223"/>
                    <a:pt x="326529" y="48329"/>
                  </a:cubicBezTo>
                  <a:cubicBezTo>
                    <a:pt x="331447" y="52396"/>
                    <a:pt x="335332" y="57887"/>
                    <a:pt x="336613" y="63956"/>
                  </a:cubicBezTo>
                  <a:cubicBezTo>
                    <a:pt x="336717" y="64349"/>
                    <a:pt x="336841" y="64720"/>
                    <a:pt x="336965" y="65071"/>
                  </a:cubicBezTo>
                  <a:cubicBezTo>
                    <a:pt x="337006" y="65463"/>
                    <a:pt x="337027" y="65876"/>
                    <a:pt x="337089" y="66269"/>
                  </a:cubicBezTo>
                  <a:cubicBezTo>
                    <a:pt x="337130" y="66640"/>
                    <a:pt x="337213" y="67032"/>
                    <a:pt x="337295" y="67425"/>
                  </a:cubicBezTo>
                  <a:lnTo>
                    <a:pt x="337419" y="68003"/>
                  </a:lnTo>
                  <a:lnTo>
                    <a:pt x="337419" y="68622"/>
                  </a:lnTo>
                  <a:cubicBezTo>
                    <a:pt x="337399" y="69427"/>
                    <a:pt x="337461" y="70212"/>
                    <a:pt x="337584" y="71058"/>
                  </a:cubicBezTo>
                  <a:lnTo>
                    <a:pt x="337584" y="979702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42" name="Freeform 90">
              <a:extLst>
                <a:ext uri="{FF2B5EF4-FFF2-40B4-BE49-F238E27FC236}">
                  <a16:creationId xmlns:a16="http://schemas.microsoft.com/office/drawing/2014/main" id="{3A6A5E1D-5DB7-7379-0D02-67DCDF1F8C22}"/>
                </a:ext>
              </a:extLst>
            </p:cNvPr>
            <p:cNvSpPr/>
            <p:nvPr/>
          </p:nvSpPr>
          <p:spPr>
            <a:xfrm>
              <a:off x="3802070" y="2867170"/>
              <a:ext cx="379658" cy="1051028"/>
            </a:xfrm>
            <a:custGeom>
              <a:avLst/>
              <a:gdLst>
                <a:gd name="connsiteX0" fmla="*/ 379287 w 379658"/>
                <a:gd name="connsiteY0" fmla="*/ 63791 h 1051028"/>
                <a:gd name="connsiteX1" fmla="*/ 379059 w 379658"/>
                <a:gd name="connsiteY1" fmla="*/ 62367 h 1051028"/>
                <a:gd name="connsiteX2" fmla="*/ 378605 w 379658"/>
                <a:gd name="connsiteY2" fmla="*/ 59497 h 1051028"/>
                <a:gd name="connsiteX3" fmla="*/ 378191 w 379658"/>
                <a:gd name="connsiteY3" fmla="*/ 56628 h 1051028"/>
                <a:gd name="connsiteX4" fmla="*/ 377447 w 379658"/>
                <a:gd name="connsiteY4" fmla="*/ 53820 h 1051028"/>
                <a:gd name="connsiteX5" fmla="*/ 352773 w 379658"/>
                <a:gd name="connsiteY5" fmla="*/ 15483 h 1051028"/>
                <a:gd name="connsiteX6" fmla="*/ 332584 w 379658"/>
                <a:gd name="connsiteY6" fmla="*/ 4273 h 1051028"/>
                <a:gd name="connsiteX7" fmla="*/ 329876 w 379658"/>
                <a:gd name="connsiteY7" fmla="*/ 3262 h 1051028"/>
                <a:gd name="connsiteX8" fmla="*/ 327066 w 379658"/>
                <a:gd name="connsiteY8" fmla="*/ 2539 h 1051028"/>
                <a:gd name="connsiteX9" fmla="*/ 324256 w 379658"/>
                <a:gd name="connsiteY9" fmla="*/ 1817 h 1051028"/>
                <a:gd name="connsiteX10" fmla="*/ 322850 w 379658"/>
                <a:gd name="connsiteY10" fmla="*/ 1445 h 1051028"/>
                <a:gd name="connsiteX11" fmla="*/ 321404 w 379658"/>
                <a:gd name="connsiteY11" fmla="*/ 1239 h 1051028"/>
                <a:gd name="connsiteX12" fmla="*/ 315659 w 379658"/>
                <a:gd name="connsiteY12" fmla="*/ 372 h 1051028"/>
                <a:gd name="connsiteX13" fmla="*/ 309831 w 379658"/>
                <a:gd name="connsiteY13" fmla="*/ 83 h 1051028"/>
                <a:gd name="connsiteX14" fmla="*/ 71129 w 379658"/>
                <a:gd name="connsiteY14" fmla="*/ 0 h 1051028"/>
                <a:gd name="connsiteX15" fmla="*/ 27939 w 379658"/>
                <a:gd name="connsiteY15" fmla="*/ 14719 h 1051028"/>
                <a:gd name="connsiteX16" fmla="*/ 12027 w 379658"/>
                <a:gd name="connsiteY16" fmla="*/ 31545 h 1051028"/>
                <a:gd name="connsiteX17" fmla="*/ 2542 w 379658"/>
                <a:gd name="connsiteY17" fmla="*/ 52581 h 1051028"/>
                <a:gd name="connsiteX18" fmla="*/ 1819 w 379658"/>
                <a:gd name="connsiteY18" fmla="*/ 55389 h 1051028"/>
                <a:gd name="connsiteX19" fmla="*/ 1447 w 379658"/>
                <a:gd name="connsiteY19" fmla="*/ 56793 h 1051028"/>
                <a:gd name="connsiteX20" fmla="*/ 1240 w 379658"/>
                <a:gd name="connsiteY20" fmla="*/ 58238 h 1051028"/>
                <a:gd name="connsiteX21" fmla="*/ 372 w 379658"/>
                <a:gd name="connsiteY21" fmla="*/ 63977 h 1051028"/>
                <a:gd name="connsiteX22" fmla="*/ 83 w 379658"/>
                <a:gd name="connsiteY22" fmla="*/ 69799 h 1051028"/>
                <a:gd name="connsiteX23" fmla="*/ 0 w 379658"/>
                <a:gd name="connsiteY23" fmla="*/ 71306 h 1051028"/>
                <a:gd name="connsiteX24" fmla="*/ 0 w 379658"/>
                <a:gd name="connsiteY24" fmla="*/ 979950 h 1051028"/>
                <a:gd name="connsiteX25" fmla="*/ 310 w 379658"/>
                <a:gd name="connsiteY25" fmla="*/ 985771 h 1051028"/>
                <a:gd name="connsiteX26" fmla="*/ 372 w 379658"/>
                <a:gd name="connsiteY26" fmla="*/ 987237 h 1051028"/>
                <a:gd name="connsiteX27" fmla="*/ 599 w 379658"/>
                <a:gd name="connsiteY27" fmla="*/ 988662 h 1051028"/>
                <a:gd name="connsiteX28" fmla="*/ 1054 w 379658"/>
                <a:gd name="connsiteY28" fmla="*/ 991531 h 1051028"/>
                <a:gd name="connsiteX29" fmla="*/ 1467 w 379658"/>
                <a:gd name="connsiteY29" fmla="*/ 994401 h 1051028"/>
                <a:gd name="connsiteX30" fmla="*/ 2211 w 379658"/>
                <a:gd name="connsiteY30" fmla="*/ 997208 h 1051028"/>
                <a:gd name="connsiteX31" fmla="*/ 26885 w 379658"/>
                <a:gd name="connsiteY31" fmla="*/ 1035545 h 1051028"/>
                <a:gd name="connsiteX32" fmla="*/ 47075 w 379658"/>
                <a:gd name="connsiteY32" fmla="*/ 1046755 h 1051028"/>
                <a:gd name="connsiteX33" fmla="*/ 49782 w 379658"/>
                <a:gd name="connsiteY33" fmla="*/ 1047767 h 1051028"/>
                <a:gd name="connsiteX34" fmla="*/ 52593 w 379658"/>
                <a:gd name="connsiteY34" fmla="*/ 1048489 h 1051028"/>
                <a:gd name="connsiteX35" fmla="*/ 55403 w 379658"/>
                <a:gd name="connsiteY35" fmla="*/ 1049212 h 1051028"/>
                <a:gd name="connsiteX36" fmla="*/ 56808 w 379658"/>
                <a:gd name="connsiteY36" fmla="*/ 1049583 h 1051028"/>
                <a:gd name="connsiteX37" fmla="*/ 58255 w 379658"/>
                <a:gd name="connsiteY37" fmla="*/ 1049790 h 1051028"/>
                <a:gd name="connsiteX38" fmla="*/ 64000 w 379658"/>
                <a:gd name="connsiteY38" fmla="*/ 1050657 h 1051028"/>
                <a:gd name="connsiteX39" fmla="*/ 69827 w 379658"/>
                <a:gd name="connsiteY39" fmla="*/ 1050946 h 1051028"/>
                <a:gd name="connsiteX40" fmla="*/ 308529 w 379658"/>
                <a:gd name="connsiteY40" fmla="*/ 1051028 h 1051028"/>
                <a:gd name="connsiteX41" fmla="*/ 351719 w 379658"/>
                <a:gd name="connsiteY41" fmla="*/ 1036309 h 1051028"/>
                <a:gd name="connsiteX42" fmla="*/ 367632 w 379658"/>
                <a:gd name="connsiteY42" fmla="*/ 1019484 h 1051028"/>
                <a:gd name="connsiteX43" fmla="*/ 377117 w 379658"/>
                <a:gd name="connsiteY43" fmla="*/ 998447 h 1051028"/>
                <a:gd name="connsiteX44" fmla="*/ 377840 w 379658"/>
                <a:gd name="connsiteY44" fmla="*/ 995639 h 1051028"/>
                <a:gd name="connsiteX45" fmla="*/ 378212 w 379658"/>
                <a:gd name="connsiteY45" fmla="*/ 994236 h 1051028"/>
                <a:gd name="connsiteX46" fmla="*/ 378419 w 379658"/>
                <a:gd name="connsiteY46" fmla="*/ 992790 h 1051028"/>
                <a:gd name="connsiteX47" fmla="*/ 379287 w 379658"/>
                <a:gd name="connsiteY47" fmla="*/ 987051 h 1051028"/>
                <a:gd name="connsiteX48" fmla="*/ 379576 w 379658"/>
                <a:gd name="connsiteY48" fmla="*/ 981230 h 1051028"/>
                <a:gd name="connsiteX49" fmla="*/ 379659 w 379658"/>
                <a:gd name="connsiteY49" fmla="*/ 979723 h 1051028"/>
                <a:gd name="connsiteX50" fmla="*/ 379659 w 379658"/>
                <a:gd name="connsiteY50" fmla="*/ 71058 h 1051028"/>
                <a:gd name="connsiteX51" fmla="*/ 379349 w 379658"/>
                <a:gd name="connsiteY51" fmla="*/ 65236 h 1051028"/>
                <a:gd name="connsiteX52" fmla="*/ 379287 w 379658"/>
                <a:gd name="connsiteY52" fmla="*/ 63771 h 1051028"/>
                <a:gd name="connsiteX53" fmla="*/ 337626 w 379658"/>
                <a:gd name="connsiteY53" fmla="*/ 406902 h 1051028"/>
                <a:gd name="connsiteX54" fmla="*/ 337626 w 379658"/>
                <a:gd name="connsiteY54" fmla="*/ 979702 h 1051028"/>
                <a:gd name="connsiteX55" fmla="*/ 337584 w 379658"/>
                <a:gd name="connsiteY55" fmla="*/ 980177 h 1051028"/>
                <a:gd name="connsiteX56" fmla="*/ 337543 w 379658"/>
                <a:gd name="connsiteY56" fmla="*/ 980486 h 1051028"/>
                <a:gd name="connsiteX57" fmla="*/ 337461 w 379658"/>
                <a:gd name="connsiteY57" fmla="*/ 982922 h 1051028"/>
                <a:gd name="connsiteX58" fmla="*/ 337068 w 379658"/>
                <a:gd name="connsiteY58" fmla="*/ 985255 h 1051028"/>
                <a:gd name="connsiteX59" fmla="*/ 337027 w 379658"/>
                <a:gd name="connsiteY59" fmla="*/ 985854 h 1051028"/>
                <a:gd name="connsiteX60" fmla="*/ 336841 w 379658"/>
                <a:gd name="connsiteY60" fmla="*/ 986411 h 1051028"/>
                <a:gd name="connsiteX61" fmla="*/ 336531 w 379658"/>
                <a:gd name="connsiteY61" fmla="*/ 987526 h 1051028"/>
                <a:gd name="connsiteX62" fmla="*/ 332728 w 379658"/>
                <a:gd name="connsiteY62" fmla="*/ 996073 h 1051028"/>
                <a:gd name="connsiteX63" fmla="*/ 326136 w 379658"/>
                <a:gd name="connsiteY63" fmla="*/ 1002968 h 1051028"/>
                <a:gd name="connsiteX64" fmla="*/ 317870 w 379658"/>
                <a:gd name="connsiteY64" fmla="*/ 1007407 h 1051028"/>
                <a:gd name="connsiteX65" fmla="*/ 308550 w 379658"/>
                <a:gd name="connsiteY65" fmla="*/ 1008996 h 1051028"/>
                <a:gd name="connsiteX66" fmla="*/ 70592 w 379658"/>
                <a:gd name="connsiteY66" fmla="*/ 1008914 h 1051028"/>
                <a:gd name="connsiteX67" fmla="*/ 68153 w 379658"/>
                <a:gd name="connsiteY67" fmla="*/ 1008831 h 1051028"/>
                <a:gd name="connsiteX68" fmla="*/ 65818 w 379658"/>
                <a:gd name="connsiteY68" fmla="*/ 1008439 h 1051028"/>
                <a:gd name="connsiteX69" fmla="*/ 65219 w 379658"/>
                <a:gd name="connsiteY69" fmla="*/ 1008398 h 1051028"/>
                <a:gd name="connsiteX70" fmla="*/ 64661 w 379658"/>
                <a:gd name="connsiteY70" fmla="*/ 1008212 h 1051028"/>
                <a:gd name="connsiteX71" fmla="*/ 63545 w 379658"/>
                <a:gd name="connsiteY71" fmla="*/ 1007902 h 1051028"/>
                <a:gd name="connsiteX72" fmla="*/ 62388 w 379658"/>
                <a:gd name="connsiteY72" fmla="*/ 1007675 h 1051028"/>
                <a:gd name="connsiteX73" fmla="*/ 61313 w 379658"/>
                <a:gd name="connsiteY73" fmla="*/ 1007200 h 1051028"/>
                <a:gd name="connsiteX74" fmla="*/ 53089 w 379658"/>
                <a:gd name="connsiteY74" fmla="*/ 1002658 h 1051028"/>
                <a:gd name="connsiteX75" fmla="*/ 43004 w 379658"/>
                <a:gd name="connsiteY75" fmla="*/ 987010 h 1051028"/>
                <a:gd name="connsiteX76" fmla="*/ 42653 w 379658"/>
                <a:gd name="connsiteY76" fmla="*/ 985895 h 1051028"/>
                <a:gd name="connsiteX77" fmla="*/ 42549 w 379658"/>
                <a:gd name="connsiteY77" fmla="*/ 984719 h 1051028"/>
                <a:gd name="connsiteX78" fmla="*/ 42343 w 379658"/>
                <a:gd name="connsiteY78" fmla="*/ 983562 h 1051028"/>
                <a:gd name="connsiteX79" fmla="*/ 42198 w 379658"/>
                <a:gd name="connsiteY79" fmla="*/ 982984 h 1051028"/>
                <a:gd name="connsiteX80" fmla="*/ 42198 w 379658"/>
                <a:gd name="connsiteY80" fmla="*/ 982365 h 1051028"/>
                <a:gd name="connsiteX81" fmla="*/ 42053 w 379658"/>
                <a:gd name="connsiteY81" fmla="*/ 979929 h 1051028"/>
                <a:gd name="connsiteX82" fmla="*/ 42053 w 379658"/>
                <a:gd name="connsiteY82" fmla="*/ 71285 h 1051028"/>
                <a:gd name="connsiteX83" fmla="*/ 42095 w 379658"/>
                <a:gd name="connsiteY83" fmla="*/ 70810 h 1051028"/>
                <a:gd name="connsiteX84" fmla="*/ 42136 w 379658"/>
                <a:gd name="connsiteY84" fmla="*/ 70501 h 1051028"/>
                <a:gd name="connsiteX85" fmla="*/ 42219 w 379658"/>
                <a:gd name="connsiteY85" fmla="*/ 68065 h 1051028"/>
                <a:gd name="connsiteX86" fmla="*/ 42611 w 379658"/>
                <a:gd name="connsiteY86" fmla="*/ 65732 h 1051028"/>
                <a:gd name="connsiteX87" fmla="*/ 42653 w 379658"/>
                <a:gd name="connsiteY87" fmla="*/ 65133 h 1051028"/>
                <a:gd name="connsiteX88" fmla="*/ 42839 w 379658"/>
                <a:gd name="connsiteY88" fmla="*/ 64576 h 1051028"/>
                <a:gd name="connsiteX89" fmla="*/ 43149 w 379658"/>
                <a:gd name="connsiteY89" fmla="*/ 63461 h 1051028"/>
                <a:gd name="connsiteX90" fmla="*/ 46951 w 379658"/>
                <a:gd name="connsiteY90" fmla="*/ 54914 h 1051028"/>
                <a:gd name="connsiteX91" fmla="*/ 53543 w 379658"/>
                <a:gd name="connsiteY91" fmla="*/ 48019 h 1051028"/>
                <a:gd name="connsiteX92" fmla="*/ 61809 w 379658"/>
                <a:gd name="connsiteY92" fmla="*/ 43580 h 1051028"/>
                <a:gd name="connsiteX93" fmla="*/ 71129 w 379658"/>
                <a:gd name="connsiteY93" fmla="*/ 41991 h 1051028"/>
                <a:gd name="connsiteX94" fmla="*/ 309087 w 379658"/>
                <a:gd name="connsiteY94" fmla="*/ 42073 h 1051028"/>
                <a:gd name="connsiteX95" fmla="*/ 311526 w 379658"/>
                <a:gd name="connsiteY95" fmla="*/ 42156 h 1051028"/>
                <a:gd name="connsiteX96" fmla="*/ 313861 w 379658"/>
                <a:gd name="connsiteY96" fmla="*/ 42548 h 1051028"/>
                <a:gd name="connsiteX97" fmla="*/ 314460 w 379658"/>
                <a:gd name="connsiteY97" fmla="*/ 42589 h 1051028"/>
                <a:gd name="connsiteX98" fmla="*/ 315018 w 379658"/>
                <a:gd name="connsiteY98" fmla="*/ 42775 h 1051028"/>
                <a:gd name="connsiteX99" fmla="*/ 316134 w 379658"/>
                <a:gd name="connsiteY99" fmla="*/ 43085 h 1051028"/>
                <a:gd name="connsiteX100" fmla="*/ 317291 w 379658"/>
                <a:gd name="connsiteY100" fmla="*/ 43312 h 1051028"/>
                <a:gd name="connsiteX101" fmla="*/ 318366 w 379658"/>
                <a:gd name="connsiteY101" fmla="*/ 43787 h 1051028"/>
                <a:gd name="connsiteX102" fmla="*/ 326591 w 379658"/>
                <a:gd name="connsiteY102" fmla="*/ 48329 h 1051028"/>
                <a:gd name="connsiteX103" fmla="*/ 336675 w 379658"/>
                <a:gd name="connsiteY103" fmla="*/ 63977 h 1051028"/>
                <a:gd name="connsiteX104" fmla="*/ 337027 w 379658"/>
                <a:gd name="connsiteY104" fmla="*/ 65092 h 1051028"/>
                <a:gd name="connsiteX105" fmla="*/ 337130 w 379658"/>
                <a:gd name="connsiteY105" fmla="*/ 66269 h 1051028"/>
                <a:gd name="connsiteX106" fmla="*/ 337337 w 379658"/>
                <a:gd name="connsiteY106" fmla="*/ 67425 h 1051028"/>
                <a:gd name="connsiteX107" fmla="*/ 337481 w 379658"/>
                <a:gd name="connsiteY107" fmla="*/ 68003 h 1051028"/>
                <a:gd name="connsiteX108" fmla="*/ 337481 w 379658"/>
                <a:gd name="connsiteY108" fmla="*/ 68622 h 1051028"/>
                <a:gd name="connsiteX109" fmla="*/ 337626 w 379658"/>
                <a:gd name="connsiteY109" fmla="*/ 71058 h 1051028"/>
                <a:gd name="connsiteX110" fmla="*/ 337626 w 379658"/>
                <a:gd name="connsiteY110" fmla="*/ 406902 h 105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379658" h="1051028">
                  <a:moveTo>
                    <a:pt x="379287" y="63791"/>
                  </a:moveTo>
                  <a:lnTo>
                    <a:pt x="379059" y="62367"/>
                  </a:lnTo>
                  <a:lnTo>
                    <a:pt x="378605" y="59497"/>
                  </a:lnTo>
                  <a:lnTo>
                    <a:pt x="378191" y="56628"/>
                  </a:lnTo>
                  <a:lnTo>
                    <a:pt x="377447" y="53820"/>
                  </a:lnTo>
                  <a:cubicBezTo>
                    <a:pt x="373934" y="38750"/>
                    <a:pt x="364800" y="25207"/>
                    <a:pt x="352773" y="15483"/>
                  </a:cubicBezTo>
                  <a:cubicBezTo>
                    <a:pt x="346780" y="10549"/>
                    <a:pt x="339816" y="6875"/>
                    <a:pt x="332584" y="4273"/>
                  </a:cubicBezTo>
                  <a:lnTo>
                    <a:pt x="329876" y="3262"/>
                  </a:lnTo>
                  <a:cubicBezTo>
                    <a:pt x="328947" y="2993"/>
                    <a:pt x="327996" y="2787"/>
                    <a:pt x="327066" y="2539"/>
                  </a:cubicBezTo>
                  <a:lnTo>
                    <a:pt x="324256" y="1817"/>
                  </a:lnTo>
                  <a:lnTo>
                    <a:pt x="322850" y="1445"/>
                  </a:lnTo>
                  <a:lnTo>
                    <a:pt x="321404" y="1239"/>
                  </a:lnTo>
                  <a:lnTo>
                    <a:pt x="315659" y="372"/>
                  </a:lnTo>
                  <a:lnTo>
                    <a:pt x="309831" y="83"/>
                  </a:lnTo>
                  <a:lnTo>
                    <a:pt x="71129" y="0"/>
                  </a:lnTo>
                  <a:cubicBezTo>
                    <a:pt x="55610" y="248"/>
                    <a:pt x="40152" y="5037"/>
                    <a:pt x="27939" y="14719"/>
                  </a:cubicBezTo>
                  <a:cubicBezTo>
                    <a:pt x="21802" y="19447"/>
                    <a:pt x="16408" y="25145"/>
                    <a:pt x="12027" y="31545"/>
                  </a:cubicBezTo>
                  <a:cubicBezTo>
                    <a:pt x="7729" y="38006"/>
                    <a:pt x="4567" y="45149"/>
                    <a:pt x="2542" y="52581"/>
                  </a:cubicBezTo>
                  <a:lnTo>
                    <a:pt x="1819" y="55389"/>
                  </a:lnTo>
                  <a:cubicBezTo>
                    <a:pt x="1695" y="55864"/>
                    <a:pt x="1550" y="56318"/>
                    <a:pt x="1447" y="56793"/>
                  </a:cubicBezTo>
                  <a:lnTo>
                    <a:pt x="1240" y="58238"/>
                  </a:lnTo>
                  <a:lnTo>
                    <a:pt x="372" y="63977"/>
                  </a:lnTo>
                  <a:lnTo>
                    <a:pt x="83" y="69799"/>
                  </a:lnTo>
                  <a:cubicBezTo>
                    <a:pt x="62" y="70315"/>
                    <a:pt x="21" y="70707"/>
                    <a:pt x="0" y="71306"/>
                  </a:cubicBezTo>
                  <a:lnTo>
                    <a:pt x="0" y="979950"/>
                  </a:lnTo>
                  <a:lnTo>
                    <a:pt x="310" y="985771"/>
                  </a:lnTo>
                  <a:lnTo>
                    <a:pt x="372" y="987237"/>
                  </a:lnTo>
                  <a:lnTo>
                    <a:pt x="599" y="988662"/>
                  </a:lnTo>
                  <a:lnTo>
                    <a:pt x="1054" y="991531"/>
                  </a:lnTo>
                  <a:lnTo>
                    <a:pt x="1467" y="994401"/>
                  </a:lnTo>
                  <a:lnTo>
                    <a:pt x="2211" y="997208"/>
                  </a:lnTo>
                  <a:cubicBezTo>
                    <a:pt x="5724" y="1012279"/>
                    <a:pt x="14858" y="1025822"/>
                    <a:pt x="26885" y="1035545"/>
                  </a:cubicBezTo>
                  <a:cubicBezTo>
                    <a:pt x="32878" y="1040479"/>
                    <a:pt x="39842" y="1044154"/>
                    <a:pt x="47075" y="1046755"/>
                  </a:cubicBezTo>
                  <a:lnTo>
                    <a:pt x="49782" y="1047767"/>
                  </a:lnTo>
                  <a:cubicBezTo>
                    <a:pt x="50712" y="1048035"/>
                    <a:pt x="51663" y="1048241"/>
                    <a:pt x="52593" y="1048489"/>
                  </a:cubicBezTo>
                  <a:lnTo>
                    <a:pt x="55403" y="1049212"/>
                  </a:lnTo>
                  <a:lnTo>
                    <a:pt x="56808" y="1049583"/>
                  </a:lnTo>
                  <a:lnTo>
                    <a:pt x="58255" y="1049790"/>
                  </a:lnTo>
                  <a:lnTo>
                    <a:pt x="64000" y="1050657"/>
                  </a:lnTo>
                  <a:lnTo>
                    <a:pt x="69827" y="1050946"/>
                  </a:lnTo>
                  <a:lnTo>
                    <a:pt x="308529" y="1051028"/>
                  </a:lnTo>
                  <a:cubicBezTo>
                    <a:pt x="324049" y="1050781"/>
                    <a:pt x="339506" y="1045991"/>
                    <a:pt x="351719" y="1036309"/>
                  </a:cubicBezTo>
                  <a:cubicBezTo>
                    <a:pt x="357857" y="1031581"/>
                    <a:pt x="363251" y="1025883"/>
                    <a:pt x="367632" y="1019484"/>
                  </a:cubicBezTo>
                  <a:cubicBezTo>
                    <a:pt x="371930" y="1013022"/>
                    <a:pt x="375092" y="1005879"/>
                    <a:pt x="377117" y="998447"/>
                  </a:cubicBezTo>
                  <a:lnTo>
                    <a:pt x="377840" y="995639"/>
                  </a:lnTo>
                  <a:cubicBezTo>
                    <a:pt x="377964" y="995165"/>
                    <a:pt x="378109" y="994710"/>
                    <a:pt x="378212" y="994236"/>
                  </a:cubicBezTo>
                  <a:lnTo>
                    <a:pt x="378419" y="992790"/>
                  </a:lnTo>
                  <a:lnTo>
                    <a:pt x="379287" y="987051"/>
                  </a:lnTo>
                  <a:lnTo>
                    <a:pt x="379576" y="981230"/>
                  </a:lnTo>
                  <a:cubicBezTo>
                    <a:pt x="379597" y="980714"/>
                    <a:pt x="379638" y="980321"/>
                    <a:pt x="379659" y="979723"/>
                  </a:cubicBezTo>
                  <a:lnTo>
                    <a:pt x="379659" y="71058"/>
                  </a:lnTo>
                  <a:lnTo>
                    <a:pt x="379349" y="65236"/>
                  </a:lnTo>
                  <a:lnTo>
                    <a:pt x="379287" y="63771"/>
                  </a:lnTo>
                  <a:close/>
                  <a:moveTo>
                    <a:pt x="337626" y="406902"/>
                  </a:moveTo>
                  <a:lnTo>
                    <a:pt x="337626" y="979702"/>
                  </a:lnTo>
                  <a:cubicBezTo>
                    <a:pt x="337626" y="980115"/>
                    <a:pt x="337605" y="980012"/>
                    <a:pt x="337584" y="980177"/>
                  </a:cubicBezTo>
                  <a:lnTo>
                    <a:pt x="337543" y="980486"/>
                  </a:lnTo>
                  <a:cubicBezTo>
                    <a:pt x="337440" y="981292"/>
                    <a:pt x="337419" y="982097"/>
                    <a:pt x="337461" y="982922"/>
                  </a:cubicBezTo>
                  <a:cubicBezTo>
                    <a:pt x="337295" y="983707"/>
                    <a:pt x="337130" y="984471"/>
                    <a:pt x="337068" y="985255"/>
                  </a:cubicBezTo>
                  <a:lnTo>
                    <a:pt x="337027" y="985854"/>
                  </a:lnTo>
                  <a:cubicBezTo>
                    <a:pt x="336985" y="986040"/>
                    <a:pt x="336903" y="986226"/>
                    <a:pt x="336841" y="986411"/>
                  </a:cubicBezTo>
                  <a:cubicBezTo>
                    <a:pt x="336717" y="986783"/>
                    <a:pt x="336613" y="987155"/>
                    <a:pt x="336531" y="987526"/>
                  </a:cubicBezTo>
                  <a:cubicBezTo>
                    <a:pt x="335704" y="990520"/>
                    <a:pt x="334485" y="993410"/>
                    <a:pt x="332728" y="996073"/>
                  </a:cubicBezTo>
                  <a:cubicBezTo>
                    <a:pt x="330889" y="998674"/>
                    <a:pt x="328657" y="1001028"/>
                    <a:pt x="326136" y="1002968"/>
                  </a:cubicBezTo>
                  <a:cubicBezTo>
                    <a:pt x="323636" y="1004929"/>
                    <a:pt x="320846" y="1006540"/>
                    <a:pt x="317870" y="1007407"/>
                  </a:cubicBezTo>
                  <a:cubicBezTo>
                    <a:pt x="314915" y="1008356"/>
                    <a:pt x="311836" y="1008872"/>
                    <a:pt x="308550" y="1008996"/>
                  </a:cubicBezTo>
                  <a:lnTo>
                    <a:pt x="70592" y="1008914"/>
                  </a:lnTo>
                  <a:cubicBezTo>
                    <a:pt x="69786" y="1008811"/>
                    <a:pt x="68980" y="1008790"/>
                    <a:pt x="68153" y="1008831"/>
                  </a:cubicBezTo>
                  <a:cubicBezTo>
                    <a:pt x="67368" y="1008666"/>
                    <a:pt x="66603" y="1008501"/>
                    <a:pt x="65818" y="1008439"/>
                  </a:cubicBezTo>
                  <a:lnTo>
                    <a:pt x="65219" y="1008398"/>
                  </a:lnTo>
                  <a:lnTo>
                    <a:pt x="64661" y="1008212"/>
                  </a:lnTo>
                  <a:cubicBezTo>
                    <a:pt x="64289" y="1008088"/>
                    <a:pt x="63917" y="1007985"/>
                    <a:pt x="63545" y="1007902"/>
                  </a:cubicBezTo>
                  <a:lnTo>
                    <a:pt x="62388" y="1007675"/>
                  </a:lnTo>
                  <a:cubicBezTo>
                    <a:pt x="62037" y="1007510"/>
                    <a:pt x="61685" y="1007345"/>
                    <a:pt x="61313" y="1007200"/>
                  </a:cubicBezTo>
                  <a:cubicBezTo>
                    <a:pt x="58399" y="1006147"/>
                    <a:pt x="55506" y="1004764"/>
                    <a:pt x="53089" y="1002658"/>
                  </a:cubicBezTo>
                  <a:cubicBezTo>
                    <a:pt x="48191" y="998592"/>
                    <a:pt x="44306" y="993100"/>
                    <a:pt x="43004" y="987010"/>
                  </a:cubicBezTo>
                  <a:cubicBezTo>
                    <a:pt x="42901" y="986638"/>
                    <a:pt x="42777" y="986267"/>
                    <a:pt x="42653" y="985895"/>
                  </a:cubicBezTo>
                  <a:cubicBezTo>
                    <a:pt x="42611" y="985503"/>
                    <a:pt x="42591" y="985111"/>
                    <a:pt x="42549" y="984719"/>
                  </a:cubicBezTo>
                  <a:cubicBezTo>
                    <a:pt x="42508" y="984326"/>
                    <a:pt x="42425" y="983934"/>
                    <a:pt x="42343" y="983562"/>
                  </a:cubicBezTo>
                  <a:lnTo>
                    <a:pt x="42198" y="982984"/>
                  </a:lnTo>
                  <a:lnTo>
                    <a:pt x="42198" y="982365"/>
                  </a:lnTo>
                  <a:cubicBezTo>
                    <a:pt x="42219" y="981539"/>
                    <a:pt x="42177" y="980775"/>
                    <a:pt x="42053" y="979929"/>
                  </a:cubicBezTo>
                  <a:lnTo>
                    <a:pt x="42053" y="71285"/>
                  </a:lnTo>
                  <a:cubicBezTo>
                    <a:pt x="42053" y="70872"/>
                    <a:pt x="42074" y="70976"/>
                    <a:pt x="42095" y="70810"/>
                  </a:cubicBezTo>
                  <a:lnTo>
                    <a:pt x="42136" y="70501"/>
                  </a:lnTo>
                  <a:cubicBezTo>
                    <a:pt x="42239" y="69696"/>
                    <a:pt x="42260" y="68890"/>
                    <a:pt x="42219" y="68065"/>
                  </a:cubicBezTo>
                  <a:cubicBezTo>
                    <a:pt x="42384" y="67280"/>
                    <a:pt x="42549" y="66516"/>
                    <a:pt x="42611" y="65732"/>
                  </a:cubicBezTo>
                  <a:lnTo>
                    <a:pt x="42653" y="65133"/>
                  </a:lnTo>
                  <a:cubicBezTo>
                    <a:pt x="42694" y="64947"/>
                    <a:pt x="42777" y="64762"/>
                    <a:pt x="42839" y="64576"/>
                  </a:cubicBezTo>
                  <a:cubicBezTo>
                    <a:pt x="42963" y="64204"/>
                    <a:pt x="43066" y="63833"/>
                    <a:pt x="43149" y="63461"/>
                  </a:cubicBezTo>
                  <a:cubicBezTo>
                    <a:pt x="43975" y="60468"/>
                    <a:pt x="45194" y="57577"/>
                    <a:pt x="46951" y="54914"/>
                  </a:cubicBezTo>
                  <a:cubicBezTo>
                    <a:pt x="48790" y="52313"/>
                    <a:pt x="51022" y="49960"/>
                    <a:pt x="53543" y="48019"/>
                  </a:cubicBezTo>
                  <a:cubicBezTo>
                    <a:pt x="56044" y="46058"/>
                    <a:pt x="58834" y="44447"/>
                    <a:pt x="61809" y="43580"/>
                  </a:cubicBezTo>
                  <a:cubicBezTo>
                    <a:pt x="64764" y="42631"/>
                    <a:pt x="67843" y="42115"/>
                    <a:pt x="71129" y="41991"/>
                  </a:cubicBezTo>
                  <a:lnTo>
                    <a:pt x="309087" y="42073"/>
                  </a:lnTo>
                  <a:cubicBezTo>
                    <a:pt x="309893" y="42177"/>
                    <a:pt x="310699" y="42197"/>
                    <a:pt x="311526" y="42156"/>
                  </a:cubicBezTo>
                  <a:cubicBezTo>
                    <a:pt x="312311" y="42321"/>
                    <a:pt x="313076" y="42486"/>
                    <a:pt x="313861" y="42548"/>
                  </a:cubicBezTo>
                  <a:lnTo>
                    <a:pt x="314460" y="42589"/>
                  </a:lnTo>
                  <a:lnTo>
                    <a:pt x="315018" y="42775"/>
                  </a:lnTo>
                  <a:cubicBezTo>
                    <a:pt x="315390" y="42899"/>
                    <a:pt x="315762" y="43002"/>
                    <a:pt x="316134" y="43085"/>
                  </a:cubicBezTo>
                  <a:lnTo>
                    <a:pt x="317291" y="43312"/>
                  </a:lnTo>
                  <a:cubicBezTo>
                    <a:pt x="317643" y="43477"/>
                    <a:pt x="317994" y="43642"/>
                    <a:pt x="318366" y="43787"/>
                  </a:cubicBezTo>
                  <a:cubicBezTo>
                    <a:pt x="321280" y="44840"/>
                    <a:pt x="324173" y="46223"/>
                    <a:pt x="326591" y="48329"/>
                  </a:cubicBezTo>
                  <a:cubicBezTo>
                    <a:pt x="331488" y="52396"/>
                    <a:pt x="335373" y="57887"/>
                    <a:pt x="336675" y="63977"/>
                  </a:cubicBezTo>
                  <a:cubicBezTo>
                    <a:pt x="336779" y="64349"/>
                    <a:pt x="336903" y="64720"/>
                    <a:pt x="337027" y="65092"/>
                  </a:cubicBezTo>
                  <a:cubicBezTo>
                    <a:pt x="337068" y="65484"/>
                    <a:pt x="337089" y="65876"/>
                    <a:pt x="337130" y="66269"/>
                  </a:cubicBezTo>
                  <a:cubicBezTo>
                    <a:pt x="337171" y="66661"/>
                    <a:pt x="337254" y="67053"/>
                    <a:pt x="337337" y="67425"/>
                  </a:cubicBezTo>
                  <a:lnTo>
                    <a:pt x="337481" y="68003"/>
                  </a:lnTo>
                  <a:lnTo>
                    <a:pt x="337481" y="68622"/>
                  </a:lnTo>
                  <a:cubicBezTo>
                    <a:pt x="337461" y="69448"/>
                    <a:pt x="337502" y="70212"/>
                    <a:pt x="337626" y="71058"/>
                  </a:cubicBezTo>
                  <a:lnTo>
                    <a:pt x="337626" y="406902"/>
                  </a:lnTo>
                  <a:close/>
                </a:path>
              </a:pathLst>
            </a:custGeom>
            <a:grpFill/>
          </p:spPr>
          <p:txBody>
            <a:bodyPr rtlCol="0" anchor="ctr"/>
            <a:lstStyle/>
            <a:p>
              <a:pPr algn="ctr"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</p:grpSp>
      <p:sp>
        <p:nvSpPr>
          <p:cNvPr id="343" name="Freeform: Shape 342">
            <a:extLst>
              <a:ext uri="{FF2B5EF4-FFF2-40B4-BE49-F238E27FC236}">
                <a16:creationId xmlns:a16="http://schemas.microsoft.com/office/drawing/2014/main" id="{1C146E44-C46B-7DF4-7CAD-0E5455606B4E}"/>
              </a:ext>
            </a:extLst>
          </p:cNvPr>
          <p:cNvSpPr>
            <a:spLocks noChangeAspect="1"/>
          </p:cNvSpPr>
          <p:nvPr/>
        </p:nvSpPr>
        <p:spPr>
          <a:xfrm rot="16200000">
            <a:off x="8016143" y="2017930"/>
            <a:ext cx="80619" cy="232732"/>
          </a:xfrm>
          <a:custGeom>
            <a:avLst/>
            <a:gdLst>
              <a:gd name="connsiteX0" fmla="*/ 328170 w 655320"/>
              <a:gd name="connsiteY0" fmla="*/ 0 h 1239085"/>
              <a:gd name="connsiteX1" fmla="*/ 328311 w 655320"/>
              <a:gd name="connsiteY1" fmla="*/ 0 h 1239085"/>
              <a:gd name="connsiteX2" fmla="*/ 354648 w 655320"/>
              <a:gd name="connsiteY2" fmla="*/ 11400 h 1239085"/>
              <a:gd name="connsiteX3" fmla="*/ 533940 w 655320"/>
              <a:gd name="connsiteY3" fmla="*/ 202708 h 1239085"/>
              <a:gd name="connsiteX4" fmla="*/ 532304 w 655320"/>
              <a:gd name="connsiteY4" fmla="*/ 253693 h 1239085"/>
              <a:gd name="connsiteX5" fmla="*/ 506442 w 655320"/>
              <a:gd name="connsiteY5" fmla="*/ 263457 h 1239085"/>
              <a:gd name="connsiteX6" fmla="*/ 481266 w 655320"/>
              <a:gd name="connsiteY6" fmla="*/ 252057 h 1239085"/>
              <a:gd name="connsiteX7" fmla="*/ 371168 w 655320"/>
              <a:gd name="connsiteY7" fmla="*/ 134535 h 1239085"/>
              <a:gd name="connsiteX8" fmla="*/ 372892 w 655320"/>
              <a:gd name="connsiteY8" fmla="*/ 575349 h 1239085"/>
              <a:gd name="connsiteX9" fmla="*/ 655320 w 655320"/>
              <a:gd name="connsiteY9" fmla="*/ 574248 h 1239085"/>
              <a:gd name="connsiteX10" fmla="*/ 655320 w 655320"/>
              <a:gd name="connsiteY10" fmla="*/ 662264 h 1239085"/>
              <a:gd name="connsiteX11" fmla="*/ 373226 w 655320"/>
              <a:gd name="connsiteY11" fmla="*/ 663367 h 1239085"/>
              <a:gd name="connsiteX12" fmla="*/ 374933 w 655320"/>
              <a:gd name="connsiteY12" fmla="*/ 1100926 h 1239085"/>
              <a:gd name="connsiteX13" fmla="*/ 481072 w 655320"/>
              <a:gd name="connsiteY13" fmla="*/ 985849 h 1239085"/>
              <a:gd name="connsiteX14" fmla="*/ 506160 w 655320"/>
              <a:gd name="connsiteY14" fmla="*/ 974256 h 1239085"/>
              <a:gd name="connsiteX15" fmla="*/ 532093 w 655320"/>
              <a:gd name="connsiteY15" fmla="*/ 983809 h 1239085"/>
              <a:gd name="connsiteX16" fmla="*/ 534116 w 655320"/>
              <a:gd name="connsiteY16" fmla="*/ 1034776 h 1239085"/>
              <a:gd name="connsiteX17" fmla="*/ 356319 w 655320"/>
              <a:gd name="connsiteY17" fmla="*/ 1227474 h 1239085"/>
              <a:gd name="connsiteX18" fmla="*/ 329930 w 655320"/>
              <a:gd name="connsiteY18" fmla="*/ 1239085 h 1239085"/>
              <a:gd name="connsiteX19" fmla="*/ 329789 w 655320"/>
              <a:gd name="connsiteY19" fmla="*/ 1239085 h 1239085"/>
              <a:gd name="connsiteX20" fmla="*/ 303452 w 655320"/>
              <a:gd name="connsiteY20" fmla="*/ 1227667 h 1239085"/>
              <a:gd name="connsiteX21" fmla="*/ 124195 w 655320"/>
              <a:gd name="connsiteY21" fmla="*/ 1036359 h 1239085"/>
              <a:gd name="connsiteX22" fmla="*/ 125832 w 655320"/>
              <a:gd name="connsiteY22" fmla="*/ 985374 h 1239085"/>
              <a:gd name="connsiteX23" fmla="*/ 151694 w 655320"/>
              <a:gd name="connsiteY23" fmla="*/ 975610 h 1239085"/>
              <a:gd name="connsiteX24" fmla="*/ 176869 w 655320"/>
              <a:gd name="connsiteY24" fmla="*/ 987011 h 1239085"/>
              <a:gd name="connsiteX25" fmla="*/ 286967 w 655320"/>
              <a:gd name="connsiteY25" fmla="*/ 1104550 h 1239085"/>
              <a:gd name="connsiteX26" fmla="*/ 285243 w 655320"/>
              <a:gd name="connsiteY26" fmla="*/ 663666 h 1239085"/>
              <a:gd name="connsiteX27" fmla="*/ 0 w 655320"/>
              <a:gd name="connsiteY27" fmla="*/ 664779 h 1239085"/>
              <a:gd name="connsiteX28" fmla="*/ 0 w 655320"/>
              <a:gd name="connsiteY28" fmla="*/ 576798 h 1239085"/>
              <a:gd name="connsiteX29" fmla="*/ 284944 w 655320"/>
              <a:gd name="connsiteY29" fmla="*/ 575683 h 1239085"/>
              <a:gd name="connsiteX30" fmla="*/ 283238 w 655320"/>
              <a:gd name="connsiteY30" fmla="*/ 138124 h 1239085"/>
              <a:gd name="connsiteX31" fmla="*/ 177098 w 655320"/>
              <a:gd name="connsiteY31" fmla="*/ 253236 h 1239085"/>
              <a:gd name="connsiteX32" fmla="*/ 152010 w 655320"/>
              <a:gd name="connsiteY32" fmla="*/ 264830 h 1239085"/>
              <a:gd name="connsiteX33" fmla="*/ 150532 w 655320"/>
              <a:gd name="connsiteY33" fmla="*/ 264865 h 1239085"/>
              <a:gd name="connsiteX34" fmla="*/ 126078 w 655320"/>
              <a:gd name="connsiteY34" fmla="*/ 255277 h 1239085"/>
              <a:gd name="connsiteX35" fmla="*/ 124037 w 655320"/>
              <a:gd name="connsiteY35" fmla="*/ 204309 h 1239085"/>
              <a:gd name="connsiteX36" fmla="*/ 301781 w 655320"/>
              <a:gd name="connsiteY36" fmla="*/ 11611 h 1239085"/>
              <a:gd name="connsiteX37" fmla="*/ 328170 w 655320"/>
              <a:gd name="connsiteY37" fmla="*/ 0 h 1239085"/>
              <a:gd name="connsiteX0" fmla="*/ 328170 w 655320"/>
              <a:gd name="connsiteY0" fmla="*/ 0 h 1239085"/>
              <a:gd name="connsiteX1" fmla="*/ 328311 w 655320"/>
              <a:gd name="connsiteY1" fmla="*/ 0 h 1239085"/>
              <a:gd name="connsiteX2" fmla="*/ 354648 w 655320"/>
              <a:gd name="connsiteY2" fmla="*/ 11400 h 1239085"/>
              <a:gd name="connsiteX3" fmla="*/ 533940 w 655320"/>
              <a:gd name="connsiteY3" fmla="*/ 202708 h 1239085"/>
              <a:gd name="connsiteX4" fmla="*/ 532304 w 655320"/>
              <a:gd name="connsiteY4" fmla="*/ 253693 h 1239085"/>
              <a:gd name="connsiteX5" fmla="*/ 506442 w 655320"/>
              <a:gd name="connsiteY5" fmla="*/ 263457 h 1239085"/>
              <a:gd name="connsiteX6" fmla="*/ 481266 w 655320"/>
              <a:gd name="connsiteY6" fmla="*/ 252057 h 1239085"/>
              <a:gd name="connsiteX7" fmla="*/ 371168 w 655320"/>
              <a:gd name="connsiteY7" fmla="*/ 134535 h 1239085"/>
              <a:gd name="connsiteX8" fmla="*/ 372892 w 655320"/>
              <a:gd name="connsiteY8" fmla="*/ 575349 h 1239085"/>
              <a:gd name="connsiteX9" fmla="*/ 655320 w 655320"/>
              <a:gd name="connsiteY9" fmla="*/ 574248 h 1239085"/>
              <a:gd name="connsiteX10" fmla="*/ 655320 w 655320"/>
              <a:gd name="connsiteY10" fmla="*/ 662264 h 1239085"/>
              <a:gd name="connsiteX11" fmla="*/ 373226 w 655320"/>
              <a:gd name="connsiteY11" fmla="*/ 663367 h 1239085"/>
              <a:gd name="connsiteX12" fmla="*/ 374933 w 655320"/>
              <a:gd name="connsiteY12" fmla="*/ 1100926 h 1239085"/>
              <a:gd name="connsiteX13" fmla="*/ 481072 w 655320"/>
              <a:gd name="connsiteY13" fmla="*/ 985849 h 1239085"/>
              <a:gd name="connsiteX14" fmla="*/ 506160 w 655320"/>
              <a:gd name="connsiteY14" fmla="*/ 974256 h 1239085"/>
              <a:gd name="connsiteX15" fmla="*/ 532093 w 655320"/>
              <a:gd name="connsiteY15" fmla="*/ 983809 h 1239085"/>
              <a:gd name="connsiteX16" fmla="*/ 534116 w 655320"/>
              <a:gd name="connsiteY16" fmla="*/ 1034776 h 1239085"/>
              <a:gd name="connsiteX17" fmla="*/ 356319 w 655320"/>
              <a:gd name="connsiteY17" fmla="*/ 1227474 h 1239085"/>
              <a:gd name="connsiteX18" fmla="*/ 329930 w 655320"/>
              <a:gd name="connsiteY18" fmla="*/ 1239085 h 1239085"/>
              <a:gd name="connsiteX19" fmla="*/ 329789 w 655320"/>
              <a:gd name="connsiteY19" fmla="*/ 1239085 h 1239085"/>
              <a:gd name="connsiteX20" fmla="*/ 303452 w 655320"/>
              <a:gd name="connsiteY20" fmla="*/ 1227667 h 1239085"/>
              <a:gd name="connsiteX21" fmla="*/ 124195 w 655320"/>
              <a:gd name="connsiteY21" fmla="*/ 1036359 h 1239085"/>
              <a:gd name="connsiteX22" fmla="*/ 125832 w 655320"/>
              <a:gd name="connsiteY22" fmla="*/ 985374 h 1239085"/>
              <a:gd name="connsiteX23" fmla="*/ 151694 w 655320"/>
              <a:gd name="connsiteY23" fmla="*/ 975610 h 1239085"/>
              <a:gd name="connsiteX24" fmla="*/ 176869 w 655320"/>
              <a:gd name="connsiteY24" fmla="*/ 987011 h 1239085"/>
              <a:gd name="connsiteX25" fmla="*/ 286967 w 655320"/>
              <a:gd name="connsiteY25" fmla="*/ 1104550 h 1239085"/>
              <a:gd name="connsiteX26" fmla="*/ 285243 w 655320"/>
              <a:gd name="connsiteY26" fmla="*/ 663666 h 1239085"/>
              <a:gd name="connsiteX27" fmla="*/ 0 w 655320"/>
              <a:gd name="connsiteY27" fmla="*/ 664779 h 1239085"/>
              <a:gd name="connsiteX28" fmla="*/ 284944 w 655320"/>
              <a:gd name="connsiteY28" fmla="*/ 575683 h 1239085"/>
              <a:gd name="connsiteX29" fmla="*/ 283238 w 655320"/>
              <a:gd name="connsiteY29" fmla="*/ 138124 h 1239085"/>
              <a:gd name="connsiteX30" fmla="*/ 177098 w 655320"/>
              <a:gd name="connsiteY30" fmla="*/ 253236 h 1239085"/>
              <a:gd name="connsiteX31" fmla="*/ 152010 w 655320"/>
              <a:gd name="connsiteY31" fmla="*/ 264830 h 1239085"/>
              <a:gd name="connsiteX32" fmla="*/ 150532 w 655320"/>
              <a:gd name="connsiteY32" fmla="*/ 264865 h 1239085"/>
              <a:gd name="connsiteX33" fmla="*/ 126078 w 655320"/>
              <a:gd name="connsiteY33" fmla="*/ 255277 h 1239085"/>
              <a:gd name="connsiteX34" fmla="*/ 124037 w 655320"/>
              <a:gd name="connsiteY34" fmla="*/ 204309 h 1239085"/>
              <a:gd name="connsiteX35" fmla="*/ 301781 w 655320"/>
              <a:gd name="connsiteY35" fmla="*/ 11611 h 1239085"/>
              <a:gd name="connsiteX36" fmla="*/ 328170 w 655320"/>
              <a:gd name="connsiteY36" fmla="*/ 0 h 1239085"/>
              <a:gd name="connsiteX0" fmla="*/ 213712 w 540862"/>
              <a:gd name="connsiteY0" fmla="*/ 0 h 1239085"/>
              <a:gd name="connsiteX1" fmla="*/ 213853 w 540862"/>
              <a:gd name="connsiteY1" fmla="*/ 0 h 1239085"/>
              <a:gd name="connsiteX2" fmla="*/ 240190 w 540862"/>
              <a:gd name="connsiteY2" fmla="*/ 11400 h 1239085"/>
              <a:gd name="connsiteX3" fmla="*/ 419482 w 540862"/>
              <a:gd name="connsiteY3" fmla="*/ 202708 h 1239085"/>
              <a:gd name="connsiteX4" fmla="*/ 417846 w 540862"/>
              <a:gd name="connsiteY4" fmla="*/ 253693 h 1239085"/>
              <a:gd name="connsiteX5" fmla="*/ 391984 w 540862"/>
              <a:gd name="connsiteY5" fmla="*/ 263457 h 1239085"/>
              <a:gd name="connsiteX6" fmla="*/ 366808 w 540862"/>
              <a:gd name="connsiteY6" fmla="*/ 252057 h 1239085"/>
              <a:gd name="connsiteX7" fmla="*/ 256710 w 540862"/>
              <a:gd name="connsiteY7" fmla="*/ 134535 h 1239085"/>
              <a:gd name="connsiteX8" fmla="*/ 258434 w 540862"/>
              <a:gd name="connsiteY8" fmla="*/ 575349 h 1239085"/>
              <a:gd name="connsiteX9" fmla="*/ 540862 w 540862"/>
              <a:gd name="connsiteY9" fmla="*/ 574248 h 1239085"/>
              <a:gd name="connsiteX10" fmla="*/ 540862 w 540862"/>
              <a:gd name="connsiteY10" fmla="*/ 662264 h 1239085"/>
              <a:gd name="connsiteX11" fmla="*/ 258768 w 540862"/>
              <a:gd name="connsiteY11" fmla="*/ 663367 h 1239085"/>
              <a:gd name="connsiteX12" fmla="*/ 260475 w 540862"/>
              <a:gd name="connsiteY12" fmla="*/ 1100926 h 1239085"/>
              <a:gd name="connsiteX13" fmla="*/ 366614 w 540862"/>
              <a:gd name="connsiteY13" fmla="*/ 985849 h 1239085"/>
              <a:gd name="connsiteX14" fmla="*/ 391702 w 540862"/>
              <a:gd name="connsiteY14" fmla="*/ 974256 h 1239085"/>
              <a:gd name="connsiteX15" fmla="*/ 417635 w 540862"/>
              <a:gd name="connsiteY15" fmla="*/ 983809 h 1239085"/>
              <a:gd name="connsiteX16" fmla="*/ 419658 w 540862"/>
              <a:gd name="connsiteY16" fmla="*/ 1034776 h 1239085"/>
              <a:gd name="connsiteX17" fmla="*/ 241861 w 540862"/>
              <a:gd name="connsiteY17" fmla="*/ 1227474 h 1239085"/>
              <a:gd name="connsiteX18" fmla="*/ 215472 w 540862"/>
              <a:gd name="connsiteY18" fmla="*/ 1239085 h 1239085"/>
              <a:gd name="connsiteX19" fmla="*/ 215331 w 540862"/>
              <a:gd name="connsiteY19" fmla="*/ 1239085 h 1239085"/>
              <a:gd name="connsiteX20" fmla="*/ 188994 w 540862"/>
              <a:gd name="connsiteY20" fmla="*/ 1227667 h 1239085"/>
              <a:gd name="connsiteX21" fmla="*/ 9737 w 540862"/>
              <a:gd name="connsiteY21" fmla="*/ 1036359 h 1239085"/>
              <a:gd name="connsiteX22" fmla="*/ 11374 w 540862"/>
              <a:gd name="connsiteY22" fmla="*/ 985374 h 1239085"/>
              <a:gd name="connsiteX23" fmla="*/ 37236 w 540862"/>
              <a:gd name="connsiteY23" fmla="*/ 975610 h 1239085"/>
              <a:gd name="connsiteX24" fmla="*/ 62411 w 540862"/>
              <a:gd name="connsiteY24" fmla="*/ 987011 h 1239085"/>
              <a:gd name="connsiteX25" fmla="*/ 172509 w 540862"/>
              <a:gd name="connsiteY25" fmla="*/ 1104550 h 1239085"/>
              <a:gd name="connsiteX26" fmla="*/ 170785 w 540862"/>
              <a:gd name="connsiteY26" fmla="*/ 663666 h 1239085"/>
              <a:gd name="connsiteX27" fmla="*/ 170486 w 540862"/>
              <a:gd name="connsiteY27" fmla="*/ 575683 h 1239085"/>
              <a:gd name="connsiteX28" fmla="*/ 168780 w 540862"/>
              <a:gd name="connsiteY28" fmla="*/ 138124 h 1239085"/>
              <a:gd name="connsiteX29" fmla="*/ 62640 w 540862"/>
              <a:gd name="connsiteY29" fmla="*/ 253236 h 1239085"/>
              <a:gd name="connsiteX30" fmla="*/ 37552 w 540862"/>
              <a:gd name="connsiteY30" fmla="*/ 264830 h 1239085"/>
              <a:gd name="connsiteX31" fmla="*/ 36074 w 540862"/>
              <a:gd name="connsiteY31" fmla="*/ 264865 h 1239085"/>
              <a:gd name="connsiteX32" fmla="*/ 11620 w 540862"/>
              <a:gd name="connsiteY32" fmla="*/ 255277 h 1239085"/>
              <a:gd name="connsiteX33" fmla="*/ 9579 w 540862"/>
              <a:gd name="connsiteY33" fmla="*/ 204309 h 1239085"/>
              <a:gd name="connsiteX34" fmla="*/ 187323 w 540862"/>
              <a:gd name="connsiteY34" fmla="*/ 11611 h 1239085"/>
              <a:gd name="connsiteX35" fmla="*/ 213712 w 540862"/>
              <a:gd name="connsiteY35" fmla="*/ 0 h 1239085"/>
              <a:gd name="connsiteX0" fmla="*/ 213712 w 540862"/>
              <a:gd name="connsiteY0" fmla="*/ 0 h 1239085"/>
              <a:gd name="connsiteX1" fmla="*/ 213853 w 540862"/>
              <a:gd name="connsiteY1" fmla="*/ 0 h 1239085"/>
              <a:gd name="connsiteX2" fmla="*/ 240190 w 540862"/>
              <a:gd name="connsiteY2" fmla="*/ 11400 h 1239085"/>
              <a:gd name="connsiteX3" fmla="*/ 419482 w 540862"/>
              <a:gd name="connsiteY3" fmla="*/ 202708 h 1239085"/>
              <a:gd name="connsiteX4" fmla="*/ 417846 w 540862"/>
              <a:gd name="connsiteY4" fmla="*/ 253693 h 1239085"/>
              <a:gd name="connsiteX5" fmla="*/ 391984 w 540862"/>
              <a:gd name="connsiteY5" fmla="*/ 263457 h 1239085"/>
              <a:gd name="connsiteX6" fmla="*/ 366808 w 540862"/>
              <a:gd name="connsiteY6" fmla="*/ 252057 h 1239085"/>
              <a:gd name="connsiteX7" fmla="*/ 256710 w 540862"/>
              <a:gd name="connsiteY7" fmla="*/ 134535 h 1239085"/>
              <a:gd name="connsiteX8" fmla="*/ 258434 w 540862"/>
              <a:gd name="connsiteY8" fmla="*/ 575349 h 1239085"/>
              <a:gd name="connsiteX9" fmla="*/ 540862 w 540862"/>
              <a:gd name="connsiteY9" fmla="*/ 662264 h 1239085"/>
              <a:gd name="connsiteX10" fmla="*/ 258768 w 540862"/>
              <a:gd name="connsiteY10" fmla="*/ 663367 h 1239085"/>
              <a:gd name="connsiteX11" fmla="*/ 260475 w 540862"/>
              <a:gd name="connsiteY11" fmla="*/ 1100926 h 1239085"/>
              <a:gd name="connsiteX12" fmla="*/ 366614 w 540862"/>
              <a:gd name="connsiteY12" fmla="*/ 985849 h 1239085"/>
              <a:gd name="connsiteX13" fmla="*/ 391702 w 540862"/>
              <a:gd name="connsiteY13" fmla="*/ 974256 h 1239085"/>
              <a:gd name="connsiteX14" fmla="*/ 417635 w 540862"/>
              <a:gd name="connsiteY14" fmla="*/ 983809 h 1239085"/>
              <a:gd name="connsiteX15" fmla="*/ 419658 w 540862"/>
              <a:gd name="connsiteY15" fmla="*/ 1034776 h 1239085"/>
              <a:gd name="connsiteX16" fmla="*/ 241861 w 540862"/>
              <a:gd name="connsiteY16" fmla="*/ 1227474 h 1239085"/>
              <a:gd name="connsiteX17" fmla="*/ 215472 w 540862"/>
              <a:gd name="connsiteY17" fmla="*/ 1239085 h 1239085"/>
              <a:gd name="connsiteX18" fmla="*/ 215331 w 540862"/>
              <a:gd name="connsiteY18" fmla="*/ 1239085 h 1239085"/>
              <a:gd name="connsiteX19" fmla="*/ 188994 w 540862"/>
              <a:gd name="connsiteY19" fmla="*/ 1227667 h 1239085"/>
              <a:gd name="connsiteX20" fmla="*/ 9737 w 540862"/>
              <a:gd name="connsiteY20" fmla="*/ 1036359 h 1239085"/>
              <a:gd name="connsiteX21" fmla="*/ 11374 w 540862"/>
              <a:gd name="connsiteY21" fmla="*/ 985374 h 1239085"/>
              <a:gd name="connsiteX22" fmla="*/ 37236 w 540862"/>
              <a:gd name="connsiteY22" fmla="*/ 975610 h 1239085"/>
              <a:gd name="connsiteX23" fmla="*/ 62411 w 540862"/>
              <a:gd name="connsiteY23" fmla="*/ 987011 h 1239085"/>
              <a:gd name="connsiteX24" fmla="*/ 172509 w 540862"/>
              <a:gd name="connsiteY24" fmla="*/ 1104550 h 1239085"/>
              <a:gd name="connsiteX25" fmla="*/ 170785 w 540862"/>
              <a:gd name="connsiteY25" fmla="*/ 663666 h 1239085"/>
              <a:gd name="connsiteX26" fmla="*/ 170486 w 540862"/>
              <a:gd name="connsiteY26" fmla="*/ 575683 h 1239085"/>
              <a:gd name="connsiteX27" fmla="*/ 168780 w 540862"/>
              <a:gd name="connsiteY27" fmla="*/ 138124 h 1239085"/>
              <a:gd name="connsiteX28" fmla="*/ 62640 w 540862"/>
              <a:gd name="connsiteY28" fmla="*/ 253236 h 1239085"/>
              <a:gd name="connsiteX29" fmla="*/ 37552 w 540862"/>
              <a:gd name="connsiteY29" fmla="*/ 264830 h 1239085"/>
              <a:gd name="connsiteX30" fmla="*/ 36074 w 540862"/>
              <a:gd name="connsiteY30" fmla="*/ 264865 h 1239085"/>
              <a:gd name="connsiteX31" fmla="*/ 11620 w 540862"/>
              <a:gd name="connsiteY31" fmla="*/ 255277 h 1239085"/>
              <a:gd name="connsiteX32" fmla="*/ 9579 w 540862"/>
              <a:gd name="connsiteY32" fmla="*/ 204309 h 1239085"/>
              <a:gd name="connsiteX33" fmla="*/ 187323 w 540862"/>
              <a:gd name="connsiteY33" fmla="*/ 11611 h 1239085"/>
              <a:gd name="connsiteX34" fmla="*/ 213712 w 540862"/>
              <a:gd name="connsiteY34" fmla="*/ 0 h 1239085"/>
              <a:gd name="connsiteX0" fmla="*/ 213712 w 429218"/>
              <a:gd name="connsiteY0" fmla="*/ 0 h 1239085"/>
              <a:gd name="connsiteX1" fmla="*/ 213853 w 429218"/>
              <a:gd name="connsiteY1" fmla="*/ 0 h 1239085"/>
              <a:gd name="connsiteX2" fmla="*/ 240190 w 429218"/>
              <a:gd name="connsiteY2" fmla="*/ 11400 h 1239085"/>
              <a:gd name="connsiteX3" fmla="*/ 419482 w 429218"/>
              <a:gd name="connsiteY3" fmla="*/ 202708 h 1239085"/>
              <a:gd name="connsiteX4" fmla="*/ 417846 w 429218"/>
              <a:gd name="connsiteY4" fmla="*/ 253693 h 1239085"/>
              <a:gd name="connsiteX5" fmla="*/ 391984 w 429218"/>
              <a:gd name="connsiteY5" fmla="*/ 263457 h 1239085"/>
              <a:gd name="connsiteX6" fmla="*/ 366808 w 429218"/>
              <a:gd name="connsiteY6" fmla="*/ 252057 h 1239085"/>
              <a:gd name="connsiteX7" fmla="*/ 256710 w 429218"/>
              <a:gd name="connsiteY7" fmla="*/ 134535 h 1239085"/>
              <a:gd name="connsiteX8" fmla="*/ 258434 w 429218"/>
              <a:gd name="connsiteY8" fmla="*/ 575349 h 1239085"/>
              <a:gd name="connsiteX9" fmla="*/ 258768 w 429218"/>
              <a:gd name="connsiteY9" fmla="*/ 663367 h 1239085"/>
              <a:gd name="connsiteX10" fmla="*/ 260475 w 429218"/>
              <a:gd name="connsiteY10" fmla="*/ 1100926 h 1239085"/>
              <a:gd name="connsiteX11" fmla="*/ 366614 w 429218"/>
              <a:gd name="connsiteY11" fmla="*/ 985849 h 1239085"/>
              <a:gd name="connsiteX12" fmla="*/ 391702 w 429218"/>
              <a:gd name="connsiteY12" fmla="*/ 974256 h 1239085"/>
              <a:gd name="connsiteX13" fmla="*/ 417635 w 429218"/>
              <a:gd name="connsiteY13" fmla="*/ 983809 h 1239085"/>
              <a:gd name="connsiteX14" fmla="*/ 419658 w 429218"/>
              <a:gd name="connsiteY14" fmla="*/ 1034776 h 1239085"/>
              <a:gd name="connsiteX15" fmla="*/ 241861 w 429218"/>
              <a:gd name="connsiteY15" fmla="*/ 1227474 h 1239085"/>
              <a:gd name="connsiteX16" fmla="*/ 215472 w 429218"/>
              <a:gd name="connsiteY16" fmla="*/ 1239085 h 1239085"/>
              <a:gd name="connsiteX17" fmla="*/ 215331 w 429218"/>
              <a:gd name="connsiteY17" fmla="*/ 1239085 h 1239085"/>
              <a:gd name="connsiteX18" fmla="*/ 188994 w 429218"/>
              <a:gd name="connsiteY18" fmla="*/ 1227667 h 1239085"/>
              <a:gd name="connsiteX19" fmla="*/ 9737 w 429218"/>
              <a:gd name="connsiteY19" fmla="*/ 1036359 h 1239085"/>
              <a:gd name="connsiteX20" fmla="*/ 11374 w 429218"/>
              <a:gd name="connsiteY20" fmla="*/ 985374 h 1239085"/>
              <a:gd name="connsiteX21" fmla="*/ 37236 w 429218"/>
              <a:gd name="connsiteY21" fmla="*/ 975610 h 1239085"/>
              <a:gd name="connsiteX22" fmla="*/ 62411 w 429218"/>
              <a:gd name="connsiteY22" fmla="*/ 987011 h 1239085"/>
              <a:gd name="connsiteX23" fmla="*/ 172509 w 429218"/>
              <a:gd name="connsiteY23" fmla="*/ 1104550 h 1239085"/>
              <a:gd name="connsiteX24" fmla="*/ 170785 w 429218"/>
              <a:gd name="connsiteY24" fmla="*/ 663666 h 1239085"/>
              <a:gd name="connsiteX25" fmla="*/ 170486 w 429218"/>
              <a:gd name="connsiteY25" fmla="*/ 575683 h 1239085"/>
              <a:gd name="connsiteX26" fmla="*/ 168780 w 429218"/>
              <a:gd name="connsiteY26" fmla="*/ 138124 h 1239085"/>
              <a:gd name="connsiteX27" fmla="*/ 62640 w 429218"/>
              <a:gd name="connsiteY27" fmla="*/ 253236 h 1239085"/>
              <a:gd name="connsiteX28" fmla="*/ 37552 w 429218"/>
              <a:gd name="connsiteY28" fmla="*/ 264830 h 1239085"/>
              <a:gd name="connsiteX29" fmla="*/ 36074 w 429218"/>
              <a:gd name="connsiteY29" fmla="*/ 264865 h 1239085"/>
              <a:gd name="connsiteX30" fmla="*/ 11620 w 429218"/>
              <a:gd name="connsiteY30" fmla="*/ 255277 h 1239085"/>
              <a:gd name="connsiteX31" fmla="*/ 9579 w 429218"/>
              <a:gd name="connsiteY31" fmla="*/ 204309 h 1239085"/>
              <a:gd name="connsiteX32" fmla="*/ 187323 w 429218"/>
              <a:gd name="connsiteY32" fmla="*/ 11611 h 1239085"/>
              <a:gd name="connsiteX33" fmla="*/ 213712 w 429218"/>
              <a:gd name="connsiteY33" fmla="*/ 0 h 1239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429218" h="1239085">
                <a:moveTo>
                  <a:pt x="213712" y="0"/>
                </a:moveTo>
                <a:lnTo>
                  <a:pt x="213853" y="0"/>
                </a:lnTo>
                <a:cubicBezTo>
                  <a:pt x="223793" y="0"/>
                  <a:pt x="233382" y="4152"/>
                  <a:pt x="240190" y="11400"/>
                </a:cubicBezTo>
                <a:lnTo>
                  <a:pt x="419482" y="202708"/>
                </a:lnTo>
                <a:cubicBezTo>
                  <a:pt x="433081" y="217205"/>
                  <a:pt x="432342" y="240094"/>
                  <a:pt x="417846" y="253693"/>
                </a:cubicBezTo>
                <a:cubicBezTo>
                  <a:pt x="410808" y="260308"/>
                  <a:pt x="401607" y="263756"/>
                  <a:pt x="391984" y="263457"/>
                </a:cubicBezTo>
                <a:cubicBezTo>
                  <a:pt x="382343" y="263141"/>
                  <a:pt x="373405" y="259094"/>
                  <a:pt x="366808" y="252057"/>
                </a:cubicBezTo>
                <a:lnTo>
                  <a:pt x="256710" y="134535"/>
                </a:lnTo>
                <a:cubicBezTo>
                  <a:pt x="257285" y="281473"/>
                  <a:pt x="257859" y="428411"/>
                  <a:pt x="258434" y="575349"/>
                </a:cubicBezTo>
                <a:cubicBezTo>
                  <a:pt x="258545" y="604688"/>
                  <a:pt x="258657" y="634028"/>
                  <a:pt x="258768" y="663367"/>
                </a:cubicBezTo>
                <a:lnTo>
                  <a:pt x="260475" y="1100926"/>
                </a:lnTo>
                <a:lnTo>
                  <a:pt x="366614" y="985849"/>
                </a:lnTo>
                <a:cubicBezTo>
                  <a:pt x="373159" y="978759"/>
                  <a:pt x="382061" y="974643"/>
                  <a:pt x="391702" y="974256"/>
                </a:cubicBezTo>
                <a:cubicBezTo>
                  <a:pt x="401326" y="973851"/>
                  <a:pt x="410544" y="977264"/>
                  <a:pt x="417635" y="983809"/>
                </a:cubicBezTo>
                <a:cubicBezTo>
                  <a:pt x="432237" y="997303"/>
                  <a:pt x="433134" y="1020156"/>
                  <a:pt x="419658" y="1034776"/>
                </a:cubicBezTo>
                <a:lnTo>
                  <a:pt x="241861" y="1227474"/>
                </a:lnTo>
                <a:cubicBezTo>
                  <a:pt x="235070" y="1234810"/>
                  <a:pt x="225465" y="1239050"/>
                  <a:pt x="215472" y="1239085"/>
                </a:cubicBezTo>
                <a:lnTo>
                  <a:pt x="215331" y="1239085"/>
                </a:lnTo>
                <a:cubicBezTo>
                  <a:pt x="205391" y="1239085"/>
                  <a:pt x="195803" y="1234916"/>
                  <a:pt x="188994" y="1227667"/>
                </a:cubicBezTo>
                <a:lnTo>
                  <a:pt x="9737" y="1036359"/>
                </a:lnTo>
                <a:cubicBezTo>
                  <a:pt x="-3862" y="1021845"/>
                  <a:pt x="-3123" y="998974"/>
                  <a:pt x="11374" y="985374"/>
                </a:cubicBezTo>
                <a:cubicBezTo>
                  <a:pt x="18411" y="978759"/>
                  <a:pt x="27577" y="975311"/>
                  <a:pt x="37236" y="975610"/>
                </a:cubicBezTo>
                <a:cubicBezTo>
                  <a:pt x="46877" y="975927"/>
                  <a:pt x="55814" y="979973"/>
                  <a:pt x="62411" y="987011"/>
                </a:cubicBezTo>
                <a:lnTo>
                  <a:pt x="172509" y="1104550"/>
                </a:lnTo>
                <a:cubicBezTo>
                  <a:pt x="171934" y="957589"/>
                  <a:pt x="171360" y="810627"/>
                  <a:pt x="170785" y="663666"/>
                </a:cubicBezTo>
                <a:cubicBezTo>
                  <a:pt x="170685" y="634338"/>
                  <a:pt x="170586" y="605011"/>
                  <a:pt x="170486" y="575683"/>
                </a:cubicBezTo>
                <a:cubicBezTo>
                  <a:pt x="169917" y="429830"/>
                  <a:pt x="169349" y="283977"/>
                  <a:pt x="168780" y="138124"/>
                </a:cubicBezTo>
                <a:lnTo>
                  <a:pt x="62640" y="253236"/>
                </a:lnTo>
                <a:cubicBezTo>
                  <a:pt x="56095" y="260326"/>
                  <a:pt x="47193" y="264443"/>
                  <a:pt x="37552" y="264830"/>
                </a:cubicBezTo>
                <a:cubicBezTo>
                  <a:pt x="37060" y="264865"/>
                  <a:pt x="36567" y="264865"/>
                  <a:pt x="36074" y="264865"/>
                </a:cubicBezTo>
                <a:cubicBezTo>
                  <a:pt x="26979" y="264865"/>
                  <a:pt x="18341" y="261487"/>
                  <a:pt x="11620" y="255277"/>
                </a:cubicBezTo>
                <a:cubicBezTo>
                  <a:pt x="-2982" y="241783"/>
                  <a:pt x="-3897" y="218929"/>
                  <a:pt x="9579" y="204309"/>
                </a:cubicBezTo>
                <a:lnTo>
                  <a:pt x="187323" y="11611"/>
                </a:lnTo>
                <a:cubicBezTo>
                  <a:pt x="194114" y="4275"/>
                  <a:pt x="203719" y="35"/>
                  <a:pt x="213712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743407">
              <a:lnSpc>
                <a:spcPct val="96000"/>
              </a:lnSpc>
              <a:defRPr/>
            </a:pPr>
            <a:endParaRPr lang="en-US" sz="1463" err="1">
              <a:solidFill>
                <a:srgbClr val="F7F8FA"/>
              </a:solidFill>
              <a:latin typeface="Calibri"/>
              <a:cs typeface="Microsoft Sans Serif" panose="020B0604020202020204" pitchFamily="34" charset="0"/>
            </a:endParaRPr>
          </a:p>
        </p:txBody>
      </p:sp>
      <p:sp>
        <p:nvSpPr>
          <p:cNvPr id="344" name="TextBox 343">
            <a:extLst>
              <a:ext uri="{FF2B5EF4-FFF2-40B4-BE49-F238E27FC236}">
                <a16:creationId xmlns:a16="http://schemas.microsoft.com/office/drawing/2014/main" id="{71B59F95-7F35-4F20-4885-3F8131E5C603}"/>
              </a:ext>
            </a:extLst>
          </p:cNvPr>
          <p:cNvSpPr txBox="1"/>
          <p:nvPr/>
        </p:nvSpPr>
        <p:spPr>
          <a:xfrm>
            <a:off x="7327496" y="3689396"/>
            <a:ext cx="856004" cy="40838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 defTabSz="743407">
              <a:lnSpc>
                <a:spcPct val="96000"/>
              </a:lnSpc>
              <a:defRPr/>
            </a:pPr>
            <a:r>
              <a:rPr lang="en-US" sz="976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Higher mid-band</a:t>
            </a:r>
            <a:br>
              <a:rPr lang="en-US" sz="976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</a:br>
            <a:r>
              <a:rPr lang="en-US" sz="976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spectrum</a:t>
            </a:r>
            <a:br>
              <a:rPr lang="en-US" sz="976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</a:br>
            <a:r>
              <a:rPr lang="en-US" sz="813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(i.e., 7—16 GHz)</a:t>
            </a:r>
            <a:endParaRPr lang="en-US" sz="976">
              <a:solidFill>
                <a:srgbClr val="0B2742"/>
              </a:solidFill>
              <a:latin typeface="Calibri"/>
              <a:cs typeface="Microsoft Sans Serif" panose="020B0604020202020204" pitchFamily="34" charset="0"/>
            </a:endParaRPr>
          </a:p>
        </p:txBody>
      </p:sp>
      <p:sp>
        <p:nvSpPr>
          <p:cNvPr id="345" name="Graphic 11">
            <a:extLst>
              <a:ext uri="{FF2B5EF4-FFF2-40B4-BE49-F238E27FC236}">
                <a16:creationId xmlns:a16="http://schemas.microsoft.com/office/drawing/2014/main" id="{26CDC6C3-55B0-DEFD-EE19-ED6EE224D908}"/>
              </a:ext>
            </a:extLst>
          </p:cNvPr>
          <p:cNvSpPr/>
          <p:nvPr/>
        </p:nvSpPr>
        <p:spPr>
          <a:xfrm>
            <a:off x="7545200" y="3256297"/>
            <a:ext cx="420595" cy="429125"/>
          </a:xfrm>
          <a:custGeom>
            <a:avLst/>
            <a:gdLst>
              <a:gd name="connsiteX0" fmla="*/ 1950116 w 2070872"/>
              <a:gd name="connsiteY0" fmla="*/ 987842 h 2112876"/>
              <a:gd name="connsiteX1" fmla="*/ 1842104 w 2070872"/>
              <a:gd name="connsiteY1" fmla="*/ 1054753 h 2112876"/>
              <a:gd name="connsiteX2" fmla="*/ 1420993 w 2070872"/>
              <a:gd name="connsiteY2" fmla="*/ 1054753 h 2112876"/>
              <a:gd name="connsiteX3" fmla="*/ 1420993 w 2070872"/>
              <a:gd name="connsiteY3" fmla="*/ 261617 h 2112876"/>
              <a:gd name="connsiteX4" fmla="*/ 1170779 w 2070872"/>
              <a:gd name="connsiteY4" fmla="*/ 0 h 2112876"/>
              <a:gd name="connsiteX5" fmla="*/ 920586 w 2070872"/>
              <a:gd name="connsiteY5" fmla="*/ 261617 h 2112876"/>
              <a:gd name="connsiteX6" fmla="*/ 920586 w 2070872"/>
              <a:gd name="connsiteY6" fmla="*/ 1054753 h 2112876"/>
              <a:gd name="connsiteX7" fmla="*/ 689102 w 2070872"/>
              <a:gd name="connsiteY7" fmla="*/ 1054753 h 2112876"/>
              <a:gd name="connsiteX8" fmla="*/ 689102 w 2070872"/>
              <a:gd name="connsiteY8" fmla="*/ 550374 h 2112876"/>
              <a:gd name="connsiteX9" fmla="*/ 542740 w 2070872"/>
              <a:gd name="connsiteY9" fmla="*/ 403963 h 2112876"/>
              <a:gd name="connsiteX10" fmla="*/ 396377 w 2070872"/>
              <a:gd name="connsiteY10" fmla="*/ 550374 h 2112876"/>
              <a:gd name="connsiteX11" fmla="*/ 396377 w 2070872"/>
              <a:gd name="connsiteY11" fmla="*/ 1054753 h 2112876"/>
              <a:gd name="connsiteX12" fmla="*/ 228769 w 2070872"/>
              <a:gd name="connsiteY12" fmla="*/ 1054753 h 2112876"/>
              <a:gd name="connsiteX13" fmla="*/ 120737 w 2070872"/>
              <a:gd name="connsiteY13" fmla="*/ 987842 h 2112876"/>
              <a:gd name="connsiteX14" fmla="*/ 0 w 2070872"/>
              <a:gd name="connsiteY14" fmla="*/ 1108619 h 2112876"/>
              <a:gd name="connsiteX15" fmla="*/ 120737 w 2070872"/>
              <a:gd name="connsiteY15" fmla="*/ 1229395 h 2112876"/>
              <a:gd name="connsiteX16" fmla="*/ 221951 w 2070872"/>
              <a:gd name="connsiteY16" fmla="*/ 1174360 h 2112876"/>
              <a:gd name="connsiteX17" fmla="*/ 523812 w 2070872"/>
              <a:gd name="connsiteY17" fmla="*/ 1174360 h 2112876"/>
              <a:gd name="connsiteX18" fmla="*/ 523812 w 2070872"/>
              <a:gd name="connsiteY18" fmla="*/ 1816883 h 2112876"/>
              <a:gd name="connsiteX19" fmla="*/ 713202 w 2070872"/>
              <a:gd name="connsiteY19" fmla="*/ 2035696 h 2112876"/>
              <a:gd name="connsiteX20" fmla="*/ 902591 w 2070872"/>
              <a:gd name="connsiteY20" fmla="*/ 1817616 h 2112876"/>
              <a:gd name="connsiteX21" fmla="*/ 904434 w 2070872"/>
              <a:gd name="connsiteY21" fmla="*/ 1792319 h 2112876"/>
              <a:gd name="connsiteX22" fmla="*/ 962463 w 2070872"/>
              <a:gd name="connsiteY22" fmla="*/ 1675666 h 2112876"/>
              <a:gd name="connsiteX23" fmla="*/ 962463 w 2070872"/>
              <a:gd name="connsiteY23" fmla="*/ 1174340 h 2112876"/>
              <a:gd name="connsiteX24" fmla="*/ 1271558 w 2070872"/>
              <a:gd name="connsiteY24" fmla="*/ 1174340 h 2112876"/>
              <a:gd name="connsiteX25" fmla="*/ 1271558 w 2070872"/>
              <a:gd name="connsiteY25" fmla="*/ 1675666 h 2112876"/>
              <a:gd name="connsiteX26" fmla="*/ 1304953 w 2070872"/>
              <a:gd name="connsiteY26" fmla="*/ 1768647 h 2112876"/>
              <a:gd name="connsiteX27" fmla="*/ 1313277 w 2070872"/>
              <a:gd name="connsiteY27" fmla="*/ 1825606 h 2112876"/>
              <a:gd name="connsiteX28" fmla="*/ 1313218 w 2070872"/>
              <a:gd name="connsiteY28" fmla="*/ 1825606 h 2112876"/>
              <a:gd name="connsiteX29" fmla="*/ 1367640 w 2070872"/>
              <a:gd name="connsiteY29" fmla="*/ 1942219 h 2112876"/>
              <a:gd name="connsiteX30" fmla="*/ 1476525 w 2070872"/>
              <a:gd name="connsiteY30" fmla="*/ 2018547 h 2112876"/>
              <a:gd name="connsiteX31" fmla="*/ 1629705 w 2070872"/>
              <a:gd name="connsiteY31" fmla="*/ 2048365 h 2112876"/>
              <a:gd name="connsiteX32" fmla="*/ 1593635 w 2070872"/>
              <a:gd name="connsiteY32" fmla="*/ 2081969 h 2112876"/>
              <a:gd name="connsiteX33" fmla="*/ 1587966 w 2070872"/>
              <a:gd name="connsiteY33" fmla="*/ 2094399 h 2112876"/>
              <a:gd name="connsiteX34" fmla="*/ 1592763 w 2070872"/>
              <a:gd name="connsiteY34" fmla="*/ 2107207 h 2112876"/>
              <a:gd name="connsiteX35" fmla="*/ 1605823 w 2070872"/>
              <a:gd name="connsiteY35" fmla="*/ 2112877 h 2112876"/>
              <a:gd name="connsiteX36" fmla="*/ 1617972 w 2070872"/>
              <a:gd name="connsiteY36" fmla="*/ 2108099 h 2112876"/>
              <a:gd name="connsiteX37" fmla="*/ 1690014 w 2070872"/>
              <a:gd name="connsiteY37" fmla="*/ 2040990 h 2112876"/>
              <a:gd name="connsiteX38" fmla="*/ 1695702 w 2070872"/>
              <a:gd name="connsiteY38" fmla="*/ 2027925 h 2112876"/>
              <a:gd name="connsiteX39" fmla="*/ 1689994 w 2070872"/>
              <a:gd name="connsiteY39" fmla="*/ 2014860 h 2112876"/>
              <a:gd name="connsiteX40" fmla="*/ 1617834 w 2070872"/>
              <a:gd name="connsiteY40" fmla="*/ 1947850 h 2112876"/>
              <a:gd name="connsiteX41" fmla="*/ 1592624 w 2070872"/>
              <a:gd name="connsiteY41" fmla="*/ 1948781 h 2112876"/>
              <a:gd name="connsiteX42" fmla="*/ 1587867 w 2070872"/>
              <a:gd name="connsiteY42" fmla="*/ 1961589 h 2112876"/>
              <a:gd name="connsiteX43" fmla="*/ 1593555 w 2070872"/>
              <a:gd name="connsiteY43" fmla="*/ 1974019 h 2112876"/>
              <a:gd name="connsiteX44" fmla="*/ 1630993 w 2070872"/>
              <a:gd name="connsiteY44" fmla="*/ 2008753 h 2112876"/>
              <a:gd name="connsiteX45" fmla="*/ 1492975 w 2070872"/>
              <a:gd name="connsiteY45" fmla="*/ 1982425 h 2112876"/>
              <a:gd name="connsiteX46" fmla="*/ 1399251 w 2070872"/>
              <a:gd name="connsiteY46" fmla="*/ 1918131 h 2112876"/>
              <a:gd name="connsiteX47" fmla="*/ 1352717 w 2070872"/>
              <a:gd name="connsiteY47" fmla="*/ 1821819 h 2112876"/>
              <a:gd name="connsiteX48" fmla="*/ 1352657 w 2070872"/>
              <a:gd name="connsiteY48" fmla="*/ 1821819 h 2112876"/>
              <a:gd name="connsiteX49" fmla="*/ 1350636 w 2070872"/>
              <a:gd name="connsiteY49" fmla="*/ 1805602 h 2112876"/>
              <a:gd name="connsiteX50" fmla="*/ 1417941 w 2070872"/>
              <a:gd name="connsiteY50" fmla="*/ 1822077 h 2112876"/>
              <a:gd name="connsiteX51" fmla="*/ 1564303 w 2070872"/>
              <a:gd name="connsiteY51" fmla="*/ 1675666 h 2112876"/>
              <a:gd name="connsiteX52" fmla="*/ 1564303 w 2070872"/>
              <a:gd name="connsiteY52" fmla="*/ 1174340 h 2112876"/>
              <a:gd name="connsiteX53" fmla="*/ 1848921 w 2070872"/>
              <a:gd name="connsiteY53" fmla="*/ 1174340 h 2112876"/>
              <a:gd name="connsiteX54" fmla="*/ 1950136 w 2070872"/>
              <a:gd name="connsiteY54" fmla="*/ 1229376 h 2112876"/>
              <a:gd name="connsiteX55" fmla="*/ 2070873 w 2070872"/>
              <a:gd name="connsiteY55" fmla="*/ 1108599 h 2112876"/>
              <a:gd name="connsiteX56" fmla="*/ 1950136 w 2070872"/>
              <a:gd name="connsiteY56" fmla="*/ 987822 h 2112876"/>
              <a:gd name="connsiteX57" fmla="*/ 960224 w 2070872"/>
              <a:gd name="connsiteY57" fmla="*/ 261617 h 2112876"/>
              <a:gd name="connsiteX58" fmla="*/ 1170779 w 2070872"/>
              <a:gd name="connsiteY58" fmla="*/ 39651 h 2112876"/>
              <a:gd name="connsiteX59" fmla="*/ 1381335 w 2070872"/>
              <a:gd name="connsiteY59" fmla="*/ 261617 h 2112876"/>
              <a:gd name="connsiteX60" fmla="*/ 1381335 w 2070872"/>
              <a:gd name="connsiteY60" fmla="*/ 1054753 h 2112876"/>
              <a:gd name="connsiteX61" fmla="*/ 1311196 w 2070872"/>
              <a:gd name="connsiteY61" fmla="*/ 1054753 h 2112876"/>
              <a:gd name="connsiteX62" fmla="*/ 1311196 w 2070872"/>
              <a:gd name="connsiteY62" fmla="*/ 542464 h 2112876"/>
              <a:gd name="connsiteX63" fmla="*/ 1170779 w 2070872"/>
              <a:gd name="connsiteY63" fmla="*/ 396053 h 2112876"/>
              <a:gd name="connsiteX64" fmla="*/ 1030343 w 2070872"/>
              <a:gd name="connsiteY64" fmla="*/ 542464 h 2112876"/>
              <a:gd name="connsiteX65" fmla="*/ 1030343 w 2070872"/>
              <a:gd name="connsiteY65" fmla="*/ 1054753 h 2112876"/>
              <a:gd name="connsiteX66" fmla="*/ 960204 w 2070872"/>
              <a:gd name="connsiteY66" fmla="*/ 1054753 h 2112876"/>
              <a:gd name="connsiteX67" fmla="*/ 960204 w 2070872"/>
              <a:gd name="connsiteY67" fmla="*/ 261617 h 2112876"/>
              <a:gd name="connsiteX68" fmla="*/ 1271578 w 2070872"/>
              <a:gd name="connsiteY68" fmla="*/ 1054753 h 2112876"/>
              <a:gd name="connsiteX69" fmla="*/ 1070001 w 2070872"/>
              <a:gd name="connsiteY69" fmla="*/ 1054753 h 2112876"/>
              <a:gd name="connsiteX70" fmla="*/ 1070001 w 2070872"/>
              <a:gd name="connsiteY70" fmla="*/ 542464 h 2112876"/>
              <a:gd name="connsiteX71" fmla="*/ 1170799 w 2070872"/>
              <a:gd name="connsiteY71" fmla="*/ 435704 h 2112876"/>
              <a:gd name="connsiteX72" fmla="*/ 1271578 w 2070872"/>
              <a:gd name="connsiteY72" fmla="*/ 542464 h 2112876"/>
              <a:gd name="connsiteX73" fmla="*/ 1271578 w 2070872"/>
              <a:gd name="connsiteY73" fmla="*/ 1054753 h 2112876"/>
              <a:gd name="connsiteX74" fmla="*/ 436015 w 2070872"/>
              <a:gd name="connsiteY74" fmla="*/ 550374 h 2112876"/>
              <a:gd name="connsiteX75" fmla="*/ 542740 w 2070872"/>
              <a:gd name="connsiteY75" fmla="*/ 443614 h 2112876"/>
              <a:gd name="connsiteX76" fmla="*/ 649464 w 2070872"/>
              <a:gd name="connsiteY76" fmla="*/ 550374 h 2112876"/>
              <a:gd name="connsiteX77" fmla="*/ 649464 w 2070872"/>
              <a:gd name="connsiteY77" fmla="*/ 1054753 h 2112876"/>
              <a:gd name="connsiteX78" fmla="*/ 436015 w 2070872"/>
              <a:gd name="connsiteY78" fmla="*/ 1054753 h 2112876"/>
              <a:gd name="connsiteX79" fmla="*/ 436015 w 2070872"/>
              <a:gd name="connsiteY79" fmla="*/ 550374 h 2112876"/>
              <a:gd name="connsiteX80" fmla="*/ 120737 w 2070872"/>
              <a:gd name="connsiteY80" fmla="*/ 1189764 h 2112876"/>
              <a:gd name="connsiteX81" fmla="*/ 39638 w 2070872"/>
              <a:gd name="connsiteY81" fmla="*/ 1108639 h 2112876"/>
              <a:gd name="connsiteX82" fmla="*/ 120737 w 2070872"/>
              <a:gd name="connsiteY82" fmla="*/ 1027513 h 2112876"/>
              <a:gd name="connsiteX83" fmla="*/ 201855 w 2070872"/>
              <a:gd name="connsiteY83" fmla="*/ 1108639 h 2112876"/>
              <a:gd name="connsiteX84" fmla="*/ 120737 w 2070872"/>
              <a:gd name="connsiteY84" fmla="*/ 1189764 h 2112876"/>
              <a:gd name="connsiteX85" fmla="*/ 862993 w 2070872"/>
              <a:gd name="connsiteY85" fmla="*/ 1815455 h 2112876"/>
              <a:gd name="connsiteX86" fmla="*/ 862933 w 2070872"/>
              <a:gd name="connsiteY86" fmla="*/ 1816903 h 2112876"/>
              <a:gd name="connsiteX87" fmla="*/ 713182 w 2070872"/>
              <a:gd name="connsiteY87" fmla="*/ 1996065 h 2112876"/>
              <a:gd name="connsiteX88" fmla="*/ 563430 w 2070872"/>
              <a:gd name="connsiteY88" fmla="*/ 1816903 h 2112876"/>
              <a:gd name="connsiteX89" fmla="*/ 563430 w 2070872"/>
              <a:gd name="connsiteY89" fmla="*/ 1174380 h 2112876"/>
              <a:gd name="connsiteX90" fmla="*/ 669719 w 2070872"/>
              <a:gd name="connsiteY90" fmla="*/ 1174380 h 2112876"/>
              <a:gd name="connsiteX91" fmla="*/ 669719 w 2070872"/>
              <a:gd name="connsiteY91" fmla="*/ 1675706 h 2112876"/>
              <a:gd name="connsiteX92" fmla="*/ 816081 w 2070872"/>
              <a:gd name="connsiteY92" fmla="*/ 1822117 h 2112876"/>
              <a:gd name="connsiteX93" fmla="*/ 863052 w 2070872"/>
              <a:gd name="connsiteY93" fmla="*/ 1814345 h 2112876"/>
              <a:gd name="connsiteX94" fmla="*/ 862973 w 2070872"/>
              <a:gd name="connsiteY94" fmla="*/ 1815475 h 2112876"/>
              <a:gd name="connsiteX95" fmla="*/ 922826 w 2070872"/>
              <a:gd name="connsiteY95" fmla="*/ 1675706 h 2112876"/>
              <a:gd name="connsiteX96" fmla="*/ 816101 w 2070872"/>
              <a:gd name="connsiteY96" fmla="*/ 1782466 h 2112876"/>
              <a:gd name="connsiteX97" fmla="*/ 709377 w 2070872"/>
              <a:gd name="connsiteY97" fmla="*/ 1675706 h 2112876"/>
              <a:gd name="connsiteX98" fmla="*/ 709377 w 2070872"/>
              <a:gd name="connsiteY98" fmla="*/ 1174380 h 2112876"/>
              <a:gd name="connsiteX99" fmla="*/ 922826 w 2070872"/>
              <a:gd name="connsiteY99" fmla="*/ 1174380 h 2112876"/>
              <a:gd name="connsiteX100" fmla="*/ 922826 w 2070872"/>
              <a:gd name="connsiteY100" fmla="*/ 1675706 h 2112876"/>
              <a:gd name="connsiteX101" fmla="*/ 1524645 w 2070872"/>
              <a:gd name="connsiteY101" fmla="*/ 1675706 h 2112876"/>
              <a:gd name="connsiteX102" fmla="*/ 1417921 w 2070872"/>
              <a:gd name="connsiteY102" fmla="*/ 1782466 h 2112876"/>
              <a:gd name="connsiteX103" fmla="*/ 1311196 w 2070872"/>
              <a:gd name="connsiteY103" fmla="*/ 1675706 h 2112876"/>
              <a:gd name="connsiteX104" fmla="*/ 1311196 w 2070872"/>
              <a:gd name="connsiteY104" fmla="*/ 1174380 h 2112876"/>
              <a:gd name="connsiteX105" fmla="*/ 1524645 w 2070872"/>
              <a:gd name="connsiteY105" fmla="*/ 1174380 h 2112876"/>
              <a:gd name="connsiteX106" fmla="*/ 1524645 w 2070872"/>
              <a:gd name="connsiteY106" fmla="*/ 1675706 h 2112876"/>
              <a:gd name="connsiteX107" fmla="*/ 1627465 w 2070872"/>
              <a:gd name="connsiteY107" fmla="*/ 1134055 h 2112876"/>
              <a:gd name="connsiteX108" fmla="*/ 563470 w 2070872"/>
              <a:gd name="connsiteY108" fmla="*/ 1134055 h 2112876"/>
              <a:gd name="connsiteX109" fmla="*/ 563470 w 2070872"/>
              <a:gd name="connsiteY109" fmla="*/ 1133282 h 2112876"/>
              <a:gd name="connsiteX110" fmla="*/ 523832 w 2070872"/>
              <a:gd name="connsiteY110" fmla="*/ 1133282 h 2112876"/>
              <a:gd name="connsiteX111" fmla="*/ 523832 w 2070872"/>
              <a:gd name="connsiteY111" fmla="*/ 1134055 h 2112876"/>
              <a:gd name="connsiteX112" fmla="*/ 238778 w 2070872"/>
              <a:gd name="connsiteY112" fmla="*/ 1134055 h 2112876"/>
              <a:gd name="connsiteX113" fmla="*/ 241493 w 2070872"/>
              <a:gd name="connsiteY113" fmla="*/ 1108639 h 2112876"/>
              <a:gd name="connsiteX114" fmla="*/ 240720 w 2070872"/>
              <a:gd name="connsiteY114" fmla="*/ 1095078 h 2112876"/>
              <a:gd name="connsiteX115" fmla="*/ 1830153 w 2070872"/>
              <a:gd name="connsiteY115" fmla="*/ 1095078 h 2112876"/>
              <a:gd name="connsiteX116" fmla="*/ 1829380 w 2070872"/>
              <a:gd name="connsiteY116" fmla="*/ 1108639 h 2112876"/>
              <a:gd name="connsiteX117" fmla="*/ 1832095 w 2070872"/>
              <a:gd name="connsiteY117" fmla="*/ 1134055 h 2112876"/>
              <a:gd name="connsiteX118" fmla="*/ 1627465 w 2070872"/>
              <a:gd name="connsiteY118" fmla="*/ 1134055 h 2112876"/>
              <a:gd name="connsiteX119" fmla="*/ 1950116 w 2070872"/>
              <a:gd name="connsiteY119" fmla="*/ 1189764 h 2112876"/>
              <a:gd name="connsiteX120" fmla="*/ 1869018 w 2070872"/>
              <a:gd name="connsiteY120" fmla="*/ 1108639 h 2112876"/>
              <a:gd name="connsiteX121" fmla="*/ 1950116 w 2070872"/>
              <a:gd name="connsiteY121" fmla="*/ 1027513 h 2112876"/>
              <a:gd name="connsiteX122" fmla="*/ 2031215 w 2070872"/>
              <a:gd name="connsiteY122" fmla="*/ 1108639 h 2112876"/>
              <a:gd name="connsiteX123" fmla="*/ 1950116 w 2070872"/>
              <a:gd name="connsiteY123" fmla="*/ 1189764 h 2112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2070872" h="2112876">
                <a:moveTo>
                  <a:pt x="1950116" y="987842"/>
                </a:moveTo>
                <a:cubicBezTo>
                  <a:pt x="1902888" y="987842"/>
                  <a:pt x="1861923" y="1015122"/>
                  <a:pt x="1842104" y="1054753"/>
                </a:cubicBezTo>
                <a:lnTo>
                  <a:pt x="1420993" y="1054753"/>
                </a:lnTo>
                <a:lnTo>
                  <a:pt x="1420993" y="261617"/>
                </a:lnTo>
                <a:cubicBezTo>
                  <a:pt x="1420973" y="117367"/>
                  <a:pt x="1308739" y="0"/>
                  <a:pt x="1170779" y="0"/>
                </a:cubicBezTo>
                <a:cubicBezTo>
                  <a:pt x="1032820" y="0"/>
                  <a:pt x="920586" y="117367"/>
                  <a:pt x="920586" y="261617"/>
                </a:cubicBezTo>
                <a:lnTo>
                  <a:pt x="920586" y="1054753"/>
                </a:lnTo>
                <a:lnTo>
                  <a:pt x="689102" y="1054753"/>
                </a:lnTo>
                <a:lnTo>
                  <a:pt x="689102" y="550374"/>
                </a:lnTo>
                <a:cubicBezTo>
                  <a:pt x="689102" y="469645"/>
                  <a:pt x="623442" y="403963"/>
                  <a:pt x="542740" y="403963"/>
                </a:cubicBezTo>
                <a:cubicBezTo>
                  <a:pt x="462037" y="403963"/>
                  <a:pt x="396377" y="469645"/>
                  <a:pt x="396377" y="550374"/>
                </a:cubicBezTo>
                <a:lnTo>
                  <a:pt x="396377" y="1054753"/>
                </a:lnTo>
                <a:lnTo>
                  <a:pt x="228769" y="1054753"/>
                </a:lnTo>
                <a:cubicBezTo>
                  <a:pt x="208930" y="1015122"/>
                  <a:pt x="167985" y="987842"/>
                  <a:pt x="120737" y="987842"/>
                </a:cubicBezTo>
                <a:cubicBezTo>
                  <a:pt x="54165" y="987842"/>
                  <a:pt x="0" y="1042025"/>
                  <a:pt x="0" y="1108619"/>
                </a:cubicBezTo>
                <a:cubicBezTo>
                  <a:pt x="0" y="1175213"/>
                  <a:pt x="54165" y="1229395"/>
                  <a:pt x="120737" y="1229395"/>
                </a:cubicBezTo>
                <a:cubicBezTo>
                  <a:pt x="163089" y="1229395"/>
                  <a:pt x="200389" y="1207449"/>
                  <a:pt x="221951" y="1174360"/>
                </a:cubicBezTo>
                <a:lnTo>
                  <a:pt x="523812" y="1174360"/>
                </a:lnTo>
                <a:lnTo>
                  <a:pt x="523812" y="1816883"/>
                </a:lnTo>
                <a:cubicBezTo>
                  <a:pt x="523812" y="1937540"/>
                  <a:pt x="608776" y="2035696"/>
                  <a:pt x="713202" y="2035696"/>
                </a:cubicBezTo>
                <a:cubicBezTo>
                  <a:pt x="817627" y="2035696"/>
                  <a:pt x="902234" y="1937937"/>
                  <a:pt x="902591" y="1817616"/>
                </a:cubicBezTo>
                <a:lnTo>
                  <a:pt x="904434" y="1792319"/>
                </a:lnTo>
                <a:cubicBezTo>
                  <a:pt x="939672" y="1765555"/>
                  <a:pt x="962463" y="1723227"/>
                  <a:pt x="962463" y="1675666"/>
                </a:cubicBezTo>
                <a:lnTo>
                  <a:pt x="962463" y="1174340"/>
                </a:lnTo>
                <a:lnTo>
                  <a:pt x="1271558" y="1174340"/>
                </a:lnTo>
                <a:lnTo>
                  <a:pt x="1271558" y="1675666"/>
                </a:lnTo>
                <a:cubicBezTo>
                  <a:pt x="1271558" y="1710936"/>
                  <a:pt x="1284104" y="1743350"/>
                  <a:pt x="1304953" y="1768647"/>
                </a:cubicBezTo>
                <a:lnTo>
                  <a:pt x="1313277" y="1825606"/>
                </a:lnTo>
                <a:lnTo>
                  <a:pt x="1313218" y="1825606"/>
                </a:lnTo>
                <a:cubicBezTo>
                  <a:pt x="1313436" y="1828045"/>
                  <a:pt x="1319362" y="1885816"/>
                  <a:pt x="1367640" y="1942219"/>
                </a:cubicBezTo>
                <a:cubicBezTo>
                  <a:pt x="1395704" y="1975011"/>
                  <a:pt x="1432349" y="2000684"/>
                  <a:pt x="1476525" y="2018547"/>
                </a:cubicBezTo>
                <a:cubicBezTo>
                  <a:pt x="1520345" y="2036271"/>
                  <a:pt x="1571735" y="2046243"/>
                  <a:pt x="1629705" y="2048365"/>
                </a:cubicBezTo>
                <a:lnTo>
                  <a:pt x="1593635" y="2081969"/>
                </a:lnTo>
                <a:cubicBezTo>
                  <a:pt x="1590147" y="2085220"/>
                  <a:pt x="1588125" y="2089641"/>
                  <a:pt x="1587966" y="2094399"/>
                </a:cubicBezTo>
                <a:cubicBezTo>
                  <a:pt x="1587808" y="2099177"/>
                  <a:pt x="1589493" y="2103717"/>
                  <a:pt x="1592763" y="2107207"/>
                </a:cubicBezTo>
                <a:cubicBezTo>
                  <a:pt x="1596271" y="2110973"/>
                  <a:pt x="1601027" y="2112877"/>
                  <a:pt x="1605823" y="2112877"/>
                </a:cubicBezTo>
                <a:cubicBezTo>
                  <a:pt x="1610183" y="2112877"/>
                  <a:pt x="1614544" y="2111291"/>
                  <a:pt x="1617972" y="2108099"/>
                </a:cubicBezTo>
                <a:lnTo>
                  <a:pt x="1690014" y="2040990"/>
                </a:lnTo>
                <a:cubicBezTo>
                  <a:pt x="1693621" y="2037619"/>
                  <a:pt x="1695702" y="2032861"/>
                  <a:pt x="1695702" y="2027925"/>
                </a:cubicBezTo>
                <a:cubicBezTo>
                  <a:pt x="1695702" y="2022988"/>
                  <a:pt x="1693621" y="2018210"/>
                  <a:pt x="1689994" y="2014860"/>
                </a:cubicBezTo>
                <a:lnTo>
                  <a:pt x="1617834" y="1947850"/>
                </a:lnTo>
                <a:cubicBezTo>
                  <a:pt x="1610639" y="1941149"/>
                  <a:pt x="1599323" y="1941565"/>
                  <a:pt x="1592624" y="1948781"/>
                </a:cubicBezTo>
                <a:cubicBezTo>
                  <a:pt x="1589374" y="1952271"/>
                  <a:pt x="1587689" y="1956831"/>
                  <a:pt x="1587867" y="1961589"/>
                </a:cubicBezTo>
                <a:cubicBezTo>
                  <a:pt x="1588046" y="1966347"/>
                  <a:pt x="1590067" y="1970768"/>
                  <a:pt x="1593555" y="1974019"/>
                </a:cubicBezTo>
                <a:lnTo>
                  <a:pt x="1630993" y="2008753"/>
                </a:lnTo>
                <a:cubicBezTo>
                  <a:pt x="1578453" y="2006830"/>
                  <a:pt x="1532137" y="1998008"/>
                  <a:pt x="1492975" y="1982425"/>
                </a:cubicBezTo>
                <a:cubicBezTo>
                  <a:pt x="1454823" y="1967239"/>
                  <a:pt x="1423272" y="1945609"/>
                  <a:pt x="1399251" y="1918131"/>
                </a:cubicBezTo>
                <a:cubicBezTo>
                  <a:pt x="1358206" y="1871205"/>
                  <a:pt x="1352776" y="1822315"/>
                  <a:pt x="1352717" y="1821819"/>
                </a:cubicBezTo>
                <a:lnTo>
                  <a:pt x="1352657" y="1821819"/>
                </a:lnTo>
                <a:lnTo>
                  <a:pt x="1350636" y="1805602"/>
                </a:lnTo>
                <a:cubicBezTo>
                  <a:pt x="1370811" y="1816090"/>
                  <a:pt x="1393682" y="1822077"/>
                  <a:pt x="1417941" y="1822077"/>
                </a:cubicBezTo>
                <a:cubicBezTo>
                  <a:pt x="1498643" y="1822077"/>
                  <a:pt x="1564303" y="1756395"/>
                  <a:pt x="1564303" y="1675666"/>
                </a:cubicBezTo>
                <a:lnTo>
                  <a:pt x="1564303" y="1174340"/>
                </a:lnTo>
                <a:lnTo>
                  <a:pt x="1848921" y="1174340"/>
                </a:lnTo>
                <a:cubicBezTo>
                  <a:pt x="1870484" y="1207429"/>
                  <a:pt x="1907783" y="1229376"/>
                  <a:pt x="1950136" y="1229376"/>
                </a:cubicBezTo>
                <a:cubicBezTo>
                  <a:pt x="2016708" y="1229376"/>
                  <a:pt x="2070873" y="1175193"/>
                  <a:pt x="2070873" y="1108599"/>
                </a:cubicBezTo>
                <a:cubicBezTo>
                  <a:pt x="2070873" y="1042005"/>
                  <a:pt x="2016708" y="987822"/>
                  <a:pt x="1950136" y="987822"/>
                </a:cubicBezTo>
                <a:close/>
                <a:moveTo>
                  <a:pt x="960224" y="261617"/>
                </a:moveTo>
                <a:cubicBezTo>
                  <a:pt x="960224" y="139214"/>
                  <a:pt x="1054681" y="39651"/>
                  <a:pt x="1170779" y="39651"/>
                </a:cubicBezTo>
                <a:cubicBezTo>
                  <a:pt x="1286878" y="39651"/>
                  <a:pt x="1381335" y="139234"/>
                  <a:pt x="1381335" y="261617"/>
                </a:cubicBezTo>
                <a:lnTo>
                  <a:pt x="1381335" y="1054753"/>
                </a:lnTo>
                <a:lnTo>
                  <a:pt x="1311196" y="1054753"/>
                </a:lnTo>
                <a:lnTo>
                  <a:pt x="1311196" y="542464"/>
                </a:lnTo>
                <a:cubicBezTo>
                  <a:pt x="1311196" y="461735"/>
                  <a:pt x="1248192" y="396053"/>
                  <a:pt x="1170779" y="396053"/>
                </a:cubicBezTo>
                <a:cubicBezTo>
                  <a:pt x="1093367" y="396053"/>
                  <a:pt x="1030343" y="461735"/>
                  <a:pt x="1030343" y="542464"/>
                </a:cubicBezTo>
                <a:lnTo>
                  <a:pt x="1030343" y="1054753"/>
                </a:lnTo>
                <a:lnTo>
                  <a:pt x="960204" y="1054753"/>
                </a:lnTo>
                <a:lnTo>
                  <a:pt x="960204" y="261617"/>
                </a:lnTo>
                <a:close/>
                <a:moveTo>
                  <a:pt x="1271578" y="1054753"/>
                </a:moveTo>
                <a:lnTo>
                  <a:pt x="1070001" y="1054753"/>
                </a:lnTo>
                <a:lnTo>
                  <a:pt x="1070001" y="542464"/>
                </a:lnTo>
                <a:cubicBezTo>
                  <a:pt x="1070001" y="483602"/>
                  <a:pt x="1115207" y="435704"/>
                  <a:pt x="1170799" y="435704"/>
                </a:cubicBezTo>
                <a:cubicBezTo>
                  <a:pt x="1226391" y="435704"/>
                  <a:pt x="1271578" y="483602"/>
                  <a:pt x="1271578" y="542464"/>
                </a:cubicBezTo>
                <a:lnTo>
                  <a:pt x="1271578" y="1054753"/>
                </a:lnTo>
                <a:close/>
                <a:moveTo>
                  <a:pt x="436015" y="550374"/>
                </a:moveTo>
                <a:cubicBezTo>
                  <a:pt x="436015" y="491512"/>
                  <a:pt x="483897" y="443614"/>
                  <a:pt x="542740" y="443614"/>
                </a:cubicBezTo>
                <a:cubicBezTo>
                  <a:pt x="601582" y="443614"/>
                  <a:pt x="649464" y="491512"/>
                  <a:pt x="649464" y="550374"/>
                </a:cubicBezTo>
                <a:lnTo>
                  <a:pt x="649464" y="1054753"/>
                </a:lnTo>
                <a:lnTo>
                  <a:pt x="436015" y="1054753"/>
                </a:lnTo>
                <a:lnTo>
                  <a:pt x="436015" y="550374"/>
                </a:lnTo>
                <a:close/>
                <a:moveTo>
                  <a:pt x="120737" y="1189764"/>
                </a:moveTo>
                <a:cubicBezTo>
                  <a:pt x="76005" y="1189764"/>
                  <a:pt x="39638" y="1153365"/>
                  <a:pt x="39638" y="1108639"/>
                </a:cubicBezTo>
                <a:cubicBezTo>
                  <a:pt x="39638" y="1063913"/>
                  <a:pt x="76025" y="1027513"/>
                  <a:pt x="120737" y="1027513"/>
                </a:cubicBezTo>
                <a:cubicBezTo>
                  <a:pt x="165448" y="1027513"/>
                  <a:pt x="201855" y="1063913"/>
                  <a:pt x="201855" y="1108639"/>
                </a:cubicBezTo>
                <a:cubicBezTo>
                  <a:pt x="201855" y="1153365"/>
                  <a:pt x="165468" y="1189764"/>
                  <a:pt x="120737" y="1189764"/>
                </a:cubicBezTo>
                <a:close/>
                <a:moveTo>
                  <a:pt x="862993" y="1815455"/>
                </a:moveTo>
                <a:lnTo>
                  <a:pt x="862933" y="1816903"/>
                </a:lnTo>
                <a:cubicBezTo>
                  <a:pt x="862933" y="1915693"/>
                  <a:pt x="795767" y="1996065"/>
                  <a:pt x="713182" y="1996065"/>
                </a:cubicBezTo>
                <a:cubicBezTo>
                  <a:pt x="630597" y="1996065"/>
                  <a:pt x="563430" y="1915693"/>
                  <a:pt x="563430" y="1816903"/>
                </a:cubicBezTo>
                <a:lnTo>
                  <a:pt x="563430" y="1174380"/>
                </a:lnTo>
                <a:lnTo>
                  <a:pt x="669719" y="1174380"/>
                </a:lnTo>
                <a:lnTo>
                  <a:pt x="669719" y="1675706"/>
                </a:lnTo>
                <a:cubicBezTo>
                  <a:pt x="669719" y="1756435"/>
                  <a:pt x="735379" y="1822117"/>
                  <a:pt x="816081" y="1822117"/>
                </a:cubicBezTo>
                <a:cubicBezTo>
                  <a:pt x="832511" y="1822117"/>
                  <a:pt x="848307" y="1819361"/>
                  <a:pt x="863052" y="1814345"/>
                </a:cubicBezTo>
                <a:lnTo>
                  <a:pt x="862973" y="1815475"/>
                </a:lnTo>
                <a:close/>
                <a:moveTo>
                  <a:pt x="922826" y="1675706"/>
                </a:moveTo>
                <a:cubicBezTo>
                  <a:pt x="922826" y="1734568"/>
                  <a:pt x="874943" y="1782466"/>
                  <a:pt x="816101" y="1782466"/>
                </a:cubicBezTo>
                <a:cubicBezTo>
                  <a:pt x="757259" y="1782466"/>
                  <a:pt x="709377" y="1734568"/>
                  <a:pt x="709377" y="1675706"/>
                </a:cubicBezTo>
                <a:lnTo>
                  <a:pt x="709377" y="1174380"/>
                </a:lnTo>
                <a:lnTo>
                  <a:pt x="922826" y="1174380"/>
                </a:lnTo>
                <a:lnTo>
                  <a:pt x="922826" y="1675706"/>
                </a:lnTo>
                <a:close/>
                <a:moveTo>
                  <a:pt x="1524645" y="1675706"/>
                </a:moveTo>
                <a:cubicBezTo>
                  <a:pt x="1524645" y="1734568"/>
                  <a:pt x="1476763" y="1782466"/>
                  <a:pt x="1417921" y="1782466"/>
                </a:cubicBezTo>
                <a:cubicBezTo>
                  <a:pt x="1359078" y="1782466"/>
                  <a:pt x="1311196" y="1734568"/>
                  <a:pt x="1311196" y="1675706"/>
                </a:cubicBezTo>
                <a:lnTo>
                  <a:pt x="1311196" y="1174380"/>
                </a:lnTo>
                <a:lnTo>
                  <a:pt x="1524645" y="1174380"/>
                </a:lnTo>
                <a:lnTo>
                  <a:pt x="1524645" y="1675706"/>
                </a:lnTo>
                <a:close/>
                <a:moveTo>
                  <a:pt x="1627465" y="1134055"/>
                </a:moveTo>
                <a:lnTo>
                  <a:pt x="563470" y="1134055"/>
                </a:lnTo>
                <a:lnTo>
                  <a:pt x="563470" y="1133282"/>
                </a:lnTo>
                <a:lnTo>
                  <a:pt x="523832" y="1133282"/>
                </a:lnTo>
                <a:lnTo>
                  <a:pt x="523832" y="1134055"/>
                </a:lnTo>
                <a:lnTo>
                  <a:pt x="238778" y="1134055"/>
                </a:lnTo>
                <a:cubicBezTo>
                  <a:pt x="240542" y="1125847"/>
                  <a:pt x="241493" y="1117362"/>
                  <a:pt x="241493" y="1108639"/>
                </a:cubicBezTo>
                <a:cubicBezTo>
                  <a:pt x="241493" y="1104059"/>
                  <a:pt x="241215" y="1099539"/>
                  <a:pt x="240720" y="1095078"/>
                </a:cubicBezTo>
                <a:lnTo>
                  <a:pt x="1830153" y="1095078"/>
                </a:lnTo>
                <a:cubicBezTo>
                  <a:pt x="1829658" y="1099539"/>
                  <a:pt x="1829380" y="1104059"/>
                  <a:pt x="1829380" y="1108639"/>
                </a:cubicBezTo>
                <a:cubicBezTo>
                  <a:pt x="1829380" y="1117362"/>
                  <a:pt x="1830331" y="1125867"/>
                  <a:pt x="1832095" y="1134055"/>
                </a:cubicBezTo>
                <a:lnTo>
                  <a:pt x="1627465" y="1134055"/>
                </a:lnTo>
                <a:close/>
                <a:moveTo>
                  <a:pt x="1950116" y="1189764"/>
                </a:moveTo>
                <a:cubicBezTo>
                  <a:pt x="1905385" y="1189764"/>
                  <a:pt x="1869018" y="1153365"/>
                  <a:pt x="1869018" y="1108639"/>
                </a:cubicBezTo>
                <a:cubicBezTo>
                  <a:pt x="1869018" y="1063913"/>
                  <a:pt x="1905405" y="1027513"/>
                  <a:pt x="1950116" y="1027513"/>
                </a:cubicBezTo>
                <a:cubicBezTo>
                  <a:pt x="1994828" y="1027513"/>
                  <a:pt x="2031215" y="1063913"/>
                  <a:pt x="2031215" y="1108639"/>
                </a:cubicBezTo>
                <a:cubicBezTo>
                  <a:pt x="2031215" y="1153365"/>
                  <a:pt x="1994828" y="1189764"/>
                  <a:pt x="1950116" y="1189764"/>
                </a:cubicBezTo>
                <a:close/>
              </a:path>
            </a:pathLst>
          </a:custGeom>
          <a:solidFill>
            <a:schemeClr val="accent3"/>
          </a:solidFill>
          <a:ln w="1986" cap="flat">
            <a:noFill/>
            <a:prstDash val="solid"/>
            <a:miter/>
          </a:ln>
        </p:spPr>
        <p:txBody>
          <a:bodyPr rtlCol="0" anchor="ctr"/>
          <a:lstStyle/>
          <a:p>
            <a:pPr defTabSz="743407">
              <a:defRPr/>
            </a:pPr>
            <a:endParaRPr lang="en-US" sz="1463">
              <a:solidFill>
                <a:srgbClr val="13161E"/>
              </a:solidFill>
              <a:latin typeface="Calibri"/>
            </a:endParaRPr>
          </a:p>
        </p:txBody>
      </p:sp>
      <p:sp>
        <p:nvSpPr>
          <p:cNvPr id="346" name="TextBox 345">
            <a:extLst>
              <a:ext uri="{FF2B5EF4-FFF2-40B4-BE49-F238E27FC236}">
                <a16:creationId xmlns:a16="http://schemas.microsoft.com/office/drawing/2014/main" id="{B3F9A83A-C2FD-59E3-7C85-649DC5888C3E}"/>
              </a:ext>
            </a:extLst>
          </p:cNvPr>
          <p:cNvSpPr txBox="1"/>
          <p:nvPr/>
        </p:nvSpPr>
        <p:spPr>
          <a:xfrm>
            <a:off x="7249750" y="5333072"/>
            <a:ext cx="1011495" cy="28828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 defTabSz="743407">
              <a:lnSpc>
                <a:spcPct val="96000"/>
              </a:lnSpc>
              <a:defRPr/>
            </a:pPr>
            <a:r>
              <a:rPr lang="en-US" sz="976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Integrated sensing</a:t>
            </a:r>
            <a:br>
              <a:rPr lang="en-US" sz="976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</a:br>
            <a:r>
              <a:rPr lang="en-US" sz="976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and communication</a:t>
            </a:r>
          </a:p>
        </p:txBody>
      </p:sp>
      <p:grpSp>
        <p:nvGrpSpPr>
          <p:cNvPr id="347" name="Group 346">
            <a:extLst>
              <a:ext uri="{FF2B5EF4-FFF2-40B4-BE49-F238E27FC236}">
                <a16:creationId xmlns:a16="http://schemas.microsoft.com/office/drawing/2014/main" id="{7F767D0A-D211-D4DE-60CF-1431C16A3E18}"/>
              </a:ext>
            </a:extLst>
          </p:cNvPr>
          <p:cNvGrpSpPr/>
          <p:nvPr/>
        </p:nvGrpSpPr>
        <p:grpSpPr>
          <a:xfrm>
            <a:off x="7557563" y="4823451"/>
            <a:ext cx="395870" cy="460146"/>
            <a:chOff x="2449939" y="2688247"/>
            <a:chExt cx="1786455" cy="2076514"/>
          </a:xfrm>
          <a:solidFill>
            <a:schemeClr val="accent3"/>
          </a:solidFill>
        </p:grpSpPr>
        <p:sp>
          <p:nvSpPr>
            <p:cNvPr id="348" name="Freeform 4">
              <a:extLst>
                <a:ext uri="{FF2B5EF4-FFF2-40B4-BE49-F238E27FC236}">
                  <a16:creationId xmlns:a16="http://schemas.microsoft.com/office/drawing/2014/main" id="{8C449D05-2E33-7664-BC05-D099351255BE}"/>
                </a:ext>
              </a:extLst>
            </p:cNvPr>
            <p:cNvSpPr/>
            <p:nvPr/>
          </p:nvSpPr>
          <p:spPr>
            <a:xfrm>
              <a:off x="3024503" y="3420105"/>
              <a:ext cx="593456" cy="1264618"/>
            </a:xfrm>
            <a:custGeom>
              <a:avLst/>
              <a:gdLst>
                <a:gd name="connsiteX0" fmla="*/ 593264 w 593456"/>
                <a:gd name="connsiteY0" fmla="*/ 330840 h 1264618"/>
                <a:gd name="connsiteX1" fmla="*/ 592463 w 593456"/>
                <a:gd name="connsiteY1" fmla="*/ 327659 h 1264618"/>
                <a:gd name="connsiteX2" fmla="*/ 590922 w 593456"/>
                <a:gd name="connsiteY2" fmla="*/ 324677 h 1264618"/>
                <a:gd name="connsiteX3" fmla="*/ 589860 w 593456"/>
                <a:gd name="connsiteY3" fmla="*/ 323216 h 1264618"/>
                <a:gd name="connsiteX4" fmla="*/ 589260 w 593456"/>
                <a:gd name="connsiteY4" fmla="*/ 322516 h 1264618"/>
                <a:gd name="connsiteX5" fmla="*/ 588218 w 593456"/>
                <a:gd name="connsiteY5" fmla="*/ 321396 h 1264618"/>
                <a:gd name="connsiteX6" fmla="*/ 582552 w 593456"/>
                <a:gd name="connsiteY6" fmla="*/ 315033 h 1264618"/>
                <a:gd name="connsiteX7" fmla="*/ 571200 w 593456"/>
                <a:gd name="connsiteY7" fmla="*/ 300386 h 1264618"/>
                <a:gd name="connsiteX8" fmla="*/ 572000 w 593456"/>
                <a:gd name="connsiteY8" fmla="*/ 300026 h 1264618"/>
                <a:gd name="connsiteX9" fmla="*/ 572601 w 593456"/>
                <a:gd name="connsiteY9" fmla="*/ 299785 h 1264618"/>
                <a:gd name="connsiteX10" fmla="*/ 572921 w 593456"/>
                <a:gd name="connsiteY10" fmla="*/ 299665 h 1264618"/>
                <a:gd name="connsiteX11" fmla="*/ 573082 w 593456"/>
                <a:gd name="connsiteY11" fmla="*/ 299605 h 1264618"/>
                <a:gd name="connsiteX12" fmla="*/ 572561 w 593456"/>
                <a:gd name="connsiteY12" fmla="*/ 299745 h 1264618"/>
                <a:gd name="connsiteX13" fmla="*/ 571700 w 593456"/>
                <a:gd name="connsiteY13" fmla="*/ 299965 h 1264618"/>
                <a:gd name="connsiteX14" fmla="*/ 571480 w 593456"/>
                <a:gd name="connsiteY14" fmla="*/ 300026 h 1264618"/>
                <a:gd name="connsiteX15" fmla="*/ 571059 w 593456"/>
                <a:gd name="connsiteY15" fmla="*/ 300166 h 1264618"/>
                <a:gd name="connsiteX16" fmla="*/ 562830 w 593456"/>
                <a:gd name="connsiteY16" fmla="*/ 287500 h 1264618"/>
                <a:gd name="connsiteX17" fmla="*/ 548334 w 593456"/>
                <a:gd name="connsiteY17" fmla="*/ 256045 h 1264618"/>
                <a:gd name="connsiteX18" fmla="*/ 543809 w 593456"/>
                <a:gd name="connsiteY18" fmla="*/ 238777 h 1264618"/>
                <a:gd name="connsiteX19" fmla="*/ 542428 w 593456"/>
                <a:gd name="connsiteY19" fmla="*/ 230313 h 1264618"/>
                <a:gd name="connsiteX20" fmla="*/ 541467 w 593456"/>
                <a:gd name="connsiteY20" fmla="*/ 221869 h 1264618"/>
                <a:gd name="connsiteX21" fmla="*/ 540525 w 593456"/>
                <a:gd name="connsiteY21" fmla="*/ 189414 h 1264618"/>
                <a:gd name="connsiteX22" fmla="*/ 540045 w 593456"/>
                <a:gd name="connsiteY22" fmla="*/ 160520 h 1264618"/>
                <a:gd name="connsiteX23" fmla="*/ 535940 w 593456"/>
                <a:gd name="connsiteY23" fmla="*/ 133627 h 1264618"/>
                <a:gd name="connsiteX24" fmla="*/ 527110 w 593456"/>
                <a:gd name="connsiteY24" fmla="*/ 109676 h 1264618"/>
                <a:gd name="connsiteX25" fmla="*/ 520523 w 593456"/>
                <a:gd name="connsiteY25" fmla="*/ 98831 h 1264618"/>
                <a:gd name="connsiteX26" fmla="*/ 518661 w 593456"/>
                <a:gd name="connsiteY26" fmla="*/ 96270 h 1264618"/>
                <a:gd name="connsiteX27" fmla="*/ 516639 w 593456"/>
                <a:gd name="connsiteY27" fmla="*/ 93669 h 1264618"/>
                <a:gd name="connsiteX28" fmla="*/ 512194 w 593456"/>
                <a:gd name="connsiteY28" fmla="*/ 88226 h 1264618"/>
                <a:gd name="connsiteX29" fmla="*/ 471148 w 593456"/>
                <a:gd name="connsiteY29" fmla="*/ 49608 h 1264618"/>
                <a:gd name="connsiteX30" fmla="*/ 368554 w 593456"/>
                <a:gd name="connsiteY30" fmla="*/ 4707 h 1264618"/>
                <a:gd name="connsiteX31" fmla="*/ 340403 w 593456"/>
                <a:gd name="connsiteY31" fmla="*/ 965 h 1264618"/>
                <a:gd name="connsiteX32" fmla="*/ 333295 w 593456"/>
                <a:gd name="connsiteY32" fmla="*/ 485 h 1264618"/>
                <a:gd name="connsiteX33" fmla="*/ 326167 w 593456"/>
                <a:gd name="connsiteY33" fmla="*/ 145 h 1264618"/>
                <a:gd name="connsiteX34" fmla="*/ 311631 w 593456"/>
                <a:gd name="connsiteY34" fmla="*/ 65 h 1264618"/>
                <a:gd name="connsiteX35" fmla="*/ 304063 w 593456"/>
                <a:gd name="connsiteY35" fmla="*/ 185 h 1264618"/>
                <a:gd name="connsiteX36" fmla="*/ 300138 w 593456"/>
                <a:gd name="connsiteY36" fmla="*/ 145 h 1264618"/>
                <a:gd name="connsiteX37" fmla="*/ 296654 w 593456"/>
                <a:gd name="connsiteY37" fmla="*/ 245 h 1264618"/>
                <a:gd name="connsiteX38" fmla="*/ 289687 w 593456"/>
                <a:gd name="connsiteY38" fmla="*/ 425 h 1264618"/>
                <a:gd name="connsiteX39" fmla="*/ 282739 w 593456"/>
                <a:gd name="connsiteY39" fmla="*/ 965 h 1264618"/>
                <a:gd name="connsiteX40" fmla="*/ 279275 w 593456"/>
                <a:gd name="connsiteY40" fmla="*/ 1225 h 1264618"/>
                <a:gd name="connsiteX41" fmla="*/ 275831 w 593456"/>
                <a:gd name="connsiteY41" fmla="*/ 1665 h 1264618"/>
                <a:gd name="connsiteX42" fmla="*/ 268924 w 593456"/>
                <a:gd name="connsiteY42" fmla="*/ 2526 h 1264618"/>
                <a:gd name="connsiteX43" fmla="*/ 262076 w 593456"/>
                <a:gd name="connsiteY43" fmla="*/ 3746 h 1264618"/>
                <a:gd name="connsiteX44" fmla="*/ 258652 w 593456"/>
                <a:gd name="connsiteY44" fmla="*/ 4347 h 1264618"/>
                <a:gd name="connsiteX45" fmla="*/ 255268 w 593456"/>
                <a:gd name="connsiteY45" fmla="*/ 5127 h 1264618"/>
                <a:gd name="connsiteX46" fmla="*/ 158180 w 593456"/>
                <a:gd name="connsiteY46" fmla="*/ 56751 h 1264618"/>
                <a:gd name="connsiteX47" fmla="*/ 123302 w 593456"/>
                <a:gd name="connsiteY47" fmla="*/ 99912 h 1264618"/>
                <a:gd name="connsiteX48" fmla="*/ 110588 w 593456"/>
                <a:gd name="connsiteY48" fmla="*/ 124603 h 1264618"/>
                <a:gd name="connsiteX49" fmla="*/ 101357 w 593456"/>
                <a:gd name="connsiteY49" fmla="*/ 150795 h 1264618"/>
                <a:gd name="connsiteX50" fmla="*/ 100396 w 593456"/>
                <a:gd name="connsiteY50" fmla="*/ 154137 h 1264618"/>
                <a:gd name="connsiteX51" fmla="*/ 99595 w 593456"/>
                <a:gd name="connsiteY51" fmla="*/ 157519 h 1264618"/>
                <a:gd name="connsiteX52" fmla="*/ 98014 w 593456"/>
                <a:gd name="connsiteY52" fmla="*/ 164282 h 1264618"/>
                <a:gd name="connsiteX53" fmla="*/ 96792 w 593456"/>
                <a:gd name="connsiteY53" fmla="*/ 171125 h 1264618"/>
                <a:gd name="connsiteX54" fmla="*/ 96172 w 593456"/>
                <a:gd name="connsiteY54" fmla="*/ 174547 h 1264618"/>
                <a:gd name="connsiteX55" fmla="*/ 95731 w 593456"/>
                <a:gd name="connsiteY55" fmla="*/ 177988 h 1264618"/>
                <a:gd name="connsiteX56" fmla="*/ 94850 w 593456"/>
                <a:gd name="connsiteY56" fmla="*/ 184891 h 1264618"/>
                <a:gd name="connsiteX57" fmla="*/ 94330 w 593456"/>
                <a:gd name="connsiteY57" fmla="*/ 191835 h 1264618"/>
                <a:gd name="connsiteX58" fmla="*/ 94069 w 593456"/>
                <a:gd name="connsiteY58" fmla="*/ 195296 h 1264618"/>
                <a:gd name="connsiteX59" fmla="*/ 93989 w 593456"/>
                <a:gd name="connsiteY59" fmla="*/ 198778 h 1264618"/>
                <a:gd name="connsiteX60" fmla="*/ 93809 w 593456"/>
                <a:gd name="connsiteY60" fmla="*/ 205741 h 1264618"/>
                <a:gd name="connsiteX61" fmla="*/ 95651 w 593456"/>
                <a:gd name="connsiteY61" fmla="*/ 233494 h 1264618"/>
                <a:gd name="connsiteX62" fmla="*/ 101197 w 593456"/>
                <a:gd name="connsiteY62" fmla="*/ 260707 h 1264618"/>
                <a:gd name="connsiteX63" fmla="*/ 137357 w 593456"/>
                <a:gd name="connsiteY63" fmla="*/ 332361 h 1264618"/>
                <a:gd name="connsiteX64" fmla="*/ 140561 w 593456"/>
                <a:gd name="connsiteY64" fmla="*/ 336283 h 1264618"/>
                <a:gd name="connsiteX65" fmla="*/ 142483 w 593456"/>
                <a:gd name="connsiteY65" fmla="*/ 338624 h 1264618"/>
                <a:gd name="connsiteX66" fmla="*/ 144746 w 593456"/>
                <a:gd name="connsiteY66" fmla="*/ 341505 h 1264618"/>
                <a:gd name="connsiteX67" fmla="*/ 148310 w 593456"/>
                <a:gd name="connsiteY67" fmla="*/ 346767 h 1264618"/>
                <a:gd name="connsiteX68" fmla="*/ 151473 w 593456"/>
                <a:gd name="connsiteY68" fmla="*/ 351590 h 1264618"/>
                <a:gd name="connsiteX69" fmla="*/ 163607 w 593456"/>
                <a:gd name="connsiteY69" fmla="*/ 371419 h 1264618"/>
                <a:gd name="connsiteX70" fmla="*/ 174619 w 593456"/>
                <a:gd name="connsiteY70" fmla="*/ 392889 h 1264618"/>
                <a:gd name="connsiteX71" fmla="*/ 175880 w 593456"/>
                <a:gd name="connsiteY71" fmla="*/ 395770 h 1264618"/>
                <a:gd name="connsiteX72" fmla="*/ 177081 w 593456"/>
                <a:gd name="connsiteY72" fmla="*/ 398812 h 1264618"/>
                <a:gd name="connsiteX73" fmla="*/ 179384 w 593456"/>
                <a:gd name="connsiteY73" fmla="*/ 405215 h 1264618"/>
                <a:gd name="connsiteX74" fmla="*/ 181326 w 593456"/>
                <a:gd name="connsiteY74" fmla="*/ 412258 h 1264618"/>
                <a:gd name="connsiteX75" fmla="*/ 182488 w 593456"/>
                <a:gd name="connsiteY75" fmla="*/ 419502 h 1264618"/>
                <a:gd name="connsiteX76" fmla="*/ 182888 w 593456"/>
                <a:gd name="connsiteY76" fmla="*/ 422643 h 1264618"/>
                <a:gd name="connsiteX77" fmla="*/ 183649 w 593456"/>
                <a:gd name="connsiteY77" fmla="*/ 428266 h 1264618"/>
                <a:gd name="connsiteX78" fmla="*/ 184209 w 593456"/>
                <a:gd name="connsiteY78" fmla="*/ 438090 h 1264618"/>
                <a:gd name="connsiteX79" fmla="*/ 183629 w 593456"/>
                <a:gd name="connsiteY79" fmla="*/ 456759 h 1264618"/>
                <a:gd name="connsiteX80" fmla="*/ 177622 w 593456"/>
                <a:gd name="connsiteY80" fmla="*/ 492936 h 1264618"/>
                <a:gd name="connsiteX81" fmla="*/ 150452 w 593456"/>
                <a:gd name="connsiteY81" fmla="*/ 553805 h 1264618"/>
                <a:gd name="connsiteX82" fmla="*/ 141742 w 593456"/>
                <a:gd name="connsiteY82" fmla="*/ 567271 h 1264618"/>
                <a:gd name="connsiteX83" fmla="*/ 133553 w 593456"/>
                <a:gd name="connsiteY83" fmla="*/ 579677 h 1264618"/>
                <a:gd name="connsiteX84" fmla="*/ 125604 w 593456"/>
                <a:gd name="connsiteY84" fmla="*/ 592243 h 1264618"/>
                <a:gd name="connsiteX85" fmla="*/ 117896 w 593456"/>
                <a:gd name="connsiteY85" fmla="*/ 604949 h 1264618"/>
                <a:gd name="connsiteX86" fmla="*/ 65718 w 593456"/>
                <a:gd name="connsiteY86" fmla="*/ 711439 h 1264618"/>
                <a:gd name="connsiteX87" fmla="*/ 46496 w 593456"/>
                <a:gd name="connsiteY87" fmla="*/ 767465 h 1264618"/>
                <a:gd name="connsiteX88" fmla="*/ 38748 w 593456"/>
                <a:gd name="connsiteY88" fmla="*/ 796178 h 1264618"/>
                <a:gd name="connsiteX89" fmla="*/ 35104 w 593456"/>
                <a:gd name="connsiteY89" fmla="*/ 810705 h 1264618"/>
                <a:gd name="connsiteX90" fmla="*/ 33282 w 593456"/>
                <a:gd name="connsiteY90" fmla="*/ 817969 h 1264618"/>
                <a:gd name="connsiteX91" fmla="*/ 31680 w 593456"/>
                <a:gd name="connsiteY91" fmla="*/ 825292 h 1264618"/>
                <a:gd name="connsiteX92" fmla="*/ 10737 w 593456"/>
                <a:gd name="connsiteY92" fmla="*/ 943367 h 1264618"/>
                <a:gd name="connsiteX93" fmla="*/ 1767 w 593456"/>
                <a:gd name="connsiteY93" fmla="*/ 1183140 h 1264618"/>
                <a:gd name="connsiteX94" fmla="*/ 2608 w 593456"/>
                <a:gd name="connsiteY94" fmla="*/ 1198127 h 1264618"/>
                <a:gd name="connsiteX95" fmla="*/ 3649 w 593456"/>
                <a:gd name="connsiteY95" fmla="*/ 1213074 h 1264618"/>
                <a:gd name="connsiteX96" fmla="*/ 3989 w 593456"/>
                <a:gd name="connsiteY96" fmla="*/ 1216136 h 1264618"/>
                <a:gd name="connsiteX97" fmla="*/ 4329 w 593456"/>
                <a:gd name="connsiteY97" fmla="*/ 1218937 h 1264618"/>
                <a:gd name="connsiteX98" fmla="*/ 5491 w 593456"/>
                <a:gd name="connsiteY98" fmla="*/ 1224419 h 1264618"/>
                <a:gd name="connsiteX99" fmla="*/ 7253 w 593456"/>
                <a:gd name="connsiteY99" fmla="*/ 1229722 h 1264618"/>
                <a:gd name="connsiteX100" fmla="*/ 9555 w 593456"/>
                <a:gd name="connsiteY100" fmla="*/ 1234804 h 1264618"/>
                <a:gd name="connsiteX101" fmla="*/ 43173 w 593456"/>
                <a:gd name="connsiteY101" fmla="*/ 1262497 h 1264618"/>
                <a:gd name="connsiteX102" fmla="*/ 48619 w 593456"/>
                <a:gd name="connsiteY102" fmla="*/ 1263718 h 1264618"/>
                <a:gd name="connsiteX103" fmla="*/ 51382 w 593456"/>
                <a:gd name="connsiteY103" fmla="*/ 1264118 h 1264618"/>
                <a:gd name="connsiteX104" fmla="*/ 52763 w 593456"/>
                <a:gd name="connsiteY104" fmla="*/ 1264338 h 1264618"/>
                <a:gd name="connsiteX105" fmla="*/ 54165 w 593456"/>
                <a:gd name="connsiteY105" fmla="*/ 1264398 h 1264618"/>
                <a:gd name="connsiteX106" fmla="*/ 56968 w 593456"/>
                <a:gd name="connsiteY106" fmla="*/ 1264538 h 1264618"/>
                <a:gd name="connsiteX107" fmla="*/ 58450 w 593456"/>
                <a:gd name="connsiteY107" fmla="*/ 1264618 h 1264618"/>
                <a:gd name="connsiteX108" fmla="*/ 473891 w 593456"/>
                <a:gd name="connsiteY108" fmla="*/ 1264618 h 1264618"/>
                <a:gd name="connsiteX109" fmla="*/ 475413 w 593456"/>
                <a:gd name="connsiteY109" fmla="*/ 1264538 h 1264618"/>
                <a:gd name="connsiteX110" fmla="*/ 478276 w 593456"/>
                <a:gd name="connsiteY110" fmla="*/ 1264378 h 1264618"/>
                <a:gd name="connsiteX111" fmla="*/ 483963 w 593456"/>
                <a:gd name="connsiteY111" fmla="*/ 1263718 h 1264618"/>
                <a:gd name="connsiteX112" fmla="*/ 486786 w 593456"/>
                <a:gd name="connsiteY112" fmla="*/ 1263258 h 1264618"/>
                <a:gd name="connsiteX113" fmla="*/ 489549 w 593456"/>
                <a:gd name="connsiteY113" fmla="*/ 1262517 h 1264618"/>
                <a:gd name="connsiteX114" fmla="*/ 509931 w 593456"/>
                <a:gd name="connsiteY114" fmla="*/ 1252553 h 1264618"/>
                <a:gd name="connsiteX115" fmla="*/ 532717 w 593456"/>
                <a:gd name="connsiteY115" fmla="*/ 1214315 h 1264618"/>
                <a:gd name="connsiteX116" fmla="*/ 533277 w 593456"/>
                <a:gd name="connsiteY116" fmla="*/ 1208632 h 1264618"/>
                <a:gd name="connsiteX117" fmla="*/ 533377 w 593456"/>
                <a:gd name="connsiteY117" fmla="*/ 1205771 h 1264618"/>
                <a:gd name="connsiteX118" fmla="*/ 533418 w 593456"/>
                <a:gd name="connsiteY118" fmla="*/ 1204270 h 1264618"/>
                <a:gd name="connsiteX119" fmla="*/ 533377 w 593456"/>
                <a:gd name="connsiteY119" fmla="*/ 1202389 h 1264618"/>
                <a:gd name="connsiteX120" fmla="*/ 532997 w 593456"/>
                <a:gd name="connsiteY120" fmla="*/ 1187322 h 1264618"/>
                <a:gd name="connsiteX121" fmla="*/ 531936 w 593456"/>
                <a:gd name="connsiteY121" fmla="*/ 1157208 h 1264618"/>
                <a:gd name="connsiteX122" fmla="*/ 522165 w 593456"/>
                <a:gd name="connsiteY122" fmla="*/ 1037192 h 1264618"/>
                <a:gd name="connsiteX123" fmla="*/ 503064 w 593456"/>
                <a:gd name="connsiteY123" fmla="*/ 918516 h 1264618"/>
                <a:gd name="connsiteX124" fmla="*/ 472910 w 593456"/>
                <a:gd name="connsiteY124" fmla="*/ 802782 h 1264618"/>
                <a:gd name="connsiteX125" fmla="*/ 452107 w 593456"/>
                <a:gd name="connsiteY125" fmla="*/ 747576 h 1264618"/>
                <a:gd name="connsiteX126" fmla="*/ 439513 w 593456"/>
                <a:gd name="connsiteY126" fmla="*/ 721904 h 1264618"/>
                <a:gd name="connsiteX127" fmla="*/ 436069 w 593456"/>
                <a:gd name="connsiteY127" fmla="*/ 715961 h 1264618"/>
                <a:gd name="connsiteX128" fmla="*/ 432505 w 593456"/>
                <a:gd name="connsiteY128" fmla="*/ 710438 h 1264618"/>
                <a:gd name="connsiteX129" fmla="*/ 430703 w 593456"/>
                <a:gd name="connsiteY129" fmla="*/ 707917 h 1264618"/>
                <a:gd name="connsiteX130" fmla="*/ 429802 w 593456"/>
                <a:gd name="connsiteY130" fmla="*/ 706656 h 1264618"/>
                <a:gd name="connsiteX131" fmla="*/ 428921 w 593456"/>
                <a:gd name="connsiteY131" fmla="*/ 705596 h 1264618"/>
                <a:gd name="connsiteX132" fmla="*/ 427139 w 593456"/>
                <a:gd name="connsiteY132" fmla="*/ 703415 h 1264618"/>
                <a:gd name="connsiteX133" fmla="*/ 424376 w 593456"/>
                <a:gd name="connsiteY133" fmla="*/ 700273 h 1264618"/>
                <a:gd name="connsiteX134" fmla="*/ 405816 w 593456"/>
                <a:gd name="connsiteY134" fmla="*/ 675762 h 1264618"/>
                <a:gd name="connsiteX135" fmla="*/ 401691 w 593456"/>
                <a:gd name="connsiteY135" fmla="*/ 669319 h 1264618"/>
                <a:gd name="connsiteX136" fmla="*/ 397707 w 593456"/>
                <a:gd name="connsiteY136" fmla="*/ 662516 h 1264618"/>
                <a:gd name="connsiteX137" fmla="*/ 394003 w 593456"/>
                <a:gd name="connsiteY137" fmla="*/ 655552 h 1264618"/>
                <a:gd name="connsiteX138" fmla="*/ 392201 w 593456"/>
                <a:gd name="connsiteY138" fmla="*/ 652051 h 1264618"/>
                <a:gd name="connsiteX139" fmla="*/ 390579 w 593456"/>
                <a:gd name="connsiteY139" fmla="*/ 648449 h 1264618"/>
                <a:gd name="connsiteX140" fmla="*/ 384572 w 593456"/>
                <a:gd name="connsiteY140" fmla="*/ 633862 h 1264618"/>
                <a:gd name="connsiteX141" fmla="*/ 379927 w 593456"/>
                <a:gd name="connsiteY141" fmla="*/ 618775 h 1264618"/>
                <a:gd name="connsiteX142" fmla="*/ 374421 w 593456"/>
                <a:gd name="connsiteY142" fmla="*/ 587701 h 1264618"/>
                <a:gd name="connsiteX143" fmla="*/ 374301 w 593456"/>
                <a:gd name="connsiteY143" fmla="*/ 556106 h 1264618"/>
                <a:gd name="connsiteX144" fmla="*/ 379707 w 593456"/>
                <a:gd name="connsiteY144" fmla="*/ 524931 h 1264618"/>
                <a:gd name="connsiteX145" fmla="*/ 380768 w 593456"/>
                <a:gd name="connsiteY145" fmla="*/ 521109 h 1264618"/>
                <a:gd name="connsiteX146" fmla="*/ 382029 w 593456"/>
                <a:gd name="connsiteY146" fmla="*/ 516747 h 1264618"/>
                <a:gd name="connsiteX147" fmla="*/ 385113 w 593456"/>
                <a:gd name="connsiteY147" fmla="*/ 507923 h 1264618"/>
                <a:gd name="connsiteX148" fmla="*/ 393162 w 593456"/>
                <a:gd name="connsiteY148" fmla="*/ 491215 h 1264618"/>
                <a:gd name="connsiteX149" fmla="*/ 404554 w 593456"/>
                <a:gd name="connsiteY149" fmla="*/ 476869 h 1264618"/>
                <a:gd name="connsiteX150" fmla="*/ 411902 w 593456"/>
                <a:gd name="connsiteY150" fmla="*/ 471366 h 1264618"/>
                <a:gd name="connsiteX151" fmla="*/ 420272 w 593456"/>
                <a:gd name="connsiteY151" fmla="*/ 467644 h 1264618"/>
                <a:gd name="connsiteX152" fmla="*/ 443077 w 593456"/>
                <a:gd name="connsiteY152" fmla="*/ 463202 h 1264618"/>
                <a:gd name="connsiteX153" fmla="*/ 448844 w 593456"/>
                <a:gd name="connsiteY153" fmla="*/ 462882 h 1264618"/>
                <a:gd name="connsiteX154" fmla="*/ 454630 w 593456"/>
                <a:gd name="connsiteY154" fmla="*/ 462802 h 1264618"/>
                <a:gd name="connsiteX155" fmla="*/ 460296 w 593456"/>
                <a:gd name="connsiteY155" fmla="*/ 462862 h 1264618"/>
                <a:gd name="connsiteX156" fmla="*/ 465082 w 593456"/>
                <a:gd name="connsiteY156" fmla="*/ 463022 h 1264618"/>
                <a:gd name="connsiteX157" fmla="*/ 474512 w 593456"/>
                <a:gd name="connsiteY157" fmla="*/ 463642 h 1264618"/>
                <a:gd name="connsiteX158" fmla="*/ 483802 w 593456"/>
                <a:gd name="connsiteY158" fmla="*/ 464563 h 1264618"/>
                <a:gd name="connsiteX159" fmla="*/ 492973 w 593456"/>
                <a:gd name="connsiteY159" fmla="*/ 465723 h 1264618"/>
                <a:gd name="connsiteX160" fmla="*/ 497538 w 593456"/>
                <a:gd name="connsiteY160" fmla="*/ 466364 h 1264618"/>
                <a:gd name="connsiteX161" fmla="*/ 500841 w 593456"/>
                <a:gd name="connsiteY161" fmla="*/ 466764 h 1264618"/>
                <a:gd name="connsiteX162" fmla="*/ 512454 w 593456"/>
                <a:gd name="connsiteY162" fmla="*/ 466344 h 1264618"/>
                <a:gd name="connsiteX163" fmla="*/ 521184 w 593456"/>
                <a:gd name="connsiteY163" fmla="*/ 462722 h 1264618"/>
                <a:gd name="connsiteX164" fmla="*/ 524748 w 593456"/>
                <a:gd name="connsiteY164" fmla="*/ 459660 h 1264618"/>
                <a:gd name="connsiteX165" fmla="*/ 527931 w 593456"/>
                <a:gd name="connsiteY165" fmla="*/ 455599 h 1264618"/>
                <a:gd name="connsiteX166" fmla="*/ 532797 w 593456"/>
                <a:gd name="connsiteY166" fmla="*/ 444854 h 1264618"/>
                <a:gd name="connsiteX167" fmla="*/ 533618 w 593456"/>
                <a:gd name="connsiteY167" fmla="*/ 441812 h 1264618"/>
                <a:gd name="connsiteX168" fmla="*/ 534198 w 593456"/>
                <a:gd name="connsiteY168" fmla="*/ 438911 h 1264618"/>
                <a:gd name="connsiteX169" fmla="*/ 534699 w 593456"/>
                <a:gd name="connsiteY169" fmla="*/ 433048 h 1264618"/>
                <a:gd name="connsiteX170" fmla="*/ 534098 w 593456"/>
                <a:gd name="connsiteY170" fmla="*/ 424184 h 1264618"/>
                <a:gd name="connsiteX171" fmla="*/ 533277 w 593456"/>
                <a:gd name="connsiteY171" fmla="*/ 417581 h 1264618"/>
                <a:gd name="connsiteX172" fmla="*/ 532436 w 593456"/>
                <a:gd name="connsiteY172" fmla="*/ 410237 h 1264618"/>
                <a:gd name="connsiteX173" fmla="*/ 537362 w 593456"/>
                <a:gd name="connsiteY173" fmla="*/ 381624 h 1264618"/>
                <a:gd name="connsiteX174" fmla="*/ 555442 w 593456"/>
                <a:gd name="connsiteY174" fmla="*/ 355832 h 1264618"/>
                <a:gd name="connsiteX175" fmla="*/ 582292 w 593456"/>
                <a:gd name="connsiteY175" fmla="*/ 339324 h 1264618"/>
                <a:gd name="connsiteX176" fmla="*/ 582292 w 593456"/>
                <a:gd name="connsiteY176" fmla="*/ 339324 h 1264618"/>
                <a:gd name="connsiteX177" fmla="*/ 585736 w 593456"/>
                <a:gd name="connsiteY177" fmla="*/ 338223 h 1264618"/>
                <a:gd name="connsiteX178" fmla="*/ 586196 w 593456"/>
                <a:gd name="connsiteY178" fmla="*/ 338083 h 1264618"/>
                <a:gd name="connsiteX179" fmla="*/ 586477 w 593456"/>
                <a:gd name="connsiteY179" fmla="*/ 338003 h 1264618"/>
                <a:gd name="connsiteX180" fmla="*/ 586637 w 593456"/>
                <a:gd name="connsiteY180" fmla="*/ 337943 h 1264618"/>
                <a:gd name="connsiteX181" fmla="*/ 586957 w 593456"/>
                <a:gd name="connsiteY181" fmla="*/ 337823 h 1264618"/>
                <a:gd name="connsiteX182" fmla="*/ 587618 w 593456"/>
                <a:gd name="connsiteY182" fmla="*/ 337563 h 1264618"/>
                <a:gd name="connsiteX183" fmla="*/ 588899 w 593456"/>
                <a:gd name="connsiteY183" fmla="*/ 336983 h 1264618"/>
                <a:gd name="connsiteX184" fmla="*/ 590060 w 593456"/>
                <a:gd name="connsiteY184" fmla="*/ 336363 h 1264618"/>
                <a:gd name="connsiteX185" fmla="*/ 592383 w 593456"/>
                <a:gd name="connsiteY185" fmla="*/ 334682 h 1264618"/>
                <a:gd name="connsiteX186" fmla="*/ 592924 w 593456"/>
                <a:gd name="connsiteY186" fmla="*/ 334042 h 1264618"/>
                <a:gd name="connsiteX187" fmla="*/ 593064 w 593456"/>
                <a:gd name="connsiteY187" fmla="*/ 333801 h 1264618"/>
                <a:gd name="connsiteX188" fmla="*/ 593184 w 593456"/>
                <a:gd name="connsiteY188" fmla="*/ 333601 h 1264618"/>
                <a:gd name="connsiteX189" fmla="*/ 593304 w 593456"/>
                <a:gd name="connsiteY189" fmla="*/ 333241 h 1264618"/>
                <a:gd name="connsiteX190" fmla="*/ 593404 w 593456"/>
                <a:gd name="connsiteY190" fmla="*/ 332761 h 1264618"/>
                <a:gd name="connsiteX191" fmla="*/ 593384 w 593456"/>
                <a:gd name="connsiteY191" fmla="*/ 330740 h 1264618"/>
                <a:gd name="connsiteX192" fmla="*/ 493854 w 593456"/>
                <a:gd name="connsiteY192" fmla="*/ 432688 h 1264618"/>
                <a:gd name="connsiteX193" fmla="*/ 493854 w 593456"/>
                <a:gd name="connsiteY193" fmla="*/ 432688 h 1264618"/>
                <a:gd name="connsiteX194" fmla="*/ 526430 w 593456"/>
                <a:gd name="connsiteY194" fmla="*/ 327298 h 1264618"/>
                <a:gd name="connsiteX195" fmla="*/ 499660 w 593456"/>
                <a:gd name="connsiteY195" fmla="*/ 366057 h 1264618"/>
                <a:gd name="connsiteX196" fmla="*/ 491371 w 593456"/>
                <a:gd name="connsiteY196" fmla="*/ 408777 h 1264618"/>
                <a:gd name="connsiteX197" fmla="*/ 492392 w 593456"/>
                <a:gd name="connsiteY197" fmla="*/ 419862 h 1264618"/>
                <a:gd name="connsiteX198" fmla="*/ 493053 w 593456"/>
                <a:gd name="connsiteY198" fmla="*/ 424824 h 1264618"/>
                <a:gd name="connsiteX199" fmla="*/ 488227 w 593456"/>
                <a:gd name="connsiteY199" fmla="*/ 424264 h 1264618"/>
                <a:gd name="connsiteX200" fmla="*/ 483062 w 593456"/>
                <a:gd name="connsiteY200" fmla="*/ 423684 h 1264618"/>
                <a:gd name="connsiteX201" fmla="*/ 477736 w 593456"/>
                <a:gd name="connsiteY201" fmla="*/ 423223 h 1264618"/>
                <a:gd name="connsiteX202" fmla="*/ 466884 w 593456"/>
                <a:gd name="connsiteY202" fmla="*/ 422503 h 1264618"/>
                <a:gd name="connsiteX203" fmla="*/ 461257 w 593456"/>
                <a:gd name="connsiteY203" fmla="*/ 422303 h 1264618"/>
                <a:gd name="connsiteX204" fmla="*/ 452908 w 593456"/>
                <a:gd name="connsiteY204" fmla="*/ 422263 h 1264618"/>
                <a:gd name="connsiteX205" fmla="*/ 444178 w 593456"/>
                <a:gd name="connsiteY205" fmla="*/ 422463 h 1264618"/>
                <a:gd name="connsiteX206" fmla="*/ 435509 w 593456"/>
                <a:gd name="connsiteY206" fmla="*/ 423103 h 1264618"/>
                <a:gd name="connsiteX207" fmla="*/ 401931 w 593456"/>
                <a:gd name="connsiteY207" fmla="*/ 431267 h 1264618"/>
                <a:gd name="connsiteX208" fmla="*/ 400270 w 593456"/>
                <a:gd name="connsiteY208" fmla="*/ 431727 h 1264618"/>
                <a:gd name="connsiteX209" fmla="*/ 398728 w 593456"/>
                <a:gd name="connsiteY209" fmla="*/ 432428 h 1264618"/>
                <a:gd name="connsiteX210" fmla="*/ 395704 w 593456"/>
                <a:gd name="connsiteY210" fmla="*/ 433888 h 1264618"/>
                <a:gd name="connsiteX211" fmla="*/ 389818 w 593456"/>
                <a:gd name="connsiteY211" fmla="*/ 437230 h 1264618"/>
                <a:gd name="connsiteX212" fmla="*/ 378886 w 593456"/>
                <a:gd name="connsiteY212" fmla="*/ 445254 h 1264618"/>
                <a:gd name="connsiteX213" fmla="*/ 361046 w 593456"/>
                <a:gd name="connsiteY213" fmla="*/ 465723 h 1264618"/>
                <a:gd name="connsiteX214" fmla="*/ 348232 w 593456"/>
                <a:gd name="connsiteY214" fmla="*/ 490335 h 1264618"/>
                <a:gd name="connsiteX215" fmla="*/ 343446 w 593456"/>
                <a:gd name="connsiteY215" fmla="*/ 503581 h 1264618"/>
                <a:gd name="connsiteX216" fmla="*/ 341564 w 593456"/>
                <a:gd name="connsiteY216" fmla="*/ 509944 h 1264618"/>
                <a:gd name="connsiteX217" fmla="*/ 340243 w 593456"/>
                <a:gd name="connsiteY217" fmla="*/ 514646 h 1264618"/>
                <a:gd name="connsiteX218" fmla="*/ 333615 w 593456"/>
                <a:gd name="connsiteY218" fmla="*/ 552844 h 1264618"/>
                <a:gd name="connsiteX219" fmla="*/ 333776 w 593456"/>
                <a:gd name="connsiteY219" fmla="*/ 591462 h 1264618"/>
                <a:gd name="connsiteX220" fmla="*/ 340483 w 593456"/>
                <a:gd name="connsiteY220" fmla="*/ 629340 h 1264618"/>
                <a:gd name="connsiteX221" fmla="*/ 346149 w 593456"/>
                <a:gd name="connsiteY221" fmla="*/ 647709 h 1264618"/>
                <a:gd name="connsiteX222" fmla="*/ 353438 w 593456"/>
                <a:gd name="connsiteY222" fmla="*/ 665477 h 1264618"/>
                <a:gd name="connsiteX223" fmla="*/ 355440 w 593456"/>
                <a:gd name="connsiteY223" fmla="*/ 669839 h 1264618"/>
                <a:gd name="connsiteX224" fmla="*/ 357622 w 593456"/>
                <a:gd name="connsiteY224" fmla="*/ 674121 h 1264618"/>
                <a:gd name="connsiteX225" fmla="*/ 362147 w 593456"/>
                <a:gd name="connsiteY225" fmla="*/ 682585 h 1264618"/>
                <a:gd name="connsiteX226" fmla="*/ 367013 w 593456"/>
                <a:gd name="connsiteY226" fmla="*/ 690869 h 1264618"/>
                <a:gd name="connsiteX227" fmla="*/ 371798 w 593456"/>
                <a:gd name="connsiteY227" fmla="*/ 698333 h 1264618"/>
                <a:gd name="connsiteX228" fmla="*/ 393522 w 593456"/>
                <a:gd name="connsiteY228" fmla="*/ 727006 h 1264618"/>
                <a:gd name="connsiteX229" fmla="*/ 396786 w 593456"/>
                <a:gd name="connsiteY229" fmla="*/ 730708 h 1264618"/>
                <a:gd name="connsiteX230" fmla="*/ 396966 w 593456"/>
                <a:gd name="connsiteY230" fmla="*/ 730908 h 1264618"/>
                <a:gd name="connsiteX231" fmla="*/ 397006 w 593456"/>
                <a:gd name="connsiteY231" fmla="*/ 730968 h 1264618"/>
                <a:gd name="connsiteX232" fmla="*/ 397086 w 593456"/>
                <a:gd name="connsiteY232" fmla="*/ 731088 h 1264618"/>
                <a:gd name="connsiteX233" fmla="*/ 397266 w 593456"/>
                <a:gd name="connsiteY233" fmla="*/ 731308 h 1264618"/>
                <a:gd name="connsiteX234" fmla="*/ 397486 w 593456"/>
                <a:gd name="connsiteY234" fmla="*/ 731508 h 1264618"/>
                <a:gd name="connsiteX235" fmla="*/ 397947 w 593456"/>
                <a:gd name="connsiteY235" fmla="*/ 732188 h 1264618"/>
                <a:gd name="connsiteX236" fmla="*/ 398908 w 593456"/>
                <a:gd name="connsiteY236" fmla="*/ 733509 h 1264618"/>
                <a:gd name="connsiteX237" fmla="*/ 401311 w 593456"/>
                <a:gd name="connsiteY237" fmla="*/ 737231 h 1264618"/>
                <a:gd name="connsiteX238" fmla="*/ 403974 w 593456"/>
                <a:gd name="connsiteY238" fmla="*/ 741813 h 1264618"/>
                <a:gd name="connsiteX239" fmla="*/ 414846 w 593456"/>
                <a:gd name="connsiteY239" fmla="*/ 764043 h 1264618"/>
                <a:gd name="connsiteX240" fmla="*/ 434207 w 593456"/>
                <a:gd name="connsiteY240" fmla="*/ 815508 h 1264618"/>
                <a:gd name="connsiteX241" fmla="*/ 463179 w 593456"/>
                <a:gd name="connsiteY241" fmla="*/ 926780 h 1264618"/>
                <a:gd name="connsiteX242" fmla="*/ 481740 w 593456"/>
                <a:gd name="connsiteY242" fmla="*/ 1042074 h 1264618"/>
                <a:gd name="connsiteX243" fmla="*/ 491271 w 593456"/>
                <a:gd name="connsiteY243" fmla="*/ 1159089 h 1264618"/>
                <a:gd name="connsiteX244" fmla="*/ 492312 w 593456"/>
                <a:gd name="connsiteY244" fmla="*/ 1188483 h 1264618"/>
                <a:gd name="connsiteX245" fmla="*/ 492672 w 593456"/>
                <a:gd name="connsiteY245" fmla="*/ 1203190 h 1264618"/>
                <a:gd name="connsiteX246" fmla="*/ 492712 w 593456"/>
                <a:gd name="connsiteY246" fmla="*/ 1205030 h 1264618"/>
                <a:gd name="connsiteX247" fmla="*/ 492692 w 593456"/>
                <a:gd name="connsiteY247" fmla="*/ 1205491 h 1264618"/>
                <a:gd name="connsiteX248" fmla="*/ 492652 w 593456"/>
                <a:gd name="connsiteY248" fmla="*/ 1205711 h 1264618"/>
                <a:gd name="connsiteX249" fmla="*/ 492592 w 593456"/>
                <a:gd name="connsiteY249" fmla="*/ 1206611 h 1264618"/>
                <a:gd name="connsiteX250" fmla="*/ 492412 w 593456"/>
                <a:gd name="connsiteY250" fmla="*/ 1208372 h 1264618"/>
                <a:gd name="connsiteX251" fmla="*/ 490109 w 593456"/>
                <a:gd name="connsiteY251" fmla="*/ 1214815 h 1264618"/>
                <a:gd name="connsiteX252" fmla="*/ 485344 w 593456"/>
                <a:gd name="connsiteY252" fmla="*/ 1220137 h 1264618"/>
                <a:gd name="connsiteX253" fmla="*/ 479057 w 593456"/>
                <a:gd name="connsiteY253" fmla="*/ 1223219 h 1264618"/>
                <a:gd name="connsiteX254" fmla="*/ 478216 w 593456"/>
                <a:gd name="connsiteY254" fmla="*/ 1223499 h 1264618"/>
                <a:gd name="connsiteX255" fmla="*/ 477335 w 593456"/>
                <a:gd name="connsiteY255" fmla="*/ 1223599 h 1264618"/>
                <a:gd name="connsiteX256" fmla="*/ 475553 w 593456"/>
                <a:gd name="connsiteY256" fmla="*/ 1223799 h 1264618"/>
                <a:gd name="connsiteX257" fmla="*/ 474632 w 593456"/>
                <a:gd name="connsiteY257" fmla="*/ 1223879 h 1264618"/>
                <a:gd name="connsiteX258" fmla="*/ 474392 w 593456"/>
                <a:gd name="connsiteY258" fmla="*/ 1223919 h 1264618"/>
                <a:gd name="connsiteX259" fmla="*/ 474272 w 593456"/>
                <a:gd name="connsiteY259" fmla="*/ 1223919 h 1264618"/>
                <a:gd name="connsiteX260" fmla="*/ 473871 w 593456"/>
                <a:gd name="connsiteY260" fmla="*/ 1223939 h 1264618"/>
                <a:gd name="connsiteX261" fmla="*/ 58430 w 593456"/>
                <a:gd name="connsiteY261" fmla="*/ 1223939 h 1264618"/>
                <a:gd name="connsiteX262" fmla="*/ 57989 w 593456"/>
                <a:gd name="connsiteY262" fmla="*/ 1223919 h 1264618"/>
                <a:gd name="connsiteX263" fmla="*/ 57809 w 593456"/>
                <a:gd name="connsiteY263" fmla="*/ 1223879 h 1264618"/>
                <a:gd name="connsiteX264" fmla="*/ 57068 w 593456"/>
                <a:gd name="connsiteY264" fmla="*/ 1223839 h 1264618"/>
                <a:gd name="connsiteX265" fmla="*/ 56688 w 593456"/>
                <a:gd name="connsiteY265" fmla="*/ 1223839 h 1264618"/>
                <a:gd name="connsiteX266" fmla="*/ 56347 w 593456"/>
                <a:gd name="connsiteY266" fmla="*/ 1223759 h 1264618"/>
                <a:gd name="connsiteX267" fmla="*/ 55647 w 593456"/>
                <a:gd name="connsiteY267" fmla="*/ 1223679 h 1264618"/>
                <a:gd name="connsiteX268" fmla="*/ 54285 w 593456"/>
                <a:gd name="connsiteY268" fmla="*/ 1223399 h 1264618"/>
                <a:gd name="connsiteX269" fmla="*/ 45776 w 593456"/>
                <a:gd name="connsiteY269" fmla="*/ 1216336 h 1264618"/>
                <a:gd name="connsiteX270" fmla="*/ 45175 w 593456"/>
                <a:gd name="connsiteY270" fmla="*/ 1215075 h 1264618"/>
                <a:gd name="connsiteX271" fmla="*/ 44734 w 593456"/>
                <a:gd name="connsiteY271" fmla="*/ 1213754 h 1264618"/>
                <a:gd name="connsiteX272" fmla="*/ 44454 w 593456"/>
                <a:gd name="connsiteY272" fmla="*/ 1212354 h 1264618"/>
                <a:gd name="connsiteX273" fmla="*/ 44394 w 593456"/>
                <a:gd name="connsiteY273" fmla="*/ 1211614 h 1264618"/>
                <a:gd name="connsiteX274" fmla="*/ 44314 w 593456"/>
                <a:gd name="connsiteY274" fmla="*/ 1211253 h 1264618"/>
                <a:gd name="connsiteX275" fmla="*/ 44314 w 593456"/>
                <a:gd name="connsiteY275" fmla="*/ 1211153 h 1264618"/>
                <a:gd name="connsiteX276" fmla="*/ 44254 w 593456"/>
                <a:gd name="connsiteY276" fmla="*/ 1210913 h 1264618"/>
                <a:gd name="connsiteX277" fmla="*/ 44194 w 593456"/>
                <a:gd name="connsiteY277" fmla="*/ 1210013 h 1264618"/>
                <a:gd name="connsiteX278" fmla="*/ 43173 w 593456"/>
                <a:gd name="connsiteY278" fmla="*/ 1195566 h 1264618"/>
                <a:gd name="connsiteX279" fmla="*/ 42352 w 593456"/>
                <a:gd name="connsiteY279" fmla="*/ 1181079 h 1264618"/>
                <a:gd name="connsiteX280" fmla="*/ 51061 w 593456"/>
                <a:gd name="connsiteY280" fmla="*/ 948590 h 1264618"/>
                <a:gd name="connsiteX281" fmla="*/ 71304 w 593456"/>
                <a:gd name="connsiteY281" fmla="*/ 834396 h 1264618"/>
                <a:gd name="connsiteX282" fmla="*/ 72866 w 593456"/>
                <a:gd name="connsiteY282" fmla="*/ 827333 h 1264618"/>
                <a:gd name="connsiteX283" fmla="*/ 74628 w 593456"/>
                <a:gd name="connsiteY283" fmla="*/ 820330 h 1264618"/>
                <a:gd name="connsiteX284" fmla="*/ 78152 w 593456"/>
                <a:gd name="connsiteY284" fmla="*/ 806323 h 1264618"/>
                <a:gd name="connsiteX285" fmla="*/ 79913 w 593456"/>
                <a:gd name="connsiteY285" fmla="*/ 799320 h 1264618"/>
                <a:gd name="connsiteX286" fmla="*/ 81715 w 593456"/>
                <a:gd name="connsiteY286" fmla="*/ 792437 h 1264618"/>
                <a:gd name="connsiteX287" fmla="*/ 85500 w 593456"/>
                <a:gd name="connsiteY287" fmla="*/ 779050 h 1264618"/>
                <a:gd name="connsiteX288" fmla="*/ 103600 w 593456"/>
                <a:gd name="connsiteY288" fmla="*/ 726346 h 1264618"/>
                <a:gd name="connsiteX289" fmla="*/ 152895 w 593456"/>
                <a:gd name="connsiteY289" fmla="*/ 625778 h 1264618"/>
                <a:gd name="connsiteX290" fmla="*/ 160203 w 593456"/>
                <a:gd name="connsiteY290" fmla="*/ 613753 h 1264618"/>
                <a:gd name="connsiteX291" fmla="*/ 167731 w 593456"/>
                <a:gd name="connsiteY291" fmla="*/ 601847 h 1264618"/>
                <a:gd name="connsiteX292" fmla="*/ 175500 w 593456"/>
                <a:gd name="connsiteY292" fmla="*/ 590082 h 1264618"/>
                <a:gd name="connsiteX293" fmla="*/ 177802 w 593456"/>
                <a:gd name="connsiteY293" fmla="*/ 586620 h 1264618"/>
                <a:gd name="connsiteX294" fmla="*/ 180265 w 593456"/>
                <a:gd name="connsiteY294" fmla="*/ 582858 h 1264618"/>
                <a:gd name="connsiteX295" fmla="*/ 185110 w 593456"/>
                <a:gd name="connsiteY295" fmla="*/ 575195 h 1264618"/>
                <a:gd name="connsiteX296" fmla="*/ 202990 w 593456"/>
                <a:gd name="connsiteY296" fmla="*/ 542019 h 1264618"/>
                <a:gd name="connsiteX297" fmla="*/ 217046 w 593456"/>
                <a:gd name="connsiteY297" fmla="*/ 503041 h 1264618"/>
                <a:gd name="connsiteX298" fmla="*/ 224194 w 593456"/>
                <a:gd name="connsiteY298" fmla="*/ 460061 h 1264618"/>
                <a:gd name="connsiteX299" fmla="*/ 224895 w 593456"/>
                <a:gd name="connsiteY299" fmla="*/ 437250 h 1264618"/>
                <a:gd name="connsiteX300" fmla="*/ 224134 w 593456"/>
                <a:gd name="connsiteY300" fmla="*/ 424284 h 1264618"/>
                <a:gd name="connsiteX301" fmla="*/ 223693 w 593456"/>
                <a:gd name="connsiteY301" fmla="*/ 420382 h 1264618"/>
                <a:gd name="connsiteX302" fmla="*/ 222973 w 593456"/>
                <a:gd name="connsiteY302" fmla="*/ 415600 h 1264618"/>
                <a:gd name="connsiteX303" fmla="*/ 222852 w 593456"/>
                <a:gd name="connsiteY303" fmla="*/ 414719 h 1264618"/>
                <a:gd name="connsiteX304" fmla="*/ 222852 w 593456"/>
                <a:gd name="connsiteY304" fmla="*/ 414639 h 1264618"/>
                <a:gd name="connsiteX305" fmla="*/ 222852 w 593456"/>
                <a:gd name="connsiteY305" fmla="*/ 414499 h 1264618"/>
                <a:gd name="connsiteX306" fmla="*/ 221070 w 593456"/>
                <a:gd name="connsiteY306" fmla="*/ 403574 h 1264618"/>
                <a:gd name="connsiteX307" fmla="*/ 218167 w 593456"/>
                <a:gd name="connsiteY307" fmla="*/ 392969 h 1264618"/>
                <a:gd name="connsiteX308" fmla="*/ 214984 w 593456"/>
                <a:gd name="connsiteY308" fmla="*/ 384065 h 1264618"/>
                <a:gd name="connsiteX309" fmla="*/ 213402 w 593456"/>
                <a:gd name="connsiteY309" fmla="*/ 380083 h 1264618"/>
                <a:gd name="connsiteX310" fmla="*/ 211820 w 593456"/>
                <a:gd name="connsiteY310" fmla="*/ 376481 h 1264618"/>
                <a:gd name="connsiteX311" fmla="*/ 198926 w 593456"/>
                <a:gd name="connsiteY311" fmla="*/ 351310 h 1264618"/>
                <a:gd name="connsiteX312" fmla="*/ 185591 w 593456"/>
                <a:gd name="connsiteY312" fmla="*/ 329499 h 1264618"/>
                <a:gd name="connsiteX313" fmla="*/ 182147 w 593456"/>
                <a:gd name="connsiteY313" fmla="*/ 324257 h 1264618"/>
                <a:gd name="connsiteX314" fmla="*/ 177642 w 593456"/>
                <a:gd name="connsiteY314" fmla="*/ 317594 h 1264618"/>
                <a:gd name="connsiteX315" fmla="*/ 174258 w 593456"/>
                <a:gd name="connsiteY315" fmla="*/ 313292 h 1264618"/>
                <a:gd name="connsiteX316" fmla="*/ 171996 w 593456"/>
                <a:gd name="connsiteY316" fmla="*/ 310510 h 1264618"/>
                <a:gd name="connsiteX317" fmla="*/ 169433 w 593456"/>
                <a:gd name="connsiteY317" fmla="*/ 307369 h 1264618"/>
                <a:gd name="connsiteX318" fmla="*/ 140441 w 593456"/>
                <a:gd name="connsiteY318" fmla="*/ 249962 h 1264618"/>
                <a:gd name="connsiteX319" fmla="*/ 135996 w 593456"/>
                <a:gd name="connsiteY319" fmla="*/ 228172 h 1264618"/>
                <a:gd name="connsiteX320" fmla="*/ 134514 w 593456"/>
                <a:gd name="connsiteY320" fmla="*/ 205881 h 1264618"/>
                <a:gd name="connsiteX321" fmla="*/ 134674 w 593456"/>
                <a:gd name="connsiteY321" fmla="*/ 200279 h 1264618"/>
                <a:gd name="connsiteX322" fmla="*/ 134734 w 593456"/>
                <a:gd name="connsiteY322" fmla="*/ 197477 h 1264618"/>
                <a:gd name="connsiteX323" fmla="*/ 134955 w 593456"/>
                <a:gd name="connsiteY323" fmla="*/ 194696 h 1264618"/>
                <a:gd name="connsiteX324" fmla="*/ 135355 w 593456"/>
                <a:gd name="connsiteY324" fmla="*/ 189133 h 1264618"/>
                <a:gd name="connsiteX325" fmla="*/ 136076 w 593456"/>
                <a:gd name="connsiteY325" fmla="*/ 183611 h 1264618"/>
                <a:gd name="connsiteX326" fmla="*/ 136416 w 593456"/>
                <a:gd name="connsiteY326" fmla="*/ 180850 h 1264618"/>
                <a:gd name="connsiteX327" fmla="*/ 136917 w 593456"/>
                <a:gd name="connsiteY327" fmla="*/ 178108 h 1264618"/>
                <a:gd name="connsiteX328" fmla="*/ 137898 w 593456"/>
                <a:gd name="connsiteY328" fmla="*/ 172626 h 1264618"/>
                <a:gd name="connsiteX329" fmla="*/ 139159 w 593456"/>
                <a:gd name="connsiteY329" fmla="*/ 167203 h 1264618"/>
                <a:gd name="connsiteX330" fmla="*/ 139780 w 593456"/>
                <a:gd name="connsiteY330" fmla="*/ 164502 h 1264618"/>
                <a:gd name="connsiteX331" fmla="*/ 140561 w 593456"/>
                <a:gd name="connsiteY331" fmla="*/ 161841 h 1264618"/>
                <a:gd name="connsiteX332" fmla="*/ 147929 w 593456"/>
                <a:gd name="connsiteY332" fmla="*/ 140891 h 1264618"/>
                <a:gd name="connsiteX333" fmla="*/ 158120 w 593456"/>
                <a:gd name="connsiteY333" fmla="*/ 121102 h 1264618"/>
                <a:gd name="connsiteX334" fmla="*/ 186132 w 593456"/>
                <a:gd name="connsiteY334" fmla="*/ 86425 h 1264618"/>
                <a:gd name="connsiteX335" fmla="*/ 264038 w 593456"/>
                <a:gd name="connsiteY335" fmla="*/ 44966 h 1264618"/>
                <a:gd name="connsiteX336" fmla="*/ 266761 w 593456"/>
                <a:gd name="connsiteY336" fmla="*/ 44325 h 1264618"/>
                <a:gd name="connsiteX337" fmla="*/ 269504 w 593456"/>
                <a:gd name="connsiteY337" fmla="*/ 43845 h 1264618"/>
                <a:gd name="connsiteX338" fmla="*/ 275010 w 593456"/>
                <a:gd name="connsiteY338" fmla="*/ 42845 h 1264618"/>
                <a:gd name="connsiteX339" fmla="*/ 280556 w 593456"/>
                <a:gd name="connsiteY339" fmla="*/ 42164 h 1264618"/>
                <a:gd name="connsiteX340" fmla="*/ 283340 w 593456"/>
                <a:gd name="connsiteY340" fmla="*/ 41804 h 1264618"/>
                <a:gd name="connsiteX341" fmla="*/ 286143 w 593456"/>
                <a:gd name="connsiteY341" fmla="*/ 41604 h 1264618"/>
                <a:gd name="connsiteX342" fmla="*/ 291729 w 593456"/>
                <a:gd name="connsiteY342" fmla="*/ 41164 h 1264618"/>
                <a:gd name="connsiteX343" fmla="*/ 297355 w 593456"/>
                <a:gd name="connsiteY343" fmla="*/ 41044 h 1264618"/>
                <a:gd name="connsiteX344" fmla="*/ 300158 w 593456"/>
                <a:gd name="connsiteY344" fmla="*/ 40964 h 1264618"/>
                <a:gd name="connsiteX345" fmla="*/ 304323 w 593456"/>
                <a:gd name="connsiteY345" fmla="*/ 41004 h 1264618"/>
                <a:gd name="connsiteX346" fmla="*/ 306285 w 593456"/>
                <a:gd name="connsiteY346" fmla="*/ 41004 h 1264618"/>
                <a:gd name="connsiteX347" fmla="*/ 308107 w 593456"/>
                <a:gd name="connsiteY347" fmla="*/ 40964 h 1264618"/>
                <a:gd name="connsiteX348" fmla="*/ 311751 w 593456"/>
                <a:gd name="connsiteY348" fmla="*/ 40884 h 1264618"/>
                <a:gd name="connsiteX349" fmla="*/ 324846 w 593456"/>
                <a:gd name="connsiteY349" fmla="*/ 40944 h 1264618"/>
                <a:gd name="connsiteX350" fmla="*/ 330973 w 593456"/>
                <a:gd name="connsiteY350" fmla="*/ 41244 h 1264618"/>
                <a:gd name="connsiteX351" fmla="*/ 337059 w 593456"/>
                <a:gd name="connsiteY351" fmla="*/ 41644 h 1264618"/>
                <a:gd name="connsiteX352" fmla="*/ 360966 w 593456"/>
                <a:gd name="connsiteY352" fmla="*/ 44826 h 1264618"/>
                <a:gd name="connsiteX353" fmla="*/ 446701 w 593456"/>
                <a:gd name="connsiteY353" fmla="*/ 82323 h 1264618"/>
                <a:gd name="connsiteX354" fmla="*/ 481019 w 593456"/>
                <a:gd name="connsiteY354" fmla="*/ 114598 h 1264618"/>
                <a:gd name="connsiteX355" fmla="*/ 484663 w 593456"/>
                <a:gd name="connsiteY355" fmla="*/ 119061 h 1264618"/>
                <a:gd name="connsiteX356" fmla="*/ 485104 w 593456"/>
                <a:gd name="connsiteY356" fmla="*/ 119621 h 1264618"/>
                <a:gd name="connsiteX357" fmla="*/ 485464 w 593456"/>
                <a:gd name="connsiteY357" fmla="*/ 120081 h 1264618"/>
                <a:gd name="connsiteX358" fmla="*/ 486025 w 593456"/>
                <a:gd name="connsiteY358" fmla="*/ 120821 h 1264618"/>
                <a:gd name="connsiteX359" fmla="*/ 487106 w 593456"/>
                <a:gd name="connsiteY359" fmla="*/ 122322 h 1264618"/>
                <a:gd name="connsiteX360" fmla="*/ 490970 w 593456"/>
                <a:gd name="connsiteY360" fmla="*/ 128665 h 1264618"/>
                <a:gd name="connsiteX361" fmla="*/ 494014 w 593456"/>
                <a:gd name="connsiteY361" fmla="*/ 135548 h 1264618"/>
                <a:gd name="connsiteX362" fmla="*/ 495215 w 593456"/>
                <a:gd name="connsiteY362" fmla="*/ 139150 h 1264618"/>
                <a:gd name="connsiteX363" fmla="*/ 495736 w 593456"/>
                <a:gd name="connsiteY363" fmla="*/ 140991 h 1264618"/>
                <a:gd name="connsiteX364" fmla="*/ 495996 w 593456"/>
                <a:gd name="connsiteY364" fmla="*/ 141931 h 1264618"/>
                <a:gd name="connsiteX365" fmla="*/ 496276 w 593456"/>
                <a:gd name="connsiteY365" fmla="*/ 143192 h 1264618"/>
                <a:gd name="connsiteX366" fmla="*/ 499740 w 593456"/>
                <a:gd name="connsiteY366" fmla="*/ 189153 h 1264618"/>
                <a:gd name="connsiteX367" fmla="*/ 500861 w 593456"/>
                <a:gd name="connsiteY367" fmla="*/ 225771 h 1264618"/>
                <a:gd name="connsiteX368" fmla="*/ 502043 w 593456"/>
                <a:gd name="connsiteY368" fmla="*/ 236015 h 1264618"/>
                <a:gd name="connsiteX369" fmla="*/ 503745 w 593456"/>
                <a:gd name="connsiteY369" fmla="*/ 246420 h 1264618"/>
                <a:gd name="connsiteX370" fmla="*/ 509631 w 593456"/>
                <a:gd name="connsiteY370" fmla="*/ 268951 h 1264618"/>
                <a:gd name="connsiteX371" fmla="*/ 527751 w 593456"/>
                <a:gd name="connsiteY371" fmla="*/ 308349 h 1264618"/>
                <a:gd name="connsiteX372" fmla="*/ 534979 w 593456"/>
                <a:gd name="connsiteY372" fmla="*/ 319695 h 1264618"/>
                <a:gd name="connsiteX373" fmla="*/ 526370 w 593456"/>
                <a:gd name="connsiteY373" fmla="*/ 327338 h 1264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</a:cxnLst>
              <a:rect l="l" t="t" r="r" b="b"/>
              <a:pathLst>
                <a:path w="593456" h="1264618">
                  <a:moveTo>
                    <a:pt x="593264" y="330840"/>
                  </a:moveTo>
                  <a:cubicBezTo>
                    <a:pt x="592924" y="329739"/>
                    <a:pt x="592904" y="328579"/>
                    <a:pt x="592463" y="327659"/>
                  </a:cubicBezTo>
                  <a:cubicBezTo>
                    <a:pt x="592083" y="326678"/>
                    <a:pt x="591582" y="325658"/>
                    <a:pt x="590922" y="324677"/>
                  </a:cubicBezTo>
                  <a:cubicBezTo>
                    <a:pt x="590601" y="324177"/>
                    <a:pt x="590241" y="323697"/>
                    <a:pt x="589860" y="323216"/>
                  </a:cubicBezTo>
                  <a:lnTo>
                    <a:pt x="589260" y="322516"/>
                  </a:lnTo>
                  <a:lnTo>
                    <a:pt x="588218" y="321396"/>
                  </a:lnTo>
                  <a:cubicBezTo>
                    <a:pt x="586256" y="319295"/>
                    <a:pt x="584374" y="317194"/>
                    <a:pt x="582552" y="315033"/>
                  </a:cubicBezTo>
                  <a:cubicBezTo>
                    <a:pt x="578548" y="310330"/>
                    <a:pt x="574764" y="305448"/>
                    <a:pt x="571200" y="300386"/>
                  </a:cubicBezTo>
                  <a:cubicBezTo>
                    <a:pt x="571480" y="300266"/>
                    <a:pt x="571740" y="300126"/>
                    <a:pt x="572000" y="300026"/>
                  </a:cubicBezTo>
                  <a:cubicBezTo>
                    <a:pt x="572201" y="299965"/>
                    <a:pt x="572401" y="299885"/>
                    <a:pt x="572601" y="299785"/>
                  </a:cubicBezTo>
                  <a:lnTo>
                    <a:pt x="572921" y="299665"/>
                  </a:lnTo>
                  <a:lnTo>
                    <a:pt x="573082" y="299605"/>
                  </a:lnTo>
                  <a:cubicBezTo>
                    <a:pt x="573082" y="299605"/>
                    <a:pt x="573402" y="299525"/>
                    <a:pt x="572561" y="299745"/>
                  </a:cubicBezTo>
                  <a:lnTo>
                    <a:pt x="571700" y="299965"/>
                  </a:lnTo>
                  <a:lnTo>
                    <a:pt x="571480" y="300026"/>
                  </a:lnTo>
                  <a:cubicBezTo>
                    <a:pt x="571340" y="300065"/>
                    <a:pt x="571200" y="300126"/>
                    <a:pt x="571059" y="300166"/>
                  </a:cubicBezTo>
                  <a:cubicBezTo>
                    <a:pt x="568176" y="296064"/>
                    <a:pt x="565413" y="291862"/>
                    <a:pt x="562830" y="287500"/>
                  </a:cubicBezTo>
                  <a:cubicBezTo>
                    <a:pt x="556984" y="277755"/>
                    <a:pt x="552078" y="267210"/>
                    <a:pt x="548334" y="256045"/>
                  </a:cubicBezTo>
                  <a:cubicBezTo>
                    <a:pt x="546432" y="250482"/>
                    <a:pt x="544990" y="244660"/>
                    <a:pt x="543809" y="238777"/>
                  </a:cubicBezTo>
                  <a:cubicBezTo>
                    <a:pt x="543288" y="235915"/>
                    <a:pt x="542888" y="233134"/>
                    <a:pt x="542428" y="230313"/>
                  </a:cubicBezTo>
                  <a:cubicBezTo>
                    <a:pt x="542107" y="227511"/>
                    <a:pt x="541727" y="224670"/>
                    <a:pt x="541467" y="221869"/>
                  </a:cubicBezTo>
                  <a:cubicBezTo>
                    <a:pt x="540425" y="210624"/>
                    <a:pt x="540425" y="199658"/>
                    <a:pt x="540525" y="189414"/>
                  </a:cubicBezTo>
                  <a:cubicBezTo>
                    <a:pt x="540646" y="179169"/>
                    <a:pt x="540706" y="169684"/>
                    <a:pt x="540045" y="160520"/>
                  </a:cubicBezTo>
                  <a:cubicBezTo>
                    <a:pt x="539404" y="151356"/>
                    <a:pt x="538083" y="142472"/>
                    <a:pt x="535940" y="133627"/>
                  </a:cubicBezTo>
                  <a:cubicBezTo>
                    <a:pt x="533998" y="125103"/>
                    <a:pt x="531035" y="117240"/>
                    <a:pt x="527110" y="109676"/>
                  </a:cubicBezTo>
                  <a:cubicBezTo>
                    <a:pt x="525128" y="105934"/>
                    <a:pt x="522946" y="102313"/>
                    <a:pt x="520523" y="98831"/>
                  </a:cubicBezTo>
                  <a:cubicBezTo>
                    <a:pt x="519903" y="97971"/>
                    <a:pt x="519302" y="97110"/>
                    <a:pt x="518661" y="96270"/>
                  </a:cubicBezTo>
                  <a:cubicBezTo>
                    <a:pt x="518020" y="95429"/>
                    <a:pt x="517400" y="94609"/>
                    <a:pt x="516639" y="93669"/>
                  </a:cubicBezTo>
                  <a:cubicBezTo>
                    <a:pt x="515197" y="91828"/>
                    <a:pt x="513696" y="90027"/>
                    <a:pt x="512194" y="88226"/>
                  </a:cubicBezTo>
                  <a:cubicBezTo>
                    <a:pt x="500080" y="73899"/>
                    <a:pt x="486205" y="60893"/>
                    <a:pt x="471148" y="49608"/>
                  </a:cubicBezTo>
                  <a:cubicBezTo>
                    <a:pt x="440995" y="26997"/>
                    <a:pt x="405716" y="11650"/>
                    <a:pt x="368554" y="4707"/>
                  </a:cubicBezTo>
                  <a:cubicBezTo>
                    <a:pt x="359244" y="3046"/>
                    <a:pt x="349874" y="1645"/>
                    <a:pt x="340403" y="965"/>
                  </a:cubicBezTo>
                  <a:cubicBezTo>
                    <a:pt x="338040" y="705"/>
                    <a:pt x="335658" y="625"/>
                    <a:pt x="333295" y="485"/>
                  </a:cubicBezTo>
                  <a:cubicBezTo>
                    <a:pt x="330912" y="385"/>
                    <a:pt x="328550" y="185"/>
                    <a:pt x="326167" y="145"/>
                  </a:cubicBezTo>
                  <a:cubicBezTo>
                    <a:pt x="321382" y="85"/>
                    <a:pt x="316737" y="-95"/>
                    <a:pt x="311631" y="65"/>
                  </a:cubicBezTo>
                  <a:cubicBezTo>
                    <a:pt x="309108" y="105"/>
                    <a:pt x="306666" y="185"/>
                    <a:pt x="304063" y="185"/>
                  </a:cubicBezTo>
                  <a:lnTo>
                    <a:pt x="300138" y="145"/>
                  </a:lnTo>
                  <a:lnTo>
                    <a:pt x="296654" y="245"/>
                  </a:lnTo>
                  <a:lnTo>
                    <a:pt x="289687" y="425"/>
                  </a:lnTo>
                  <a:lnTo>
                    <a:pt x="282739" y="965"/>
                  </a:lnTo>
                  <a:lnTo>
                    <a:pt x="279275" y="1225"/>
                  </a:lnTo>
                  <a:lnTo>
                    <a:pt x="275831" y="1665"/>
                  </a:lnTo>
                  <a:lnTo>
                    <a:pt x="268924" y="2526"/>
                  </a:lnTo>
                  <a:lnTo>
                    <a:pt x="262076" y="3746"/>
                  </a:lnTo>
                  <a:lnTo>
                    <a:pt x="258652" y="4347"/>
                  </a:lnTo>
                  <a:lnTo>
                    <a:pt x="255268" y="5127"/>
                  </a:lnTo>
                  <a:cubicBezTo>
                    <a:pt x="218988" y="13011"/>
                    <a:pt x="185130" y="31219"/>
                    <a:pt x="158180" y="56751"/>
                  </a:cubicBezTo>
                  <a:cubicBezTo>
                    <a:pt x="144625" y="69437"/>
                    <a:pt x="132992" y="84124"/>
                    <a:pt x="123302" y="99912"/>
                  </a:cubicBezTo>
                  <a:cubicBezTo>
                    <a:pt x="118576" y="107875"/>
                    <a:pt x="114272" y="116119"/>
                    <a:pt x="110588" y="124603"/>
                  </a:cubicBezTo>
                  <a:cubicBezTo>
                    <a:pt x="107024" y="133147"/>
                    <a:pt x="103720" y="141831"/>
                    <a:pt x="101357" y="150795"/>
                  </a:cubicBezTo>
                  <a:lnTo>
                    <a:pt x="100396" y="154137"/>
                  </a:lnTo>
                  <a:cubicBezTo>
                    <a:pt x="100096" y="155258"/>
                    <a:pt x="99876" y="156398"/>
                    <a:pt x="99595" y="157519"/>
                  </a:cubicBezTo>
                  <a:lnTo>
                    <a:pt x="98014" y="164282"/>
                  </a:lnTo>
                  <a:lnTo>
                    <a:pt x="96792" y="171125"/>
                  </a:lnTo>
                  <a:lnTo>
                    <a:pt x="96172" y="174547"/>
                  </a:lnTo>
                  <a:lnTo>
                    <a:pt x="95731" y="177988"/>
                  </a:lnTo>
                  <a:lnTo>
                    <a:pt x="94850" y="184891"/>
                  </a:lnTo>
                  <a:lnTo>
                    <a:pt x="94330" y="191835"/>
                  </a:lnTo>
                  <a:lnTo>
                    <a:pt x="94069" y="195296"/>
                  </a:lnTo>
                  <a:lnTo>
                    <a:pt x="93989" y="198778"/>
                  </a:lnTo>
                  <a:lnTo>
                    <a:pt x="93809" y="205741"/>
                  </a:lnTo>
                  <a:cubicBezTo>
                    <a:pt x="93889" y="215026"/>
                    <a:pt x="94430" y="224290"/>
                    <a:pt x="95651" y="233494"/>
                  </a:cubicBezTo>
                  <a:cubicBezTo>
                    <a:pt x="96952" y="242659"/>
                    <a:pt x="98754" y="251763"/>
                    <a:pt x="101197" y="260707"/>
                  </a:cubicBezTo>
                  <a:cubicBezTo>
                    <a:pt x="108365" y="286639"/>
                    <a:pt x="120799" y="311091"/>
                    <a:pt x="137357" y="332361"/>
                  </a:cubicBezTo>
                  <a:cubicBezTo>
                    <a:pt x="138398" y="333681"/>
                    <a:pt x="139500" y="334962"/>
                    <a:pt x="140561" y="336283"/>
                  </a:cubicBezTo>
                  <a:lnTo>
                    <a:pt x="142483" y="338624"/>
                  </a:lnTo>
                  <a:cubicBezTo>
                    <a:pt x="143244" y="339584"/>
                    <a:pt x="144105" y="340484"/>
                    <a:pt x="144746" y="341505"/>
                  </a:cubicBezTo>
                  <a:lnTo>
                    <a:pt x="148310" y="346767"/>
                  </a:lnTo>
                  <a:lnTo>
                    <a:pt x="151473" y="351590"/>
                  </a:lnTo>
                  <a:cubicBezTo>
                    <a:pt x="155658" y="358053"/>
                    <a:pt x="159722" y="364616"/>
                    <a:pt x="163607" y="371419"/>
                  </a:cubicBezTo>
                  <a:cubicBezTo>
                    <a:pt x="167491" y="378242"/>
                    <a:pt x="171215" y="385226"/>
                    <a:pt x="174619" y="392889"/>
                  </a:cubicBezTo>
                  <a:lnTo>
                    <a:pt x="175880" y="395770"/>
                  </a:lnTo>
                  <a:lnTo>
                    <a:pt x="177081" y="398812"/>
                  </a:lnTo>
                  <a:cubicBezTo>
                    <a:pt x="177902" y="400793"/>
                    <a:pt x="178623" y="402934"/>
                    <a:pt x="179384" y="405215"/>
                  </a:cubicBezTo>
                  <a:cubicBezTo>
                    <a:pt x="180185" y="407476"/>
                    <a:pt x="180705" y="409917"/>
                    <a:pt x="181326" y="412258"/>
                  </a:cubicBezTo>
                  <a:cubicBezTo>
                    <a:pt x="181787" y="414659"/>
                    <a:pt x="182147" y="417080"/>
                    <a:pt x="182488" y="419502"/>
                  </a:cubicBezTo>
                  <a:lnTo>
                    <a:pt x="182888" y="422643"/>
                  </a:lnTo>
                  <a:cubicBezTo>
                    <a:pt x="183248" y="424764"/>
                    <a:pt x="183469" y="426525"/>
                    <a:pt x="183649" y="428266"/>
                  </a:cubicBezTo>
                  <a:cubicBezTo>
                    <a:pt x="184009" y="431727"/>
                    <a:pt x="184149" y="434909"/>
                    <a:pt x="184209" y="438090"/>
                  </a:cubicBezTo>
                  <a:cubicBezTo>
                    <a:pt x="184350" y="444433"/>
                    <a:pt x="184129" y="450616"/>
                    <a:pt x="183629" y="456759"/>
                  </a:cubicBezTo>
                  <a:cubicBezTo>
                    <a:pt x="182668" y="469025"/>
                    <a:pt x="180585" y="481070"/>
                    <a:pt x="177622" y="492936"/>
                  </a:cubicBezTo>
                  <a:cubicBezTo>
                    <a:pt x="171736" y="515527"/>
                    <a:pt x="161704" y="535356"/>
                    <a:pt x="150452" y="553805"/>
                  </a:cubicBezTo>
                  <a:cubicBezTo>
                    <a:pt x="147649" y="558367"/>
                    <a:pt x="144605" y="562989"/>
                    <a:pt x="141742" y="567271"/>
                  </a:cubicBezTo>
                  <a:lnTo>
                    <a:pt x="133553" y="579677"/>
                  </a:lnTo>
                  <a:lnTo>
                    <a:pt x="125604" y="592243"/>
                  </a:lnTo>
                  <a:lnTo>
                    <a:pt x="117896" y="604949"/>
                  </a:lnTo>
                  <a:cubicBezTo>
                    <a:pt x="97673" y="639025"/>
                    <a:pt x="80134" y="674641"/>
                    <a:pt x="65718" y="711439"/>
                  </a:cubicBezTo>
                  <a:cubicBezTo>
                    <a:pt x="58510" y="729847"/>
                    <a:pt x="52083" y="748536"/>
                    <a:pt x="46496" y="767465"/>
                  </a:cubicBezTo>
                  <a:cubicBezTo>
                    <a:pt x="43713" y="776929"/>
                    <a:pt x="41110" y="786434"/>
                    <a:pt x="38748" y="796178"/>
                  </a:cubicBezTo>
                  <a:lnTo>
                    <a:pt x="35104" y="810705"/>
                  </a:lnTo>
                  <a:lnTo>
                    <a:pt x="33282" y="817969"/>
                  </a:lnTo>
                  <a:lnTo>
                    <a:pt x="31680" y="825292"/>
                  </a:lnTo>
                  <a:cubicBezTo>
                    <a:pt x="22730" y="864230"/>
                    <a:pt x="15782" y="903669"/>
                    <a:pt x="10737" y="943367"/>
                  </a:cubicBezTo>
                  <a:cubicBezTo>
                    <a:pt x="585" y="1022765"/>
                    <a:pt x="-2278" y="1103203"/>
                    <a:pt x="1767" y="1183140"/>
                  </a:cubicBezTo>
                  <a:lnTo>
                    <a:pt x="2608" y="1198127"/>
                  </a:lnTo>
                  <a:lnTo>
                    <a:pt x="3649" y="1213074"/>
                  </a:lnTo>
                  <a:cubicBezTo>
                    <a:pt x="3709" y="1214475"/>
                    <a:pt x="3889" y="1215155"/>
                    <a:pt x="3989" y="1216136"/>
                  </a:cubicBezTo>
                  <a:lnTo>
                    <a:pt x="4329" y="1218937"/>
                  </a:lnTo>
                  <a:cubicBezTo>
                    <a:pt x="4650" y="1220778"/>
                    <a:pt x="5150" y="1222579"/>
                    <a:pt x="5491" y="1224419"/>
                  </a:cubicBezTo>
                  <a:cubicBezTo>
                    <a:pt x="6091" y="1226180"/>
                    <a:pt x="6632" y="1227961"/>
                    <a:pt x="7253" y="1229722"/>
                  </a:cubicBezTo>
                  <a:cubicBezTo>
                    <a:pt x="8074" y="1231403"/>
                    <a:pt x="8654" y="1233184"/>
                    <a:pt x="9555" y="1234804"/>
                  </a:cubicBezTo>
                  <a:cubicBezTo>
                    <a:pt x="16363" y="1248071"/>
                    <a:pt x="28797" y="1258496"/>
                    <a:pt x="43173" y="1262497"/>
                  </a:cubicBezTo>
                  <a:cubicBezTo>
                    <a:pt x="44995" y="1262858"/>
                    <a:pt x="46777" y="1263478"/>
                    <a:pt x="48619" y="1263718"/>
                  </a:cubicBezTo>
                  <a:lnTo>
                    <a:pt x="51382" y="1264118"/>
                  </a:lnTo>
                  <a:lnTo>
                    <a:pt x="52763" y="1264338"/>
                  </a:lnTo>
                  <a:lnTo>
                    <a:pt x="54165" y="1264398"/>
                  </a:lnTo>
                  <a:lnTo>
                    <a:pt x="56968" y="1264538"/>
                  </a:lnTo>
                  <a:cubicBezTo>
                    <a:pt x="57469" y="1264558"/>
                    <a:pt x="57829" y="1264618"/>
                    <a:pt x="58450" y="1264618"/>
                  </a:cubicBezTo>
                  <a:lnTo>
                    <a:pt x="473891" y="1264618"/>
                  </a:lnTo>
                  <a:cubicBezTo>
                    <a:pt x="474552" y="1264618"/>
                    <a:pt x="474893" y="1264558"/>
                    <a:pt x="475413" y="1264538"/>
                  </a:cubicBezTo>
                  <a:lnTo>
                    <a:pt x="478276" y="1264378"/>
                  </a:lnTo>
                  <a:cubicBezTo>
                    <a:pt x="480198" y="1264398"/>
                    <a:pt x="482080" y="1263998"/>
                    <a:pt x="483963" y="1263718"/>
                  </a:cubicBezTo>
                  <a:cubicBezTo>
                    <a:pt x="484904" y="1263558"/>
                    <a:pt x="485865" y="1263498"/>
                    <a:pt x="486786" y="1263258"/>
                  </a:cubicBezTo>
                  <a:lnTo>
                    <a:pt x="489549" y="1262517"/>
                  </a:lnTo>
                  <a:cubicBezTo>
                    <a:pt x="496897" y="1260576"/>
                    <a:pt x="503865" y="1257175"/>
                    <a:pt x="509931" y="1252553"/>
                  </a:cubicBezTo>
                  <a:cubicBezTo>
                    <a:pt x="522165" y="1243368"/>
                    <a:pt x="530554" y="1229342"/>
                    <a:pt x="532717" y="1214315"/>
                  </a:cubicBezTo>
                  <a:cubicBezTo>
                    <a:pt x="532957" y="1212434"/>
                    <a:pt x="533337" y="1210553"/>
                    <a:pt x="533277" y="1208632"/>
                  </a:cubicBezTo>
                  <a:lnTo>
                    <a:pt x="533377" y="1205771"/>
                  </a:lnTo>
                  <a:cubicBezTo>
                    <a:pt x="533377" y="1205250"/>
                    <a:pt x="533438" y="1204890"/>
                    <a:pt x="533418" y="1204270"/>
                  </a:cubicBezTo>
                  <a:lnTo>
                    <a:pt x="533377" y="1202389"/>
                  </a:lnTo>
                  <a:lnTo>
                    <a:pt x="532997" y="1187322"/>
                  </a:lnTo>
                  <a:cubicBezTo>
                    <a:pt x="532817" y="1177277"/>
                    <a:pt x="532276" y="1167253"/>
                    <a:pt x="531936" y="1157208"/>
                  </a:cubicBezTo>
                  <a:cubicBezTo>
                    <a:pt x="530154" y="1117089"/>
                    <a:pt x="526830" y="1077050"/>
                    <a:pt x="522165" y="1037192"/>
                  </a:cubicBezTo>
                  <a:cubicBezTo>
                    <a:pt x="517340" y="997373"/>
                    <a:pt x="511113" y="957714"/>
                    <a:pt x="503064" y="918516"/>
                  </a:cubicBezTo>
                  <a:cubicBezTo>
                    <a:pt x="494955" y="879337"/>
                    <a:pt x="485244" y="840499"/>
                    <a:pt x="472910" y="802782"/>
                  </a:cubicBezTo>
                  <a:cubicBezTo>
                    <a:pt x="466723" y="783953"/>
                    <a:pt x="459876" y="765404"/>
                    <a:pt x="452107" y="747576"/>
                  </a:cubicBezTo>
                  <a:cubicBezTo>
                    <a:pt x="448163" y="738731"/>
                    <a:pt x="444018" y="730027"/>
                    <a:pt x="439513" y="721904"/>
                  </a:cubicBezTo>
                  <a:lnTo>
                    <a:pt x="436069" y="715961"/>
                  </a:lnTo>
                  <a:cubicBezTo>
                    <a:pt x="434868" y="714120"/>
                    <a:pt x="433687" y="712219"/>
                    <a:pt x="432505" y="710438"/>
                  </a:cubicBezTo>
                  <a:lnTo>
                    <a:pt x="430703" y="707917"/>
                  </a:lnTo>
                  <a:lnTo>
                    <a:pt x="429802" y="706656"/>
                  </a:lnTo>
                  <a:lnTo>
                    <a:pt x="428921" y="705596"/>
                  </a:lnTo>
                  <a:lnTo>
                    <a:pt x="427139" y="703415"/>
                  </a:lnTo>
                  <a:lnTo>
                    <a:pt x="424376" y="700273"/>
                  </a:lnTo>
                  <a:cubicBezTo>
                    <a:pt x="417629" y="692470"/>
                    <a:pt x="411442" y="684266"/>
                    <a:pt x="405816" y="675762"/>
                  </a:cubicBezTo>
                  <a:cubicBezTo>
                    <a:pt x="404414" y="673641"/>
                    <a:pt x="403033" y="671500"/>
                    <a:pt x="401691" y="669319"/>
                  </a:cubicBezTo>
                  <a:lnTo>
                    <a:pt x="397707" y="662516"/>
                  </a:lnTo>
                  <a:cubicBezTo>
                    <a:pt x="396325" y="660275"/>
                    <a:pt x="395244" y="657873"/>
                    <a:pt x="394003" y="655552"/>
                  </a:cubicBezTo>
                  <a:lnTo>
                    <a:pt x="392201" y="652051"/>
                  </a:lnTo>
                  <a:lnTo>
                    <a:pt x="390579" y="648449"/>
                  </a:lnTo>
                  <a:cubicBezTo>
                    <a:pt x="388316" y="643687"/>
                    <a:pt x="386474" y="638765"/>
                    <a:pt x="384572" y="633862"/>
                  </a:cubicBezTo>
                  <a:cubicBezTo>
                    <a:pt x="382910" y="628880"/>
                    <a:pt x="381208" y="623898"/>
                    <a:pt x="379927" y="618775"/>
                  </a:cubicBezTo>
                  <a:cubicBezTo>
                    <a:pt x="377264" y="608590"/>
                    <a:pt x="375282" y="598225"/>
                    <a:pt x="374421" y="587701"/>
                  </a:cubicBezTo>
                  <a:cubicBezTo>
                    <a:pt x="373520" y="577196"/>
                    <a:pt x="373460" y="566631"/>
                    <a:pt x="374301" y="556106"/>
                  </a:cubicBezTo>
                  <a:cubicBezTo>
                    <a:pt x="375202" y="545581"/>
                    <a:pt x="377044" y="535156"/>
                    <a:pt x="379707" y="524931"/>
                  </a:cubicBezTo>
                  <a:lnTo>
                    <a:pt x="380768" y="521109"/>
                  </a:lnTo>
                  <a:cubicBezTo>
                    <a:pt x="381188" y="519669"/>
                    <a:pt x="381549" y="518268"/>
                    <a:pt x="382029" y="516747"/>
                  </a:cubicBezTo>
                  <a:cubicBezTo>
                    <a:pt x="382970" y="513766"/>
                    <a:pt x="384011" y="510824"/>
                    <a:pt x="385113" y="507923"/>
                  </a:cubicBezTo>
                  <a:cubicBezTo>
                    <a:pt x="387355" y="502120"/>
                    <a:pt x="389978" y="496478"/>
                    <a:pt x="393162" y="491215"/>
                  </a:cubicBezTo>
                  <a:cubicBezTo>
                    <a:pt x="396345" y="485973"/>
                    <a:pt x="400069" y="481030"/>
                    <a:pt x="404554" y="476869"/>
                  </a:cubicBezTo>
                  <a:cubicBezTo>
                    <a:pt x="406837" y="474848"/>
                    <a:pt x="409219" y="472887"/>
                    <a:pt x="411902" y="471366"/>
                  </a:cubicBezTo>
                  <a:cubicBezTo>
                    <a:pt x="414545" y="469805"/>
                    <a:pt x="417329" y="468645"/>
                    <a:pt x="420272" y="467644"/>
                  </a:cubicBezTo>
                  <a:cubicBezTo>
                    <a:pt x="427500" y="464963"/>
                    <a:pt x="435268" y="463802"/>
                    <a:pt x="443077" y="463202"/>
                  </a:cubicBezTo>
                  <a:lnTo>
                    <a:pt x="448844" y="462882"/>
                  </a:lnTo>
                  <a:lnTo>
                    <a:pt x="454630" y="462802"/>
                  </a:lnTo>
                  <a:cubicBezTo>
                    <a:pt x="456532" y="462742"/>
                    <a:pt x="458554" y="462802"/>
                    <a:pt x="460296" y="462862"/>
                  </a:cubicBezTo>
                  <a:cubicBezTo>
                    <a:pt x="461898" y="462922"/>
                    <a:pt x="463520" y="462922"/>
                    <a:pt x="465082" y="463022"/>
                  </a:cubicBezTo>
                  <a:cubicBezTo>
                    <a:pt x="468245" y="463202"/>
                    <a:pt x="471409" y="463342"/>
                    <a:pt x="474512" y="463642"/>
                  </a:cubicBezTo>
                  <a:cubicBezTo>
                    <a:pt x="477636" y="463882"/>
                    <a:pt x="480739" y="464183"/>
                    <a:pt x="483802" y="464563"/>
                  </a:cubicBezTo>
                  <a:cubicBezTo>
                    <a:pt x="486886" y="464883"/>
                    <a:pt x="489949" y="465283"/>
                    <a:pt x="492973" y="465723"/>
                  </a:cubicBezTo>
                  <a:lnTo>
                    <a:pt x="497538" y="466364"/>
                  </a:lnTo>
                  <a:lnTo>
                    <a:pt x="500841" y="466764"/>
                  </a:lnTo>
                  <a:cubicBezTo>
                    <a:pt x="505106" y="467164"/>
                    <a:pt x="509090" y="467064"/>
                    <a:pt x="512454" y="466344"/>
                  </a:cubicBezTo>
                  <a:cubicBezTo>
                    <a:pt x="515838" y="465603"/>
                    <a:pt x="518701" y="464503"/>
                    <a:pt x="521184" y="462722"/>
                  </a:cubicBezTo>
                  <a:cubicBezTo>
                    <a:pt x="522465" y="461882"/>
                    <a:pt x="523627" y="460841"/>
                    <a:pt x="524748" y="459660"/>
                  </a:cubicBezTo>
                  <a:cubicBezTo>
                    <a:pt x="525889" y="458500"/>
                    <a:pt x="526950" y="457119"/>
                    <a:pt x="527931" y="455599"/>
                  </a:cubicBezTo>
                  <a:cubicBezTo>
                    <a:pt x="529934" y="452597"/>
                    <a:pt x="531576" y="448835"/>
                    <a:pt x="532797" y="444854"/>
                  </a:cubicBezTo>
                  <a:cubicBezTo>
                    <a:pt x="533097" y="443853"/>
                    <a:pt x="533358" y="442833"/>
                    <a:pt x="533618" y="441812"/>
                  </a:cubicBezTo>
                  <a:cubicBezTo>
                    <a:pt x="533838" y="440852"/>
                    <a:pt x="534038" y="439891"/>
                    <a:pt x="534198" y="438911"/>
                  </a:cubicBezTo>
                  <a:cubicBezTo>
                    <a:pt x="534499" y="436970"/>
                    <a:pt x="534739" y="435009"/>
                    <a:pt x="534699" y="433048"/>
                  </a:cubicBezTo>
                  <a:cubicBezTo>
                    <a:pt x="534699" y="430767"/>
                    <a:pt x="534459" y="427485"/>
                    <a:pt x="534098" y="424184"/>
                  </a:cubicBezTo>
                  <a:cubicBezTo>
                    <a:pt x="533958" y="422863"/>
                    <a:pt x="533598" y="419942"/>
                    <a:pt x="533277" y="417581"/>
                  </a:cubicBezTo>
                  <a:cubicBezTo>
                    <a:pt x="532937" y="415119"/>
                    <a:pt x="532657" y="412678"/>
                    <a:pt x="532436" y="410237"/>
                  </a:cubicBezTo>
                  <a:cubicBezTo>
                    <a:pt x="531475" y="400493"/>
                    <a:pt x="533137" y="390468"/>
                    <a:pt x="537362" y="381624"/>
                  </a:cubicBezTo>
                  <a:cubicBezTo>
                    <a:pt x="541787" y="372059"/>
                    <a:pt x="547834" y="363195"/>
                    <a:pt x="555442" y="355832"/>
                  </a:cubicBezTo>
                  <a:cubicBezTo>
                    <a:pt x="563010" y="348428"/>
                    <a:pt x="572261" y="342826"/>
                    <a:pt x="582292" y="339324"/>
                  </a:cubicBezTo>
                  <a:lnTo>
                    <a:pt x="582292" y="339324"/>
                  </a:lnTo>
                  <a:cubicBezTo>
                    <a:pt x="583433" y="338984"/>
                    <a:pt x="584574" y="338604"/>
                    <a:pt x="585736" y="338223"/>
                  </a:cubicBezTo>
                  <a:lnTo>
                    <a:pt x="586196" y="338083"/>
                  </a:lnTo>
                  <a:cubicBezTo>
                    <a:pt x="586497" y="338003"/>
                    <a:pt x="586417" y="338023"/>
                    <a:pt x="586477" y="338003"/>
                  </a:cubicBezTo>
                  <a:lnTo>
                    <a:pt x="586637" y="337943"/>
                  </a:lnTo>
                  <a:lnTo>
                    <a:pt x="586957" y="337823"/>
                  </a:lnTo>
                  <a:cubicBezTo>
                    <a:pt x="587177" y="337743"/>
                    <a:pt x="587398" y="337663"/>
                    <a:pt x="587618" y="337563"/>
                  </a:cubicBezTo>
                  <a:cubicBezTo>
                    <a:pt x="588058" y="337383"/>
                    <a:pt x="588499" y="337203"/>
                    <a:pt x="588899" y="336983"/>
                  </a:cubicBezTo>
                  <a:cubicBezTo>
                    <a:pt x="589320" y="336783"/>
                    <a:pt x="589720" y="336583"/>
                    <a:pt x="590060" y="336363"/>
                  </a:cubicBezTo>
                  <a:cubicBezTo>
                    <a:pt x="591142" y="335802"/>
                    <a:pt x="591782" y="335142"/>
                    <a:pt x="592383" y="334682"/>
                  </a:cubicBezTo>
                  <a:cubicBezTo>
                    <a:pt x="592543" y="334422"/>
                    <a:pt x="592804" y="334222"/>
                    <a:pt x="592924" y="334042"/>
                  </a:cubicBezTo>
                  <a:cubicBezTo>
                    <a:pt x="592944" y="333941"/>
                    <a:pt x="593004" y="333861"/>
                    <a:pt x="593064" y="333801"/>
                  </a:cubicBezTo>
                  <a:cubicBezTo>
                    <a:pt x="593144" y="333741"/>
                    <a:pt x="593204" y="333681"/>
                    <a:pt x="593184" y="333601"/>
                  </a:cubicBezTo>
                  <a:cubicBezTo>
                    <a:pt x="593164" y="333461"/>
                    <a:pt x="593404" y="333421"/>
                    <a:pt x="593304" y="333241"/>
                  </a:cubicBezTo>
                  <a:cubicBezTo>
                    <a:pt x="593284" y="333081"/>
                    <a:pt x="593484" y="333041"/>
                    <a:pt x="593404" y="332761"/>
                  </a:cubicBezTo>
                  <a:cubicBezTo>
                    <a:pt x="593524" y="332421"/>
                    <a:pt x="593404" y="331600"/>
                    <a:pt x="593384" y="330740"/>
                  </a:cubicBezTo>
                  <a:close/>
                  <a:moveTo>
                    <a:pt x="493854" y="432688"/>
                  </a:moveTo>
                  <a:lnTo>
                    <a:pt x="493854" y="432688"/>
                  </a:lnTo>
                  <a:close/>
                  <a:moveTo>
                    <a:pt x="526430" y="327298"/>
                  </a:moveTo>
                  <a:cubicBezTo>
                    <a:pt x="515117" y="338384"/>
                    <a:pt x="506127" y="351710"/>
                    <a:pt x="499660" y="366057"/>
                  </a:cubicBezTo>
                  <a:cubicBezTo>
                    <a:pt x="493653" y="379423"/>
                    <a:pt x="490830" y="394150"/>
                    <a:pt x="491371" y="408777"/>
                  </a:cubicBezTo>
                  <a:cubicBezTo>
                    <a:pt x="491491" y="412438"/>
                    <a:pt x="491851" y="416160"/>
                    <a:pt x="492392" y="419862"/>
                  </a:cubicBezTo>
                  <a:lnTo>
                    <a:pt x="493053" y="424824"/>
                  </a:lnTo>
                  <a:lnTo>
                    <a:pt x="488227" y="424264"/>
                  </a:lnTo>
                  <a:lnTo>
                    <a:pt x="483062" y="423684"/>
                  </a:lnTo>
                  <a:lnTo>
                    <a:pt x="477736" y="423223"/>
                  </a:lnTo>
                  <a:cubicBezTo>
                    <a:pt x="474232" y="422883"/>
                    <a:pt x="470548" y="422703"/>
                    <a:pt x="466884" y="422503"/>
                  </a:cubicBezTo>
                  <a:cubicBezTo>
                    <a:pt x="465082" y="422383"/>
                    <a:pt x="463139" y="422363"/>
                    <a:pt x="461257" y="422303"/>
                  </a:cubicBezTo>
                  <a:cubicBezTo>
                    <a:pt x="458955" y="422223"/>
                    <a:pt x="455751" y="422163"/>
                    <a:pt x="452908" y="422263"/>
                  </a:cubicBezTo>
                  <a:lnTo>
                    <a:pt x="444178" y="422463"/>
                  </a:lnTo>
                  <a:lnTo>
                    <a:pt x="435509" y="423103"/>
                  </a:lnTo>
                  <a:cubicBezTo>
                    <a:pt x="423796" y="424244"/>
                    <a:pt x="412303" y="426545"/>
                    <a:pt x="401931" y="431267"/>
                  </a:cubicBezTo>
                  <a:cubicBezTo>
                    <a:pt x="401371" y="431427"/>
                    <a:pt x="400790" y="431507"/>
                    <a:pt x="400270" y="431727"/>
                  </a:cubicBezTo>
                  <a:lnTo>
                    <a:pt x="398728" y="432428"/>
                  </a:lnTo>
                  <a:lnTo>
                    <a:pt x="395704" y="433888"/>
                  </a:lnTo>
                  <a:cubicBezTo>
                    <a:pt x="393702" y="434889"/>
                    <a:pt x="391760" y="436069"/>
                    <a:pt x="389818" y="437230"/>
                  </a:cubicBezTo>
                  <a:cubicBezTo>
                    <a:pt x="385914" y="439551"/>
                    <a:pt x="382350" y="442372"/>
                    <a:pt x="378886" y="445254"/>
                  </a:cubicBezTo>
                  <a:cubicBezTo>
                    <a:pt x="372038" y="451156"/>
                    <a:pt x="366132" y="458120"/>
                    <a:pt x="361046" y="465723"/>
                  </a:cubicBezTo>
                  <a:cubicBezTo>
                    <a:pt x="355960" y="473347"/>
                    <a:pt x="351756" y="481671"/>
                    <a:pt x="348232" y="490335"/>
                  </a:cubicBezTo>
                  <a:cubicBezTo>
                    <a:pt x="346490" y="494677"/>
                    <a:pt x="344888" y="499099"/>
                    <a:pt x="343446" y="503581"/>
                  </a:cubicBezTo>
                  <a:cubicBezTo>
                    <a:pt x="342666" y="505902"/>
                    <a:pt x="342145" y="507843"/>
                    <a:pt x="341564" y="509944"/>
                  </a:cubicBezTo>
                  <a:lnTo>
                    <a:pt x="340243" y="514646"/>
                  </a:lnTo>
                  <a:cubicBezTo>
                    <a:pt x="336979" y="527172"/>
                    <a:pt x="334717" y="539978"/>
                    <a:pt x="333615" y="552844"/>
                  </a:cubicBezTo>
                  <a:cubicBezTo>
                    <a:pt x="332594" y="565730"/>
                    <a:pt x="332654" y="578656"/>
                    <a:pt x="333776" y="591462"/>
                  </a:cubicBezTo>
                  <a:cubicBezTo>
                    <a:pt x="334837" y="604288"/>
                    <a:pt x="337240" y="616954"/>
                    <a:pt x="340483" y="629340"/>
                  </a:cubicBezTo>
                  <a:cubicBezTo>
                    <a:pt x="342065" y="635563"/>
                    <a:pt x="344107" y="641646"/>
                    <a:pt x="346149" y="647709"/>
                  </a:cubicBezTo>
                  <a:cubicBezTo>
                    <a:pt x="348432" y="653692"/>
                    <a:pt x="350714" y="659674"/>
                    <a:pt x="353438" y="665477"/>
                  </a:cubicBezTo>
                  <a:lnTo>
                    <a:pt x="355440" y="669839"/>
                  </a:lnTo>
                  <a:lnTo>
                    <a:pt x="357622" y="674121"/>
                  </a:lnTo>
                  <a:cubicBezTo>
                    <a:pt x="359124" y="676942"/>
                    <a:pt x="360485" y="679844"/>
                    <a:pt x="362147" y="682585"/>
                  </a:cubicBezTo>
                  <a:lnTo>
                    <a:pt x="367013" y="690869"/>
                  </a:lnTo>
                  <a:cubicBezTo>
                    <a:pt x="368574" y="693390"/>
                    <a:pt x="370156" y="695851"/>
                    <a:pt x="371798" y="698333"/>
                  </a:cubicBezTo>
                  <a:cubicBezTo>
                    <a:pt x="378325" y="708197"/>
                    <a:pt x="385553" y="717802"/>
                    <a:pt x="393522" y="727006"/>
                  </a:cubicBezTo>
                  <a:lnTo>
                    <a:pt x="396786" y="730708"/>
                  </a:lnTo>
                  <a:cubicBezTo>
                    <a:pt x="396986" y="730908"/>
                    <a:pt x="396946" y="730888"/>
                    <a:pt x="396966" y="730908"/>
                  </a:cubicBezTo>
                  <a:lnTo>
                    <a:pt x="397006" y="730968"/>
                  </a:lnTo>
                  <a:lnTo>
                    <a:pt x="397086" y="731088"/>
                  </a:lnTo>
                  <a:cubicBezTo>
                    <a:pt x="397086" y="731088"/>
                    <a:pt x="397206" y="731248"/>
                    <a:pt x="397266" y="731308"/>
                  </a:cubicBezTo>
                  <a:cubicBezTo>
                    <a:pt x="397326" y="731388"/>
                    <a:pt x="397406" y="731428"/>
                    <a:pt x="397486" y="731508"/>
                  </a:cubicBezTo>
                  <a:lnTo>
                    <a:pt x="397947" y="732188"/>
                  </a:lnTo>
                  <a:cubicBezTo>
                    <a:pt x="398247" y="732629"/>
                    <a:pt x="398568" y="733069"/>
                    <a:pt x="398908" y="733509"/>
                  </a:cubicBezTo>
                  <a:lnTo>
                    <a:pt x="401311" y="737231"/>
                  </a:lnTo>
                  <a:lnTo>
                    <a:pt x="403974" y="741813"/>
                  </a:lnTo>
                  <a:cubicBezTo>
                    <a:pt x="407618" y="748376"/>
                    <a:pt x="411322" y="756100"/>
                    <a:pt x="414846" y="764043"/>
                  </a:cubicBezTo>
                  <a:cubicBezTo>
                    <a:pt x="421894" y="780191"/>
                    <a:pt x="428361" y="797639"/>
                    <a:pt x="434207" y="815508"/>
                  </a:cubicBezTo>
                  <a:cubicBezTo>
                    <a:pt x="445920" y="851324"/>
                    <a:pt x="455331" y="888862"/>
                    <a:pt x="463179" y="926780"/>
                  </a:cubicBezTo>
                  <a:cubicBezTo>
                    <a:pt x="470988" y="964758"/>
                    <a:pt x="477055" y="1003296"/>
                    <a:pt x="481740" y="1042074"/>
                  </a:cubicBezTo>
                  <a:cubicBezTo>
                    <a:pt x="486285" y="1080892"/>
                    <a:pt x="489529" y="1119930"/>
                    <a:pt x="491271" y="1159089"/>
                  </a:cubicBezTo>
                  <a:cubicBezTo>
                    <a:pt x="491611" y="1168893"/>
                    <a:pt x="492152" y="1178678"/>
                    <a:pt x="492312" y="1188483"/>
                  </a:cubicBezTo>
                  <a:lnTo>
                    <a:pt x="492672" y="1203190"/>
                  </a:lnTo>
                  <a:lnTo>
                    <a:pt x="492712" y="1205030"/>
                  </a:lnTo>
                  <a:cubicBezTo>
                    <a:pt x="492712" y="1205431"/>
                    <a:pt x="492712" y="1205391"/>
                    <a:pt x="492692" y="1205491"/>
                  </a:cubicBezTo>
                  <a:lnTo>
                    <a:pt x="492652" y="1205711"/>
                  </a:lnTo>
                  <a:cubicBezTo>
                    <a:pt x="492612" y="1206011"/>
                    <a:pt x="492592" y="1206311"/>
                    <a:pt x="492592" y="1206611"/>
                  </a:cubicBezTo>
                  <a:cubicBezTo>
                    <a:pt x="492712" y="1207231"/>
                    <a:pt x="492472" y="1207792"/>
                    <a:pt x="492412" y="1208372"/>
                  </a:cubicBezTo>
                  <a:cubicBezTo>
                    <a:pt x="492072" y="1210653"/>
                    <a:pt x="491311" y="1212794"/>
                    <a:pt x="490109" y="1214815"/>
                  </a:cubicBezTo>
                  <a:cubicBezTo>
                    <a:pt x="488908" y="1216836"/>
                    <a:pt x="487246" y="1218697"/>
                    <a:pt x="485344" y="1220137"/>
                  </a:cubicBezTo>
                  <a:cubicBezTo>
                    <a:pt x="483422" y="1221598"/>
                    <a:pt x="481280" y="1222619"/>
                    <a:pt x="479057" y="1223219"/>
                  </a:cubicBezTo>
                  <a:cubicBezTo>
                    <a:pt x="478777" y="1223279"/>
                    <a:pt x="478496" y="1223379"/>
                    <a:pt x="478216" y="1223499"/>
                  </a:cubicBezTo>
                  <a:cubicBezTo>
                    <a:pt x="477936" y="1223599"/>
                    <a:pt x="477616" y="1223539"/>
                    <a:pt x="477335" y="1223599"/>
                  </a:cubicBezTo>
                  <a:cubicBezTo>
                    <a:pt x="476755" y="1223659"/>
                    <a:pt x="476194" y="1223919"/>
                    <a:pt x="475553" y="1223799"/>
                  </a:cubicBezTo>
                  <a:cubicBezTo>
                    <a:pt x="475253" y="1223799"/>
                    <a:pt x="474932" y="1223819"/>
                    <a:pt x="474632" y="1223879"/>
                  </a:cubicBezTo>
                  <a:lnTo>
                    <a:pt x="474392" y="1223919"/>
                  </a:lnTo>
                  <a:lnTo>
                    <a:pt x="474272" y="1223919"/>
                  </a:lnTo>
                  <a:cubicBezTo>
                    <a:pt x="474272" y="1223919"/>
                    <a:pt x="473991" y="1223939"/>
                    <a:pt x="473871" y="1223939"/>
                  </a:cubicBezTo>
                  <a:lnTo>
                    <a:pt x="58430" y="1223939"/>
                  </a:lnTo>
                  <a:cubicBezTo>
                    <a:pt x="57989" y="1223939"/>
                    <a:pt x="58069" y="1223939"/>
                    <a:pt x="57989" y="1223919"/>
                  </a:cubicBezTo>
                  <a:lnTo>
                    <a:pt x="57809" y="1223879"/>
                  </a:lnTo>
                  <a:cubicBezTo>
                    <a:pt x="57569" y="1223839"/>
                    <a:pt x="57328" y="1223819"/>
                    <a:pt x="57068" y="1223839"/>
                  </a:cubicBezTo>
                  <a:lnTo>
                    <a:pt x="56688" y="1223839"/>
                  </a:lnTo>
                  <a:cubicBezTo>
                    <a:pt x="56568" y="1223839"/>
                    <a:pt x="56467" y="1223799"/>
                    <a:pt x="56347" y="1223759"/>
                  </a:cubicBezTo>
                  <a:cubicBezTo>
                    <a:pt x="56127" y="1223699"/>
                    <a:pt x="55887" y="1223679"/>
                    <a:pt x="55647" y="1223679"/>
                  </a:cubicBezTo>
                  <a:cubicBezTo>
                    <a:pt x="55166" y="1223679"/>
                    <a:pt x="54766" y="1223379"/>
                    <a:pt x="54285" y="1223399"/>
                  </a:cubicBezTo>
                  <a:cubicBezTo>
                    <a:pt x="50781" y="1222459"/>
                    <a:pt x="47497" y="1219637"/>
                    <a:pt x="45776" y="1216336"/>
                  </a:cubicBezTo>
                  <a:cubicBezTo>
                    <a:pt x="45515" y="1215936"/>
                    <a:pt x="45495" y="1215455"/>
                    <a:pt x="45175" y="1215075"/>
                  </a:cubicBezTo>
                  <a:cubicBezTo>
                    <a:pt x="45055" y="1214615"/>
                    <a:pt x="44955" y="1214175"/>
                    <a:pt x="44734" y="1213754"/>
                  </a:cubicBezTo>
                  <a:cubicBezTo>
                    <a:pt x="44734" y="1213254"/>
                    <a:pt x="44534" y="1212834"/>
                    <a:pt x="44454" y="1212354"/>
                  </a:cubicBezTo>
                  <a:cubicBezTo>
                    <a:pt x="44454" y="1212094"/>
                    <a:pt x="44454" y="1211854"/>
                    <a:pt x="44394" y="1211614"/>
                  </a:cubicBezTo>
                  <a:cubicBezTo>
                    <a:pt x="44374" y="1211493"/>
                    <a:pt x="44334" y="1211373"/>
                    <a:pt x="44314" y="1211253"/>
                  </a:cubicBezTo>
                  <a:lnTo>
                    <a:pt x="44314" y="1211153"/>
                  </a:lnTo>
                  <a:cubicBezTo>
                    <a:pt x="44314" y="1211153"/>
                    <a:pt x="44274" y="1211113"/>
                    <a:pt x="44254" y="1210913"/>
                  </a:cubicBezTo>
                  <a:lnTo>
                    <a:pt x="44194" y="1210013"/>
                  </a:lnTo>
                  <a:lnTo>
                    <a:pt x="43173" y="1195566"/>
                  </a:lnTo>
                  <a:lnTo>
                    <a:pt x="42352" y="1181079"/>
                  </a:lnTo>
                  <a:cubicBezTo>
                    <a:pt x="38447" y="1103663"/>
                    <a:pt x="41210" y="1025466"/>
                    <a:pt x="51061" y="948590"/>
                  </a:cubicBezTo>
                  <a:cubicBezTo>
                    <a:pt x="55927" y="910132"/>
                    <a:pt x="62674" y="871994"/>
                    <a:pt x="71304" y="834396"/>
                  </a:cubicBezTo>
                  <a:lnTo>
                    <a:pt x="72866" y="827333"/>
                  </a:lnTo>
                  <a:lnTo>
                    <a:pt x="74628" y="820330"/>
                  </a:lnTo>
                  <a:lnTo>
                    <a:pt x="78152" y="806323"/>
                  </a:lnTo>
                  <a:lnTo>
                    <a:pt x="79913" y="799320"/>
                  </a:lnTo>
                  <a:cubicBezTo>
                    <a:pt x="80494" y="796959"/>
                    <a:pt x="81075" y="794638"/>
                    <a:pt x="81715" y="792437"/>
                  </a:cubicBezTo>
                  <a:cubicBezTo>
                    <a:pt x="82997" y="787975"/>
                    <a:pt x="84138" y="783492"/>
                    <a:pt x="85500" y="779050"/>
                  </a:cubicBezTo>
                  <a:cubicBezTo>
                    <a:pt x="90746" y="761262"/>
                    <a:pt x="96792" y="743674"/>
                    <a:pt x="103600" y="726346"/>
                  </a:cubicBezTo>
                  <a:cubicBezTo>
                    <a:pt x="117175" y="691689"/>
                    <a:pt x="133753" y="658034"/>
                    <a:pt x="152895" y="625778"/>
                  </a:cubicBezTo>
                  <a:lnTo>
                    <a:pt x="160203" y="613753"/>
                  </a:lnTo>
                  <a:lnTo>
                    <a:pt x="167731" y="601847"/>
                  </a:lnTo>
                  <a:lnTo>
                    <a:pt x="175500" y="590082"/>
                  </a:lnTo>
                  <a:lnTo>
                    <a:pt x="177802" y="586620"/>
                  </a:lnTo>
                  <a:lnTo>
                    <a:pt x="180265" y="582858"/>
                  </a:lnTo>
                  <a:cubicBezTo>
                    <a:pt x="181907" y="580357"/>
                    <a:pt x="183509" y="577776"/>
                    <a:pt x="185110" y="575195"/>
                  </a:cubicBezTo>
                  <a:cubicBezTo>
                    <a:pt x="191477" y="564810"/>
                    <a:pt x="197524" y="553905"/>
                    <a:pt x="202990" y="542019"/>
                  </a:cubicBezTo>
                  <a:cubicBezTo>
                    <a:pt x="208456" y="530194"/>
                    <a:pt x="213362" y="517327"/>
                    <a:pt x="217046" y="503041"/>
                  </a:cubicBezTo>
                  <a:cubicBezTo>
                    <a:pt x="220570" y="488994"/>
                    <a:pt x="223033" y="474768"/>
                    <a:pt x="224194" y="460061"/>
                  </a:cubicBezTo>
                  <a:cubicBezTo>
                    <a:pt x="224774" y="452677"/>
                    <a:pt x="225055" y="445234"/>
                    <a:pt x="224895" y="437250"/>
                  </a:cubicBezTo>
                  <a:cubicBezTo>
                    <a:pt x="224795" y="433188"/>
                    <a:pt x="224614" y="429166"/>
                    <a:pt x="224134" y="424284"/>
                  </a:cubicBezTo>
                  <a:cubicBezTo>
                    <a:pt x="224034" y="423163"/>
                    <a:pt x="223853" y="421723"/>
                    <a:pt x="223693" y="420382"/>
                  </a:cubicBezTo>
                  <a:cubicBezTo>
                    <a:pt x="223553" y="419181"/>
                    <a:pt x="223253" y="417281"/>
                    <a:pt x="222973" y="415600"/>
                  </a:cubicBezTo>
                  <a:cubicBezTo>
                    <a:pt x="222752" y="414359"/>
                    <a:pt x="222872" y="414859"/>
                    <a:pt x="222852" y="414719"/>
                  </a:cubicBezTo>
                  <a:lnTo>
                    <a:pt x="222852" y="414639"/>
                  </a:lnTo>
                  <a:cubicBezTo>
                    <a:pt x="222852" y="414639"/>
                    <a:pt x="222872" y="414539"/>
                    <a:pt x="222852" y="414499"/>
                  </a:cubicBezTo>
                  <a:cubicBezTo>
                    <a:pt x="222232" y="410858"/>
                    <a:pt x="221791" y="407196"/>
                    <a:pt x="221070" y="403574"/>
                  </a:cubicBezTo>
                  <a:cubicBezTo>
                    <a:pt x="220169" y="400032"/>
                    <a:pt x="219308" y="396331"/>
                    <a:pt x="218167" y="392969"/>
                  </a:cubicBezTo>
                  <a:cubicBezTo>
                    <a:pt x="217046" y="389548"/>
                    <a:pt x="216045" y="386626"/>
                    <a:pt x="214984" y="384065"/>
                  </a:cubicBezTo>
                  <a:lnTo>
                    <a:pt x="213402" y="380083"/>
                  </a:lnTo>
                  <a:lnTo>
                    <a:pt x="211820" y="376481"/>
                  </a:lnTo>
                  <a:cubicBezTo>
                    <a:pt x="207575" y="366957"/>
                    <a:pt x="203291" y="358973"/>
                    <a:pt x="198926" y="351310"/>
                  </a:cubicBezTo>
                  <a:cubicBezTo>
                    <a:pt x="194561" y="343686"/>
                    <a:pt x="190136" y="336523"/>
                    <a:pt x="185591" y="329499"/>
                  </a:cubicBezTo>
                  <a:lnTo>
                    <a:pt x="182147" y="324257"/>
                  </a:lnTo>
                  <a:lnTo>
                    <a:pt x="177642" y="317594"/>
                  </a:lnTo>
                  <a:cubicBezTo>
                    <a:pt x="176701" y="316113"/>
                    <a:pt x="175400" y="314712"/>
                    <a:pt x="174258" y="313292"/>
                  </a:cubicBezTo>
                  <a:lnTo>
                    <a:pt x="171996" y="310510"/>
                  </a:lnTo>
                  <a:cubicBezTo>
                    <a:pt x="171155" y="309450"/>
                    <a:pt x="170254" y="308430"/>
                    <a:pt x="169433" y="307369"/>
                  </a:cubicBezTo>
                  <a:cubicBezTo>
                    <a:pt x="156138" y="290261"/>
                    <a:pt x="146187" y="270692"/>
                    <a:pt x="140441" y="249962"/>
                  </a:cubicBezTo>
                  <a:cubicBezTo>
                    <a:pt x="138499" y="242819"/>
                    <a:pt x="137057" y="235535"/>
                    <a:pt x="135996" y="228172"/>
                  </a:cubicBezTo>
                  <a:cubicBezTo>
                    <a:pt x="135035" y="220808"/>
                    <a:pt x="134614" y="213345"/>
                    <a:pt x="134514" y="205881"/>
                  </a:cubicBezTo>
                  <a:lnTo>
                    <a:pt x="134674" y="200279"/>
                  </a:lnTo>
                  <a:lnTo>
                    <a:pt x="134734" y="197477"/>
                  </a:lnTo>
                  <a:lnTo>
                    <a:pt x="134955" y="194696"/>
                  </a:lnTo>
                  <a:lnTo>
                    <a:pt x="135355" y="189133"/>
                  </a:lnTo>
                  <a:lnTo>
                    <a:pt x="136076" y="183611"/>
                  </a:lnTo>
                  <a:lnTo>
                    <a:pt x="136416" y="180850"/>
                  </a:lnTo>
                  <a:lnTo>
                    <a:pt x="136917" y="178108"/>
                  </a:lnTo>
                  <a:lnTo>
                    <a:pt x="137898" y="172626"/>
                  </a:lnTo>
                  <a:lnTo>
                    <a:pt x="139159" y="167203"/>
                  </a:lnTo>
                  <a:cubicBezTo>
                    <a:pt x="139380" y="166303"/>
                    <a:pt x="139540" y="165382"/>
                    <a:pt x="139780" y="164502"/>
                  </a:cubicBezTo>
                  <a:lnTo>
                    <a:pt x="140561" y="161841"/>
                  </a:lnTo>
                  <a:cubicBezTo>
                    <a:pt x="142423" y="154657"/>
                    <a:pt x="145106" y="147734"/>
                    <a:pt x="147929" y="140891"/>
                  </a:cubicBezTo>
                  <a:cubicBezTo>
                    <a:pt x="150892" y="134088"/>
                    <a:pt x="154336" y="127505"/>
                    <a:pt x="158120" y="121102"/>
                  </a:cubicBezTo>
                  <a:cubicBezTo>
                    <a:pt x="165909" y="108436"/>
                    <a:pt x="175219" y="96630"/>
                    <a:pt x="186132" y="86425"/>
                  </a:cubicBezTo>
                  <a:cubicBezTo>
                    <a:pt x="207796" y="65896"/>
                    <a:pt x="234966" y="51269"/>
                    <a:pt x="264038" y="44966"/>
                  </a:cubicBezTo>
                  <a:lnTo>
                    <a:pt x="266761" y="44325"/>
                  </a:lnTo>
                  <a:lnTo>
                    <a:pt x="269504" y="43845"/>
                  </a:lnTo>
                  <a:lnTo>
                    <a:pt x="275010" y="42845"/>
                  </a:lnTo>
                  <a:lnTo>
                    <a:pt x="280556" y="42164"/>
                  </a:lnTo>
                  <a:lnTo>
                    <a:pt x="283340" y="41804"/>
                  </a:lnTo>
                  <a:lnTo>
                    <a:pt x="286143" y="41604"/>
                  </a:lnTo>
                  <a:lnTo>
                    <a:pt x="291729" y="41164"/>
                  </a:lnTo>
                  <a:lnTo>
                    <a:pt x="297355" y="41044"/>
                  </a:lnTo>
                  <a:lnTo>
                    <a:pt x="300158" y="40964"/>
                  </a:lnTo>
                  <a:lnTo>
                    <a:pt x="304323" y="41004"/>
                  </a:lnTo>
                  <a:lnTo>
                    <a:pt x="306285" y="41004"/>
                  </a:lnTo>
                  <a:lnTo>
                    <a:pt x="308107" y="40964"/>
                  </a:lnTo>
                  <a:lnTo>
                    <a:pt x="311751" y="40884"/>
                  </a:lnTo>
                  <a:cubicBezTo>
                    <a:pt x="316957" y="40704"/>
                    <a:pt x="320661" y="40884"/>
                    <a:pt x="324846" y="40944"/>
                  </a:cubicBezTo>
                  <a:cubicBezTo>
                    <a:pt x="326908" y="40964"/>
                    <a:pt x="328930" y="41144"/>
                    <a:pt x="330973" y="41244"/>
                  </a:cubicBezTo>
                  <a:cubicBezTo>
                    <a:pt x="333015" y="41364"/>
                    <a:pt x="335057" y="41424"/>
                    <a:pt x="337059" y="41644"/>
                  </a:cubicBezTo>
                  <a:cubicBezTo>
                    <a:pt x="345168" y="42224"/>
                    <a:pt x="353117" y="43425"/>
                    <a:pt x="360966" y="44826"/>
                  </a:cubicBezTo>
                  <a:cubicBezTo>
                    <a:pt x="392301" y="50708"/>
                    <a:pt x="421433" y="63414"/>
                    <a:pt x="446701" y="82323"/>
                  </a:cubicBezTo>
                  <a:cubicBezTo>
                    <a:pt x="459295" y="91748"/>
                    <a:pt x="470988" y="102713"/>
                    <a:pt x="481019" y="114598"/>
                  </a:cubicBezTo>
                  <a:cubicBezTo>
                    <a:pt x="482241" y="116079"/>
                    <a:pt x="483502" y="117560"/>
                    <a:pt x="484663" y="119061"/>
                  </a:cubicBezTo>
                  <a:lnTo>
                    <a:pt x="485104" y="119621"/>
                  </a:lnTo>
                  <a:lnTo>
                    <a:pt x="485464" y="120081"/>
                  </a:lnTo>
                  <a:lnTo>
                    <a:pt x="486025" y="120821"/>
                  </a:lnTo>
                  <a:cubicBezTo>
                    <a:pt x="486405" y="121302"/>
                    <a:pt x="486746" y="121822"/>
                    <a:pt x="487106" y="122322"/>
                  </a:cubicBezTo>
                  <a:cubicBezTo>
                    <a:pt x="488508" y="124343"/>
                    <a:pt x="489809" y="126464"/>
                    <a:pt x="490970" y="128665"/>
                  </a:cubicBezTo>
                  <a:cubicBezTo>
                    <a:pt x="492132" y="130866"/>
                    <a:pt x="493133" y="133167"/>
                    <a:pt x="494014" y="135548"/>
                  </a:cubicBezTo>
                  <a:cubicBezTo>
                    <a:pt x="494454" y="136729"/>
                    <a:pt x="494855" y="137929"/>
                    <a:pt x="495215" y="139150"/>
                  </a:cubicBezTo>
                  <a:cubicBezTo>
                    <a:pt x="495395" y="139770"/>
                    <a:pt x="495575" y="140371"/>
                    <a:pt x="495736" y="140991"/>
                  </a:cubicBezTo>
                  <a:lnTo>
                    <a:pt x="495996" y="141931"/>
                  </a:lnTo>
                  <a:lnTo>
                    <a:pt x="496276" y="143192"/>
                  </a:lnTo>
                  <a:cubicBezTo>
                    <a:pt x="499560" y="156818"/>
                    <a:pt x="500061" y="168344"/>
                    <a:pt x="499740" y="189153"/>
                  </a:cubicBezTo>
                  <a:cubicBezTo>
                    <a:pt x="499640" y="199558"/>
                    <a:pt x="499600" y="212204"/>
                    <a:pt x="500861" y="225771"/>
                  </a:cubicBezTo>
                  <a:cubicBezTo>
                    <a:pt x="501182" y="229152"/>
                    <a:pt x="501622" y="232594"/>
                    <a:pt x="502043" y="236015"/>
                  </a:cubicBezTo>
                  <a:cubicBezTo>
                    <a:pt x="502603" y="239497"/>
                    <a:pt x="503084" y="242799"/>
                    <a:pt x="503745" y="246420"/>
                  </a:cubicBezTo>
                  <a:cubicBezTo>
                    <a:pt x="505286" y="254204"/>
                    <a:pt x="507208" y="261808"/>
                    <a:pt x="509631" y="268951"/>
                  </a:cubicBezTo>
                  <a:cubicBezTo>
                    <a:pt x="514436" y="283318"/>
                    <a:pt x="520643" y="296444"/>
                    <a:pt x="527751" y="308349"/>
                  </a:cubicBezTo>
                  <a:cubicBezTo>
                    <a:pt x="530074" y="312251"/>
                    <a:pt x="532496" y="316013"/>
                    <a:pt x="534979" y="319695"/>
                  </a:cubicBezTo>
                  <a:cubicBezTo>
                    <a:pt x="531976" y="322096"/>
                    <a:pt x="529113" y="324637"/>
                    <a:pt x="526370" y="327338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49" name="Freeform 5">
              <a:extLst>
                <a:ext uri="{FF2B5EF4-FFF2-40B4-BE49-F238E27FC236}">
                  <a16:creationId xmlns:a16="http://schemas.microsoft.com/office/drawing/2014/main" id="{8E1CD6A4-DB40-AEE3-1888-6EEE3116D192}"/>
                </a:ext>
              </a:extLst>
            </p:cNvPr>
            <p:cNvSpPr/>
            <p:nvPr/>
          </p:nvSpPr>
          <p:spPr>
            <a:xfrm>
              <a:off x="2944468" y="3340209"/>
              <a:ext cx="753486" cy="1424552"/>
            </a:xfrm>
            <a:custGeom>
              <a:avLst/>
              <a:gdLst>
                <a:gd name="connsiteX0" fmla="*/ 698067 w 753486"/>
                <a:gd name="connsiteY0" fmla="*/ 491574 h 1424552"/>
                <a:gd name="connsiteX1" fmla="*/ 704254 w 753486"/>
                <a:gd name="connsiteY1" fmla="*/ 488773 h 1424552"/>
                <a:gd name="connsiteX2" fmla="*/ 707317 w 753486"/>
                <a:gd name="connsiteY2" fmla="*/ 487212 h 1424552"/>
                <a:gd name="connsiteX3" fmla="*/ 710461 w 753486"/>
                <a:gd name="connsiteY3" fmla="*/ 485432 h 1424552"/>
                <a:gd name="connsiteX4" fmla="*/ 728140 w 753486"/>
                <a:gd name="connsiteY4" fmla="*/ 472085 h 1424552"/>
                <a:gd name="connsiteX5" fmla="*/ 732525 w 753486"/>
                <a:gd name="connsiteY5" fmla="*/ 467443 h 1424552"/>
                <a:gd name="connsiteX6" fmla="*/ 736690 w 753486"/>
                <a:gd name="connsiteY6" fmla="*/ 462421 h 1424552"/>
                <a:gd name="connsiteX7" fmla="*/ 740614 w 753486"/>
                <a:gd name="connsiteY7" fmla="*/ 456738 h 1424552"/>
                <a:gd name="connsiteX8" fmla="*/ 742436 w 753486"/>
                <a:gd name="connsiteY8" fmla="*/ 453817 h 1424552"/>
                <a:gd name="connsiteX9" fmla="*/ 744118 w 753486"/>
                <a:gd name="connsiteY9" fmla="*/ 450675 h 1424552"/>
                <a:gd name="connsiteX10" fmla="*/ 749604 w 753486"/>
                <a:gd name="connsiteY10" fmla="*/ 437469 h 1424552"/>
                <a:gd name="connsiteX11" fmla="*/ 752668 w 753486"/>
                <a:gd name="connsiteY11" fmla="*/ 423883 h 1424552"/>
                <a:gd name="connsiteX12" fmla="*/ 752568 w 753486"/>
                <a:gd name="connsiteY12" fmla="*/ 399231 h 1424552"/>
                <a:gd name="connsiteX13" fmla="*/ 750505 w 753486"/>
                <a:gd name="connsiteY13" fmla="*/ 389166 h 1424552"/>
                <a:gd name="connsiteX14" fmla="*/ 749084 w 753486"/>
                <a:gd name="connsiteY14" fmla="*/ 384084 h 1424552"/>
                <a:gd name="connsiteX15" fmla="*/ 747322 w 753486"/>
                <a:gd name="connsiteY15" fmla="*/ 379042 h 1424552"/>
                <a:gd name="connsiteX16" fmla="*/ 737891 w 753486"/>
                <a:gd name="connsiteY16" fmla="*/ 360673 h 1424552"/>
                <a:gd name="connsiteX17" fmla="*/ 732005 w 753486"/>
                <a:gd name="connsiteY17" fmla="*/ 352629 h 1424552"/>
                <a:gd name="connsiteX18" fmla="*/ 728821 w 753486"/>
                <a:gd name="connsiteY18" fmla="*/ 348908 h 1424552"/>
                <a:gd name="connsiteX19" fmla="*/ 726739 w 753486"/>
                <a:gd name="connsiteY19" fmla="*/ 346666 h 1424552"/>
                <a:gd name="connsiteX20" fmla="*/ 723495 w 753486"/>
                <a:gd name="connsiteY20" fmla="*/ 343025 h 1424552"/>
                <a:gd name="connsiteX21" fmla="*/ 711782 w 753486"/>
                <a:gd name="connsiteY21" fmla="*/ 326717 h 1424552"/>
                <a:gd name="connsiteX22" fmla="*/ 704414 w 753486"/>
                <a:gd name="connsiteY22" fmla="*/ 310890 h 1424552"/>
                <a:gd name="connsiteX23" fmla="*/ 702572 w 753486"/>
                <a:gd name="connsiteY23" fmla="*/ 303966 h 1424552"/>
                <a:gd name="connsiteX24" fmla="*/ 701811 w 753486"/>
                <a:gd name="connsiteY24" fmla="*/ 299344 h 1424552"/>
                <a:gd name="connsiteX25" fmla="*/ 701250 w 753486"/>
                <a:gd name="connsiteY25" fmla="*/ 294442 h 1424552"/>
                <a:gd name="connsiteX26" fmla="*/ 700650 w 753486"/>
                <a:gd name="connsiteY26" fmla="*/ 270171 h 1424552"/>
                <a:gd name="connsiteX27" fmla="*/ 699969 w 753486"/>
                <a:gd name="connsiteY27" fmla="*/ 234934 h 1424552"/>
                <a:gd name="connsiteX28" fmla="*/ 693882 w 753486"/>
                <a:gd name="connsiteY28" fmla="*/ 195055 h 1424552"/>
                <a:gd name="connsiteX29" fmla="*/ 693322 w 753486"/>
                <a:gd name="connsiteY29" fmla="*/ 192594 h 1424552"/>
                <a:gd name="connsiteX30" fmla="*/ 692601 w 753486"/>
                <a:gd name="connsiteY30" fmla="*/ 189853 h 1424552"/>
                <a:gd name="connsiteX31" fmla="*/ 691059 w 753486"/>
                <a:gd name="connsiteY31" fmla="*/ 184370 h 1424552"/>
                <a:gd name="connsiteX32" fmla="*/ 687435 w 753486"/>
                <a:gd name="connsiteY32" fmla="*/ 173525 h 1424552"/>
                <a:gd name="connsiteX33" fmla="*/ 678125 w 753486"/>
                <a:gd name="connsiteY33" fmla="*/ 152575 h 1424552"/>
                <a:gd name="connsiteX34" fmla="*/ 666152 w 753486"/>
                <a:gd name="connsiteY34" fmla="*/ 132906 h 1424552"/>
                <a:gd name="connsiteX35" fmla="*/ 662748 w 753486"/>
                <a:gd name="connsiteY35" fmla="*/ 128244 h 1424552"/>
                <a:gd name="connsiteX36" fmla="*/ 661006 w 753486"/>
                <a:gd name="connsiteY36" fmla="*/ 125943 h 1424552"/>
                <a:gd name="connsiteX37" fmla="*/ 659464 w 753486"/>
                <a:gd name="connsiteY37" fmla="*/ 123982 h 1424552"/>
                <a:gd name="connsiteX38" fmla="*/ 653477 w 753486"/>
                <a:gd name="connsiteY38" fmla="*/ 116658 h 1424552"/>
                <a:gd name="connsiteX39" fmla="*/ 599197 w 753486"/>
                <a:gd name="connsiteY39" fmla="*/ 65574 h 1424552"/>
                <a:gd name="connsiteX40" fmla="*/ 534645 w 753486"/>
                <a:gd name="connsiteY40" fmla="*/ 27997 h 1424552"/>
                <a:gd name="connsiteX41" fmla="*/ 463466 w 753486"/>
                <a:gd name="connsiteY41" fmla="*/ 6087 h 1424552"/>
                <a:gd name="connsiteX42" fmla="*/ 426966 w 753486"/>
                <a:gd name="connsiteY42" fmla="*/ 1224 h 1424552"/>
                <a:gd name="connsiteX43" fmla="*/ 417856 w 753486"/>
                <a:gd name="connsiteY43" fmla="*/ 604 h 1424552"/>
                <a:gd name="connsiteX44" fmla="*/ 408745 w 753486"/>
                <a:gd name="connsiteY44" fmla="*/ 184 h 1424552"/>
                <a:gd name="connsiteX45" fmla="*/ 391366 w 753486"/>
                <a:gd name="connsiteY45" fmla="*/ 64 h 1424552"/>
                <a:gd name="connsiteX46" fmla="*/ 387402 w 753486"/>
                <a:gd name="connsiteY46" fmla="*/ 144 h 1424552"/>
                <a:gd name="connsiteX47" fmla="*/ 385419 w 753486"/>
                <a:gd name="connsiteY47" fmla="*/ 184 h 1424552"/>
                <a:gd name="connsiteX48" fmla="*/ 383577 w 753486"/>
                <a:gd name="connsiteY48" fmla="*/ 184 h 1424552"/>
                <a:gd name="connsiteX49" fmla="*/ 380114 w 753486"/>
                <a:gd name="connsiteY49" fmla="*/ 144 h 1424552"/>
                <a:gd name="connsiteX50" fmla="*/ 375308 w 753486"/>
                <a:gd name="connsiteY50" fmla="*/ 244 h 1424552"/>
                <a:gd name="connsiteX51" fmla="*/ 365698 w 753486"/>
                <a:gd name="connsiteY51" fmla="*/ 504 h 1424552"/>
                <a:gd name="connsiteX52" fmla="*/ 356087 w 753486"/>
                <a:gd name="connsiteY52" fmla="*/ 1224 h 1424552"/>
                <a:gd name="connsiteX53" fmla="*/ 351282 w 753486"/>
                <a:gd name="connsiteY53" fmla="*/ 1604 h 1424552"/>
                <a:gd name="connsiteX54" fmla="*/ 346496 w 753486"/>
                <a:gd name="connsiteY54" fmla="*/ 2185 h 1424552"/>
                <a:gd name="connsiteX55" fmla="*/ 336926 w 753486"/>
                <a:gd name="connsiteY55" fmla="*/ 3405 h 1424552"/>
                <a:gd name="connsiteX56" fmla="*/ 327415 w 753486"/>
                <a:gd name="connsiteY56" fmla="*/ 5086 h 1424552"/>
                <a:gd name="connsiteX57" fmla="*/ 322670 w 753486"/>
                <a:gd name="connsiteY57" fmla="*/ 5946 h 1424552"/>
                <a:gd name="connsiteX58" fmla="*/ 317965 w 753486"/>
                <a:gd name="connsiteY58" fmla="*/ 7007 h 1424552"/>
                <a:gd name="connsiteX59" fmla="*/ 183175 w 753486"/>
                <a:gd name="connsiteY59" fmla="*/ 78661 h 1424552"/>
                <a:gd name="connsiteX60" fmla="*/ 134821 w 753486"/>
                <a:gd name="connsiteY60" fmla="*/ 138549 h 1424552"/>
                <a:gd name="connsiteX61" fmla="*/ 117121 w 753486"/>
                <a:gd name="connsiteY61" fmla="*/ 172905 h 1424552"/>
                <a:gd name="connsiteX62" fmla="*/ 104267 w 753486"/>
                <a:gd name="connsiteY62" fmla="*/ 209382 h 1424552"/>
                <a:gd name="connsiteX63" fmla="*/ 102946 w 753486"/>
                <a:gd name="connsiteY63" fmla="*/ 214044 h 1424552"/>
                <a:gd name="connsiteX64" fmla="*/ 101824 w 753486"/>
                <a:gd name="connsiteY64" fmla="*/ 218746 h 1424552"/>
                <a:gd name="connsiteX65" fmla="*/ 99662 w 753486"/>
                <a:gd name="connsiteY65" fmla="*/ 228171 h 1424552"/>
                <a:gd name="connsiteX66" fmla="*/ 97920 w 753486"/>
                <a:gd name="connsiteY66" fmla="*/ 237675 h 1424552"/>
                <a:gd name="connsiteX67" fmla="*/ 97079 w 753486"/>
                <a:gd name="connsiteY67" fmla="*/ 242437 h 1424552"/>
                <a:gd name="connsiteX68" fmla="*/ 96458 w 753486"/>
                <a:gd name="connsiteY68" fmla="*/ 247220 h 1424552"/>
                <a:gd name="connsiteX69" fmla="*/ 95257 w 753486"/>
                <a:gd name="connsiteY69" fmla="*/ 256804 h 1424552"/>
                <a:gd name="connsiteX70" fmla="*/ 94496 w 753486"/>
                <a:gd name="connsiteY70" fmla="*/ 266429 h 1424552"/>
                <a:gd name="connsiteX71" fmla="*/ 94156 w 753486"/>
                <a:gd name="connsiteY71" fmla="*/ 271231 h 1424552"/>
                <a:gd name="connsiteX72" fmla="*/ 94016 w 753486"/>
                <a:gd name="connsiteY72" fmla="*/ 276053 h 1424552"/>
                <a:gd name="connsiteX73" fmla="*/ 93795 w 753486"/>
                <a:gd name="connsiteY73" fmla="*/ 285678 h 1424552"/>
                <a:gd name="connsiteX74" fmla="*/ 96358 w 753486"/>
                <a:gd name="connsiteY74" fmla="*/ 324136 h 1424552"/>
                <a:gd name="connsiteX75" fmla="*/ 104087 w 753486"/>
                <a:gd name="connsiteY75" fmla="*/ 362014 h 1424552"/>
                <a:gd name="connsiteX76" fmla="*/ 154363 w 753486"/>
                <a:gd name="connsiteY76" fmla="*/ 461660 h 1424552"/>
                <a:gd name="connsiteX77" fmla="*/ 158788 w 753486"/>
                <a:gd name="connsiteY77" fmla="*/ 467103 h 1424552"/>
                <a:gd name="connsiteX78" fmla="*/ 159909 w 753486"/>
                <a:gd name="connsiteY78" fmla="*/ 468464 h 1424552"/>
                <a:gd name="connsiteX79" fmla="*/ 160049 w 753486"/>
                <a:gd name="connsiteY79" fmla="*/ 468624 h 1424552"/>
                <a:gd name="connsiteX80" fmla="*/ 160049 w 753486"/>
                <a:gd name="connsiteY80" fmla="*/ 468624 h 1424552"/>
                <a:gd name="connsiteX81" fmla="*/ 161751 w 753486"/>
                <a:gd name="connsiteY81" fmla="*/ 471145 h 1424552"/>
                <a:gd name="connsiteX82" fmla="*/ 164394 w 753486"/>
                <a:gd name="connsiteY82" fmla="*/ 475147 h 1424552"/>
                <a:gd name="connsiteX83" fmla="*/ 174165 w 753486"/>
                <a:gd name="connsiteY83" fmla="*/ 491094 h 1424552"/>
                <a:gd name="connsiteX84" fmla="*/ 181513 w 753486"/>
                <a:gd name="connsiteY84" fmla="*/ 505281 h 1424552"/>
                <a:gd name="connsiteX85" fmla="*/ 182174 w 753486"/>
                <a:gd name="connsiteY85" fmla="*/ 506742 h 1424552"/>
                <a:gd name="connsiteX86" fmla="*/ 182614 w 753486"/>
                <a:gd name="connsiteY86" fmla="*/ 507902 h 1424552"/>
                <a:gd name="connsiteX87" fmla="*/ 183175 w 753486"/>
                <a:gd name="connsiteY87" fmla="*/ 509403 h 1424552"/>
                <a:gd name="connsiteX88" fmla="*/ 183215 w 753486"/>
                <a:gd name="connsiteY88" fmla="*/ 509463 h 1424552"/>
                <a:gd name="connsiteX89" fmla="*/ 183215 w 753486"/>
                <a:gd name="connsiteY89" fmla="*/ 509463 h 1424552"/>
                <a:gd name="connsiteX90" fmla="*/ 183735 w 753486"/>
                <a:gd name="connsiteY90" fmla="*/ 513445 h 1424552"/>
                <a:gd name="connsiteX91" fmla="*/ 184016 w 753486"/>
                <a:gd name="connsiteY91" fmla="*/ 515446 h 1424552"/>
                <a:gd name="connsiteX92" fmla="*/ 184176 w 753486"/>
                <a:gd name="connsiteY92" fmla="*/ 516626 h 1424552"/>
                <a:gd name="connsiteX93" fmla="*/ 184056 w 753486"/>
                <a:gd name="connsiteY93" fmla="*/ 515966 h 1424552"/>
                <a:gd name="connsiteX94" fmla="*/ 184076 w 753486"/>
                <a:gd name="connsiteY94" fmla="*/ 516206 h 1424552"/>
                <a:gd name="connsiteX95" fmla="*/ 184276 w 753486"/>
                <a:gd name="connsiteY95" fmla="*/ 519908 h 1424552"/>
                <a:gd name="connsiteX96" fmla="*/ 183936 w 753486"/>
                <a:gd name="connsiteY96" fmla="*/ 530433 h 1424552"/>
                <a:gd name="connsiteX97" fmla="*/ 180131 w 753486"/>
                <a:gd name="connsiteY97" fmla="*/ 553183 h 1424552"/>
                <a:gd name="connsiteX98" fmla="*/ 173424 w 753486"/>
                <a:gd name="connsiteY98" fmla="*/ 571412 h 1424552"/>
                <a:gd name="connsiteX99" fmla="*/ 162372 w 753486"/>
                <a:gd name="connsiteY99" fmla="*/ 591842 h 1424552"/>
                <a:gd name="connsiteX100" fmla="*/ 159068 w 753486"/>
                <a:gd name="connsiteY100" fmla="*/ 597064 h 1424552"/>
                <a:gd name="connsiteX101" fmla="*/ 157346 w 753486"/>
                <a:gd name="connsiteY101" fmla="*/ 599665 h 1424552"/>
                <a:gd name="connsiteX102" fmla="*/ 155424 w 753486"/>
                <a:gd name="connsiteY102" fmla="*/ 602547 h 1424552"/>
                <a:gd name="connsiteX103" fmla="*/ 146394 w 753486"/>
                <a:gd name="connsiteY103" fmla="*/ 616213 h 1424552"/>
                <a:gd name="connsiteX104" fmla="*/ 137624 w 753486"/>
                <a:gd name="connsiteY104" fmla="*/ 630060 h 1424552"/>
                <a:gd name="connsiteX105" fmla="*/ 129115 w 753486"/>
                <a:gd name="connsiteY105" fmla="*/ 644086 h 1424552"/>
                <a:gd name="connsiteX106" fmla="*/ 71250 w 753486"/>
                <a:gd name="connsiteY106" fmla="*/ 762202 h 1424552"/>
                <a:gd name="connsiteX107" fmla="*/ 49786 w 753486"/>
                <a:gd name="connsiteY107" fmla="*/ 824751 h 1424552"/>
                <a:gd name="connsiteX108" fmla="*/ 45261 w 753486"/>
                <a:gd name="connsiteY108" fmla="*/ 840698 h 1424552"/>
                <a:gd name="connsiteX109" fmla="*/ 43199 w 753486"/>
                <a:gd name="connsiteY109" fmla="*/ 848562 h 1424552"/>
                <a:gd name="connsiteX110" fmla="*/ 41257 w 753486"/>
                <a:gd name="connsiteY110" fmla="*/ 856326 h 1424552"/>
                <a:gd name="connsiteX111" fmla="*/ 37353 w 753486"/>
                <a:gd name="connsiteY111" fmla="*/ 871873 h 1424552"/>
                <a:gd name="connsiteX112" fmla="*/ 35410 w 753486"/>
                <a:gd name="connsiteY112" fmla="*/ 879637 h 1424552"/>
                <a:gd name="connsiteX113" fmla="*/ 33689 w 753486"/>
                <a:gd name="connsiteY113" fmla="*/ 887440 h 1424552"/>
                <a:gd name="connsiteX114" fmla="*/ 11384 w 753486"/>
                <a:gd name="connsiteY114" fmla="*/ 1013179 h 1424552"/>
                <a:gd name="connsiteX115" fmla="*/ 1873 w 753486"/>
                <a:gd name="connsiteY115" fmla="*/ 1267239 h 1424552"/>
                <a:gd name="connsiteX116" fmla="*/ 2774 w 753486"/>
                <a:gd name="connsiteY116" fmla="*/ 1283166 h 1424552"/>
                <a:gd name="connsiteX117" fmla="*/ 3895 w 753486"/>
                <a:gd name="connsiteY117" fmla="*/ 1299114 h 1424552"/>
                <a:gd name="connsiteX118" fmla="*/ 3976 w 753486"/>
                <a:gd name="connsiteY118" fmla="*/ 1300114 h 1424552"/>
                <a:gd name="connsiteX119" fmla="*/ 4136 w 753486"/>
                <a:gd name="connsiteY119" fmla="*/ 1301675 h 1424552"/>
                <a:gd name="connsiteX120" fmla="*/ 4536 w 753486"/>
                <a:gd name="connsiteY120" fmla="*/ 1305096 h 1424552"/>
                <a:gd name="connsiteX121" fmla="*/ 5437 w 753486"/>
                <a:gd name="connsiteY121" fmla="*/ 1311900 h 1424552"/>
                <a:gd name="connsiteX122" fmla="*/ 8360 w 753486"/>
                <a:gd name="connsiteY122" fmla="*/ 1325386 h 1424552"/>
                <a:gd name="connsiteX123" fmla="*/ 12685 w 753486"/>
                <a:gd name="connsiteY123" fmla="*/ 1338512 h 1424552"/>
                <a:gd name="connsiteX124" fmla="*/ 18351 w 753486"/>
                <a:gd name="connsiteY124" fmla="*/ 1351138 h 1424552"/>
                <a:gd name="connsiteX125" fmla="*/ 101344 w 753486"/>
                <a:gd name="connsiteY125" fmla="*/ 1419410 h 1424552"/>
                <a:gd name="connsiteX126" fmla="*/ 114839 w 753486"/>
                <a:gd name="connsiteY126" fmla="*/ 1422491 h 1424552"/>
                <a:gd name="connsiteX127" fmla="*/ 121686 w 753486"/>
                <a:gd name="connsiteY127" fmla="*/ 1423492 h 1424552"/>
                <a:gd name="connsiteX128" fmla="*/ 125110 w 753486"/>
                <a:gd name="connsiteY128" fmla="*/ 1423932 h 1424552"/>
                <a:gd name="connsiteX129" fmla="*/ 128534 w 753486"/>
                <a:gd name="connsiteY129" fmla="*/ 1424152 h 1424552"/>
                <a:gd name="connsiteX130" fmla="*/ 135402 w 753486"/>
                <a:gd name="connsiteY130" fmla="*/ 1424472 h 1424552"/>
                <a:gd name="connsiteX131" fmla="*/ 138585 w 753486"/>
                <a:gd name="connsiteY131" fmla="*/ 1424553 h 1424552"/>
                <a:gd name="connsiteX132" fmla="*/ 554027 w 753486"/>
                <a:gd name="connsiteY132" fmla="*/ 1424553 h 1424552"/>
                <a:gd name="connsiteX133" fmla="*/ 555408 w 753486"/>
                <a:gd name="connsiteY133" fmla="*/ 1424512 h 1424552"/>
                <a:gd name="connsiteX134" fmla="*/ 557090 w 753486"/>
                <a:gd name="connsiteY134" fmla="*/ 1424452 h 1424552"/>
                <a:gd name="connsiteX135" fmla="*/ 563778 w 753486"/>
                <a:gd name="connsiteY135" fmla="*/ 1424132 h 1424552"/>
                <a:gd name="connsiteX136" fmla="*/ 577112 w 753486"/>
                <a:gd name="connsiteY136" fmla="*/ 1422592 h 1424552"/>
                <a:gd name="connsiteX137" fmla="*/ 583740 w 753486"/>
                <a:gd name="connsiteY137" fmla="*/ 1421411 h 1424552"/>
                <a:gd name="connsiteX138" fmla="*/ 590287 w 753486"/>
                <a:gd name="connsiteY138" fmla="*/ 1419770 h 1424552"/>
                <a:gd name="connsiteX139" fmla="*/ 638401 w 753486"/>
                <a:gd name="connsiteY139" fmla="*/ 1396299 h 1424552"/>
                <a:gd name="connsiteX140" fmla="*/ 674040 w 753486"/>
                <a:gd name="connsiteY140" fmla="*/ 1356541 h 1424552"/>
                <a:gd name="connsiteX141" fmla="*/ 692080 w 753486"/>
                <a:gd name="connsiteY141" fmla="*/ 1305997 h 1424552"/>
                <a:gd name="connsiteX142" fmla="*/ 693422 w 753486"/>
                <a:gd name="connsiteY142" fmla="*/ 1292611 h 1424552"/>
                <a:gd name="connsiteX143" fmla="*/ 693622 w 753486"/>
                <a:gd name="connsiteY143" fmla="*/ 1285907 h 1424552"/>
                <a:gd name="connsiteX144" fmla="*/ 693622 w 753486"/>
                <a:gd name="connsiteY144" fmla="*/ 1284227 h 1424552"/>
                <a:gd name="connsiteX145" fmla="*/ 693662 w 753486"/>
                <a:gd name="connsiteY145" fmla="*/ 1282786 h 1424552"/>
                <a:gd name="connsiteX146" fmla="*/ 693622 w 753486"/>
                <a:gd name="connsiteY146" fmla="*/ 1280825 h 1424552"/>
                <a:gd name="connsiteX147" fmla="*/ 693242 w 753486"/>
                <a:gd name="connsiteY147" fmla="*/ 1265058 h 1424552"/>
                <a:gd name="connsiteX148" fmla="*/ 692120 w 753486"/>
                <a:gd name="connsiteY148" fmla="*/ 1233543 h 1424552"/>
                <a:gd name="connsiteX149" fmla="*/ 661687 w 753486"/>
                <a:gd name="connsiteY149" fmla="*/ 982345 h 1424552"/>
                <a:gd name="connsiteX150" fmla="*/ 629190 w 753486"/>
                <a:gd name="connsiteY150" fmla="*/ 857846 h 1424552"/>
                <a:gd name="connsiteX151" fmla="*/ 605564 w 753486"/>
                <a:gd name="connsiteY151" fmla="*/ 795297 h 1424552"/>
                <a:gd name="connsiteX152" fmla="*/ 589586 w 753486"/>
                <a:gd name="connsiteY152" fmla="*/ 762842 h 1424552"/>
                <a:gd name="connsiteX153" fmla="*/ 584581 w 753486"/>
                <a:gd name="connsiteY153" fmla="*/ 754258 h 1424552"/>
                <a:gd name="connsiteX154" fmla="*/ 578714 w 753486"/>
                <a:gd name="connsiteY154" fmla="*/ 745174 h 1424552"/>
                <a:gd name="connsiteX155" fmla="*/ 575231 w 753486"/>
                <a:gd name="connsiteY155" fmla="*/ 740311 h 1424552"/>
                <a:gd name="connsiteX156" fmla="*/ 573469 w 753486"/>
                <a:gd name="connsiteY156" fmla="*/ 737890 h 1424552"/>
                <a:gd name="connsiteX157" fmla="*/ 571246 w 753486"/>
                <a:gd name="connsiteY157" fmla="*/ 735149 h 1424552"/>
                <a:gd name="connsiteX158" fmla="*/ 568983 w 753486"/>
                <a:gd name="connsiteY158" fmla="*/ 732428 h 1424552"/>
                <a:gd name="connsiteX159" fmla="*/ 566821 w 753486"/>
                <a:gd name="connsiteY159" fmla="*/ 729886 h 1424552"/>
                <a:gd name="connsiteX160" fmla="*/ 565059 w 753486"/>
                <a:gd name="connsiteY160" fmla="*/ 727865 h 1424552"/>
                <a:gd name="connsiteX161" fmla="*/ 552705 w 753486"/>
                <a:gd name="connsiteY161" fmla="*/ 711538 h 1424552"/>
                <a:gd name="connsiteX162" fmla="*/ 549862 w 753486"/>
                <a:gd name="connsiteY162" fmla="*/ 707096 h 1424552"/>
                <a:gd name="connsiteX163" fmla="*/ 547580 w 753486"/>
                <a:gd name="connsiteY163" fmla="*/ 703194 h 1424552"/>
                <a:gd name="connsiteX164" fmla="*/ 545457 w 753486"/>
                <a:gd name="connsiteY164" fmla="*/ 699212 h 1424552"/>
                <a:gd name="connsiteX165" fmla="*/ 544396 w 753486"/>
                <a:gd name="connsiteY165" fmla="*/ 697211 h 1424552"/>
                <a:gd name="connsiteX166" fmla="*/ 543475 w 753486"/>
                <a:gd name="connsiteY166" fmla="*/ 695150 h 1424552"/>
                <a:gd name="connsiteX167" fmla="*/ 540011 w 753486"/>
                <a:gd name="connsiteY167" fmla="*/ 686806 h 1424552"/>
                <a:gd name="connsiteX168" fmla="*/ 537388 w 753486"/>
                <a:gd name="connsiteY168" fmla="*/ 678182 h 1424552"/>
                <a:gd name="connsiteX169" fmla="*/ 534245 w 753486"/>
                <a:gd name="connsiteY169" fmla="*/ 660534 h 1424552"/>
                <a:gd name="connsiteX170" fmla="*/ 534165 w 753486"/>
                <a:gd name="connsiteY170" fmla="*/ 642745 h 1424552"/>
                <a:gd name="connsiteX171" fmla="*/ 537188 w 753486"/>
                <a:gd name="connsiteY171" fmla="*/ 625357 h 1424552"/>
                <a:gd name="connsiteX172" fmla="*/ 537869 w 753486"/>
                <a:gd name="connsiteY172" fmla="*/ 622856 h 1424552"/>
                <a:gd name="connsiteX173" fmla="*/ 541373 w 753486"/>
                <a:gd name="connsiteY173" fmla="*/ 622976 h 1424552"/>
                <a:gd name="connsiteX174" fmla="*/ 547980 w 753486"/>
                <a:gd name="connsiteY174" fmla="*/ 623416 h 1424552"/>
                <a:gd name="connsiteX175" fmla="*/ 551384 w 753486"/>
                <a:gd name="connsiteY175" fmla="*/ 623697 h 1424552"/>
                <a:gd name="connsiteX176" fmla="*/ 554908 w 753486"/>
                <a:gd name="connsiteY176" fmla="*/ 624097 h 1424552"/>
                <a:gd name="connsiteX177" fmla="*/ 558432 w 753486"/>
                <a:gd name="connsiteY177" fmla="*/ 624497 h 1424552"/>
                <a:gd name="connsiteX178" fmla="*/ 562056 w 753486"/>
                <a:gd name="connsiteY178" fmla="*/ 624997 h 1424552"/>
                <a:gd name="connsiteX179" fmla="*/ 565680 w 753486"/>
                <a:gd name="connsiteY179" fmla="*/ 625497 h 1424552"/>
                <a:gd name="connsiteX180" fmla="*/ 569344 w 753486"/>
                <a:gd name="connsiteY180" fmla="*/ 625958 h 1424552"/>
                <a:gd name="connsiteX181" fmla="*/ 573208 w 753486"/>
                <a:gd name="connsiteY181" fmla="*/ 626398 h 1424552"/>
                <a:gd name="connsiteX182" fmla="*/ 608487 w 753486"/>
                <a:gd name="connsiteY182" fmla="*/ 624717 h 1424552"/>
                <a:gd name="connsiteX183" fmla="*/ 646850 w 753486"/>
                <a:gd name="connsiteY183" fmla="*/ 608429 h 1424552"/>
                <a:gd name="connsiteX184" fmla="*/ 675041 w 753486"/>
                <a:gd name="connsiteY184" fmla="*/ 579256 h 1424552"/>
                <a:gd name="connsiteX185" fmla="*/ 689558 w 753486"/>
                <a:gd name="connsiteY185" fmla="*/ 547721 h 1424552"/>
                <a:gd name="connsiteX186" fmla="*/ 691640 w 753486"/>
                <a:gd name="connsiteY186" fmla="*/ 539857 h 1424552"/>
                <a:gd name="connsiteX187" fmla="*/ 693322 w 753486"/>
                <a:gd name="connsiteY187" fmla="*/ 531293 h 1424552"/>
                <a:gd name="connsiteX188" fmla="*/ 694823 w 753486"/>
                <a:gd name="connsiteY188" fmla="*/ 513885 h 1424552"/>
                <a:gd name="connsiteX189" fmla="*/ 694703 w 753486"/>
                <a:gd name="connsiteY189" fmla="*/ 508282 h 1424552"/>
                <a:gd name="connsiteX190" fmla="*/ 694583 w 753486"/>
                <a:gd name="connsiteY190" fmla="*/ 505641 h 1424552"/>
                <a:gd name="connsiteX191" fmla="*/ 694443 w 753486"/>
                <a:gd name="connsiteY191" fmla="*/ 503500 h 1424552"/>
                <a:gd name="connsiteX192" fmla="*/ 693742 w 753486"/>
                <a:gd name="connsiteY192" fmla="*/ 495616 h 1424552"/>
                <a:gd name="connsiteX193" fmla="*/ 693482 w 753486"/>
                <a:gd name="connsiteY193" fmla="*/ 493255 h 1424552"/>
                <a:gd name="connsiteX194" fmla="*/ 694964 w 753486"/>
                <a:gd name="connsiteY194" fmla="*/ 492715 h 1424552"/>
                <a:gd name="connsiteX195" fmla="*/ 698107 w 753486"/>
                <a:gd name="connsiteY195" fmla="*/ 491474 h 1424552"/>
                <a:gd name="connsiteX196" fmla="*/ 686234 w 753486"/>
                <a:gd name="connsiteY196" fmla="*/ 452276 h 1424552"/>
                <a:gd name="connsiteX197" fmla="*/ 682550 w 753486"/>
                <a:gd name="connsiteY197" fmla="*/ 453957 h 1424552"/>
                <a:gd name="connsiteX198" fmla="*/ 680668 w 753486"/>
                <a:gd name="connsiteY198" fmla="*/ 454697 h 1424552"/>
                <a:gd name="connsiteX199" fmla="*/ 679707 w 753486"/>
                <a:gd name="connsiteY199" fmla="*/ 455037 h 1424552"/>
                <a:gd name="connsiteX200" fmla="*/ 679226 w 753486"/>
                <a:gd name="connsiteY200" fmla="*/ 455217 h 1424552"/>
                <a:gd name="connsiteX201" fmla="*/ 679186 w 753486"/>
                <a:gd name="connsiteY201" fmla="*/ 455217 h 1424552"/>
                <a:gd name="connsiteX202" fmla="*/ 679346 w 753486"/>
                <a:gd name="connsiteY202" fmla="*/ 455157 h 1424552"/>
                <a:gd name="connsiteX203" fmla="*/ 679306 w 753486"/>
                <a:gd name="connsiteY203" fmla="*/ 455157 h 1424552"/>
                <a:gd name="connsiteX204" fmla="*/ 677544 w 753486"/>
                <a:gd name="connsiteY204" fmla="*/ 455678 h 1424552"/>
                <a:gd name="connsiteX205" fmla="*/ 677544 w 753486"/>
                <a:gd name="connsiteY205" fmla="*/ 455678 h 1424552"/>
                <a:gd name="connsiteX206" fmla="*/ 663709 w 753486"/>
                <a:gd name="connsiteY206" fmla="*/ 463901 h 1424552"/>
                <a:gd name="connsiteX207" fmla="*/ 654358 w 753486"/>
                <a:gd name="connsiteY207" fmla="*/ 477048 h 1424552"/>
                <a:gd name="connsiteX208" fmla="*/ 652136 w 753486"/>
                <a:gd name="connsiteY208" fmla="*/ 491735 h 1424552"/>
                <a:gd name="connsiteX209" fmla="*/ 652657 w 753486"/>
                <a:gd name="connsiteY209" fmla="*/ 495476 h 1424552"/>
                <a:gd name="connsiteX210" fmla="*/ 653197 w 753486"/>
                <a:gd name="connsiteY210" fmla="*/ 499998 h 1424552"/>
                <a:gd name="connsiteX211" fmla="*/ 654038 w 753486"/>
                <a:gd name="connsiteY211" fmla="*/ 513485 h 1424552"/>
                <a:gd name="connsiteX212" fmla="*/ 653037 w 753486"/>
                <a:gd name="connsiteY212" fmla="*/ 525030 h 1424552"/>
                <a:gd name="connsiteX213" fmla="*/ 651916 w 753486"/>
                <a:gd name="connsiteY213" fmla="*/ 530713 h 1424552"/>
                <a:gd name="connsiteX214" fmla="*/ 650474 w 753486"/>
                <a:gd name="connsiteY214" fmla="*/ 536115 h 1424552"/>
                <a:gd name="connsiteX215" fmla="*/ 640863 w 753486"/>
                <a:gd name="connsiteY215" fmla="*/ 557085 h 1424552"/>
                <a:gd name="connsiteX216" fmla="*/ 623564 w 753486"/>
                <a:gd name="connsiteY216" fmla="*/ 575054 h 1424552"/>
                <a:gd name="connsiteX217" fmla="*/ 600258 w 753486"/>
                <a:gd name="connsiteY217" fmla="*/ 584898 h 1424552"/>
                <a:gd name="connsiteX218" fmla="*/ 577012 w 753486"/>
                <a:gd name="connsiteY218" fmla="*/ 585939 h 1424552"/>
                <a:gd name="connsiteX219" fmla="*/ 571626 w 753486"/>
                <a:gd name="connsiteY219" fmla="*/ 585279 h 1424552"/>
                <a:gd name="connsiteX220" fmla="*/ 567522 w 753486"/>
                <a:gd name="connsiteY220" fmla="*/ 584718 h 1424552"/>
                <a:gd name="connsiteX221" fmla="*/ 559333 w 753486"/>
                <a:gd name="connsiteY221" fmla="*/ 583698 h 1424552"/>
                <a:gd name="connsiteX222" fmla="*/ 551204 w 753486"/>
                <a:gd name="connsiteY222" fmla="*/ 582897 h 1424552"/>
                <a:gd name="connsiteX223" fmla="*/ 543155 w 753486"/>
                <a:gd name="connsiteY223" fmla="*/ 582357 h 1424552"/>
                <a:gd name="connsiteX224" fmla="*/ 539190 w 753486"/>
                <a:gd name="connsiteY224" fmla="*/ 582217 h 1424552"/>
                <a:gd name="connsiteX225" fmla="*/ 536107 w 753486"/>
                <a:gd name="connsiteY225" fmla="*/ 582157 h 1424552"/>
                <a:gd name="connsiteX226" fmla="*/ 530200 w 753486"/>
                <a:gd name="connsiteY226" fmla="*/ 582297 h 1424552"/>
                <a:gd name="connsiteX227" fmla="*/ 518347 w 753486"/>
                <a:gd name="connsiteY227" fmla="*/ 584078 h 1424552"/>
                <a:gd name="connsiteX228" fmla="*/ 516085 w 753486"/>
                <a:gd name="connsiteY228" fmla="*/ 584838 h 1424552"/>
                <a:gd name="connsiteX229" fmla="*/ 513922 w 753486"/>
                <a:gd name="connsiteY229" fmla="*/ 585839 h 1424552"/>
                <a:gd name="connsiteX230" fmla="*/ 510138 w 753486"/>
                <a:gd name="connsiteY230" fmla="*/ 588720 h 1424552"/>
                <a:gd name="connsiteX231" fmla="*/ 504572 w 753486"/>
                <a:gd name="connsiteY231" fmla="*/ 596404 h 1424552"/>
                <a:gd name="connsiteX232" fmla="*/ 500688 w 753486"/>
                <a:gd name="connsiteY232" fmla="*/ 605088 h 1424552"/>
                <a:gd name="connsiteX233" fmla="*/ 499166 w 753486"/>
                <a:gd name="connsiteY233" fmla="*/ 609590 h 1424552"/>
                <a:gd name="connsiteX234" fmla="*/ 497644 w 753486"/>
                <a:gd name="connsiteY234" fmla="*/ 614992 h 1424552"/>
                <a:gd name="connsiteX235" fmla="*/ 493399 w 753486"/>
                <a:gd name="connsiteY235" fmla="*/ 639384 h 1424552"/>
                <a:gd name="connsiteX236" fmla="*/ 493500 w 753486"/>
                <a:gd name="connsiteY236" fmla="*/ 664196 h 1424552"/>
                <a:gd name="connsiteX237" fmla="*/ 497844 w 753486"/>
                <a:gd name="connsiteY237" fmla="*/ 688667 h 1424552"/>
                <a:gd name="connsiteX238" fmla="*/ 501508 w 753486"/>
                <a:gd name="connsiteY238" fmla="*/ 700573 h 1424552"/>
                <a:gd name="connsiteX239" fmla="*/ 506254 w 753486"/>
                <a:gd name="connsiteY239" fmla="*/ 712098 h 1424552"/>
                <a:gd name="connsiteX240" fmla="*/ 507535 w 753486"/>
                <a:gd name="connsiteY240" fmla="*/ 714939 h 1424552"/>
                <a:gd name="connsiteX241" fmla="*/ 508977 w 753486"/>
                <a:gd name="connsiteY241" fmla="*/ 717701 h 1424552"/>
                <a:gd name="connsiteX242" fmla="*/ 511900 w 753486"/>
                <a:gd name="connsiteY242" fmla="*/ 723203 h 1424552"/>
                <a:gd name="connsiteX243" fmla="*/ 515044 w 753486"/>
                <a:gd name="connsiteY243" fmla="*/ 728586 h 1424552"/>
                <a:gd name="connsiteX244" fmla="*/ 518547 w 753486"/>
                <a:gd name="connsiteY244" fmla="*/ 734048 h 1424552"/>
                <a:gd name="connsiteX245" fmla="*/ 534065 w 753486"/>
                <a:gd name="connsiteY245" fmla="*/ 754538 h 1424552"/>
                <a:gd name="connsiteX246" fmla="*/ 536347 w 753486"/>
                <a:gd name="connsiteY246" fmla="*/ 757119 h 1424552"/>
                <a:gd name="connsiteX247" fmla="*/ 539431 w 753486"/>
                <a:gd name="connsiteY247" fmla="*/ 760801 h 1424552"/>
                <a:gd name="connsiteX248" fmla="*/ 540972 w 753486"/>
                <a:gd name="connsiteY248" fmla="*/ 762682 h 1424552"/>
                <a:gd name="connsiteX249" fmla="*/ 542294 w 753486"/>
                <a:gd name="connsiteY249" fmla="*/ 764503 h 1424552"/>
                <a:gd name="connsiteX250" fmla="*/ 544937 w 753486"/>
                <a:gd name="connsiteY250" fmla="*/ 768184 h 1424552"/>
                <a:gd name="connsiteX251" fmla="*/ 549642 w 753486"/>
                <a:gd name="connsiteY251" fmla="*/ 775448 h 1424552"/>
                <a:gd name="connsiteX252" fmla="*/ 553847 w 753486"/>
                <a:gd name="connsiteY252" fmla="*/ 782691 h 1424552"/>
                <a:gd name="connsiteX253" fmla="*/ 568102 w 753486"/>
                <a:gd name="connsiteY253" fmla="*/ 811705 h 1424552"/>
                <a:gd name="connsiteX254" fmla="*/ 590287 w 753486"/>
                <a:gd name="connsiteY254" fmla="*/ 870512 h 1424552"/>
                <a:gd name="connsiteX255" fmla="*/ 621582 w 753486"/>
                <a:gd name="connsiteY255" fmla="*/ 990549 h 1424552"/>
                <a:gd name="connsiteX256" fmla="*/ 641224 w 753486"/>
                <a:gd name="connsiteY256" fmla="*/ 1112486 h 1424552"/>
                <a:gd name="connsiteX257" fmla="*/ 651235 w 753486"/>
                <a:gd name="connsiteY257" fmla="*/ 1235384 h 1424552"/>
                <a:gd name="connsiteX258" fmla="*/ 652336 w 753486"/>
                <a:gd name="connsiteY258" fmla="*/ 1266178 h 1424552"/>
                <a:gd name="connsiteX259" fmla="*/ 652717 w 753486"/>
                <a:gd name="connsiteY259" fmla="*/ 1281585 h 1424552"/>
                <a:gd name="connsiteX260" fmla="*/ 652757 w 753486"/>
                <a:gd name="connsiteY260" fmla="*/ 1283506 h 1424552"/>
                <a:gd name="connsiteX261" fmla="*/ 652717 w 753486"/>
                <a:gd name="connsiteY261" fmla="*/ 1285807 h 1424552"/>
                <a:gd name="connsiteX262" fmla="*/ 652556 w 753486"/>
                <a:gd name="connsiteY262" fmla="*/ 1290550 h 1424552"/>
                <a:gd name="connsiteX263" fmla="*/ 651615 w 753486"/>
                <a:gd name="connsiteY263" fmla="*/ 1300014 h 1424552"/>
                <a:gd name="connsiteX264" fmla="*/ 638881 w 753486"/>
                <a:gd name="connsiteY264" fmla="*/ 1335691 h 1424552"/>
                <a:gd name="connsiteX265" fmla="*/ 613653 w 753486"/>
                <a:gd name="connsiteY265" fmla="*/ 1363844 h 1424552"/>
                <a:gd name="connsiteX266" fmla="*/ 579635 w 753486"/>
                <a:gd name="connsiteY266" fmla="*/ 1380452 h 1424552"/>
                <a:gd name="connsiteX267" fmla="*/ 575010 w 753486"/>
                <a:gd name="connsiteY267" fmla="*/ 1381632 h 1424552"/>
                <a:gd name="connsiteX268" fmla="*/ 570325 w 753486"/>
                <a:gd name="connsiteY268" fmla="*/ 1382453 h 1424552"/>
                <a:gd name="connsiteX269" fmla="*/ 560874 w 753486"/>
                <a:gd name="connsiteY269" fmla="*/ 1383553 h 1424552"/>
                <a:gd name="connsiteX270" fmla="*/ 556129 w 753486"/>
                <a:gd name="connsiteY270" fmla="*/ 1383793 h 1424552"/>
                <a:gd name="connsiteX271" fmla="*/ 553847 w 753486"/>
                <a:gd name="connsiteY271" fmla="*/ 1383873 h 1424552"/>
                <a:gd name="connsiteX272" fmla="*/ 138405 w 753486"/>
                <a:gd name="connsiteY272" fmla="*/ 1383873 h 1424552"/>
                <a:gd name="connsiteX273" fmla="*/ 136082 w 753486"/>
                <a:gd name="connsiteY273" fmla="*/ 1383793 h 1424552"/>
                <a:gd name="connsiteX274" fmla="*/ 131277 w 753486"/>
                <a:gd name="connsiteY274" fmla="*/ 1383573 h 1424552"/>
                <a:gd name="connsiteX275" fmla="*/ 128874 w 753486"/>
                <a:gd name="connsiteY275" fmla="*/ 1383433 h 1424552"/>
                <a:gd name="connsiteX276" fmla="*/ 126492 w 753486"/>
                <a:gd name="connsiteY276" fmla="*/ 1383113 h 1424552"/>
                <a:gd name="connsiteX277" fmla="*/ 121726 w 753486"/>
                <a:gd name="connsiteY277" fmla="*/ 1382413 h 1424552"/>
                <a:gd name="connsiteX278" fmla="*/ 112316 w 753486"/>
                <a:gd name="connsiteY278" fmla="*/ 1380272 h 1424552"/>
                <a:gd name="connsiteX279" fmla="*/ 54432 w 753486"/>
                <a:gd name="connsiteY279" fmla="*/ 1332629 h 1424552"/>
                <a:gd name="connsiteX280" fmla="*/ 50467 w 753486"/>
                <a:gd name="connsiteY280" fmla="*/ 1323845 h 1424552"/>
                <a:gd name="connsiteX281" fmla="*/ 47444 w 753486"/>
                <a:gd name="connsiteY281" fmla="*/ 1314681 h 1424552"/>
                <a:gd name="connsiteX282" fmla="*/ 45422 w 753486"/>
                <a:gd name="connsiteY282" fmla="*/ 1305276 h 1424552"/>
                <a:gd name="connsiteX283" fmla="*/ 44801 w 753486"/>
                <a:gd name="connsiteY283" fmla="*/ 1300514 h 1424552"/>
                <a:gd name="connsiteX284" fmla="*/ 44320 w 753486"/>
                <a:gd name="connsiteY284" fmla="*/ 1296012 h 1424552"/>
                <a:gd name="connsiteX285" fmla="*/ 43239 w 753486"/>
                <a:gd name="connsiteY285" fmla="*/ 1280565 h 1424552"/>
                <a:gd name="connsiteX286" fmla="*/ 42358 w 753486"/>
                <a:gd name="connsiteY286" fmla="*/ 1265118 h 1424552"/>
                <a:gd name="connsiteX287" fmla="*/ 51608 w 753486"/>
                <a:gd name="connsiteY287" fmla="*/ 1018322 h 1424552"/>
                <a:gd name="connsiteX288" fmla="*/ 73212 w 753486"/>
                <a:gd name="connsiteY288" fmla="*/ 896464 h 1424552"/>
                <a:gd name="connsiteX289" fmla="*/ 74874 w 753486"/>
                <a:gd name="connsiteY289" fmla="*/ 888901 h 1424552"/>
                <a:gd name="connsiteX290" fmla="*/ 76756 w 753486"/>
                <a:gd name="connsiteY290" fmla="*/ 881377 h 1424552"/>
                <a:gd name="connsiteX291" fmla="*/ 80521 w 753486"/>
                <a:gd name="connsiteY291" fmla="*/ 866350 h 1424552"/>
                <a:gd name="connsiteX292" fmla="*/ 88650 w 753486"/>
                <a:gd name="connsiteY292" fmla="*/ 836236 h 1424552"/>
                <a:gd name="connsiteX293" fmla="*/ 108972 w 753486"/>
                <a:gd name="connsiteY293" fmla="*/ 777009 h 1424552"/>
                <a:gd name="connsiteX294" fmla="*/ 163953 w 753486"/>
                <a:gd name="connsiteY294" fmla="*/ 664816 h 1424552"/>
                <a:gd name="connsiteX295" fmla="*/ 172062 w 753486"/>
                <a:gd name="connsiteY295" fmla="*/ 651469 h 1424552"/>
                <a:gd name="connsiteX296" fmla="*/ 180412 w 753486"/>
                <a:gd name="connsiteY296" fmla="*/ 638283 h 1424552"/>
                <a:gd name="connsiteX297" fmla="*/ 189021 w 753486"/>
                <a:gd name="connsiteY297" fmla="*/ 625257 h 1424552"/>
                <a:gd name="connsiteX298" fmla="*/ 196870 w 753486"/>
                <a:gd name="connsiteY298" fmla="*/ 613152 h 1424552"/>
                <a:gd name="connsiteX299" fmla="*/ 219415 w 753486"/>
                <a:gd name="connsiteY299" fmla="*/ 563208 h 1424552"/>
                <a:gd name="connsiteX300" fmla="*/ 224340 w 753486"/>
                <a:gd name="connsiteY300" fmla="*/ 533634 h 1424552"/>
                <a:gd name="connsiteX301" fmla="*/ 224801 w 753486"/>
                <a:gd name="connsiteY301" fmla="*/ 518967 h 1424552"/>
                <a:gd name="connsiteX302" fmla="*/ 224421 w 753486"/>
                <a:gd name="connsiteY302" fmla="*/ 512144 h 1424552"/>
                <a:gd name="connsiteX303" fmla="*/ 224080 w 753486"/>
                <a:gd name="connsiteY303" fmla="*/ 509503 h 1424552"/>
                <a:gd name="connsiteX304" fmla="*/ 223399 w 753486"/>
                <a:gd name="connsiteY304" fmla="*/ 504381 h 1424552"/>
                <a:gd name="connsiteX305" fmla="*/ 222819 w 753486"/>
                <a:gd name="connsiteY305" fmla="*/ 500699 h 1424552"/>
                <a:gd name="connsiteX306" fmla="*/ 221798 w 753486"/>
                <a:gd name="connsiteY306" fmla="*/ 497097 h 1424552"/>
                <a:gd name="connsiteX307" fmla="*/ 220356 w 753486"/>
                <a:gd name="connsiteY307" fmla="*/ 493095 h 1424552"/>
                <a:gd name="connsiteX308" fmla="*/ 219515 w 753486"/>
                <a:gd name="connsiteY308" fmla="*/ 490974 h 1424552"/>
                <a:gd name="connsiteX309" fmla="*/ 218554 w 753486"/>
                <a:gd name="connsiteY309" fmla="*/ 488793 h 1424552"/>
                <a:gd name="connsiteX310" fmla="*/ 209344 w 753486"/>
                <a:gd name="connsiteY310" fmla="*/ 470905 h 1424552"/>
                <a:gd name="connsiteX311" fmla="*/ 198372 w 753486"/>
                <a:gd name="connsiteY311" fmla="*/ 452976 h 1424552"/>
                <a:gd name="connsiteX312" fmla="*/ 195468 w 753486"/>
                <a:gd name="connsiteY312" fmla="*/ 448554 h 1424552"/>
                <a:gd name="connsiteX313" fmla="*/ 192825 w 753486"/>
                <a:gd name="connsiteY313" fmla="*/ 444652 h 1424552"/>
                <a:gd name="connsiteX314" fmla="*/ 191664 w 753486"/>
                <a:gd name="connsiteY314" fmla="*/ 443172 h 1424552"/>
                <a:gd name="connsiteX315" fmla="*/ 190082 w 753486"/>
                <a:gd name="connsiteY315" fmla="*/ 441251 h 1424552"/>
                <a:gd name="connsiteX316" fmla="*/ 186278 w 753486"/>
                <a:gd name="connsiteY316" fmla="*/ 436589 h 1424552"/>
                <a:gd name="connsiteX317" fmla="*/ 143170 w 753486"/>
                <a:gd name="connsiteY317" fmla="*/ 351189 h 1424552"/>
                <a:gd name="connsiteX318" fmla="*/ 136543 w 753486"/>
                <a:gd name="connsiteY318" fmla="*/ 318733 h 1424552"/>
                <a:gd name="connsiteX319" fmla="*/ 134360 w 753486"/>
                <a:gd name="connsiteY319" fmla="*/ 285718 h 1424552"/>
                <a:gd name="connsiteX320" fmla="*/ 134561 w 753486"/>
                <a:gd name="connsiteY320" fmla="*/ 277454 h 1424552"/>
                <a:gd name="connsiteX321" fmla="*/ 134681 w 753486"/>
                <a:gd name="connsiteY321" fmla="*/ 273312 h 1424552"/>
                <a:gd name="connsiteX322" fmla="*/ 134981 w 753486"/>
                <a:gd name="connsiteY322" fmla="*/ 269190 h 1424552"/>
                <a:gd name="connsiteX323" fmla="*/ 135622 w 753486"/>
                <a:gd name="connsiteY323" fmla="*/ 260926 h 1424552"/>
                <a:gd name="connsiteX324" fmla="*/ 136663 w 753486"/>
                <a:gd name="connsiteY324" fmla="*/ 252702 h 1424552"/>
                <a:gd name="connsiteX325" fmla="*/ 137204 w 753486"/>
                <a:gd name="connsiteY325" fmla="*/ 248600 h 1424552"/>
                <a:gd name="connsiteX326" fmla="*/ 137924 w 753486"/>
                <a:gd name="connsiteY326" fmla="*/ 244518 h 1424552"/>
                <a:gd name="connsiteX327" fmla="*/ 139406 w 753486"/>
                <a:gd name="connsiteY327" fmla="*/ 236355 h 1424552"/>
                <a:gd name="connsiteX328" fmla="*/ 141268 w 753486"/>
                <a:gd name="connsiteY328" fmla="*/ 228271 h 1424552"/>
                <a:gd name="connsiteX329" fmla="*/ 142229 w 753486"/>
                <a:gd name="connsiteY329" fmla="*/ 224249 h 1424552"/>
                <a:gd name="connsiteX330" fmla="*/ 143350 w 753486"/>
                <a:gd name="connsiteY330" fmla="*/ 220267 h 1424552"/>
                <a:gd name="connsiteX331" fmla="*/ 154363 w 753486"/>
                <a:gd name="connsiteY331" fmla="*/ 189032 h 1424552"/>
                <a:gd name="connsiteX332" fmla="*/ 169519 w 753486"/>
                <a:gd name="connsiteY332" fmla="*/ 159599 h 1424552"/>
                <a:gd name="connsiteX333" fmla="*/ 211006 w 753486"/>
                <a:gd name="connsiteY333" fmla="*/ 108214 h 1424552"/>
                <a:gd name="connsiteX334" fmla="*/ 326614 w 753486"/>
                <a:gd name="connsiteY334" fmla="*/ 46746 h 1424552"/>
                <a:gd name="connsiteX335" fmla="*/ 330659 w 753486"/>
                <a:gd name="connsiteY335" fmla="*/ 45825 h 1424552"/>
                <a:gd name="connsiteX336" fmla="*/ 334743 w 753486"/>
                <a:gd name="connsiteY336" fmla="*/ 45085 h 1424552"/>
                <a:gd name="connsiteX337" fmla="*/ 342912 w 753486"/>
                <a:gd name="connsiteY337" fmla="*/ 43644 h 1424552"/>
                <a:gd name="connsiteX338" fmla="*/ 351121 w 753486"/>
                <a:gd name="connsiteY338" fmla="*/ 42604 h 1424552"/>
                <a:gd name="connsiteX339" fmla="*/ 355226 w 753486"/>
                <a:gd name="connsiteY339" fmla="*/ 42083 h 1424552"/>
                <a:gd name="connsiteX340" fmla="*/ 359350 w 753486"/>
                <a:gd name="connsiteY340" fmla="*/ 41763 h 1424552"/>
                <a:gd name="connsiteX341" fmla="*/ 367600 w 753486"/>
                <a:gd name="connsiteY341" fmla="*/ 41143 h 1424552"/>
                <a:gd name="connsiteX342" fmla="*/ 375869 w 753486"/>
                <a:gd name="connsiteY342" fmla="*/ 40923 h 1424552"/>
                <a:gd name="connsiteX343" fmla="*/ 380013 w 753486"/>
                <a:gd name="connsiteY343" fmla="*/ 40823 h 1424552"/>
                <a:gd name="connsiteX344" fmla="*/ 383718 w 753486"/>
                <a:gd name="connsiteY344" fmla="*/ 40863 h 1424552"/>
                <a:gd name="connsiteX345" fmla="*/ 391386 w 753486"/>
                <a:gd name="connsiteY345" fmla="*/ 40743 h 1424552"/>
                <a:gd name="connsiteX346" fmla="*/ 407324 w 753486"/>
                <a:gd name="connsiteY346" fmla="*/ 40843 h 1424552"/>
                <a:gd name="connsiteX347" fmla="*/ 415413 w 753486"/>
                <a:gd name="connsiteY347" fmla="*/ 41223 h 1424552"/>
                <a:gd name="connsiteX348" fmla="*/ 423502 w 753486"/>
                <a:gd name="connsiteY348" fmla="*/ 41763 h 1424552"/>
                <a:gd name="connsiteX349" fmla="*/ 455758 w 753486"/>
                <a:gd name="connsiteY349" fmla="*/ 46065 h 1424552"/>
                <a:gd name="connsiteX350" fmla="*/ 574630 w 753486"/>
                <a:gd name="connsiteY350" fmla="*/ 98130 h 1424552"/>
                <a:gd name="connsiteX351" fmla="*/ 622183 w 753486"/>
                <a:gd name="connsiteY351" fmla="*/ 142871 h 1424552"/>
                <a:gd name="connsiteX352" fmla="*/ 627388 w 753486"/>
                <a:gd name="connsiteY352" fmla="*/ 149234 h 1424552"/>
                <a:gd name="connsiteX353" fmla="*/ 630031 w 753486"/>
                <a:gd name="connsiteY353" fmla="*/ 152655 h 1424552"/>
                <a:gd name="connsiteX354" fmla="*/ 632654 w 753486"/>
                <a:gd name="connsiteY354" fmla="*/ 156257 h 1424552"/>
                <a:gd name="connsiteX355" fmla="*/ 641885 w 753486"/>
                <a:gd name="connsiteY355" fmla="*/ 171444 h 1424552"/>
                <a:gd name="connsiteX356" fmla="*/ 654138 w 753486"/>
                <a:gd name="connsiteY356" fmla="*/ 204500 h 1424552"/>
                <a:gd name="connsiteX357" fmla="*/ 659224 w 753486"/>
                <a:gd name="connsiteY357" fmla="*/ 237775 h 1424552"/>
                <a:gd name="connsiteX358" fmla="*/ 659804 w 753486"/>
                <a:gd name="connsiteY358" fmla="*/ 269790 h 1424552"/>
                <a:gd name="connsiteX359" fmla="*/ 660585 w 753486"/>
                <a:gd name="connsiteY359" fmla="*/ 298224 h 1424552"/>
                <a:gd name="connsiteX360" fmla="*/ 661346 w 753486"/>
                <a:gd name="connsiteY360" fmla="*/ 304927 h 1424552"/>
                <a:gd name="connsiteX361" fmla="*/ 662427 w 753486"/>
                <a:gd name="connsiteY361" fmla="*/ 311510 h 1424552"/>
                <a:gd name="connsiteX362" fmla="*/ 665631 w 753486"/>
                <a:gd name="connsiteY362" fmla="*/ 323696 h 1424552"/>
                <a:gd name="connsiteX363" fmla="*/ 692401 w 753486"/>
                <a:gd name="connsiteY363" fmla="*/ 369457 h 1424552"/>
                <a:gd name="connsiteX364" fmla="*/ 696866 w 753486"/>
                <a:gd name="connsiteY364" fmla="*/ 374479 h 1424552"/>
                <a:gd name="connsiteX365" fmla="*/ 698407 w 753486"/>
                <a:gd name="connsiteY365" fmla="*/ 376160 h 1424552"/>
                <a:gd name="connsiteX366" fmla="*/ 700289 w 753486"/>
                <a:gd name="connsiteY366" fmla="*/ 378361 h 1424552"/>
                <a:gd name="connsiteX367" fmla="*/ 703733 w 753486"/>
                <a:gd name="connsiteY367" fmla="*/ 383044 h 1424552"/>
                <a:gd name="connsiteX368" fmla="*/ 709139 w 753486"/>
                <a:gd name="connsiteY368" fmla="*/ 393589 h 1424552"/>
                <a:gd name="connsiteX369" fmla="*/ 712123 w 753486"/>
                <a:gd name="connsiteY369" fmla="*/ 405134 h 1424552"/>
                <a:gd name="connsiteX370" fmla="*/ 712183 w 753486"/>
                <a:gd name="connsiteY370" fmla="*/ 418280 h 1424552"/>
                <a:gd name="connsiteX371" fmla="*/ 710621 w 753486"/>
                <a:gd name="connsiteY371" fmla="*/ 425203 h 1424552"/>
                <a:gd name="connsiteX372" fmla="*/ 707858 w 753486"/>
                <a:gd name="connsiteY372" fmla="*/ 431866 h 1424552"/>
                <a:gd name="connsiteX373" fmla="*/ 706076 w 753486"/>
                <a:gd name="connsiteY373" fmla="*/ 434948 h 1424552"/>
                <a:gd name="connsiteX374" fmla="*/ 704074 w 753486"/>
                <a:gd name="connsiteY374" fmla="*/ 437869 h 1424552"/>
                <a:gd name="connsiteX375" fmla="*/ 699589 w 753486"/>
                <a:gd name="connsiteY375" fmla="*/ 442952 h 1424552"/>
                <a:gd name="connsiteX376" fmla="*/ 689718 w 753486"/>
                <a:gd name="connsiteY376" fmla="*/ 450375 h 1424552"/>
                <a:gd name="connsiteX377" fmla="*/ 686074 w 753486"/>
                <a:gd name="connsiteY377" fmla="*/ 452336 h 1424552"/>
                <a:gd name="connsiteX378" fmla="*/ 693422 w 753486"/>
                <a:gd name="connsiteY378" fmla="*/ 493335 h 1424552"/>
                <a:gd name="connsiteX379" fmla="*/ 693422 w 753486"/>
                <a:gd name="connsiteY379" fmla="*/ 493335 h 1424552"/>
                <a:gd name="connsiteX380" fmla="*/ 693422 w 753486"/>
                <a:gd name="connsiteY380" fmla="*/ 493335 h 1424552"/>
                <a:gd name="connsiteX381" fmla="*/ 693422 w 753486"/>
                <a:gd name="connsiteY381" fmla="*/ 493335 h 1424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</a:cxnLst>
              <a:rect l="l" t="t" r="r" b="b"/>
              <a:pathLst>
                <a:path w="753486" h="1424552">
                  <a:moveTo>
                    <a:pt x="698067" y="491574"/>
                  </a:moveTo>
                  <a:cubicBezTo>
                    <a:pt x="700129" y="490714"/>
                    <a:pt x="702172" y="489834"/>
                    <a:pt x="704254" y="488773"/>
                  </a:cubicBezTo>
                  <a:lnTo>
                    <a:pt x="707317" y="487212"/>
                  </a:lnTo>
                  <a:cubicBezTo>
                    <a:pt x="708358" y="486652"/>
                    <a:pt x="709420" y="486032"/>
                    <a:pt x="710461" y="485432"/>
                  </a:cubicBezTo>
                  <a:cubicBezTo>
                    <a:pt x="716187" y="482150"/>
                    <a:pt x="722334" y="477608"/>
                    <a:pt x="728140" y="472085"/>
                  </a:cubicBezTo>
                  <a:cubicBezTo>
                    <a:pt x="729602" y="470645"/>
                    <a:pt x="731104" y="469024"/>
                    <a:pt x="732525" y="467443"/>
                  </a:cubicBezTo>
                  <a:cubicBezTo>
                    <a:pt x="733967" y="465782"/>
                    <a:pt x="735308" y="464322"/>
                    <a:pt x="736690" y="462421"/>
                  </a:cubicBezTo>
                  <a:cubicBezTo>
                    <a:pt x="738051" y="460580"/>
                    <a:pt x="739353" y="458679"/>
                    <a:pt x="740614" y="456738"/>
                  </a:cubicBezTo>
                  <a:lnTo>
                    <a:pt x="742436" y="453817"/>
                  </a:lnTo>
                  <a:cubicBezTo>
                    <a:pt x="743017" y="452816"/>
                    <a:pt x="743578" y="451736"/>
                    <a:pt x="744118" y="450675"/>
                  </a:cubicBezTo>
                  <a:cubicBezTo>
                    <a:pt x="746261" y="446393"/>
                    <a:pt x="748303" y="442031"/>
                    <a:pt x="749604" y="437469"/>
                  </a:cubicBezTo>
                  <a:cubicBezTo>
                    <a:pt x="750986" y="432947"/>
                    <a:pt x="752227" y="428185"/>
                    <a:pt x="752668" y="423883"/>
                  </a:cubicBezTo>
                  <a:cubicBezTo>
                    <a:pt x="753989" y="414698"/>
                    <a:pt x="753529" y="406795"/>
                    <a:pt x="752568" y="399231"/>
                  </a:cubicBezTo>
                  <a:cubicBezTo>
                    <a:pt x="751987" y="395849"/>
                    <a:pt x="751306" y="392488"/>
                    <a:pt x="750505" y="389166"/>
                  </a:cubicBezTo>
                  <a:cubicBezTo>
                    <a:pt x="750125" y="387526"/>
                    <a:pt x="749644" y="385805"/>
                    <a:pt x="749084" y="384084"/>
                  </a:cubicBezTo>
                  <a:cubicBezTo>
                    <a:pt x="748543" y="382383"/>
                    <a:pt x="747942" y="380702"/>
                    <a:pt x="747322" y="379042"/>
                  </a:cubicBezTo>
                  <a:cubicBezTo>
                    <a:pt x="744799" y="372439"/>
                    <a:pt x="741595" y="366276"/>
                    <a:pt x="737891" y="360673"/>
                  </a:cubicBezTo>
                  <a:cubicBezTo>
                    <a:pt x="736049" y="357872"/>
                    <a:pt x="734067" y="355190"/>
                    <a:pt x="732005" y="352629"/>
                  </a:cubicBezTo>
                  <a:cubicBezTo>
                    <a:pt x="730964" y="351349"/>
                    <a:pt x="729902" y="350108"/>
                    <a:pt x="728821" y="348908"/>
                  </a:cubicBezTo>
                  <a:lnTo>
                    <a:pt x="726739" y="346666"/>
                  </a:lnTo>
                  <a:cubicBezTo>
                    <a:pt x="725698" y="345566"/>
                    <a:pt x="724576" y="344305"/>
                    <a:pt x="723495" y="343025"/>
                  </a:cubicBezTo>
                  <a:cubicBezTo>
                    <a:pt x="719110" y="337902"/>
                    <a:pt x="715046" y="332220"/>
                    <a:pt x="711782" y="326717"/>
                  </a:cubicBezTo>
                  <a:cubicBezTo>
                    <a:pt x="708438" y="321194"/>
                    <a:pt x="706056" y="315772"/>
                    <a:pt x="704414" y="310890"/>
                  </a:cubicBezTo>
                  <a:cubicBezTo>
                    <a:pt x="703553" y="308428"/>
                    <a:pt x="703053" y="306147"/>
                    <a:pt x="702572" y="303966"/>
                  </a:cubicBezTo>
                  <a:lnTo>
                    <a:pt x="701811" y="299344"/>
                  </a:lnTo>
                  <a:lnTo>
                    <a:pt x="701250" y="294442"/>
                  </a:lnTo>
                  <a:cubicBezTo>
                    <a:pt x="700630" y="287759"/>
                    <a:pt x="700550" y="280075"/>
                    <a:pt x="700650" y="270171"/>
                  </a:cubicBezTo>
                  <a:cubicBezTo>
                    <a:pt x="700750" y="260306"/>
                    <a:pt x="700910" y="248020"/>
                    <a:pt x="699969" y="234934"/>
                  </a:cubicBezTo>
                  <a:cubicBezTo>
                    <a:pt x="699068" y="221828"/>
                    <a:pt x="697026" y="208061"/>
                    <a:pt x="693882" y="195055"/>
                  </a:cubicBezTo>
                  <a:lnTo>
                    <a:pt x="693322" y="192594"/>
                  </a:lnTo>
                  <a:lnTo>
                    <a:pt x="692601" y="189853"/>
                  </a:lnTo>
                  <a:cubicBezTo>
                    <a:pt x="692120" y="188012"/>
                    <a:pt x="691580" y="186191"/>
                    <a:pt x="691059" y="184370"/>
                  </a:cubicBezTo>
                  <a:cubicBezTo>
                    <a:pt x="689958" y="180729"/>
                    <a:pt x="688757" y="177107"/>
                    <a:pt x="687435" y="173525"/>
                  </a:cubicBezTo>
                  <a:cubicBezTo>
                    <a:pt x="684772" y="166382"/>
                    <a:pt x="681689" y="159359"/>
                    <a:pt x="678125" y="152575"/>
                  </a:cubicBezTo>
                  <a:cubicBezTo>
                    <a:pt x="674561" y="145792"/>
                    <a:pt x="670556" y="139209"/>
                    <a:pt x="666152" y="132906"/>
                  </a:cubicBezTo>
                  <a:cubicBezTo>
                    <a:pt x="665030" y="131345"/>
                    <a:pt x="663929" y="129765"/>
                    <a:pt x="662748" y="128244"/>
                  </a:cubicBezTo>
                  <a:lnTo>
                    <a:pt x="661006" y="125943"/>
                  </a:lnTo>
                  <a:lnTo>
                    <a:pt x="659464" y="123982"/>
                  </a:lnTo>
                  <a:cubicBezTo>
                    <a:pt x="657502" y="121481"/>
                    <a:pt x="655480" y="119060"/>
                    <a:pt x="653477" y="116658"/>
                  </a:cubicBezTo>
                  <a:cubicBezTo>
                    <a:pt x="637279" y="97509"/>
                    <a:pt x="619119" y="80501"/>
                    <a:pt x="599197" y="65574"/>
                  </a:cubicBezTo>
                  <a:cubicBezTo>
                    <a:pt x="579275" y="50667"/>
                    <a:pt x="557551" y="38002"/>
                    <a:pt x="534645" y="27997"/>
                  </a:cubicBezTo>
                  <a:cubicBezTo>
                    <a:pt x="511780" y="17932"/>
                    <a:pt x="487733" y="10709"/>
                    <a:pt x="463466" y="6087"/>
                  </a:cubicBezTo>
                  <a:cubicBezTo>
                    <a:pt x="451333" y="3885"/>
                    <a:pt x="439119" y="2125"/>
                    <a:pt x="426966" y="1224"/>
                  </a:cubicBezTo>
                  <a:cubicBezTo>
                    <a:pt x="423922" y="904"/>
                    <a:pt x="420879" y="784"/>
                    <a:pt x="417856" y="604"/>
                  </a:cubicBezTo>
                  <a:cubicBezTo>
                    <a:pt x="414832" y="464"/>
                    <a:pt x="411769" y="224"/>
                    <a:pt x="408745" y="184"/>
                  </a:cubicBezTo>
                  <a:cubicBezTo>
                    <a:pt x="402779" y="84"/>
                    <a:pt x="396312" y="-96"/>
                    <a:pt x="391366" y="64"/>
                  </a:cubicBezTo>
                  <a:lnTo>
                    <a:pt x="387402" y="144"/>
                  </a:lnTo>
                  <a:lnTo>
                    <a:pt x="385419" y="184"/>
                  </a:lnTo>
                  <a:lnTo>
                    <a:pt x="383577" y="184"/>
                  </a:lnTo>
                  <a:lnTo>
                    <a:pt x="380114" y="144"/>
                  </a:lnTo>
                  <a:lnTo>
                    <a:pt x="375308" y="244"/>
                  </a:lnTo>
                  <a:lnTo>
                    <a:pt x="365698" y="504"/>
                  </a:lnTo>
                  <a:lnTo>
                    <a:pt x="356087" y="1224"/>
                  </a:lnTo>
                  <a:lnTo>
                    <a:pt x="351282" y="1604"/>
                  </a:lnTo>
                  <a:lnTo>
                    <a:pt x="346496" y="2185"/>
                  </a:lnTo>
                  <a:lnTo>
                    <a:pt x="336926" y="3405"/>
                  </a:lnTo>
                  <a:lnTo>
                    <a:pt x="327415" y="5086"/>
                  </a:lnTo>
                  <a:lnTo>
                    <a:pt x="322670" y="5946"/>
                  </a:lnTo>
                  <a:lnTo>
                    <a:pt x="317965" y="7007"/>
                  </a:lnTo>
                  <a:cubicBezTo>
                    <a:pt x="267548" y="18012"/>
                    <a:pt x="220476" y="43284"/>
                    <a:pt x="183175" y="78661"/>
                  </a:cubicBezTo>
                  <a:cubicBezTo>
                    <a:pt x="164414" y="96269"/>
                    <a:pt x="148256" y="116558"/>
                    <a:pt x="134821" y="138549"/>
                  </a:cubicBezTo>
                  <a:cubicBezTo>
                    <a:pt x="128214" y="149614"/>
                    <a:pt x="122247" y="161059"/>
                    <a:pt x="117121" y="172905"/>
                  </a:cubicBezTo>
                  <a:cubicBezTo>
                    <a:pt x="112116" y="184790"/>
                    <a:pt x="107591" y="196896"/>
                    <a:pt x="104267" y="209382"/>
                  </a:cubicBezTo>
                  <a:lnTo>
                    <a:pt x="102946" y="214044"/>
                  </a:lnTo>
                  <a:cubicBezTo>
                    <a:pt x="102525" y="215605"/>
                    <a:pt x="102185" y="217186"/>
                    <a:pt x="101824" y="218746"/>
                  </a:cubicBezTo>
                  <a:lnTo>
                    <a:pt x="99662" y="228171"/>
                  </a:lnTo>
                  <a:lnTo>
                    <a:pt x="97920" y="237675"/>
                  </a:lnTo>
                  <a:lnTo>
                    <a:pt x="97079" y="242437"/>
                  </a:lnTo>
                  <a:lnTo>
                    <a:pt x="96458" y="247220"/>
                  </a:lnTo>
                  <a:lnTo>
                    <a:pt x="95257" y="256804"/>
                  </a:lnTo>
                  <a:lnTo>
                    <a:pt x="94496" y="266429"/>
                  </a:lnTo>
                  <a:lnTo>
                    <a:pt x="94156" y="271231"/>
                  </a:lnTo>
                  <a:lnTo>
                    <a:pt x="94016" y="276053"/>
                  </a:lnTo>
                  <a:lnTo>
                    <a:pt x="93795" y="285678"/>
                  </a:lnTo>
                  <a:cubicBezTo>
                    <a:pt x="93875" y="298504"/>
                    <a:pt x="94656" y="311370"/>
                    <a:pt x="96358" y="324136"/>
                  </a:cubicBezTo>
                  <a:cubicBezTo>
                    <a:pt x="98140" y="336902"/>
                    <a:pt x="100683" y="349568"/>
                    <a:pt x="104087" y="362014"/>
                  </a:cubicBezTo>
                  <a:cubicBezTo>
                    <a:pt x="114078" y="398171"/>
                    <a:pt x="131377" y="432207"/>
                    <a:pt x="154363" y="461660"/>
                  </a:cubicBezTo>
                  <a:cubicBezTo>
                    <a:pt x="155804" y="463501"/>
                    <a:pt x="157306" y="465282"/>
                    <a:pt x="158788" y="467103"/>
                  </a:cubicBezTo>
                  <a:lnTo>
                    <a:pt x="159909" y="468464"/>
                  </a:lnTo>
                  <a:lnTo>
                    <a:pt x="160049" y="468624"/>
                  </a:lnTo>
                  <a:lnTo>
                    <a:pt x="160049" y="468624"/>
                  </a:lnTo>
                  <a:lnTo>
                    <a:pt x="161751" y="471145"/>
                  </a:lnTo>
                  <a:lnTo>
                    <a:pt x="164394" y="475147"/>
                  </a:lnTo>
                  <a:cubicBezTo>
                    <a:pt x="167878" y="480509"/>
                    <a:pt x="171201" y="485912"/>
                    <a:pt x="174165" y="491094"/>
                  </a:cubicBezTo>
                  <a:cubicBezTo>
                    <a:pt x="177108" y="496257"/>
                    <a:pt x="179751" y="501319"/>
                    <a:pt x="181513" y="505281"/>
                  </a:cubicBezTo>
                  <a:lnTo>
                    <a:pt x="182174" y="506742"/>
                  </a:lnTo>
                  <a:lnTo>
                    <a:pt x="182614" y="507902"/>
                  </a:lnTo>
                  <a:cubicBezTo>
                    <a:pt x="182994" y="508743"/>
                    <a:pt x="183135" y="509323"/>
                    <a:pt x="183175" y="509403"/>
                  </a:cubicBezTo>
                  <a:cubicBezTo>
                    <a:pt x="183295" y="509523"/>
                    <a:pt x="183115" y="509463"/>
                    <a:pt x="183215" y="509463"/>
                  </a:cubicBezTo>
                  <a:cubicBezTo>
                    <a:pt x="183155" y="509463"/>
                    <a:pt x="183215" y="509463"/>
                    <a:pt x="183215" y="509463"/>
                  </a:cubicBezTo>
                  <a:lnTo>
                    <a:pt x="183735" y="513445"/>
                  </a:lnTo>
                  <a:lnTo>
                    <a:pt x="184016" y="515446"/>
                  </a:lnTo>
                  <a:cubicBezTo>
                    <a:pt x="184096" y="515986"/>
                    <a:pt x="184276" y="517186"/>
                    <a:pt x="184176" y="516626"/>
                  </a:cubicBezTo>
                  <a:cubicBezTo>
                    <a:pt x="184096" y="516326"/>
                    <a:pt x="184056" y="515786"/>
                    <a:pt x="184056" y="515966"/>
                  </a:cubicBezTo>
                  <a:cubicBezTo>
                    <a:pt x="184056" y="515986"/>
                    <a:pt x="184056" y="515926"/>
                    <a:pt x="184076" y="516206"/>
                  </a:cubicBezTo>
                  <a:cubicBezTo>
                    <a:pt x="184156" y="516866"/>
                    <a:pt x="184236" y="518387"/>
                    <a:pt x="184276" y="519908"/>
                  </a:cubicBezTo>
                  <a:cubicBezTo>
                    <a:pt x="184336" y="523049"/>
                    <a:pt x="184236" y="526731"/>
                    <a:pt x="183936" y="530433"/>
                  </a:cubicBezTo>
                  <a:cubicBezTo>
                    <a:pt x="183355" y="537916"/>
                    <a:pt x="182033" y="545660"/>
                    <a:pt x="180131" y="553183"/>
                  </a:cubicBezTo>
                  <a:cubicBezTo>
                    <a:pt x="178730" y="558566"/>
                    <a:pt x="176507" y="564829"/>
                    <a:pt x="173424" y="571412"/>
                  </a:cubicBezTo>
                  <a:cubicBezTo>
                    <a:pt x="170400" y="577995"/>
                    <a:pt x="166616" y="584898"/>
                    <a:pt x="162372" y="591842"/>
                  </a:cubicBezTo>
                  <a:lnTo>
                    <a:pt x="159068" y="597064"/>
                  </a:lnTo>
                  <a:lnTo>
                    <a:pt x="157346" y="599665"/>
                  </a:lnTo>
                  <a:lnTo>
                    <a:pt x="155424" y="602547"/>
                  </a:lnTo>
                  <a:lnTo>
                    <a:pt x="146394" y="616213"/>
                  </a:lnTo>
                  <a:lnTo>
                    <a:pt x="137624" y="630060"/>
                  </a:lnTo>
                  <a:lnTo>
                    <a:pt x="129115" y="644086"/>
                  </a:lnTo>
                  <a:cubicBezTo>
                    <a:pt x="106790" y="681704"/>
                    <a:pt x="87308" y="721202"/>
                    <a:pt x="71250" y="762202"/>
                  </a:cubicBezTo>
                  <a:cubicBezTo>
                    <a:pt x="63221" y="782691"/>
                    <a:pt x="56033" y="803561"/>
                    <a:pt x="49786" y="824751"/>
                  </a:cubicBezTo>
                  <a:cubicBezTo>
                    <a:pt x="48165" y="830033"/>
                    <a:pt x="46783" y="835376"/>
                    <a:pt x="45261" y="840698"/>
                  </a:cubicBezTo>
                  <a:cubicBezTo>
                    <a:pt x="44481" y="843380"/>
                    <a:pt x="43840" y="845981"/>
                    <a:pt x="43199" y="848562"/>
                  </a:cubicBezTo>
                  <a:lnTo>
                    <a:pt x="41257" y="856326"/>
                  </a:lnTo>
                  <a:lnTo>
                    <a:pt x="37353" y="871873"/>
                  </a:lnTo>
                  <a:lnTo>
                    <a:pt x="35410" y="879637"/>
                  </a:lnTo>
                  <a:lnTo>
                    <a:pt x="33689" y="887440"/>
                  </a:lnTo>
                  <a:cubicBezTo>
                    <a:pt x="24138" y="929040"/>
                    <a:pt x="16730" y="971020"/>
                    <a:pt x="11384" y="1013179"/>
                  </a:cubicBezTo>
                  <a:cubicBezTo>
                    <a:pt x="612" y="1097519"/>
                    <a:pt x="-2412" y="1182379"/>
                    <a:pt x="1873" y="1267239"/>
                  </a:cubicBezTo>
                  <a:lnTo>
                    <a:pt x="2774" y="1283166"/>
                  </a:lnTo>
                  <a:lnTo>
                    <a:pt x="3895" y="1299114"/>
                  </a:lnTo>
                  <a:lnTo>
                    <a:pt x="3976" y="1300114"/>
                  </a:lnTo>
                  <a:lnTo>
                    <a:pt x="4136" y="1301675"/>
                  </a:lnTo>
                  <a:lnTo>
                    <a:pt x="4536" y="1305096"/>
                  </a:lnTo>
                  <a:cubicBezTo>
                    <a:pt x="4816" y="1307378"/>
                    <a:pt x="5117" y="1309639"/>
                    <a:pt x="5437" y="1311900"/>
                  </a:cubicBezTo>
                  <a:cubicBezTo>
                    <a:pt x="6198" y="1316422"/>
                    <a:pt x="7279" y="1320904"/>
                    <a:pt x="8360" y="1325386"/>
                  </a:cubicBezTo>
                  <a:cubicBezTo>
                    <a:pt x="9682" y="1329808"/>
                    <a:pt x="11083" y="1334210"/>
                    <a:pt x="12685" y="1338512"/>
                  </a:cubicBezTo>
                  <a:cubicBezTo>
                    <a:pt x="14487" y="1342754"/>
                    <a:pt x="16209" y="1347056"/>
                    <a:pt x="18351" y="1351138"/>
                  </a:cubicBezTo>
                  <a:cubicBezTo>
                    <a:pt x="35110" y="1384013"/>
                    <a:pt x="65604" y="1409365"/>
                    <a:pt x="101344" y="1419410"/>
                  </a:cubicBezTo>
                  <a:cubicBezTo>
                    <a:pt x="105829" y="1420531"/>
                    <a:pt x="110294" y="1421771"/>
                    <a:pt x="114839" y="1422491"/>
                  </a:cubicBezTo>
                  <a:cubicBezTo>
                    <a:pt x="117121" y="1422852"/>
                    <a:pt x="119404" y="1423192"/>
                    <a:pt x="121686" y="1423492"/>
                  </a:cubicBezTo>
                  <a:lnTo>
                    <a:pt x="125110" y="1423932"/>
                  </a:lnTo>
                  <a:lnTo>
                    <a:pt x="128534" y="1424152"/>
                  </a:lnTo>
                  <a:cubicBezTo>
                    <a:pt x="130817" y="1424292"/>
                    <a:pt x="133119" y="1424392"/>
                    <a:pt x="135402" y="1424472"/>
                  </a:cubicBezTo>
                  <a:lnTo>
                    <a:pt x="138585" y="1424553"/>
                  </a:lnTo>
                  <a:lnTo>
                    <a:pt x="554027" y="1424553"/>
                  </a:lnTo>
                  <a:lnTo>
                    <a:pt x="555408" y="1424512"/>
                  </a:lnTo>
                  <a:lnTo>
                    <a:pt x="557090" y="1424452"/>
                  </a:lnTo>
                  <a:lnTo>
                    <a:pt x="563778" y="1424132"/>
                  </a:lnTo>
                  <a:cubicBezTo>
                    <a:pt x="568243" y="1423992"/>
                    <a:pt x="572688" y="1423292"/>
                    <a:pt x="577112" y="1422592"/>
                  </a:cubicBezTo>
                  <a:cubicBezTo>
                    <a:pt x="579335" y="1422211"/>
                    <a:pt x="581557" y="1421931"/>
                    <a:pt x="583740" y="1421411"/>
                  </a:cubicBezTo>
                  <a:lnTo>
                    <a:pt x="590287" y="1419770"/>
                  </a:lnTo>
                  <a:cubicBezTo>
                    <a:pt x="607687" y="1415148"/>
                    <a:pt x="624125" y="1407104"/>
                    <a:pt x="638401" y="1396299"/>
                  </a:cubicBezTo>
                  <a:cubicBezTo>
                    <a:pt x="652677" y="1385494"/>
                    <a:pt x="664830" y="1371968"/>
                    <a:pt x="674040" y="1356541"/>
                  </a:cubicBezTo>
                  <a:cubicBezTo>
                    <a:pt x="683250" y="1341133"/>
                    <a:pt x="689457" y="1323805"/>
                    <a:pt x="692080" y="1305997"/>
                  </a:cubicBezTo>
                  <a:cubicBezTo>
                    <a:pt x="692701" y="1301535"/>
                    <a:pt x="693342" y="1297073"/>
                    <a:pt x="693422" y="1292611"/>
                  </a:cubicBezTo>
                  <a:lnTo>
                    <a:pt x="693622" y="1285907"/>
                  </a:lnTo>
                  <a:lnTo>
                    <a:pt x="693622" y="1284227"/>
                  </a:lnTo>
                  <a:cubicBezTo>
                    <a:pt x="693662" y="1283686"/>
                    <a:pt x="693682" y="1283006"/>
                    <a:pt x="693662" y="1282786"/>
                  </a:cubicBezTo>
                  <a:lnTo>
                    <a:pt x="693622" y="1280825"/>
                  </a:lnTo>
                  <a:lnTo>
                    <a:pt x="693242" y="1265058"/>
                  </a:lnTo>
                  <a:cubicBezTo>
                    <a:pt x="693061" y="1254553"/>
                    <a:pt x="692501" y="1244048"/>
                    <a:pt x="692120" y="1233543"/>
                  </a:cubicBezTo>
                  <a:cubicBezTo>
                    <a:pt x="688256" y="1149503"/>
                    <a:pt x="678745" y="1065604"/>
                    <a:pt x="661687" y="982345"/>
                  </a:cubicBezTo>
                  <a:cubicBezTo>
                    <a:pt x="653057" y="940705"/>
                    <a:pt x="642745" y="899266"/>
                    <a:pt x="629190" y="857846"/>
                  </a:cubicBezTo>
                  <a:cubicBezTo>
                    <a:pt x="622383" y="837117"/>
                    <a:pt x="614774" y="816387"/>
                    <a:pt x="605564" y="795297"/>
                  </a:cubicBezTo>
                  <a:cubicBezTo>
                    <a:pt x="600839" y="784692"/>
                    <a:pt x="595813" y="774027"/>
                    <a:pt x="589586" y="762842"/>
                  </a:cubicBezTo>
                  <a:lnTo>
                    <a:pt x="584581" y="754258"/>
                  </a:lnTo>
                  <a:cubicBezTo>
                    <a:pt x="582639" y="751216"/>
                    <a:pt x="580817" y="748295"/>
                    <a:pt x="578714" y="745174"/>
                  </a:cubicBezTo>
                  <a:lnTo>
                    <a:pt x="575231" y="740311"/>
                  </a:lnTo>
                  <a:lnTo>
                    <a:pt x="573469" y="737890"/>
                  </a:lnTo>
                  <a:lnTo>
                    <a:pt x="571246" y="735149"/>
                  </a:lnTo>
                  <a:lnTo>
                    <a:pt x="568983" y="732428"/>
                  </a:lnTo>
                  <a:lnTo>
                    <a:pt x="566821" y="729886"/>
                  </a:lnTo>
                  <a:lnTo>
                    <a:pt x="565059" y="727865"/>
                  </a:lnTo>
                  <a:cubicBezTo>
                    <a:pt x="560714" y="722843"/>
                    <a:pt x="556570" y="717361"/>
                    <a:pt x="552705" y="711538"/>
                  </a:cubicBezTo>
                  <a:cubicBezTo>
                    <a:pt x="551744" y="710077"/>
                    <a:pt x="550783" y="708576"/>
                    <a:pt x="549862" y="707096"/>
                  </a:cubicBezTo>
                  <a:lnTo>
                    <a:pt x="547580" y="703194"/>
                  </a:lnTo>
                  <a:cubicBezTo>
                    <a:pt x="546759" y="701933"/>
                    <a:pt x="546198" y="700513"/>
                    <a:pt x="545457" y="699212"/>
                  </a:cubicBezTo>
                  <a:lnTo>
                    <a:pt x="544396" y="697211"/>
                  </a:lnTo>
                  <a:lnTo>
                    <a:pt x="543475" y="695150"/>
                  </a:lnTo>
                  <a:cubicBezTo>
                    <a:pt x="542154" y="692449"/>
                    <a:pt x="541153" y="689607"/>
                    <a:pt x="540011" y="686806"/>
                  </a:cubicBezTo>
                  <a:cubicBezTo>
                    <a:pt x="539110" y="683945"/>
                    <a:pt x="538069" y="681103"/>
                    <a:pt x="537388" y="678182"/>
                  </a:cubicBezTo>
                  <a:cubicBezTo>
                    <a:pt x="535887" y="672379"/>
                    <a:pt x="534685" y="666477"/>
                    <a:pt x="534245" y="660534"/>
                  </a:cubicBezTo>
                  <a:cubicBezTo>
                    <a:pt x="533744" y="654591"/>
                    <a:pt x="533724" y="648628"/>
                    <a:pt x="534165" y="642745"/>
                  </a:cubicBezTo>
                  <a:cubicBezTo>
                    <a:pt x="534685" y="636863"/>
                    <a:pt x="535747" y="631040"/>
                    <a:pt x="537188" y="625357"/>
                  </a:cubicBezTo>
                  <a:lnTo>
                    <a:pt x="537869" y="622856"/>
                  </a:lnTo>
                  <a:lnTo>
                    <a:pt x="541373" y="622976"/>
                  </a:lnTo>
                  <a:cubicBezTo>
                    <a:pt x="543535" y="623116"/>
                    <a:pt x="545678" y="623196"/>
                    <a:pt x="547980" y="623416"/>
                  </a:cubicBezTo>
                  <a:lnTo>
                    <a:pt x="551384" y="623697"/>
                  </a:lnTo>
                  <a:lnTo>
                    <a:pt x="554908" y="624097"/>
                  </a:lnTo>
                  <a:lnTo>
                    <a:pt x="558432" y="624497"/>
                  </a:lnTo>
                  <a:lnTo>
                    <a:pt x="562056" y="624997"/>
                  </a:lnTo>
                  <a:lnTo>
                    <a:pt x="565680" y="625497"/>
                  </a:lnTo>
                  <a:lnTo>
                    <a:pt x="569344" y="625958"/>
                  </a:lnTo>
                  <a:lnTo>
                    <a:pt x="573208" y="626398"/>
                  </a:lnTo>
                  <a:cubicBezTo>
                    <a:pt x="583740" y="627378"/>
                    <a:pt x="595533" y="627378"/>
                    <a:pt x="608487" y="624717"/>
                  </a:cubicBezTo>
                  <a:cubicBezTo>
                    <a:pt x="621302" y="622116"/>
                    <a:pt x="635057" y="616733"/>
                    <a:pt x="646850" y="608429"/>
                  </a:cubicBezTo>
                  <a:cubicBezTo>
                    <a:pt x="658723" y="600266"/>
                    <a:pt x="668254" y="589741"/>
                    <a:pt x="675041" y="579256"/>
                  </a:cubicBezTo>
                  <a:cubicBezTo>
                    <a:pt x="681969" y="568671"/>
                    <a:pt x="686394" y="558126"/>
                    <a:pt x="689558" y="547721"/>
                  </a:cubicBezTo>
                  <a:cubicBezTo>
                    <a:pt x="690338" y="545120"/>
                    <a:pt x="691019" y="542498"/>
                    <a:pt x="691640" y="539857"/>
                  </a:cubicBezTo>
                  <a:cubicBezTo>
                    <a:pt x="692281" y="537036"/>
                    <a:pt x="692861" y="534155"/>
                    <a:pt x="693322" y="531293"/>
                  </a:cubicBezTo>
                  <a:cubicBezTo>
                    <a:pt x="694243" y="525530"/>
                    <a:pt x="694803" y="519728"/>
                    <a:pt x="694823" y="513885"/>
                  </a:cubicBezTo>
                  <a:cubicBezTo>
                    <a:pt x="694823" y="512024"/>
                    <a:pt x="694783" y="510143"/>
                    <a:pt x="694703" y="508282"/>
                  </a:cubicBezTo>
                  <a:lnTo>
                    <a:pt x="694583" y="505641"/>
                  </a:lnTo>
                  <a:lnTo>
                    <a:pt x="694443" y="503500"/>
                  </a:lnTo>
                  <a:cubicBezTo>
                    <a:pt x="694263" y="500699"/>
                    <a:pt x="694002" y="498078"/>
                    <a:pt x="693742" y="495616"/>
                  </a:cubicBezTo>
                  <a:cubicBezTo>
                    <a:pt x="693662" y="494776"/>
                    <a:pt x="693522" y="493615"/>
                    <a:pt x="693482" y="493255"/>
                  </a:cubicBezTo>
                  <a:lnTo>
                    <a:pt x="694964" y="492715"/>
                  </a:lnTo>
                  <a:cubicBezTo>
                    <a:pt x="696025" y="492335"/>
                    <a:pt x="697086" y="491915"/>
                    <a:pt x="698107" y="491474"/>
                  </a:cubicBezTo>
                  <a:close/>
                  <a:moveTo>
                    <a:pt x="686234" y="452276"/>
                  </a:moveTo>
                  <a:cubicBezTo>
                    <a:pt x="685012" y="452896"/>
                    <a:pt x="683791" y="453437"/>
                    <a:pt x="682550" y="453957"/>
                  </a:cubicBezTo>
                  <a:cubicBezTo>
                    <a:pt x="681929" y="454217"/>
                    <a:pt x="681308" y="454477"/>
                    <a:pt x="680668" y="454697"/>
                  </a:cubicBezTo>
                  <a:lnTo>
                    <a:pt x="679707" y="455037"/>
                  </a:lnTo>
                  <a:lnTo>
                    <a:pt x="679226" y="455217"/>
                  </a:lnTo>
                  <a:cubicBezTo>
                    <a:pt x="679226" y="455217"/>
                    <a:pt x="678986" y="455297"/>
                    <a:pt x="679186" y="455217"/>
                  </a:cubicBezTo>
                  <a:lnTo>
                    <a:pt x="679346" y="455157"/>
                  </a:lnTo>
                  <a:cubicBezTo>
                    <a:pt x="679346" y="455157"/>
                    <a:pt x="679326" y="455157"/>
                    <a:pt x="679306" y="455157"/>
                  </a:cubicBezTo>
                  <a:cubicBezTo>
                    <a:pt x="678725" y="455337"/>
                    <a:pt x="678145" y="455538"/>
                    <a:pt x="677544" y="455678"/>
                  </a:cubicBezTo>
                  <a:lnTo>
                    <a:pt x="677544" y="455678"/>
                  </a:lnTo>
                  <a:cubicBezTo>
                    <a:pt x="672398" y="457358"/>
                    <a:pt x="667593" y="460120"/>
                    <a:pt x="663709" y="463901"/>
                  </a:cubicBezTo>
                  <a:cubicBezTo>
                    <a:pt x="659804" y="467643"/>
                    <a:pt x="656681" y="472165"/>
                    <a:pt x="654358" y="477048"/>
                  </a:cubicBezTo>
                  <a:cubicBezTo>
                    <a:pt x="652096" y="481550"/>
                    <a:pt x="651335" y="486772"/>
                    <a:pt x="652136" y="491735"/>
                  </a:cubicBezTo>
                  <a:lnTo>
                    <a:pt x="652657" y="495476"/>
                  </a:lnTo>
                  <a:lnTo>
                    <a:pt x="653197" y="499998"/>
                  </a:lnTo>
                  <a:cubicBezTo>
                    <a:pt x="653638" y="504120"/>
                    <a:pt x="653978" y="508282"/>
                    <a:pt x="654038" y="513485"/>
                  </a:cubicBezTo>
                  <a:cubicBezTo>
                    <a:pt x="654058" y="517347"/>
                    <a:pt x="653658" y="521208"/>
                    <a:pt x="653037" y="525030"/>
                  </a:cubicBezTo>
                  <a:cubicBezTo>
                    <a:pt x="652717" y="526931"/>
                    <a:pt x="652336" y="528832"/>
                    <a:pt x="651916" y="530713"/>
                  </a:cubicBezTo>
                  <a:cubicBezTo>
                    <a:pt x="651475" y="532534"/>
                    <a:pt x="651015" y="534335"/>
                    <a:pt x="650474" y="536115"/>
                  </a:cubicBezTo>
                  <a:cubicBezTo>
                    <a:pt x="648292" y="543259"/>
                    <a:pt x="645288" y="550342"/>
                    <a:pt x="640863" y="557085"/>
                  </a:cubicBezTo>
                  <a:cubicBezTo>
                    <a:pt x="636519" y="563788"/>
                    <a:pt x="630692" y="570171"/>
                    <a:pt x="623564" y="575054"/>
                  </a:cubicBezTo>
                  <a:cubicBezTo>
                    <a:pt x="616516" y="580036"/>
                    <a:pt x="608287" y="583258"/>
                    <a:pt x="600258" y="584898"/>
                  </a:cubicBezTo>
                  <a:cubicBezTo>
                    <a:pt x="592189" y="586579"/>
                    <a:pt x="584361" y="586619"/>
                    <a:pt x="577012" y="585939"/>
                  </a:cubicBezTo>
                  <a:lnTo>
                    <a:pt x="571626" y="585279"/>
                  </a:lnTo>
                  <a:lnTo>
                    <a:pt x="567522" y="584718"/>
                  </a:lnTo>
                  <a:cubicBezTo>
                    <a:pt x="564779" y="584318"/>
                    <a:pt x="562056" y="583958"/>
                    <a:pt x="559333" y="583698"/>
                  </a:cubicBezTo>
                  <a:cubicBezTo>
                    <a:pt x="556610" y="583358"/>
                    <a:pt x="553907" y="583097"/>
                    <a:pt x="551204" y="582897"/>
                  </a:cubicBezTo>
                  <a:cubicBezTo>
                    <a:pt x="548501" y="582637"/>
                    <a:pt x="545838" y="582517"/>
                    <a:pt x="543155" y="582357"/>
                  </a:cubicBezTo>
                  <a:cubicBezTo>
                    <a:pt x="541813" y="582257"/>
                    <a:pt x="540512" y="582257"/>
                    <a:pt x="539190" y="582217"/>
                  </a:cubicBezTo>
                  <a:cubicBezTo>
                    <a:pt x="538009" y="582197"/>
                    <a:pt x="537128" y="582137"/>
                    <a:pt x="536107" y="582157"/>
                  </a:cubicBezTo>
                  <a:cubicBezTo>
                    <a:pt x="534145" y="582157"/>
                    <a:pt x="532183" y="582197"/>
                    <a:pt x="530200" y="582297"/>
                  </a:cubicBezTo>
                  <a:cubicBezTo>
                    <a:pt x="526216" y="582537"/>
                    <a:pt x="522192" y="582937"/>
                    <a:pt x="518347" y="584078"/>
                  </a:cubicBezTo>
                  <a:cubicBezTo>
                    <a:pt x="517586" y="584338"/>
                    <a:pt x="516866" y="584618"/>
                    <a:pt x="516085" y="584838"/>
                  </a:cubicBezTo>
                  <a:cubicBezTo>
                    <a:pt x="515344" y="585118"/>
                    <a:pt x="514623" y="585438"/>
                    <a:pt x="513922" y="585839"/>
                  </a:cubicBezTo>
                  <a:cubicBezTo>
                    <a:pt x="512521" y="586599"/>
                    <a:pt x="511299" y="587640"/>
                    <a:pt x="510138" y="588720"/>
                  </a:cubicBezTo>
                  <a:cubicBezTo>
                    <a:pt x="507876" y="590961"/>
                    <a:pt x="506094" y="593622"/>
                    <a:pt x="504572" y="596404"/>
                  </a:cubicBezTo>
                  <a:cubicBezTo>
                    <a:pt x="503050" y="599185"/>
                    <a:pt x="501789" y="602106"/>
                    <a:pt x="500688" y="605088"/>
                  </a:cubicBezTo>
                  <a:cubicBezTo>
                    <a:pt x="500147" y="606588"/>
                    <a:pt x="499646" y="608089"/>
                    <a:pt x="499166" y="609590"/>
                  </a:cubicBezTo>
                  <a:lnTo>
                    <a:pt x="497644" y="614992"/>
                  </a:lnTo>
                  <a:cubicBezTo>
                    <a:pt x="495582" y="622996"/>
                    <a:pt x="494120" y="631140"/>
                    <a:pt x="493399" y="639384"/>
                  </a:cubicBezTo>
                  <a:cubicBezTo>
                    <a:pt x="492759" y="647628"/>
                    <a:pt x="492799" y="655932"/>
                    <a:pt x="493500" y="664196"/>
                  </a:cubicBezTo>
                  <a:cubicBezTo>
                    <a:pt x="494160" y="672459"/>
                    <a:pt x="495762" y="680643"/>
                    <a:pt x="497844" y="688667"/>
                  </a:cubicBezTo>
                  <a:cubicBezTo>
                    <a:pt x="498846" y="692709"/>
                    <a:pt x="500207" y="696631"/>
                    <a:pt x="501508" y="700573"/>
                  </a:cubicBezTo>
                  <a:cubicBezTo>
                    <a:pt x="503030" y="704434"/>
                    <a:pt x="504452" y="708336"/>
                    <a:pt x="506254" y="712098"/>
                  </a:cubicBezTo>
                  <a:lnTo>
                    <a:pt x="507535" y="714939"/>
                  </a:lnTo>
                  <a:lnTo>
                    <a:pt x="508977" y="717701"/>
                  </a:lnTo>
                  <a:cubicBezTo>
                    <a:pt x="509958" y="719521"/>
                    <a:pt x="510799" y="721442"/>
                    <a:pt x="511900" y="723203"/>
                  </a:cubicBezTo>
                  <a:lnTo>
                    <a:pt x="515044" y="728586"/>
                  </a:lnTo>
                  <a:cubicBezTo>
                    <a:pt x="516185" y="730427"/>
                    <a:pt x="517346" y="732248"/>
                    <a:pt x="518547" y="734048"/>
                  </a:cubicBezTo>
                  <a:cubicBezTo>
                    <a:pt x="523313" y="741252"/>
                    <a:pt x="528478" y="748115"/>
                    <a:pt x="534065" y="754538"/>
                  </a:cubicBezTo>
                  <a:lnTo>
                    <a:pt x="536347" y="757119"/>
                  </a:lnTo>
                  <a:lnTo>
                    <a:pt x="539431" y="760801"/>
                  </a:lnTo>
                  <a:lnTo>
                    <a:pt x="540972" y="762682"/>
                  </a:lnTo>
                  <a:lnTo>
                    <a:pt x="542294" y="764503"/>
                  </a:lnTo>
                  <a:lnTo>
                    <a:pt x="544937" y="768184"/>
                  </a:lnTo>
                  <a:cubicBezTo>
                    <a:pt x="546579" y="770626"/>
                    <a:pt x="548080" y="773027"/>
                    <a:pt x="549642" y="775448"/>
                  </a:cubicBezTo>
                  <a:lnTo>
                    <a:pt x="553847" y="782691"/>
                  </a:lnTo>
                  <a:cubicBezTo>
                    <a:pt x="559193" y="792336"/>
                    <a:pt x="563778" y="802000"/>
                    <a:pt x="568102" y="811705"/>
                  </a:cubicBezTo>
                  <a:cubicBezTo>
                    <a:pt x="576592" y="831134"/>
                    <a:pt x="583800" y="850743"/>
                    <a:pt x="590287" y="870512"/>
                  </a:cubicBezTo>
                  <a:cubicBezTo>
                    <a:pt x="603222" y="910051"/>
                    <a:pt x="613213" y="950170"/>
                    <a:pt x="621582" y="990549"/>
                  </a:cubicBezTo>
                  <a:cubicBezTo>
                    <a:pt x="629891" y="1030948"/>
                    <a:pt x="636278" y="1071647"/>
                    <a:pt x="641224" y="1112486"/>
                  </a:cubicBezTo>
                  <a:cubicBezTo>
                    <a:pt x="646009" y="1153345"/>
                    <a:pt x="649413" y="1194324"/>
                    <a:pt x="651235" y="1235384"/>
                  </a:cubicBezTo>
                  <a:cubicBezTo>
                    <a:pt x="651595" y="1245648"/>
                    <a:pt x="652156" y="1255913"/>
                    <a:pt x="652336" y="1266178"/>
                  </a:cubicBezTo>
                  <a:lnTo>
                    <a:pt x="652717" y="1281585"/>
                  </a:lnTo>
                  <a:lnTo>
                    <a:pt x="652757" y="1283506"/>
                  </a:lnTo>
                  <a:cubicBezTo>
                    <a:pt x="652757" y="1284147"/>
                    <a:pt x="652737" y="1285047"/>
                    <a:pt x="652717" y="1285807"/>
                  </a:cubicBezTo>
                  <a:lnTo>
                    <a:pt x="652556" y="1290550"/>
                  </a:lnTo>
                  <a:cubicBezTo>
                    <a:pt x="652556" y="1293731"/>
                    <a:pt x="652036" y="1296873"/>
                    <a:pt x="651615" y="1300014"/>
                  </a:cubicBezTo>
                  <a:cubicBezTo>
                    <a:pt x="649753" y="1312580"/>
                    <a:pt x="645388" y="1324806"/>
                    <a:pt x="638881" y="1335691"/>
                  </a:cubicBezTo>
                  <a:cubicBezTo>
                    <a:pt x="632374" y="1346596"/>
                    <a:pt x="623764" y="1356200"/>
                    <a:pt x="613653" y="1363844"/>
                  </a:cubicBezTo>
                  <a:cubicBezTo>
                    <a:pt x="603542" y="1371488"/>
                    <a:pt x="591929" y="1377190"/>
                    <a:pt x="579635" y="1380452"/>
                  </a:cubicBezTo>
                  <a:lnTo>
                    <a:pt x="575010" y="1381632"/>
                  </a:lnTo>
                  <a:cubicBezTo>
                    <a:pt x="573469" y="1382013"/>
                    <a:pt x="571887" y="1382173"/>
                    <a:pt x="570325" y="1382453"/>
                  </a:cubicBezTo>
                  <a:cubicBezTo>
                    <a:pt x="567182" y="1382933"/>
                    <a:pt x="564058" y="1383473"/>
                    <a:pt x="560874" y="1383553"/>
                  </a:cubicBezTo>
                  <a:lnTo>
                    <a:pt x="556129" y="1383793"/>
                  </a:lnTo>
                  <a:cubicBezTo>
                    <a:pt x="555388" y="1383813"/>
                    <a:pt x="554447" y="1383873"/>
                    <a:pt x="553847" y="1383873"/>
                  </a:cubicBezTo>
                  <a:lnTo>
                    <a:pt x="138405" y="1383873"/>
                  </a:lnTo>
                  <a:cubicBezTo>
                    <a:pt x="137764" y="1383873"/>
                    <a:pt x="136843" y="1383813"/>
                    <a:pt x="136082" y="1383793"/>
                  </a:cubicBezTo>
                  <a:lnTo>
                    <a:pt x="131277" y="1383573"/>
                  </a:lnTo>
                  <a:lnTo>
                    <a:pt x="128874" y="1383433"/>
                  </a:lnTo>
                  <a:lnTo>
                    <a:pt x="126492" y="1383113"/>
                  </a:lnTo>
                  <a:lnTo>
                    <a:pt x="121726" y="1382413"/>
                  </a:lnTo>
                  <a:cubicBezTo>
                    <a:pt x="118543" y="1381932"/>
                    <a:pt x="115439" y="1381012"/>
                    <a:pt x="112316" y="1380272"/>
                  </a:cubicBezTo>
                  <a:cubicBezTo>
                    <a:pt x="87448" y="1373288"/>
                    <a:pt x="66125" y="1355540"/>
                    <a:pt x="54432" y="1332629"/>
                  </a:cubicBezTo>
                  <a:cubicBezTo>
                    <a:pt x="52930" y="1329788"/>
                    <a:pt x="51769" y="1326787"/>
                    <a:pt x="50467" y="1323845"/>
                  </a:cubicBezTo>
                  <a:cubicBezTo>
                    <a:pt x="49366" y="1320824"/>
                    <a:pt x="48405" y="1317762"/>
                    <a:pt x="47444" y="1314681"/>
                  </a:cubicBezTo>
                  <a:cubicBezTo>
                    <a:pt x="46743" y="1311559"/>
                    <a:pt x="45942" y="1308438"/>
                    <a:pt x="45422" y="1305276"/>
                  </a:cubicBezTo>
                  <a:lnTo>
                    <a:pt x="44801" y="1300514"/>
                  </a:lnTo>
                  <a:cubicBezTo>
                    <a:pt x="44621" y="1298994"/>
                    <a:pt x="44360" y="1297153"/>
                    <a:pt x="44320" y="1296012"/>
                  </a:cubicBezTo>
                  <a:lnTo>
                    <a:pt x="43239" y="1280565"/>
                  </a:lnTo>
                  <a:lnTo>
                    <a:pt x="42358" y="1265118"/>
                  </a:lnTo>
                  <a:cubicBezTo>
                    <a:pt x="38214" y="1182759"/>
                    <a:pt x="41137" y="1100140"/>
                    <a:pt x="51608" y="1018322"/>
                  </a:cubicBezTo>
                  <a:cubicBezTo>
                    <a:pt x="56794" y="977423"/>
                    <a:pt x="63982" y="936723"/>
                    <a:pt x="73212" y="896464"/>
                  </a:cubicBezTo>
                  <a:lnTo>
                    <a:pt x="74874" y="888901"/>
                  </a:lnTo>
                  <a:lnTo>
                    <a:pt x="76756" y="881377"/>
                  </a:lnTo>
                  <a:lnTo>
                    <a:pt x="80521" y="866350"/>
                  </a:lnTo>
                  <a:cubicBezTo>
                    <a:pt x="82943" y="856366"/>
                    <a:pt x="85706" y="846261"/>
                    <a:pt x="88650" y="836236"/>
                  </a:cubicBezTo>
                  <a:cubicBezTo>
                    <a:pt x="94576" y="816207"/>
                    <a:pt x="101364" y="796438"/>
                    <a:pt x="108972" y="777009"/>
                  </a:cubicBezTo>
                  <a:cubicBezTo>
                    <a:pt x="124209" y="738150"/>
                    <a:pt x="142690" y="700613"/>
                    <a:pt x="163953" y="664816"/>
                  </a:cubicBezTo>
                  <a:lnTo>
                    <a:pt x="172062" y="651469"/>
                  </a:lnTo>
                  <a:lnTo>
                    <a:pt x="180412" y="638283"/>
                  </a:lnTo>
                  <a:lnTo>
                    <a:pt x="189021" y="625257"/>
                  </a:lnTo>
                  <a:cubicBezTo>
                    <a:pt x="191804" y="621095"/>
                    <a:pt x="194347" y="617233"/>
                    <a:pt x="196870" y="613152"/>
                  </a:cubicBezTo>
                  <a:cubicBezTo>
                    <a:pt x="206781" y="597004"/>
                    <a:pt x="215070" y="580016"/>
                    <a:pt x="219415" y="563208"/>
                  </a:cubicBezTo>
                  <a:cubicBezTo>
                    <a:pt x="221858" y="553484"/>
                    <a:pt x="223580" y="543539"/>
                    <a:pt x="224340" y="533634"/>
                  </a:cubicBezTo>
                  <a:cubicBezTo>
                    <a:pt x="224741" y="528692"/>
                    <a:pt x="224901" y="523750"/>
                    <a:pt x="224801" y="518967"/>
                  </a:cubicBezTo>
                  <a:cubicBezTo>
                    <a:pt x="224741" y="516606"/>
                    <a:pt x="224641" y="514225"/>
                    <a:pt x="224421" y="512144"/>
                  </a:cubicBezTo>
                  <a:cubicBezTo>
                    <a:pt x="224320" y="511104"/>
                    <a:pt x="224180" y="510123"/>
                    <a:pt x="224080" y="509503"/>
                  </a:cubicBezTo>
                  <a:lnTo>
                    <a:pt x="223399" y="504381"/>
                  </a:lnTo>
                  <a:cubicBezTo>
                    <a:pt x="223259" y="503140"/>
                    <a:pt x="222999" y="501919"/>
                    <a:pt x="222819" y="500699"/>
                  </a:cubicBezTo>
                  <a:cubicBezTo>
                    <a:pt x="222438" y="499498"/>
                    <a:pt x="222278" y="498298"/>
                    <a:pt x="221798" y="497097"/>
                  </a:cubicBezTo>
                  <a:cubicBezTo>
                    <a:pt x="221397" y="495896"/>
                    <a:pt x="220957" y="494516"/>
                    <a:pt x="220356" y="493095"/>
                  </a:cubicBezTo>
                  <a:lnTo>
                    <a:pt x="219515" y="490974"/>
                  </a:lnTo>
                  <a:lnTo>
                    <a:pt x="218554" y="488793"/>
                  </a:lnTo>
                  <a:cubicBezTo>
                    <a:pt x="215951" y="482950"/>
                    <a:pt x="212768" y="476908"/>
                    <a:pt x="209344" y="470905"/>
                  </a:cubicBezTo>
                  <a:cubicBezTo>
                    <a:pt x="205900" y="464902"/>
                    <a:pt x="202216" y="458899"/>
                    <a:pt x="198372" y="452976"/>
                  </a:cubicBezTo>
                  <a:lnTo>
                    <a:pt x="195468" y="448554"/>
                  </a:lnTo>
                  <a:lnTo>
                    <a:pt x="192825" y="444652"/>
                  </a:lnTo>
                  <a:cubicBezTo>
                    <a:pt x="192485" y="444092"/>
                    <a:pt x="192045" y="443672"/>
                    <a:pt x="191664" y="443172"/>
                  </a:cubicBezTo>
                  <a:lnTo>
                    <a:pt x="190082" y="441251"/>
                  </a:lnTo>
                  <a:cubicBezTo>
                    <a:pt x="188821" y="439690"/>
                    <a:pt x="187520" y="438169"/>
                    <a:pt x="186278" y="436589"/>
                  </a:cubicBezTo>
                  <a:cubicBezTo>
                    <a:pt x="166556" y="411297"/>
                    <a:pt x="151740" y="382143"/>
                    <a:pt x="143170" y="351189"/>
                  </a:cubicBezTo>
                  <a:cubicBezTo>
                    <a:pt x="140247" y="340524"/>
                    <a:pt x="138085" y="329678"/>
                    <a:pt x="136543" y="318733"/>
                  </a:cubicBezTo>
                  <a:cubicBezTo>
                    <a:pt x="135101" y="307788"/>
                    <a:pt x="134441" y="296743"/>
                    <a:pt x="134360" y="285718"/>
                  </a:cubicBezTo>
                  <a:lnTo>
                    <a:pt x="134561" y="277454"/>
                  </a:lnTo>
                  <a:lnTo>
                    <a:pt x="134681" y="273312"/>
                  </a:lnTo>
                  <a:lnTo>
                    <a:pt x="134981" y="269190"/>
                  </a:lnTo>
                  <a:lnTo>
                    <a:pt x="135622" y="260926"/>
                  </a:lnTo>
                  <a:lnTo>
                    <a:pt x="136663" y="252702"/>
                  </a:lnTo>
                  <a:lnTo>
                    <a:pt x="137204" y="248600"/>
                  </a:lnTo>
                  <a:lnTo>
                    <a:pt x="137924" y="244518"/>
                  </a:lnTo>
                  <a:lnTo>
                    <a:pt x="139406" y="236355"/>
                  </a:lnTo>
                  <a:lnTo>
                    <a:pt x="141268" y="228271"/>
                  </a:lnTo>
                  <a:cubicBezTo>
                    <a:pt x="141588" y="226930"/>
                    <a:pt x="141869" y="225570"/>
                    <a:pt x="142229" y="224249"/>
                  </a:cubicBezTo>
                  <a:lnTo>
                    <a:pt x="143350" y="220267"/>
                  </a:lnTo>
                  <a:cubicBezTo>
                    <a:pt x="146194" y="209582"/>
                    <a:pt x="150098" y="199217"/>
                    <a:pt x="154363" y="189032"/>
                  </a:cubicBezTo>
                  <a:cubicBezTo>
                    <a:pt x="158768" y="178888"/>
                    <a:pt x="163873" y="169083"/>
                    <a:pt x="169519" y="159599"/>
                  </a:cubicBezTo>
                  <a:cubicBezTo>
                    <a:pt x="181032" y="140770"/>
                    <a:pt x="194908" y="123322"/>
                    <a:pt x="211006" y="108214"/>
                  </a:cubicBezTo>
                  <a:cubicBezTo>
                    <a:pt x="243041" y="77840"/>
                    <a:pt x="283386" y="56150"/>
                    <a:pt x="326614" y="46746"/>
                  </a:cubicBezTo>
                  <a:lnTo>
                    <a:pt x="330659" y="45825"/>
                  </a:lnTo>
                  <a:lnTo>
                    <a:pt x="334743" y="45085"/>
                  </a:lnTo>
                  <a:lnTo>
                    <a:pt x="342912" y="43644"/>
                  </a:lnTo>
                  <a:lnTo>
                    <a:pt x="351121" y="42604"/>
                  </a:lnTo>
                  <a:lnTo>
                    <a:pt x="355226" y="42083"/>
                  </a:lnTo>
                  <a:lnTo>
                    <a:pt x="359350" y="41763"/>
                  </a:lnTo>
                  <a:lnTo>
                    <a:pt x="367600" y="41143"/>
                  </a:lnTo>
                  <a:lnTo>
                    <a:pt x="375869" y="40923"/>
                  </a:lnTo>
                  <a:lnTo>
                    <a:pt x="380013" y="40823"/>
                  </a:lnTo>
                  <a:lnTo>
                    <a:pt x="383718" y="40863"/>
                  </a:lnTo>
                  <a:cubicBezTo>
                    <a:pt x="386200" y="40863"/>
                    <a:pt x="388843" y="40783"/>
                    <a:pt x="391386" y="40743"/>
                  </a:cubicBezTo>
                  <a:cubicBezTo>
                    <a:pt x="396432" y="40563"/>
                    <a:pt x="401958" y="40743"/>
                    <a:pt x="407324" y="40843"/>
                  </a:cubicBezTo>
                  <a:cubicBezTo>
                    <a:pt x="410027" y="40883"/>
                    <a:pt x="412730" y="41103"/>
                    <a:pt x="415413" y="41223"/>
                  </a:cubicBezTo>
                  <a:cubicBezTo>
                    <a:pt x="418116" y="41383"/>
                    <a:pt x="420819" y="41483"/>
                    <a:pt x="423502" y="41763"/>
                  </a:cubicBezTo>
                  <a:cubicBezTo>
                    <a:pt x="434294" y="42564"/>
                    <a:pt x="445066" y="44144"/>
                    <a:pt x="455758" y="46065"/>
                  </a:cubicBezTo>
                  <a:cubicBezTo>
                    <a:pt x="498525" y="54029"/>
                    <a:pt x="539751" y="71937"/>
                    <a:pt x="574630" y="98130"/>
                  </a:cubicBezTo>
                  <a:cubicBezTo>
                    <a:pt x="592089" y="111216"/>
                    <a:pt x="608067" y="126183"/>
                    <a:pt x="622183" y="142871"/>
                  </a:cubicBezTo>
                  <a:cubicBezTo>
                    <a:pt x="623925" y="144972"/>
                    <a:pt x="625686" y="147073"/>
                    <a:pt x="627388" y="149234"/>
                  </a:cubicBezTo>
                  <a:cubicBezTo>
                    <a:pt x="628229" y="150254"/>
                    <a:pt x="629150" y="151475"/>
                    <a:pt x="630031" y="152655"/>
                  </a:cubicBezTo>
                  <a:cubicBezTo>
                    <a:pt x="630932" y="153836"/>
                    <a:pt x="631773" y="155056"/>
                    <a:pt x="632654" y="156257"/>
                  </a:cubicBezTo>
                  <a:cubicBezTo>
                    <a:pt x="636058" y="161119"/>
                    <a:pt x="639142" y="166202"/>
                    <a:pt x="641885" y="171444"/>
                  </a:cubicBezTo>
                  <a:cubicBezTo>
                    <a:pt x="647351" y="181889"/>
                    <a:pt x="651555" y="193214"/>
                    <a:pt x="654138" y="204500"/>
                  </a:cubicBezTo>
                  <a:cubicBezTo>
                    <a:pt x="656781" y="215385"/>
                    <a:pt x="658463" y="226670"/>
                    <a:pt x="659224" y="237775"/>
                  </a:cubicBezTo>
                  <a:cubicBezTo>
                    <a:pt x="660005" y="248881"/>
                    <a:pt x="659905" y="259726"/>
                    <a:pt x="659804" y="269790"/>
                  </a:cubicBezTo>
                  <a:cubicBezTo>
                    <a:pt x="659704" y="279855"/>
                    <a:pt x="659744" y="289219"/>
                    <a:pt x="660585" y="298224"/>
                  </a:cubicBezTo>
                  <a:cubicBezTo>
                    <a:pt x="660806" y="300465"/>
                    <a:pt x="661106" y="302686"/>
                    <a:pt x="661346" y="304927"/>
                  </a:cubicBezTo>
                  <a:cubicBezTo>
                    <a:pt x="661727" y="307108"/>
                    <a:pt x="662047" y="309369"/>
                    <a:pt x="662427" y="311510"/>
                  </a:cubicBezTo>
                  <a:cubicBezTo>
                    <a:pt x="663268" y="315572"/>
                    <a:pt x="664249" y="319654"/>
                    <a:pt x="665631" y="323696"/>
                  </a:cubicBezTo>
                  <a:cubicBezTo>
                    <a:pt x="670997" y="339883"/>
                    <a:pt x="680648" y="355671"/>
                    <a:pt x="692401" y="369457"/>
                  </a:cubicBezTo>
                  <a:cubicBezTo>
                    <a:pt x="693862" y="371178"/>
                    <a:pt x="695364" y="372859"/>
                    <a:pt x="696866" y="374479"/>
                  </a:cubicBezTo>
                  <a:lnTo>
                    <a:pt x="698407" y="376160"/>
                  </a:lnTo>
                  <a:cubicBezTo>
                    <a:pt x="699048" y="376881"/>
                    <a:pt x="699669" y="377601"/>
                    <a:pt x="700289" y="378361"/>
                  </a:cubicBezTo>
                  <a:cubicBezTo>
                    <a:pt x="701511" y="379862"/>
                    <a:pt x="702652" y="381423"/>
                    <a:pt x="703733" y="383044"/>
                  </a:cubicBezTo>
                  <a:cubicBezTo>
                    <a:pt x="705876" y="386305"/>
                    <a:pt x="707698" y="389847"/>
                    <a:pt x="709139" y="393589"/>
                  </a:cubicBezTo>
                  <a:cubicBezTo>
                    <a:pt x="710661" y="397370"/>
                    <a:pt x="711362" y="401272"/>
                    <a:pt x="712123" y="405134"/>
                  </a:cubicBezTo>
                  <a:cubicBezTo>
                    <a:pt x="712603" y="409296"/>
                    <a:pt x="712903" y="413598"/>
                    <a:pt x="712183" y="418280"/>
                  </a:cubicBezTo>
                  <a:cubicBezTo>
                    <a:pt x="712003" y="420541"/>
                    <a:pt x="711282" y="422902"/>
                    <a:pt x="710621" y="425203"/>
                  </a:cubicBezTo>
                  <a:cubicBezTo>
                    <a:pt x="710020" y="427524"/>
                    <a:pt x="708899" y="429705"/>
                    <a:pt x="707858" y="431866"/>
                  </a:cubicBezTo>
                  <a:cubicBezTo>
                    <a:pt x="707337" y="432967"/>
                    <a:pt x="706737" y="433987"/>
                    <a:pt x="706076" y="434948"/>
                  </a:cubicBezTo>
                  <a:cubicBezTo>
                    <a:pt x="705435" y="435928"/>
                    <a:pt x="704754" y="436909"/>
                    <a:pt x="704074" y="437869"/>
                  </a:cubicBezTo>
                  <a:cubicBezTo>
                    <a:pt x="702672" y="439710"/>
                    <a:pt x="701150" y="441331"/>
                    <a:pt x="699589" y="442952"/>
                  </a:cubicBezTo>
                  <a:cubicBezTo>
                    <a:pt x="696445" y="445893"/>
                    <a:pt x="693102" y="448474"/>
                    <a:pt x="689718" y="450375"/>
                  </a:cubicBezTo>
                  <a:cubicBezTo>
                    <a:pt x="688516" y="451116"/>
                    <a:pt x="687295" y="451756"/>
                    <a:pt x="686074" y="452336"/>
                  </a:cubicBezTo>
                  <a:close/>
                  <a:moveTo>
                    <a:pt x="693422" y="493335"/>
                  </a:moveTo>
                  <a:lnTo>
                    <a:pt x="693422" y="493335"/>
                  </a:lnTo>
                  <a:cubicBezTo>
                    <a:pt x="693422" y="493215"/>
                    <a:pt x="693422" y="493195"/>
                    <a:pt x="693422" y="493335"/>
                  </a:cubicBezTo>
                  <a:lnTo>
                    <a:pt x="693422" y="493335"/>
                  </a:ln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50" name="Freeform 6">
              <a:extLst>
                <a:ext uri="{FF2B5EF4-FFF2-40B4-BE49-F238E27FC236}">
                  <a16:creationId xmlns:a16="http://schemas.microsoft.com/office/drawing/2014/main" id="{ACD081A1-0728-E767-5994-B29F1A8F6715}"/>
                </a:ext>
              </a:extLst>
            </p:cNvPr>
            <p:cNvSpPr/>
            <p:nvPr/>
          </p:nvSpPr>
          <p:spPr>
            <a:xfrm>
              <a:off x="3681097" y="3901202"/>
              <a:ext cx="314845" cy="437679"/>
            </a:xfrm>
            <a:custGeom>
              <a:avLst/>
              <a:gdLst>
                <a:gd name="connsiteX0" fmla="*/ 153692 w 314845"/>
                <a:gd name="connsiteY0" fmla="*/ 334471 h 437679"/>
                <a:gd name="connsiteX1" fmla="*/ 314531 w 314845"/>
                <a:gd name="connsiteY1" fmla="*/ 23525 h 437679"/>
                <a:gd name="connsiteX2" fmla="*/ 298333 w 314845"/>
                <a:gd name="connsiteY2" fmla="*/ 314 h 437679"/>
                <a:gd name="connsiteX3" fmla="*/ 275107 w 314845"/>
                <a:gd name="connsiteY3" fmla="*/ 16502 h 437679"/>
                <a:gd name="connsiteX4" fmla="*/ 125741 w 314845"/>
                <a:gd name="connsiteY4" fmla="*/ 305798 h 437679"/>
                <a:gd name="connsiteX5" fmla="*/ 10253 w 314845"/>
                <a:gd name="connsiteY5" fmla="*/ 400202 h 437679"/>
                <a:gd name="connsiteX6" fmla="*/ 2544 w 314845"/>
                <a:gd name="connsiteY6" fmla="*/ 427415 h 437679"/>
                <a:gd name="connsiteX7" fmla="*/ 20044 w 314845"/>
                <a:gd name="connsiteY7" fmla="*/ 437680 h 437679"/>
                <a:gd name="connsiteX8" fmla="*/ 29774 w 314845"/>
                <a:gd name="connsiteY8" fmla="*/ 435139 h 437679"/>
                <a:gd name="connsiteX9" fmla="*/ 153712 w 314845"/>
                <a:gd name="connsiteY9" fmla="*/ 334471 h 437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4845" h="437679">
                  <a:moveTo>
                    <a:pt x="153692" y="334471"/>
                  </a:moveTo>
                  <a:cubicBezTo>
                    <a:pt x="212758" y="272742"/>
                    <a:pt x="288602" y="168694"/>
                    <a:pt x="314531" y="23525"/>
                  </a:cubicBezTo>
                  <a:cubicBezTo>
                    <a:pt x="316473" y="12640"/>
                    <a:pt x="309225" y="2255"/>
                    <a:pt x="298333" y="314"/>
                  </a:cubicBezTo>
                  <a:cubicBezTo>
                    <a:pt x="287461" y="-1626"/>
                    <a:pt x="277049" y="5617"/>
                    <a:pt x="275107" y="16502"/>
                  </a:cubicBezTo>
                  <a:cubicBezTo>
                    <a:pt x="251040" y="151245"/>
                    <a:pt x="180582" y="248191"/>
                    <a:pt x="125741" y="305798"/>
                  </a:cubicBezTo>
                  <a:cubicBezTo>
                    <a:pt x="65955" y="368567"/>
                    <a:pt x="11053" y="399742"/>
                    <a:pt x="10253" y="400202"/>
                  </a:cubicBezTo>
                  <a:cubicBezTo>
                    <a:pt x="602" y="405585"/>
                    <a:pt x="-2842" y="417770"/>
                    <a:pt x="2544" y="427415"/>
                  </a:cubicBezTo>
                  <a:cubicBezTo>
                    <a:pt x="6208" y="433978"/>
                    <a:pt x="13016" y="437680"/>
                    <a:pt x="20044" y="437680"/>
                  </a:cubicBezTo>
                  <a:cubicBezTo>
                    <a:pt x="23347" y="437680"/>
                    <a:pt x="26691" y="436860"/>
                    <a:pt x="29774" y="435139"/>
                  </a:cubicBezTo>
                  <a:cubicBezTo>
                    <a:pt x="32197" y="433798"/>
                    <a:pt x="89721" y="401363"/>
                    <a:pt x="153712" y="334471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51" name="Freeform 7">
              <a:extLst>
                <a:ext uri="{FF2B5EF4-FFF2-40B4-BE49-F238E27FC236}">
                  <a16:creationId xmlns:a16="http://schemas.microsoft.com/office/drawing/2014/main" id="{912963B3-B91F-7357-F152-4E7D37A13829}"/>
                </a:ext>
              </a:extLst>
            </p:cNvPr>
            <p:cNvSpPr/>
            <p:nvPr/>
          </p:nvSpPr>
          <p:spPr>
            <a:xfrm>
              <a:off x="3718272" y="4004204"/>
              <a:ext cx="509513" cy="583573"/>
            </a:xfrm>
            <a:custGeom>
              <a:avLst/>
              <a:gdLst>
                <a:gd name="connsiteX0" fmla="*/ 425099 w 509513"/>
                <a:gd name="connsiteY0" fmla="*/ 0 h 583573"/>
                <a:gd name="connsiteX1" fmla="*/ 340666 w 509513"/>
                <a:gd name="connsiteY1" fmla="*/ 84380 h 583573"/>
                <a:gd name="connsiteX2" fmla="*/ 385916 w 509513"/>
                <a:gd name="connsiteY2" fmla="*/ 159095 h 583573"/>
                <a:gd name="connsiteX3" fmla="*/ 303985 w 509513"/>
                <a:gd name="connsiteY3" fmla="*/ 320430 h 583573"/>
                <a:gd name="connsiteX4" fmla="*/ 177564 w 509513"/>
                <a:gd name="connsiteY4" fmla="*/ 445849 h 583573"/>
                <a:gd name="connsiteX5" fmla="*/ 12421 w 509513"/>
                <a:gd name="connsiteY5" fmla="*/ 545056 h 583573"/>
                <a:gd name="connsiteX6" fmla="*/ 1509 w 509513"/>
                <a:gd name="connsiteY6" fmla="*/ 571168 h 583573"/>
                <a:gd name="connsiteX7" fmla="*/ 20029 w 509513"/>
                <a:gd name="connsiteY7" fmla="*/ 583574 h 583573"/>
                <a:gd name="connsiteX8" fmla="*/ 27618 w 509513"/>
                <a:gd name="connsiteY8" fmla="*/ 582073 h 583573"/>
                <a:gd name="connsiteX9" fmla="*/ 201130 w 509513"/>
                <a:gd name="connsiteY9" fmla="*/ 478225 h 583573"/>
                <a:gd name="connsiteX10" fmla="*/ 335460 w 509513"/>
                <a:gd name="connsiteY10" fmla="*/ 345162 h 583573"/>
                <a:gd name="connsiteX11" fmla="*/ 424779 w 509513"/>
                <a:gd name="connsiteY11" fmla="*/ 168759 h 583573"/>
                <a:gd name="connsiteX12" fmla="*/ 425079 w 509513"/>
                <a:gd name="connsiteY12" fmla="*/ 168759 h 583573"/>
                <a:gd name="connsiteX13" fmla="*/ 509513 w 509513"/>
                <a:gd name="connsiteY13" fmla="*/ 84380 h 583573"/>
                <a:gd name="connsiteX14" fmla="*/ 425079 w 509513"/>
                <a:gd name="connsiteY14" fmla="*/ 0 h 583573"/>
                <a:gd name="connsiteX15" fmla="*/ 425099 w 509513"/>
                <a:gd name="connsiteY15" fmla="*/ 128740 h 583573"/>
                <a:gd name="connsiteX16" fmla="*/ 380710 w 509513"/>
                <a:gd name="connsiteY16" fmla="*/ 84380 h 583573"/>
                <a:gd name="connsiteX17" fmla="*/ 425099 w 509513"/>
                <a:gd name="connsiteY17" fmla="*/ 40019 h 583573"/>
                <a:gd name="connsiteX18" fmla="*/ 469489 w 509513"/>
                <a:gd name="connsiteY18" fmla="*/ 84380 h 583573"/>
                <a:gd name="connsiteX19" fmla="*/ 425099 w 509513"/>
                <a:gd name="connsiteY19" fmla="*/ 128740 h 583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09513" h="583573">
                  <a:moveTo>
                    <a:pt x="425099" y="0"/>
                  </a:moveTo>
                  <a:cubicBezTo>
                    <a:pt x="378548" y="0"/>
                    <a:pt x="340666" y="37858"/>
                    <a:pt x="340666" y="84380"/>
                  </a:cubicBezTo>
                  <a:cubicBezTo>
                    <a:pt x="340666" y="116775"/>
                    <a:pt x="359046" y="144948"/>
                    <a:pt x="385916" y="159095"/>
                  </a:cubicBezTo>
                  <a:cubicBezTo>
                    <a:pt x="370078" y="215401"/>
                    <a:pt x="342588" y="269627"/>
                    <a:pt x="303985" y="320430"/>
                  </a:cubicBezTo>
                  <a:cubicBezTo>
                    <a:pt x="270047" y="365111"/>
                    <a:pt x="227520" y="407311"/>
                    <a:pt x="177564" y="445849"/>
                  </a:cubicBezTo>
                  <a:cubicBezTo>
                    <a:pt x="92169" y="511760"/>
                    <a:pt x="13722" y="544516"/>
                    <a:pt x="12421" y="545056"/>
                  </a:cubicBezTo>
                  <a:cubicBezTo>
                    <a:pt x="2189" y="549258"/>
                    <a:pt x="-2696" y="560943"/>
                    <a:pt x="1509" y="571168"/>
                  </a:cubicBezTo>
                  <a:cubicBezTo>
                    <a:pt x="4692" y="578912"/>
                    <a:pt x="12161" y="583574"/>
                    <a:pt x="20029" y="583574"/>
                  </a:cubicBezTo>
                  <a:cubicBezTo>
                    <a:pt x="22572" y="583574"/>
                    <a:pt x="25135" y="583094"/>
                    <a:pt x="27618" y="582073"/>
                  </a:cubicBezTo>
                  <a:cubicBezTo>
                    <a:pt x="31001" y="580693"/>
                    <a:pt x="111291" y="547357"/>
                    <a:pt x="201130" y="478225"/>
                  </a:cubicBezTo>
                  <a:cubicBezTo>
                    <a:pt x="254049" y="437485"/>
                    <a:pt x="299240" y="392724"/>
                    <a:pt x="335460" y="345162"/>
                  </a:cubicBezTo>
                  <a:cubicBezTo>
                    <a:pt x="377607" y="289816"/>
                    <a:pt x="407580" y="230528"/>
                    <a:pt x="424779" y="168759"/>
                  </a:cubicBezTo>
                  <a:cubicBezTo>
                    <a:pt x="424879" y="168759"/>
                    <a:pt x="424979" y="168759"/>
                    <a:pt x="425079" y="168759"/>
                  </a:cubicBezTo>
                  <a:cubicBezTo>
                    <a:pt x="471631" y="168759"/>
                    <a:pt x="509513" y="130902"/>
                    <a:pt x="509513" y="84380"/>
                  </a:cubicBezTo>
                  <a:cubicBezTo>
                    <a:pt x="509513" y="37858"/>
                    <a:pt x="471631" y="0"/>
                    <a:pt x="425079" y="0"/>
                  </a:cubicBezTo>
                  <a:close/>
                  <a:moveTo>
                    <a:pt x="425099" y="128740"/>
                  </a:moveTo>
                  <a:cubicBezTo>
                    <a:pt x="400632" y="128740"/>
                    <a:pt x="380710" y="108851"/>
                    <a:pt x="380710" y="84380"/>
                  </a:cubicBezTo>
                  <a:cubicBezTo>
                    <a:pt x="380710" y="59908"/>
                    <a:pt x="400632" y="40019"/>
                    <a:pt x="425099" y="40019"/>
                  </a:cubicBezTo>
                  <a:cubicBezTo>
                    <a:pt x="449567" y="40019"/>
                    <a:pt x="469489" y="59928"/>
                    <a:pt x="469489" y="84380"/>
                  </a:cubicBezTo>
                  <a:cubicBezTo>
                    <a:pt x="469489" y="108831"/>
                    <a:pt x="449587" y="128740"/>
                    <a:pt x="425099" y="128740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52" name="Freeform 8">
              <a:extLst>
                <a:ext uri="{FF2B5EF4-FFF2-40B4-BE49-F238E27FC236}">
                  <a16:creationId xmlns:a16="http://schemas.microsoft.com/office/drawing/2014/main" id="{D95D28C4-A903-4224-A66F-25076E24C8FE}"/>
                </a:ext>
              </a:extLst>
            </p:cNvPr>
            <p:cNvSpPr/>
            <p:nvPr/>
          </p:nvSpPr>
          <p:spPr>
            <a:xfrm>
              <a:off x="2449939" y="3508088"/>
              <a:ext cx="363735" cy="1013659"/>
            </a:xfrm>
            <a:custGeom>
              <a:avLst/>
              <a:gdLst>
                <a:gd name="connsiteX0" fmla="*/ 279321 w 363735"/>
                <a:gd name="connsiteY0" fmla="*/ 844920 h 1013659"/>
                <a:gd name="connsiteX1" fmla="*/ 226483 w 363735"/>
                <a:gd name="connsiteY1" fmla="*/ 863549 h 1013659"/>
                <a:gd name="connsiteX2" fmla="*/ 131317 w 363735"/>
                <a:gd name="connsiteY2" fmla="*/ 745313 h 1013659"/>
                <a:gd name="connsiteX3" fmla="*/ 113897 w 363735"/>
                <a:gd name="connsiteY3" fmla="*/ 716300 h 1013659"/>
                <a:gd name="connsiteX4" fmla="*/ 45081 w 363735"/>
                <a:gd name="connsiteY4" fmla="*/ 481309 h 1013659"/>
                <a:gd name="connsiteX5" fmla="*/ 40916 w 363735"/>
                <a:gd name="connsiteY5" fmla="*/ 180548 h 1013659"/>
                <a:gd name="connsiteX6" fmla="*/ 41577 w 363735"/>
                <a:gd name="connsiteY6" fmla="*/ 19813 h 1013659"/>
                <a:gd name="connsiteX7" fmla="*/ 21355 w 363735"/>
                <a:gd name="connsiteY7" fmla="*/ 3 h 1013659"/>
                <a:gd name="connsiteX8" fmla="*/ 1533 w 363735"/>
                <a:gd name="connsiteY8" fmla="*/ 20213 h 1013659"/>
                <a:gd name="connsiteX9" fmla="*/ 872 w 363735"/>
                <a:gd name="connsiteY9" fmla="*/ 180108 h 1013659"/>
                <a:gd name="connsiteX10" fmla="*/ 5117 w 363735"/>
                <a:gd name="connsiteY10" fmla="*/ 483990 h 1013659"/>
                <a:gd name="connsiteX11" fmla="*/ 78558 w 363735"/>
                <a:gd name="connsiteY11" fmla="*/ 735148 h 1013659"/>
                <a:gd name="connsiteX12" fmla="*/ 97019 w 363735"/>
                <a:gd name="connsiteY12" fmla="*/ 766003 h 1013659"/>
                <a:gd name="connsiteX13" fmla="*/ 97139 w 363735"/>
                <a:gd name="connsiteY13" fmla="*/ 766203 h 1013659"/>
                <a:gd name="connsiteX14" fmla="*/ 201935 w 363735"/>
                <a:gd name="connsiteY14" fmla="*/ 895544 h 1013659"/>
                <a:gd name="connsiteX15" fmla="*/ 194867 w 363735"/>
                <a:gd name="connsiteY15" fmla="*/ 929280 h 1013659"/>
                <a:gd name="connsiteX16" fmla="*/ 279301 w 363735"/>
                <a:gd name="connsiteY16" fmla="*/ 1013659 h 1013659"/>
                <a:gd name="connsiteX17" fmla="*/ 363735 w 363735"/>
                <a:gd name="connsiteY17" fmla="*/ 929280 h 1013659"/>
                <a:gd name="connsiteX18" fmla="*/ 279301 w 363735"/>
                <a:gd name="connsiteY18" fmla="*/ 844900 h 1013659"/>
                <a:gd name="connsiteX19" fmla="*/ 279321 w 363735"/>
                <a:gd name="connsiteY19" fmla="*/ 973660 h 1013659"/>
                <a:gd name="connsiteX20" fmla="*/ 234932 w 363735"/>
                <a:gd name="connsiteY20" fmla="*/ 929299 h 1013659"/>
                <a:gd name="connsiteX21" fmla="*/ 279321 w 363735"/>
                <a:gd name="connsiteY21" fmla="*/ 884939 h 1013659"/>
                <a:gd name="connsiteX22" fmla="*/ 323711 w 363735"/>
                <a:gd name="connsiteY22" fmla="*/ 929299 h 1013659"/>
                <a:gd name="connsiteX23" fmla="*/ 279321 w 363735"/>
                <a:gd name="connsiteY23" fmla="*/ 973660 h 1013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63735" h="1013659">
                  <a:moveTo>
                    <a:pt x="279321" y="844920"/>
                  </a:moveTo>
                  <a:cubicBezTo>
                    <a:pt x="259339" y="844920"/>
                    <a:pt x="240959" y="851903"/>
                    <a:pt x="226483" y="863549"/>
                  </a:cubicBezTo>
                  <a:cubicBezTo>
                    <a:pt x="187980" y="825711"/>
                    <a:pt x="157506" y="787853"/>
                    <a:pt x="131317" y="745313"/>
                  </a:cubicBezTo>
                  <a:lnTo>
                    <a:pt x="113897" y="716300"/>
                  </a:lnTo>
                  <a:cubicBezTo>
                    <a:pt x="73633" y="637643"/>
                    <a:pt x="50467" y="558545"/>
                    <a:pt x="45081" y="481309"/>
                  </a:cubicBezTo>
                  <a:cubicBezTo>
                    <a:pt x="38674" y="381262"/>
                    <a:pt x="39815" y="279234"/>
                    <a:pt x="40916" y="180548"/>
                  </a:cubicBezTo>
                  <a:cubicBezTo>
                    <a:pt x="41517" y="127863"/>
                    <a:pt x="42118" y="73398"/>
                    <a:pt x="41577" y="19813"/>
                  </a:cubicBezTo>
                  <a:cubicBezTo>
                    <a:pt x="41477" y="8767"/>
                    <a:pt x="32427" y="-197"/>
                    <a:pt x="21355" y="3"/>
                  </a:cubicBezTo>
                  <a:cubicBezTo>
                    <a:pt x="10302" y="123"/>
                    <a:pt x="1412" y="9168"/>
                    <a:pt x="1533" y="20213"/>
                  </a:cubicBezTo>
                  <a:cubicBezTo>
                    <a:pt x="2073" y="73378"/>
                    <a:pt x="1452" y="127623"/>
                    <a:pt x="872" y="180108"/>
                  </a:cubicBezTo>
                  <a:cubicBezTo>
                    <a:pt x="-249" y="279514"/>
                    <a:pt x="-1411" y="382323"/>
                    <a:pt x="5117" y="483990"/>
                  </a:cubicBezTo>
                  <a:cubicBezTo>
                    <a:pt x="10903" y="566949"/>
                    <a:pt x="35630" y="651469"/>
                    <a:pt x="78558" y="735148"/>
                  </a:cubicBezTo>
                  <a:lnTo>
                    <a:pt x="97019" y="766003"/>
                  </a:lnTo>
                  <a:lnTo>
                    <a:pt x="97139" y="766203"/>
                  </a:lnTo>
                  <a:cubicBezTo>
                    <a:pt x="125891" y="812905"/>
                    <a:pt x="159368" y="854224"/>
                    <a:pt x="201935" y="895544"/>
                  </a:cubicBezTo>
                  <a:cubicBezTo>
                    <a:pt x="197410" y="905889"/>
                    <a:pt x="194867" y="917294"/>
                    <a:pt x="194867" y="929280"/>
                  </a:cubicBezTo>
                  <a:cubicBezTo>
                    <a:pt x="194867" y="975801"/>
                    <a:pt x="232750" y="1013659"/>
                    <a:pt x="279301" y="1013659"/>
                  </a:cubicBezTo>
                  <a:cubicBezTo>
                    <a:pt x="325853" y="1013659"/>
                    <a:pt x="363735" y="975801"/>
                    <a:pt x="363735" y="929280"/>
                  </a:cubicBezTo>
                  <a:cubicBezTo>
                    <a:pt x="363735" y="882758"/>
                    <a:pt x="325853" y="844900"/>
                    <a:pt x="279301" y="844900"/>
                  </a:cubicBezTo>
                  <a:close/>
                  <a:moveTo>
                    <a:pt x="279321" y="973660"/>
                  </a:moveTo>
                  <a:cubicBezTo>
                    <a:pt x="254854" y="973660"/>
                    <a:pt x="234932" y="953751"/>
                    <a:pt x="234932" y="929299"/>
                  </a:cubicBezTo>
                  <a:cubicBezTo>
                    <a:pt x="234932" y="904848"/>
                    <a:pt x="254834" y="884939"/>
                    <a:pt x="279321" y="884939"/>
                  </a:cubicBezTo>
                  <a:cubicBezTo>
                    <a:pt x="303809" y="884939"/>
                    <a:pt x="323711" y="904848"/>
                    <a:pt x="323711" y="929299"/>
                  </a:cubicBezTo>
                  <a:cubicBezTo>
                    <a:pt x="323711" y="953751"/>
                    <a:pt x="303789" y="973660"/>
                    <a:pt x="279321" y="973660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53" name="Freeform 9">
              <a:extLst>
                <a:ext uri="{FF2B5EF4-FFF2-40B4-BE49-F238E27FC236}">
                  <a16:creationId xmlns:a16="http://schemas.microsoft.com/office/drawing/2014/main" id="{5A1D03E7-E362-3EE2-070C-45B71DBA3F57}"/>
                </a:ext>
              </a:extLst>
            </p:cNvPr>
            <p:cNvSpPr/>
            <p:nvPr/>
          </p:nvSpPr>
          <p:spPr>
            <a:xfrm>
              <a:off x="2795494" y="3160268"/>
              <a:ext cx="668803" cy="718817"/>
            </a:xfrm>
            <a:custGeom>
              <a:avLst/>
              <a:gdLst>
                <a:gd name="connsiteX0" fmla="*/ 104877 w 668803"/>
                <a:gd name="connsiteY0" fmla="*/ 552579 h 718817"/>
                <a:gd name="connsiteX1" fmla="*/ 104877 w 668803"/>
                <a:gd name="connsiteY1" fmla="*/ 365031 h 718817"/>
                <a:gd name="connsiteX2" fmla="*/ 430098 w 668803"/>
                <a:gd name="connsiteY2" fmla="*/ 40019 h 718817"/>
                <a:gd name="connsiteX3" fmla="*/ 648781 w 668803"/>
                <a:gd name="connsiteY3" fmla="*/ 40019 h 718817"/>
                <a:gd name="connsiteX4" fmla="*/ 668803 w 668803"/>
                <a:gd name="connsiteY4" fmla="*/ 20009 h 718817"/>
                <a:gd name="connsiteX5" fmla="*/ 648781 w 668803"/>
                <a:gd name="connsiteY5" fmla="*/ 0 h 718817"/>
                <a:gd name="connsiteX6" fmla="*/ 430098 w 668803"/>
                <a:gd name="connsiteY6" fmla="*/ 0 h 718817"/>
                <a:gd name="connsiteX7" fmla="*/ 64832 w 668803"/>
                <a:gd name="connsiteY7" fmla="*/ 365031 h 718817"/>
                <a:gd name="connsiteX8" fmla="*/ 64832 w 668803"/>
                <a:gd name="connsiteY8" fmla="*/ 552379 h 718817"/>
                <a:gd name="connsiteX9" fmla="*/ 0 w 668803"/>
                <a:gd name="connsiteY9" fmla="*/ 634438 h 718817"/>
                <a:gd name="connsiteX10" fmla="*/ 84434 w 668803"/>
                <a:gd name="connsiteY10" fmla="*/ 718818 h 718817"/>
                <a:gd name="connsiteX11" fmla="*/ 168868 w 668803"/>
                <a:gd name="connsiteY11" fmla="*/ 634438 h 718817"/>
                <a:gd name="connsiteX12" fmla="*/ 104877 w 668803"/>
                <a:gd name="connsiteY12" fmla="*/ 552579 h 718817"/>
                <a:gd name="connsiteX13" fmla="*/ 84434 w 668803"/>
                <a:gd name="connsiteY13" fmla="*/ 678799 h 718817"/>
                <a:gd name="connsiteX14" fmla="*/ 40045 w 668803"/>
                <a:gd name="connsiteY14" fmla="*/ 634438 h 718817"/>
                <a:gd name="connsiteX15" fmla="*/ 84434 w 668803"/>
                <a:gd name="connsiteY15" fmla="*/ 590077 h 718817"/>
                <a:gd name="connsiteX16" fmla="*/ 128823 w 668803"/>
                <a:gd name="connsiteY16" fmla="*/ 634438 h 718817"/>
                <a:gd name="connsiteX17" fmla="*/ 84434 w 668803"/>
                <a:gd name="connsiteY17" fmla="*/ 678799 h 718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68803" h="718817">
                  <a:moveTo>
                    <a:pt x="104877" y="552579"/>
                  </a:moveTo>
                  <a:lnTo>
                    <a:pt x="104877" y="365031"/>
                  </a:lnTo>
                  <a:cubicBezTo>
                    <a:pt x="104877" y="185827"/>
                    <a:pt x="250779" y="40019"/>
                    <a:pt x="430098" y="40019"/>
                  </a:cubicBezTo>
                  <a:lnTo>
                    <a:pt x="648781" y="40019"/>
                  </a:lnTo>
                  <a:cubicBezTo>
                    <a:pt x="659833" y="40019"/>
                    <a:pt x="668803" y="31055"/>
                    <a:pt x="668803" y="20009"/>
                  </a:cubicBezTo>
                  <a:cubicBezTo>
                    <a:pt x="668803" y="8964"/>
                    <a:pt x="659833" y="0"/>
                    <a:pt x="648781" y="0"/>
                  </a:cubicBezTo>
                  <a:lnTo>
                    <a:pt x="430098" y="0"/>
                  </a:lnTo>
                  <a:cubicBezTo>
                    <a:pt x="228694" y="0"/>
                    <a:pt x="64832" y="163757"/>
                    <a:pt x="64832" y="365031"/>
                  </a:cubicBezTo>
                  <a:lnTo>
                    <a:pt x="64832" y="552379"/>
                  </a:lnTo>
                  <a:cubicBezTo>
                    <a:pt x="27711" y="561244"/>
                    <a:pt x="0" y="594659"/>
                    <a:pt x="0" y="634438"/>
                  </a:cubicBezTo>
                  <a:cubicBezTo>
                    <a:pt x="0" y="680960"/>
                    <a:pt x="37882" y="718818"/>
                    <a:pt x="84434" y="718818"/>
                  </a:cubicBezTo>
                  <a:cubicBezTo>
                    <a:pt x="130986" y="718818"/>
                    <a:pt x="168868" y="680960"/>
                    <a:pt x="168868" y="634438"/>
                  </a:cubicBezTo>
                  <a:cubicBezTo>
                    <a:pt x="168868" y="594959"/>
                    <a:pt x="141597" y="561724"/>
                    <a:pt x="104877" y="552579"/>
                  </a:cubicBezTo>
                  <a:close/>
                  <a:moveTo>
                    <a:pt x="84434" y="678799"/>
                  </a:moveTo>
                  <a:cubicBezTo>
                    <a:pt x="59967" y="678799"/>
                    <a:pt x="40045" y="658889"/>
                    <a:pt x="40045" y="634438"/>
                  </a:cubicBezTo>
                  <a:cubicBezTo>
                    <a:pt x="40045" y="609986"/>
                    <a:pt x="59967" y="590077"/>
                    <a:pt x="84434" y="590077"/>
                  </a:cubicBezTo>
                  <a:cubicBezTo>
                    <a:pt x="108901" y="590077"/>
                    <a:pt x="128823" y="609986"/>
                    <a:pt x="128823" y="634438"/>
                  </a:cubicBezTo>
                  <a:cubicBezTo>
                    <a:pt x="128823" y="658889"/>
                    <a:pt x="108921" y="678799"/>
                    <a:pt x="84434" y="678799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54" name="Freeform 10">
              <a:extLst>
                <a:ext uri="{FF2B5EF4-FFF2-40B4-BE49-F238E27FC236}">
                  <a16:creationId xmlns:a16="http://schemas.microsoft.com/office/drawing/2014/main" id="{6240D740-A09A-1C89-A602-EDE8B24B5248}"/>
                </a:ext>
              </a:extLst>
            </p:cNvPr>
            <p:cNvSpPr/>
            <p:nvPr/>
          </p:nvSpPr>
          <p:spPr>
            <a:xfrm>
              <a:off x="2661985" y="3386274"/>
              <a:ext cx="176443" cy="816803"/>
            </a:xfrm>
            <a:custGeom>
              <a:avLst/>
              <a:gdLst>
                <a:gd name="connsiteX0" fmla="*/ 139735 w 176443"/>
                <a:gd name="connsiteY0" fmla="*/ 748451 h 816803"/>
                <a:gd name="connsiteX1" fmla="*/ 40105 w 176443"/>
                <a:gd name="connsiteY1" fmla="*/ 499254 h 816803"/>
                <a:gd name="connsiteX2" fmla="*/ 40045 w 176443"/>
                <a:gd name="connsiteY2" fmla="*/ 492231 h 816803"/>
                <a:gd name="connsiteX3" fmla="*/ 40045 w 176443"/>
                <a:gd name="connsiteY3" fmla="*/ 20009 h 816803"/>
                <a:gd name="connsiteX4" fmla="*/ 20022 w 176443"/>
                <a:gd name="connsiteY4" fmla="*/ 0 h 816803"/>
                <a:gd name="connsiteX5" fmla="*/ 0 w 176443"/>
                <a:gd name="connsiteY5" fmla="*/ 20009 h 816803"/>
                <a:gd name="connsiteX6" fmla="*/ 0 w 176443"/>
                <a:gd name="connsiteY6" fmla="*/ 492231 h 816803"/>
                <a:gd name="connsiteX7" fmla="*/ 60 w 176443"/>
                <a:gd name="connsiteY7" fmla="*/ 499935 h 816803"/>
                <a:gd name="connsiteX8" fmla="*/ 109982 w 176443"/>
                <a:gd name="connsiteY8" fmla="*/ 775264 h 816803"/>
                <a:gd name="connsiteX9" fmla="*/ 141537 w 176443"/>
                <a:gd name="connsiteY9" fmla="*/ 810200 h 816803"/>
                <a:gd name="connsiteX10" fmla="*/ 156414 w 176443"/>
                <a:gd name="connsiteY10" fmla="*/ 816803 h 816803"/>
                <a:gd name="connsiteX11" fmla="*/ 169829 w 176443"/>
                <a:gd name="connsiteY11" fmla="*/ 811641 h 816803"/>
                <a:gd name="connsiteX12" fmla="*/ 171290 w 176443"/>
                <a:gd name="connsiteY12" fmla="*/ 783388 h 816803"/>
                <a:gd name="connsiteX13" fmla="*/ 139735 w 176443"/>
                <a:gd name="connsiteY13" fmla="*/ 748451 h 816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6443" h="816803">
                  <a:moveTo>
                    <a:pt x="139735" y="748451"/>
                  </a:moveTo>
                  <a:cubicBezTo>
                    <a:pt x="77066" y="679019"/>
                    <a:pt x="41686" y="590517"/>
                    <a:pt x="40105" y="499254"/>
                  </a:cubicBezTo>
                  <a:cubicBezTo>
                    <a:pt x="40065" y="496913"/>
                    <a:pt x="40045" y="494572"/>
                    <a:pt x="40045" y="492231"/>
                  </a:cubicBezTo>
                  <a:lnTo>
                    <a:pt x="40045" y="20009"/>
                  </a:lnTo>
                  <a:cubicBezTo>
                    <a:pt x="40045" y="8964"/>
                    <a:pt x="31075" y="0"/>
                    <a:pt x="20022" y="0"/>
                  </a:cubicBezTo>
                  <a:cubicBezTo>
                    <a:pt x="8970" y="0"/>
                    <a:pt x="0" y="8964"/>
                    <a:pt x="0" y="20009"/>
                  </a:cubicBezTo>
                  <a:lnTo>
                    <a:pt x="0" y="492231"/>
                  </a:lnTo>
                  <a:cubicBezTo>
                    <a:pt x="0" y="494792"/>
                    <a:pt x="20" y="497353"/>
                    <a:pt x="60" y="499935"/>
                  </a:cubicBezTo>
                  <a:cubicBezTo>
                    <a:pt x="1802" y="600882"/>
                    <a:pt x="40825" y="698648"/>
                    <a:pt x="109982" y="775264"/>
                  </a:cubicBezTo>
                  <a:lnTo>
                    <a:pt x="141537" y="810200"/>
                  </a:lnTo>
                  <a:cubicBezTo>
                    <a:pt x="145482" y="814582"/>
                    <a:pt x="150948" y="816803"/>
                    <a:pt x="156414" y="816803"/>
                  </a:cubicBezTo>
                  <a:cubicBezTo>
                    <a:pt x="161199" y="816803"/>
                    <a:pt x="165984" y="815103"/>
                    <a:pt x="169829" y="811641"/>
                  </a:cubicBezTo>
                  <a:cubicBezTo>
                    <a:pt x="178038" y="804238"/>
                    <a:pt x="178699" y="791592"/>
                    <a:pt x="171290" y="783388"/>
                  </a:cubicBezTo>
                  <a:lnTo>
                    <a:pt x="139735" y="748451"/>
                  </a:ln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55" name="Freeform 13">
              <a:extLst>
                <a:ext uri="{FF2B5EF4-FFF2-40B4-BE49-F238E27FC236}">
                  <a16:creationId xmlns:a16="http://schemas.microsoft.com/office/drawing/2014/main" id="{C61CDBA9-168E-B5FA-E6B9-1399E0B5A07A}"/>
                </a:ext>
              </a:extLst>
            </p:cNvPr>
            <p:cNvSpPr/>
            <p:nvPr/>
          </p:nvSpPr>
          <p:spPr>
            <a:xfrm>
              <a:off x="3640987" y="3437758"/>
              <a:ext cx="251885" cy="663651"/>
            </a:xfrm>
            <a:custGeom>
              <a:avLst/>
              <a:gdLst>
                <a:gd name="connsiteX0" fmla="*/ 186053 w 251885"/>
                <a:gd name="connsiteY0" fmla="*/ 328514 h 663651"/>
                <a:gd name="connsiteX1" fmla="*/ 186053 w 251885"/>
                <a:gd name="connsiteY1" fmla="*/ 166678 h 663651"/>
                <a:gd name="connsiteX2" fmla="*/ 251886 w 251885"/>
                <a:gd name="connsiteY2" fmla="*/ 84380 h 663651"/>
                <a:gd name="connsiteX3" fmla="*/ 167452 w 251885"/>
                <a:gd name="connsiteY3" fmla="*/ 0 h 663651"/>
                <a:gd name="connsiteX4" fmla="*/ 83018 w 251885"/>
                <a:gd name="connsiteY4" fmla="*/ 84380 h 663651"/>
                <a:gd name="connsiteX5" fmla="*/ 145988 w 251885"/>
                <a:gd name="connsiteY5" fmla="*/ 165978 h 663651"/>
                <a:gd name="connsiteX6" fmla="*/ 145988 w 251885"/>
                <a:gd name="connsiteY6" fmla="*/ 328494 h 663651"/>
                <a:gd name="connsiteX7" fmla="*/ 55087 w 251885"/>
                <a:gd name="connsiteY7" fmla="*/ 572509 h 663651"/>
                <a:gd name="connsiteX8" fmla="*/ 4871 w 251885"/>
                <a:gd name="connsiteY8" fmla="*/ 630576 h 663651"/>
                <a:gd name="connsiteX9" fmla="*/ 6934 w 251885"/>
                <a:gd name="connsiteY9" fmla="*/ 658789 h 663651"/>
                <a:gd name="connsiteX10" fmla="*/ 20008 w 251885"/>
                <a:gd name="connsiteY10" fmla="*/ 663652 h 663651"/>
                <a:gd name="connsiteX11" fmla="*/ 35165 w 251885"/>
                <a:gd name="connsiteY11" fmla="*/ 656728 h 663651"/>
                <a:gd name="connsiteX12" fmla="*/ 85381 w 251885"/>
                <a:gd name="connsiteY12" fmla="*/ 598661 h 663651"/>
                <a:gd name="connsiteX13" fmla="*/ 186033 w 251885"/>
                <a:gd name="connsiteY13" fmla="*/ 328494 h 663651"/>
                <a:gd name="connsiteX14" fmla="*/ 123083 w 251885"/>
                <a:gd name="connsiteY14" fmla="*/ 84380 h 663651"/>
                <a:gd name="connsiteX15" fmla="*/ 167472 w 251885"/>
                <a:gd name="connsiteY15" fmla="*/ 40019 h 663651"/>
                <a:gd name="connsiteX16" fmla="*/ 211861 w 251885"/>
                <a:gd name="connsiteY16" fmla="*/ 84380 h 663651"/>
                <a:gd name="connsiteX17" fmla="*/ 167472 w 251885"/>
                <a:gd name="connsiteY17" fmla="*/ 128740 h 663651"/>
                <a:gd name="connsiteX18" fmla="*/ 123083 w 251885"/>
                <a:gd name="connsiteY18" fmla="*/ 84380 h 663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51885" h="663651">
                  <a:moveTo>
                    <a:pt x="186053" y="328514"/>
                  </a:moveTo>
                  <a:lnTo>
                    <a:pt x="186053" y="166678"/>
                  </a:lnTo>
                  <a:cubicBezTo>
                    <a:pt x="223695" y="158194"/>
                    <a:pt x="251886" y="124539"/>
                    <a:pt x="251886" y="84380"/>
                  </a:cubicBezTo>
                  <a:cubicBezTo>
                    <a:pt x="251886" y="37858"/>
                    <a:pt x="214004" y="0"/>
                    <a:pt x="167452" y="0"/>
                  </a:cubicBezTo>
                  <a:cubicBezTo>
                    <a:pt x="120900" y="0"/>
                    <a:pt x="83018" y="37858"/>
                    <a:pt x="83018" y="84380"/>
                  </a:cubicBezTo>
                  <a:cubicBezTo>
                    <a:pt x="83018" y="123498"/>
                    <a:pt x="109808" y="156473"/>
                    <a:pt x="145988" y="165978"/>
                  </a:cubicBezTo>
                  <a:lnTo>
                    <a:pt x="145988" y="328494"/>
                  </a:lnTo>
                  <a:cubicBezTo>
                    <a:pt x="145988" y="418076"/>
                    <a:pt x="113712" y="504737"/>
                    <a:pt x="55087" y="572509"/>
                  </a:cubicBezTo>
                  <a:lnTo>
                    <a:pt x="4871" y="630576"/>
                  </a:lnTo>
                  <a:cubicBezTo>
                    <a:pt x="-2357" y="638940"/>
                    <a:pt x="-1436" y="651566"/>
                    <a:pt x="6934" y="658789"/>
                  </a:cubicBezTo>
                  <a:cubicBezTo>
                    <a:pt x="10718" y="662051"/>
                    <a:pt x="15383" y="663652"/>
                    <a:pt x="20008" y="663652"/>
                  </a:cubicBezTo>
                  <a:cubicBezTo>
                    <a:pt x="25614" y="663652"/>
                    <a:pt x="31201" y="661311"/>
                    <a:pt x="35165" y="656728"/>
                  </a:cubicBezTo>
                  <a:lnTo>
                    <a:pt x="85381" y="598661"/>
                  </a:lnTo>
                  <a:cubicBezTo>
                    <a:pt x="150293" y="523626"/>
                    <a:pt x="186033" y="427681"/>
                    <a:pt x="186033" y="328494"/>
                  </a:cubicBezTo>
                  <a:close/>
                  <a:moveTo>
                    <a:pt x="123083" y="84380"/>
                  </a:moveTo>
                  <a:cubicBezTo>
                    <a:pt x="123083" y="59928"/>
                    <a:pt x="143005" y="40019"/>
                    <a:pt x="167472" y="40019"/>
                  </a:cubicBezTo>
                  <a:cubicBezTo>
                    <a:pt x="191939" y="40019"/>
                    <a:pt x="211861" y="59908"/>
                    <a:pt x="211861" y="84380"/>
                  </a:cubicBezTo>
                  <a:cubicBezTo>
                    <a:pt x="211861" y="108851"/>
                    <a:pt x="191959" y="128740"/>
                    <a:pt x="167472" y="128740"/>
                  </a:cubicBezTo>
                  <a:cubicBezTo>
                    <a:pt x="142985" y="128740"/>
                    <a:pt x="123083" y="108851"/>
                    <a:pt x="123083" y="84380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56" name="Freeform 14">
              <a:extLst>
                <a:ext uri="{FF2B5EF4-FFF2-40B4-BE49-F238E27FC236}">
                  <a16:creationId xmlns:a16="http://schemas.microsoft.com/office/drawing/2014/main" id="{7A67F58A-8EA1-BF80-4877-2B77E550D379}"/>
                </a:ext>
              </a:extLst>
            </p:cNvPr>
            <p:cNvSpPr/>
            <p:nvPr/>
          </p:nvSpPr>
          <p:spPr>
            <a:xfrm>
              <a:off x="3280312" y="2954291"/>
              <a:ext cx="709909" cy="512060"/>
            </a:xfrm>
            <a:custGeom>
              <a:avLst/>
              <a:gdLst>
                <a:gd name="connsiteX0" fmla="*/ 217542 w 709909"/>
                <a:gd name="connsiteY0" fmla="*/ 0 h 512060"/>
                <a:gd name="connsiteX1" fmla="*/ 20022 w 709909"/>
                <a:gd name="connsiteY1" fmla="*/ 0 h 512060"/>
                <a:gd name="connsiteX2" fmla="*/ 0 w 709909"/>
                <a:gd name="connsiteY2" fmla="*/ 20009 h 512060"/>
                <a:gd name="connsiteX3" fmla="*/ 20022 w 709909"/>
                <a:gd name="connsiteY3" fmla="*/ 40019 h 512060"/>
                <a:gd name="connsiteX4" fmla="*/ 217542 w 709909"/>
                <a:gd name="connsiteY4" fmla="*/ 40019 h 512060"/>
                <a:gd name="connsiteX5" fmla="*/ 537377 w 709909"/>
                <a:gd name="connsiteY5" fmla="*/ 172421 h 512060"/>
                <a:gd name="connsiteX6" fmla="*/ 669865 w 709909"/>
                <a:gd name="connsiteY6" fmla="*/ 492051 h 512060"/>
                <a:gd name="connsiteX7" fmla="*/ 689887 w 709909"/>
                <a:gd name="connsiteY7" fmla="*/ 512060 h 512060"/>
                <a:gd name="connsiteX8" fmla="*/ 709909 w 709909"/>
                <a:gd name="connsiteY8" fmla="*/ 492051 h 512060"/>
                <a:gd name="connsiteX9" fmla="*/ 565709 w 709909"/>
                <a:gd name="connsiteY9" fmla="*/ 144128 h 512060"/>
                <a:gd name="connsiteX10" fmla="*/ 217562 w 709909"/>
                <a:gd name="connsiteY10" fmla="*/ 20 h 512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09909" h="512060">
                  <a:moveTo>
                    <a:pt x="217542" y="0"/>
                  </a:moveTo>
                  <a:lnTo>
                    <a:pt x="20022" y="0"/>
                  </a:lnTo>
                  <a:cubicBezTo>
                    <a:pt x="8970" y="0"/>
                    <a:pt x="0" y="8964"/>
                    <a:pt x="0" y="20009"/>
                  </a:cubicBezTo>
                  <a:cubicBezTo>
                    <a:pt x="0" y="31055"/>
                    <a:pt x="8970" y="40019"/>
                    <a:pt x="20022" y="40019"/>
                  </a:cubicBezTo>
                  <a:lnTo>
                    <a:pt x="217542" y="40019"/>
                  </a:lnTo>
                  <a:cubicBezTo>
                    <a:pt x="338356" y="40019"/>
                    <a:pt x="451942" y="87041"/>
                    <a:pt x="537377" y="172421"/>
                  </a:cubicBezTo>
                  <a:cubicBezTo>
                    <a:pt x="622812" y="257801"/>
                    <a:pt x="669865" y="371314"/>
                    <a:pt x="669865" y="492051"/>
                  </a:cubicBezTo>
                  <a:cubicBezTo>
                    <a:pt x="669865" y="503096"/>
                    <a:pt x="678835" y="512060"/>
                    <a:pt x="689887" y="512060"/>
                  </a:cubicBezTo>
                  <a:cubicBezTo>
                    <a:pt x="700939" y="512060"/>
                    <a:pt x="709909" y="503096"/>
                    <a:pt x="709909" y="492051"/>
                  </a:cubicBezTo>
                  <a:cubicBezTo>
                    <a:pt x="709909" y="360629"/>
                    <a:pt x="658692" y="237071"/>
                    <a:pt x="565709" y="144128"/>
                  </a:cubicBezTo>
                  <a:cubicBezTo>
                    <a:pt x="472725" y="51204"/>
                    <a:pt x="349068" y="20"/>
                    <a:pt x="217562" y="20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57" name="Freeform 15">
              <a:extLst>
                <a:ext uri="{FF2B5EF4-FFF2-40B4-BE49-F238E27FC236}">
                  <a16:creationId xmlns:a16="http://schemas.microsoft.com/office/drawing/2014/main" id="{0EAC89E6-CEFD-E3B8-9A19-D0463DFBB82A}"/>
                </a:ext>
              </a:extLst>
            </p:cNvPr>
            <p:cNvSpPr/>
            <p:nvPr/>
          </p:nvSpPr>
          <p:spPr>
            <a:xfrm>
              <a:off x="3243091" y="2688247"/>
              <a:ext cx="993303" cy="1135693"/>
            </a:xfrm>
            <a:custGeom>
              <a:avLst/>
              <a:gdLst>
                <a:gd name="connsiteX0" fmla="*/ 801671 w 993303"/>
                <a:gd name="connsiteY0" fmla="*/ 248697 h 1135693"/>
                <a:gd name="connsiteX1" fmla="*/ 339077 w 993303"/>
                <a:gd name="connsiteY1" fmla="*/ 57207 h 1135693"/>
                <a:gd name="connsiteX2" fmla="*/ 164343 w 993303"/>
                <a:gd name="connsiteY2" fmla="*/ 57207 h 1135693"/>
                <a:gd name="connsiteX3" fmla="*/ 84434 w 993303"/>
                <a:gd name="connsiteY3" fmla="*/ 0 h 1135693"/>
                <a:gd name="connsiteX4" fmla="*/ 0 w 993303"/>
                <a:gd name="connsiteY4" fmla="*/ 84380 h 1135693"/>
                <a:gd name="connsiteX5" fmla="*/ 84434 w 993303"/>
                <a:gd name="connsiteY5" fmla="*/ 168759 h 1135693"/>
                <a:gd name="connsiteX6" fmla="*/ 167887 w 993303"/>
                <a:gd name="connsiteY6" fmla="*/ 97246 h 1135693"/>
                <a:gd name="connsiteX7" fmla="*/ 339097 w 993303"/>
                <a:gd name="connsiteY7" fmla="*/ 97246 h 1135693"/>
                <a:gd name="connsiteX8" fmla="*/ 773380 w 993303"/>
                <a:gd name="connsiteY8" fmla="*/ 277010 h 1135693"/>
                <a:gd name="connsiteX9" fmla="*/ 953259 w 993303"/>
                <a:gd name="connsiteY9" fmla="*/ 711014 h 1135693"/>
                <a:gd name="connsiteX10" fmla="*/ 953259 w 993303"/>
                <a:gd name="connsiteY10" fmla="*/ 1115684 h 1135693"/>
                <a:gd name="connsiteX11" fmla="*/ 973282 w 993303"/>
                <a:gd name="connsiteY11" fmla="*/ 1135693 h 1135693"/>
                <a:gd name="connsiteX12" fmla="*/ 993304 w 993303"/>
                <a:gd name="connsiteY12" fmla="*/ 1115684 h 1135693"/>
                <a:gd name="connsiteX13" fmla="*/ 993304 w 993303"/>
                <a:gd name="connsiteY13" fmla="*/ 711014 h 1135693"/>
                <a:gd name="connsiteX14" fmla="*/ 801691 w 993303"/>
                <a:gd name="connsiteY14" fmla="*/ 248717 h 1135693"/>
                <a:gd name="connsiteX15" fmla="*/ 84434 w 993303"/>
                <a:gd name="connsiteY15" fmla="*/ 128720 h 1135693"/>
                <a:gd name="connsiteX16" fmla="*/ 40045 w 993303"/>
                <a:gd name="connsiteY16" fmla="*/ 84360 h 1135693"/>
                <a:gd name="connsiteX17" fmla="*/ 84434 w 993303"/>
                <a:gd name="connsiteY17" fmla="*/ 39999 h 1135693"/>
                <a:gd name="connsiteX18" fmla="*/ 128823 w 993303"/>
                <a:gd name="connsiteY18" fmla="*/ 84360 h 1135693"/>
                <a:gd name="connsiteX19" fmla="*/ 84434 w 993303"/>
                <a:gd name="connsiteY19" fmla="*/ 128720 h 1135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93303" h="1135693">
                  <a:moveTo>
                    <a:pt x="801671" y="248697"/>
                  </a:moveTo>
                  <a:cubicBezTo>
                    <a:pt x="678114" y="125219"/>
                    <a:pt x="513831" y="57207"/>
                    <a:pt x="339077" y="57207"/>
                  </a:cubicBezTo>
                  <a:lnTo>
                    <a:pt x="164343" y="57207"/>
                  </a:lnTo>
                  <a:cubicBezTo>
                    <a:pt x="153010" y="23971"/>
                    <a:pt x="121475" y="0"/>
                    <a:pt x="84434" y="0"/>
                  </a:cubicBezTo>
                  <a:cubicBezTo>
                    <a:pt x="37882" y="0"/>
                    <a:pt x="0" y="37858"/>
                    <a:pt x="0" y="84380"/>
                  </a:cubicBezTo>
                  <a:cubicBezTo>
                    <a:pt x="0" y="130901"/>
                    <a:pt x="37882" y="168759"/>
                    <a:pt x="84434" y="168759"/>
                  </a:cubicBezTo>
                  <a:cubicBezTo>
                    <a:pt x="126621" y="168759"/>
                    <a:pt x="161680" y="137685"/>
                    <a:pt x="167887" y="97246"/>
                  </a:cubicBezTo>
                  <a:lnTo>
                    <a:pt x="339097" y="97246"/>
                  </a:lnTo>
                  <a:cubicBezTo>
                    <a:pt x="503139" y="97246"/>
                    <a:pt x="657371" y="161096"/>
                    <a:pt x="773380" y="277010"/>
                  </a:cubicBezTo>
                  <a:cubicBezTo>
                    <a:pt x="889389" y="392924"/>
                    <a:pt x="953259" y="547057"/>
                    <a:pt x="953259" y="711014"/>
                  </a:cubicBezTo>
                  <a:lnTo>
                    <a:pt x="953259" y="1115684"/>
                  </a:lnTo>
                  <a:cubicBezTo>
                    <a:pt x="953259" y="1126729"/>
                    <a:pt x="962230" y="1135693"/>
                    <a:pt x="973282" y="1135693"/>
                  </a:cubicBezTo>
                  <a:cubicBezTo>
                    <a:pt x="984334" y="1135693"/>
                    <a:pt x="993304" y="1126729"/>
                    <a:pt x="993304" y="1115684"/>
                  </a:cubicBezTo>
                  <a:lnTo>
                    <a:pt x="993304" y="711014"/>
                  </a:lnTo>
                  <a:cubicBezTo>
                    <a:pt x="993304" y="536372"/>
                    <a:pt x="925248" y="372195"/>
                    <a:pt x="801691" y="248717"/>
                  </a:cubicBezTo>
                  <a:close/>
                  <a:moveTo>
                    <a:pt x="84434" y="128720"/>
                  </a:moveTo>
                  <a:cubicBezTo>
                    <a:pt x="59967" y="128720"/>
                    <a:pt x="40045" y="108831"/>
                    <a:pt x="40045" y="84360"/>
                  </a:cubicBezTo>
                  <a:cubicBezTo>
                    <a:pt x="40045" y="59888"/>
                    <a:pt x="59967" y="39999"/>
                    <a:pt x="84434" y="39999"/>
                  </a:cubicBezTo>
                  <a:cubicBezTo>
                    <a:pt x="108901" y="39999"/>
                    <a:pt x="128823" y="59888"/>
                    <a:pt x="128823" y="84360"/>
                  </a:cubicBezTo>
                  <a:cubicBezTo>
                    <a:pt x="128823" y="108831"/>
                    <a:pt x="108921" y="128720"/>
                    <a:pt x="84434" y="128720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58" name="Freeform 16">
              <a:extLst>
                <a:ext uri="{FF2B5EF4-FFF2-40B4-BE49-F238E27FC236}">
                  <a16:creationId xmlns:a16="http://schemas.microsoft.com/office/drawing/2014/main" id="{59AB6297-3D2C-4BF6-B789-878EF9D49818}"/>
                </a:ext>
              </a:extLst>
            </p:cNvPr>
            <p:cNvSpPr/>
            <p:nvPr/>
          </p:nvSpPr>
          <p:spPr>
            <a:xfrm>
              <a:off x="2645667" y="3222958"/>
              <a:ext cx="79167" cy="79117"/>
            </a:xfrm>
            <a:custGeom>
              <a:avLst/>
              <a:gdLst>
                <a:gd name="connsiteX0" fmla="*/ 79168 w 79167"/>
                <a:gd name="connsiteY0" fmla="*/ 39559 h 79117"/>
                <a:gd name="connsiteX1" fmla="*/ 39584 w 79167"/>
                <a:gd name="connsiteY1" fmla="*/ 79117 h 79117"/>
                <a:gd name="connsiteX2" fmla="*/ 0 w 79167"/>
                <a:gd name="connsiteY2" fmla="*/ 39559 h 79117"/>
                <a:gd name="connsiteX3" fmla="*/ 39584 w 79167"/>
                <a:gd name="connsiteY3" fmla="*/ 0 h 79117"/>
                <a:gd name="connsiteX4" fmla="*/ 79168 w 79167"/>
                <a:gd name="connsiteY4" fmla="*/ 39559 h 79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167" h="79117">
                  <a:moveTo>
                    <a:pt x="79168" y="39559"/>
                  </a:moveTo>
                  <a:cubicBezTo>
                    <a:pt x="79168" y="61406"/>
                    <a:pt x="61446" y="79117"/>
                    <a:pt x="39584" y="79117"/>
                  </a:cubicBezTo>
                  <a:cubicBezTo>
                    <a:pt x="17722" y="79117"/>
                    <a:pt x="0" y="61406"/>
                    <a:pt x="0" y="39559"/>
                  </a:cubicBezTo>
                  <a:cubicBezTo>
                    <a:pt x="0" y="17711"/>
                    <a:pt x="17722" y="0"/>
                    <a:pt x="39584" y="0"/>
                  </a:cubicBezTo>
                  <a:cubicBezTo>
                    <a:pt x="61446" y="0"/>
                    <a:pt x="79168" y="17711"/>
                    <a:pt x="79168" y="39559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59" name="Freeform 17">
              <a:extLst>
                <a:ext uri="{FF2B5EF4-FFF2-40B4-BE49-F238E27FC236}">
                  <a16:creationId xmlns:a16="http://schemas.microsoft.com/office/drawing/2014/main" id="{9C0EA7FE-A586-23B2-7F1A-F5FB3CA8AEF4}"/>
                </a:ext>
              </a:extLst>
            </p:cNvPr>
            <p:cNvSpPr/>
            <p:nvPr/>
          </p:nvSpPr>
          <p:spPr>
            <a:xfrm rot="21046799">
              <a:off x="3943279" y="3736534"/>
              <a:ext cx="79167" cy="79117"/>
            </a:xfrm>
            <a:custGeom>
              <a:avLst/>
              <a:gdLst>
                <a:gd name="connsiteX0" fmla="*/ 79168 w 79167"/>
                <a:gd name="connsiteY0" fmla="*/ 39559 h 79117"/>
                <a:gd name="connsiteX1" fmla="*/ 39584 w 79167"/>
                <a:gd name="connsiteY1" fmla="*/ 79117 h 79117"/>
                <a:gd name="connsiteX2" fmla="*/ 0 w 79167"/>
                <a:gd name="connsiteY2" fmla="*/ 39559 h 79117"/>
                <a:gd name="connsiteX3" fmla="*/ 39584 w 79167"/>
                <a:gd name="connsiteY3" fmla="*/ 0 h 79117"/>
                <a:gd name="connsiteX4" fmla="*/ 79168 w 79167"/>
                <a:gd name="connsiteY4" fmla="*/ 39559 h 79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167" h="79117">
                  <a:moveTo>
                    <a:pt x="79168" y="39559"/>
                  </a:moveTo>
                  <a:cubicBezTo>
                    <a:pt x="79168" y="61406"/>
                    <a:pt x="61446" y="79117"/>
                    <a:pt x="39584" y="79117"/>
                  </a:cubicBezTo>
                  <a:cubicBezTo>
                    <a:pt x="17722" y="79117"/>
                    <a:pt x="0" y="61406"/>
                    <a:pt x="0" y="39559"/>
                  </a:cubicBezTo>
                  <a:cubicBezTo>
                    <a:pt x="0" y="17711"/>
                    <a:pt x="17722" y="0"/>
                    <a:pt x="39584" y="0"/>
                  </a:cubicBezTo>
                  <a:cubicBezTo>
                    <a:pt x="61445" y="0"/>
                    <a:pt x="79168" y="17711"/>
                    <a:pt x="79168" y="39559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60" name="Freeform 18">
              <a:extLst>
                <a:ext uri="{FF2B5EF4-FFF2-40B4-BE49-F238E27FC236}">
                  <a16:creationId xmlns:a16="http://schemas.microsoft.com/office/drawing/2014/main" id="{F933319E-EF71-E1E4-44FE-93DD500FC01F}"/>
                </a:ext>
              </a:extLst>
            </p:cNvPr>
            <p:cNvSpPr/>
            <p:nvPr/>
          </p:nvSpPr>
          <p:spPr>
            <a:xfrm>
              <a:off x="3122537" y="2939544"/>
              <a:ext cx="79167" cy="79117"/>
            </a:xfrm>
            <a:custGeom>
              <a:avLst/>
              <a:gdLst>
                <a:gd name="connsiteX0" fmla="*/ 39584 w 79167"/>
                <a:gd name="connsiteY0" fmla="*/ 79117 h 79117"/>
                <a:gd name="connsiteX1" fmla="*/ 79168 w 79167"/>
                <a:gd name="connsiteY1" fmla="*/ 39559 h 79117"/>
                <a:gd name="connsiteX2" fmla="*/ 39584 w 79167"/>
                <a:gd name="connsiteY2" fmla="*/ 0 h 79117"/>
                <a:gd name="connsiteX3" fmla="*/ 0 w 79167"/>
                <a:gd name="connsiteY3" fmla="*/ 39559 h 79117"/>
                <a:gd name="connsiteX4" fmla="*/ 39584 w 79167"/>
                <a:gd name="connsiteY4" fmla="*/ 79117 h 79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167" h="79117">
                  <a:moveTo>
                    <a:pt x="39584" y="79117"/>
                  </a:moveTo>
                  <a:cubicBezTo>
                    <a:pt x="61448" y="79117"/>
                    <a:pt x="79168" y="61409"/>
                    <a:pt x="79168" y="39559"/>
                  </a:cubicBezTo>
                  <a:cubicBezTo>
                    <a:pt x="79168" y="17708"/>
                    <a:pt x="61448" y="0"/>
                    <a:pt x="39584" y="0"/>
                  </a:cubicBezTo>
                  <a:cubicBezTo>
                    <a:pt x="17720" y="0"/>
                    <a:pt x="0" y="17708"/>
                    <a:pt x="0" y="39559"/>
                  </a:cubicBezTo>
                  <a:cubicBezTo>
                    <a:pt x="0" y="61409"/>
                    <a:pt x="17720" y="79117"/>
                    <a:pt x="39584" y="79117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361" name="Freeform 19">
              <a:extLst>
                <a:ext uri="{FF2B5EF4-FFF2-40B4-BE49-F238E27FC236}">
                  <a16:creationId xmlns:a16="http://schemas.microsoft.com/office/drawing/2014/main" id="{990E7628-22A6-116D-7933-43CADB23E4FC}"/>
                </a:ext>
              </a:extLst>
            </p:cNvPr>
            <p:cNvSpPr/>
            <p:nvPr/>
          </p:nvSpPr>
          <p:spPr>
            <a:xfrm>
              <a:off x="2506913" y="2767844"/>
              <a:ext cx="507824" cy="514681"/>
            </a:xfrm>
            <a:custGeom>
              <a:avLst/>
              <a:gdLst>
                <a:gd name="connsiteX0" fmla="*/ 20022 w 507824"/>
                <a:gd name="connsiteY0" fmla="*/ 514682 h 514681"/>
                <a:gd name="connsiteX1" fmla="*/ 40045 w 507824"/>
                <a:gd name="connsiteY1" fmla="*/ 494672 h 514681"/>
                <a:gd name="connsiteX2" fmla="*/ 40045 w 507824"/>
                <a:gd name="connsiteY2" fmla="*/ 487489 h 514681"/>
                <a:gd name="connsiteX3" fmla="*/ 171190 w 507824"/>
                <a:gd name="connsiteY3" fmla="*/ 171080 h 514681"/>
                <a:gd name="connsiteX4" fmla="*/ 487802 w 507824"/>
                <a:gd name="connsiteY4" fmla="*/ 40019 h 514681"/>
                <a:gd name="connsiteX5" fmla="*/ 507824 w 507824"/>
                <a:gd name="connsiteY5" fmla="*/ 20009 h 514681"/>
                <a:gd name="connsiteX6" fmla="*/ 487802 w 507824"/>
                <a:gd name="connsiteY6" fmla="*/ 0 h 514681"/>
                <a:gd name="connsiteX7" fmla="*/ 142879 w 507824"/>
                <a:gd name="connsiteY7" fmla="*/ 142787 h 514681"/>
                <a:gd name="connsiteX8" fmla="*/ 0 w 507824"/>
                <a:gd name="connsiteY8" fmla="*/ 487469 h 514681"/>
                <a:gd name="connsiteX9" fmla="*/ 0 w 507824"/>
                <a:gd name="connsiteY9" fmla="*/ 494652 h 514681"/>
                <a:gd name="connsiteX10" fmla="*/ 20022 w 507824"/>
                <a:gd name="connsiteY10" fmla="*/ 514662 h 51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07824" h="514681">
                  <a:moveTo>
                    <a:pt x="20022" y="514682"/>
                  </a:moveTo>
                  <a:cubicBezTo>
                    <a:pt x="31075" y="514682"/>
                    <a:pt x="40045" y="505717"/>
                    <a:pt x="40045" y="494672"/>
                  </a:cubicBezTo>
                  <a:lnTo>
                    <a:pt x="40045" y="487489"/>
                  </a:lnTo>
                  <a:cubicBezTo>
                    <a:pt x="40045" y="367973"/>
                    <a:pt x="86616" y="255600"/>
                    <a:pt x="171190" y="171080"/>
                  </a:cubicBezTo>
                  <a:cubicBezTo>
                    <a:pt x="255764" y="86561"/>
                    <a:pt x="368209" y="40019"/>
                    <a:pt x="487802" y="40019"/>
                  </a:cubicBezTo>
                  <a:cubicBezTo>
                    <a:pt x="498854" y="40019"/>
                    <a:pt x="507824" y="31055"/>
                    <a:pt x="507824" y="20009"/>
                  </a:cubicBezTo>
                  <a:cubicBezTo>
                    <a:pt x="507824" y="8964"/>
                    <a:pt x="498854" y="0"/>
                    <a:pt x="487802" y="0"/>
                  </a:cubicBezTo>
                  <a:cubicBezTo>
                    <a:pt x="357497" y="0"/>
                    <a:pt x="235021" y="50704"/>
                    <a:pt x="142879" y="142787"/>
                  </a:cubicBezTo>
                  <a:cubicBezTo>
                    <a:pt x="50736" y="234850"/>
                    <a:pt x="0" y="357268"/>
                    <a:pt x="0" y="487469"/>
                  </a:cubicBezTo>
                  <a:lnTo>
                    <a:pt x="0" y="494652"/>
                  </a:lnTo>
                  <a:cubicBezTo>
                    <a:pt x="0" y="505697"/>
                    <a:pt x="8970" y="514662"/>
                    <a:pt x="20022" y="514662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</p:grpSp>
      <p:sp>
        <p:nvSpPr>
          <p:cNvPr id="362" name="TextBox 361">
            <a:extLst>
              <a:ext uri="{FF2B5EF4-FFF2-40B4-BE49-F238E27FC236}">
                <a16:creationId xmlns:a16="http://schemas.microsoft.com/office/drawing/2014/main" id="{B8A19604-6C2E-1D61-0A90-3D0448C62CF4}"/>
              </a:ext>
            </a:extLst>
          </p:cNvPr>
          <p:cNvSpPr txBox="1"/>
          <p:nvPr/>
        </p:nvSpPr>
        <p:spPr>
          <a:xfrm>
            <a:off x="9356114" y="3689396"/>
            <a:ext cx="817531" cy="28828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 defTabSz="743407">
              <a:lnSpc>
                <a:spcPct val="96000"/>
              </a:lnSpc>
              <a:defRPr/>
            </a:pPr>
            <a:r>
              <a:rPr lang="en-US" sz="976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Network energy</a:t>
            </a:r>
            <a:br>
              <a:rPr lang="en-US" sz="976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</a:br>
            <a:r>
              <a:rPr lang="en-US" sz="976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savings</a:t>
            </a:r>
          </a:p>
        </p:txBody>
      </p:sp>
      <p:grpSp>
        <p:nvGrpSpPr>
          <p:cNvPr id="363" name="Group 362">
            <a:extLst>
              <a:ext uri="{FF2B5EF4-FFF2-40B4-BE49-F238E27FC236}">
                <a16:creationId xmlns:a16="http://schemas.microsoft.com/office/drawing/2014/main" id="{0D72CF69-895C-9882-6DB7-8A8981066EED}"/>
              </a:ext>
            </a:extLst>
          </p:cNvPr>
          <p:cNvGrpSpPr/>
          <p:nvPr/>
        </p:nvGrpSpPr>
        <p:grpSpPr>
          <a:xfrm>
            <a:off x="9248211" y="3235492"/>
            <a:ext cx="1033335" cy="414943"/>
            <a:chOff x="941939" y="5443001"/>
            <a:chExt cx="843228" cy="338604"/>
          </a:xfrm>
        </p:grpSpPr>
        <p:grpSp>
          <p:nvGrpSpPr>
            <p:cNvPr id="364" name="Group 363">
              <a:extLst>
                <a:ext uri="{FF2B5EF4-FFF2-40B4-BE49-F238E27FC236}">
                  <a16:creationId xmlns:a16="http://schemas.microsoft.com/office/drawing/2014/main" id="{6B2B2140-D356-1FAC-3095-FAACB4A6A414}"/>
                </a:ext>
              </a:extLst>
            </p:cNvPr>
            <p:cNvGrpSpPr/>
            <p:nvPr/>
          </p:nvGrpSpPr>
          <p:grpSpPr>
            <a:xfrm>
              <a:off x="941939" y="5501408"/>
              <a:ext cx="391521" cy="280197"/>
              <a:chOff x="2388371" y="3103687"/>
              <a:chExt cx="1834471" cy="1312865"/>
            </a:xfrm>
            <a:solidFill>
              <a:schemeClr val="accent5"/>
            </a:solidFill>
          </p:grpSpPr>
          <p:sp>
            <p:nvSpPr>
              <p:cNvPr id="456" name="Freeform 4">
                <a:extLst>
                  <a:ext uri="{FF2B5EF4-FFF2-40B4-BE49-F238E27FC236}">
                    <a16:creationId xmlns:a16="http://schemas.microsoft.com/office/drawing/2014/main" id="{8F9C3809-3E9D-A853-615D-D8AD0D885A3E}"/>
                  </a:ext>
                </a:extLst>
              </p:cNvPr>
              <p:cNvSpPr/>
              <p:nvPr/>
            </p:nvSpPr>
            <p:spPr>
              <a:xfrm>
                <a:off x="2591592" y="3326212"/>
                <a:ext cx="98781" cy="98100"/>
              </a:xfrm>
              <a:custGeom>
                <a:avLst/>
                <a:gdLst>
                  <a:gd name="connsiteX0" fmla="*/ 98781 w 98781"/>
                  <a:gd name="connsiteY0" fmla="*/ 49050 h 98100"/>
                  <a:gd name="connsiteX1" fmla="*/ 49391 w 98781"/>
                  <a:gd name="connsiteY1" fmla="*/ 98100 h 98100"/>
                  <a:gd name="connsiteX2" fmla="*/ 0 w 98781"/>
                  <a:gd name="connsiteY2" fmla="*/ 49050 h 98100"/>
                  <a:gd name="connsiteX3" fmla="*/ 49391 w 98781"/>
                  <a:gd name="connsiteY3" fmla="*/ 0 h 98100"/>
                  <a:gd name="connsiteX4" fmla="*/ 98781 w 98781"/>
                  <a:gd name="connsiteY4" fmla="*/ 49050 h 9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781" h="98100">
                    <a:moveTo>
                      <a:pt x="98781" y="49050"/>
                    </a:moveTo>
                    <a:cubicBezTo>
                      <a:pt x="98781" y="76140"/>
                      <a:pt x="76668" y="98100"/>
                      <a:pt x="49391" y="98100"/>
                    </a:cubicBezTo>
                    <a:cubicBezTo>
                      <a:pt x="22113" y="98100"/>
                      <a:pt x="0" y="76140"/>
                      <a:pt x="0" y="49050"/>
                    </a:cubicBezTo>
                    <a:cubicBezTo>
                      <a:pt x="0" y="21960"/>
                      <a:pt x="22113" y="0"/>
                      <a:pt x="49391" y="0"/>
                    </a:cubicBezTo>
                    <a:cubicBezTo>
                      <a:pt x="76668" y="0"/>
                      <a:pt x="98781" y="21960"/>
                      <a:pt x="98781" y="4905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57" name="Freeform 5">
                <a:extLst>
                  <a:ext uri="{FF2B5EF4-FFF2-40B4-BE49-F238E27FC236}">
                    <a16:creationId xmlns:a16="http://schemas.microsoft.com/office/drawing/2014/main" id="{C9A2E385-A206-4D82-7C8E-2E0A38EEE895}"/>
                  </a:ext>
                </a:extLst>
              </p:cNvPr>
              <p:cNvSpPr/>
              <p:nvPr/>
            </p:nvSpPr>
            <p:spPr>
              <a:xfrm>
                <a:off x="2752913" y="3326212"/>
                <a:ext cx="98781" cy="98100"/>
              </a:xfrm>
              <a:custGeom>
                <a:avLst/>
                <a:gdLst>
                  <a:gd name="connsiteX0" fmla="*/ 98781 w 98781"/>
                  <a:gd name="connsiteY0" fmla="*/ 49050 h 98100"/>
                  <a:gd name="connsiteX1" fmla="*/ 49391 w 98781"/>
                  <a:gd name="connsiteY1" fmla="*/ 98100 h 98100"/>
                  <a:gd name="connsiteX2" fmla="*/ 0 w 98781"/>
                  <a:gd name="connsiteY2" fmla="*/ 49050 h 98100"/>
                  <a:gd name="connsiteX3" fmla="*/ 49391 w 98781"/>
                  <a:gd name="connsiteY3" fmla="*/ 0 h 98100"/>
                  <a:gd name="connsiteX4" fmla="*/ 98781 w 98781"/>
                  <a:gd name="connsiteY4" fmla="*/ 49050 h 9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781" h="98100">
                    <a:moveTo>
                      <a:pt x="98781" y="49050"/>
                    </a:moveTo>
                    <a:cubicBezTo>
                      <a:pt x="98781" y="76140"/>
                      <a:pt x="76668" y="98100"/>
                      <a:pt x="49391" y="98100"/>
                    </a:cubicBezTo>
                    <a:cubicBezTo>
                      <a:pt x="22113" y="98100"/>
                      <a:pt x="0" y="76140"/>
                      <a:pt x="0" y="49050"/>
                    </a:cubicBezTo>
                    <a:cubicBezTo>
                      <a:pt x="0" y="21960"/>
                      <a:pt x="22113" y="0"/>
                      <a:pt x="49391" y="0"/>
                    </a:cubicBezTo>
                    <a:cubicBezTo>
                      <a:pt x="76668" y="0"/>
                      <a:pt x="98781" y="21960"/>
                      <a:pt x="98781" y="4905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58" name="Freeform 6">
                <a:extLst>
                  <a:ext uri="{FF2B5EF4-FFF2-40B4-BE49-F238E27FC236}">
                    <a16:creationId xmlns:a16="http://schemas.microsoft.com/office/drawing/2014/main" id="{6E4C12E6-5C40-DF18-EF98-1C70FC2233A5}"/>
                  </a:ext>
                </a:extLst>
              </p:cNvPr>
              <p:cNvSpPr/>
              <p:nvPr/>
            </p:nvSpPr>
            <p:spPr>
              <a:xfrm>
                <a:off x="2914235" y="3326212"/>
                <a:ext cx="98781" cy="98100"/>
              </a:xfrm>
              <a:custGeom>
                <a:avLst/>
                <a:gdLst>
                  <a:gd name="connsiteX0" fmla="*/ 98781 w 98781"/>
                  <a:gd name="connsiteY0" fmla="*/ 49050 h 98100"/>
                  <a:gd name="connsiteX1" fmla="*/ 49391 w 98781"/>
                  <a:gd name="connsiteY1" fmla="*/ 98100 h 98100"/>
                  <a:gd name="connsiteX2" fmla="*/ 0 w 98781"/>
                  <a:gd name="connsiteY2" fmla="*/ 49050 h 98100"/>
                  <a:gd name="connsiteX3" fmla="*/ 49391 w 98781"/>
                  <a:gd name="connsiteY3" fmla="*/ 0 h 98100"/>
                  <a:gd name="connsiteX4" fmla="*/ 98781 w 98781"/>
                  <a:gd name="connsiteY4" fmla="*/ 49050 h 9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781" h="98100">
                    <a:moveTo>
                      <a:pt x="98781" y="49050"/>
                    </a:moveTo>
                    <a:cubicBezTo>
                      <a:pt x="98781" y="76140"/>
                      <a:pt x="76668" y="98100"/>
                      <a:pt x="49391" y="98100"/>
                    </a:cubicBezTo>
                    <a:cubicBezTo>
                      <a:pt x="22113" y="98100"/>
                      <a:pt x="0" y="76140"/>
                      <a:pt x="0" y="49050"/>
                    </a:cubicBezTo>
                    <a:cubicBezTo>
                      <a:pt x="0" y="21960"/>
                      <a:pt x="22113" y="0"/>
                      <a:pt x="49391" y="0"/>
                    </a:cubicBezTo>
                    <a:cubicBezTo>
                      <a:pt x="76668" y="0"/>
                      <a:pt x="98781" y="21960"/>
                      <a:pt x="98781" y="4905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59" name="Freeform 7">
                <a:extLst>
                  <a:ext uri="{FF2B5EF4-FFF2-40B4-BE49-F238E27FC236}">
                    <a16:creationId xmlns:a16="http://schemas.microsoft.com/office/drawing/2014/main" id="{F4B8DBE5-4DD7-E670-6ACD-88AA0A553A00}"/>
                  </a:ext>
                </a:extLst>
              </p:cNvPr>
              <p:cNvSpPr/>
              <p:nvPr/>
            </p:nvSpPr>
            <p:spPr>
              <a:xfrm>
                <a:off x="2591592" y="3722000"/>
                <a:ext cx="98781" cy="98100"/>
              </a:xfrm>
              <a:custGeom>
                <a:avLst/>
                <a:gdLst>
                  <a:gd name="connsiteX0" fmla="*/ 98781 w 98781"/>
                  <a:gd name="connsiteY0" fmla="*/ 49050 h 98100"/>
                  <a:gd name="connsiteX1" fmla="*/ 49391 w 98781"/>
                  <a:gd name="connsiteY1" fmla="*/ 98100 h 98100"/>
                  <a:gd name="connsiteX2" fmla="*/ 0 w 98781"/>
                  <a:gd name="connsiteY2" fmla="*/ 49050 h 98100"/>
                  <a:gd name="connsiteX3" fmla="*/ 49391 w 98781"/>
                  <a:gd name="connsiteY3" fmla="*/ 0 h 98100"/>
                  <a:gd name="connsiteX4" fmla="*/ 98781 w 98781"/>
                  <a:gd name="connsiteY4" fmla="*/ 49050 h 9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781" h="98100">
                    <a:moveTo>
                      <a:pt x="98781" y="49050"/>
                    </a:moveTo>
                    <a:cubicBezTo>
                      <a:pt x="98781" y="76140"/>
                      <a:pt x="76668" y="98100"/>
                      <a:pt x="49391" y="98100"/>
                    </a:cubicBezTo>
                    <a:cubicBezTo>
                      <a:pt x="22113" y="98100"/>
                      <a:pt x="0" y="76140"/>
                      <a:pt x="0" y="49050"/>
                    </a:cubicBezTo>
                    <a:cubicBezTo>
                      <a:pt x="0" y="21960"/>
                      <a:pt x="22113" y="0"/>
                      <a:pt x="49391" y="0"/>
                    </a:cubicBezTo>
                    <a:cubicBezTo>
                      <a:pt x="76668" y="0"/>
                      <a:pt x="98781" y="21960"/>
                      <a:pt x="98781" y="4905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60" name="Freeform 8">
                <a:extLst>
                  <a:ext uri="{FF2B5EF4-FFF2-40B4-BE49-F238E27FC236}">
                    <a16:creationId xmlns:a16="http://schemas.microsoft.com/office/drawing/2014/main" id="{2AD367D1-A5F8-18D7-6DB4-0BEF83DEC3D6}"/>
                  </a:ext>
                </a:extLst>
              </p:cNvPr>
              <p:cNvSpPr/>
              <p:nvPr/>
            </p:nvSpPr>
            <p:spPr>
              <a:xfrm>
                <a:off x="2752913" y="3722000"/>
                <a:ext cx="98781" cy="98100"/>
              </a:xfrm>
              <a:custGeom>
                <a:avLst/>
                <a:gdLst>
                  <a:gd name="connsiteX0" fmla="*/ 98781 w 98781"/>
                  <a:gd name="connsiteY0" fmla="*/ 49050 h 98100"/>
                  <a:gd name="connsiteX1" fmla="*/ 49391 w 98781"/>
                  <a:gd name="connsiteY1" fmla="*/ 98100 h 98100"/>
                  <a:gd name="connsiteX2" fmla="*/ 0 w 98781"/>
                  <a:gd name="connsiteY2" fmla="*/ 49050 h 98100"/>
                  <a:gd name="connsiteX3" fmla="*/ 49391 w 98781"/>
                  <a:gd name="connsiteY3" fmla="*/ 0 h 98100"/>
                  <a:gd name="connsiteX4" fmla="*/ 98781 w 98781"/>
                  <a:gd name="connsiteY4" fmla="*/ 49050 h 9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781" h="98100">
                    <a:moveTo>
                      <a:pt x="98781" y="49050"/>
                    </a:moveTo>
                    <a:cubicBezTo>
                      <a:pt x="98781" y="76140"/>
                      <a:pt x="76668" y="98100"/>
                      <a:pt x="49391" y="98100"/>
                    </a:cubicBezTo>
                    <a:cubicBezTo>
                      <a:pt x="22113" y="98100"/>
                      <a:pt x="0" y="76140"/>
                      <a:pt x="0" y="49050"/>
                    </a:cubicBezTo>
                    <a:cubicBezTo>
                      <a:pt x="0" y="21960"/>
                      <a:pt x="22113" y="0"/>
                      <a:pt x="49391" y="0"/>
                    </a:cubicBezTo>
                    <a:cubicBezTo>
                      <a:pt x="76668" y="0"/>
                      <a:pt x="98781" y="21960"/>
                      <a:pt x="98781" y="4905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61" name="Freeform 9">
                <a:extLst>
                  <a:ext uri="{FF2B5EF4-FFF2-40B4-BE49-F238E27FC236}">
                    <a16:creationId xmlns:a16="http://schemas.microsoft.com/office/drawing/2014/main" id="{6A024F11-08F2-CCD1-7FA2-BA94A206F33E}"/>
                  </a:ext>
                </a:extLst>
              </p:cNvPr>
              <p:cNvSpPr/>
              <p:nvPr/>
            </p:nvSpPr>
            <p:spPr>
              <a:xfrm>
                <a:off x="2914235" y="3722000"/>
                <a:ext cx="98781" cy="98100"/>
              </a:xfrm>
              <a:custGeom>
                <a:avLst/>
                <a:gdLst>
                  <a:gd name="connsiteX0" fmla="*/ 98781 w 98781"/>
                  <a:gd name="connsiteY0" fmla="*/ 49050 h 98100"/>
                  <a:gd name="connsiteX1" fmla="*/ 49391 w 98781"/>
                  <a:gd name="connsiteY1" fmla="*/ 98100 h 98100"/>
                  <a:gd name="connsiteX2" fmla="*/ 0 w 98781"/>
                  <a:gd name="connsiteY2" fmla="*/ 49050 h 98100"/>
                  <a:gd name="connsiteX3" fmla="*/ 49391 w 98781"/>
                  <a:gd name="connsiteY3" fmla="*/ 0 h 98100"/>
                  <a:gd name="connsiteX4" fmla="*/ 98781 w 98781"/>
                  <a:gd name="connsiteY4" fmla="*/ 49050 h 9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781" h="98100">
                    <a:moveTo>
                      <a:pt x="98781" y="49050"/>
                    </a:moveTo>
                    <a:cubicBezTo>
                      <a:pt x="98781" y="76140"/>
                      <a:pt x="76668" y="98100"/>
                      <a:pt x="49391" y="98100"/>
                    </a:cubicBezTo>
                    <a:cubicBezTo>
                      <a:pt x="22113" y="98100"/>
                      <a:pt x="0" y="76140"/>
                      <a:pt x="0" y="49050"/>
                    </a:cubicBezTo>
                    <a:cubicBezTo>
                      <a:pt x="0" y="21960"/>
                      <a:pt x="22113" y="0"/>
                      <a:pt x="49391" y="0"/>
                    </a:cubicBezTo>
                    <a:cubicBezTo>
                      <a:pt x="76668" y="0"/>
                      <a:pt x="98781" y="21960"/>
                      <a:pt x="98781" y="4905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62" name="Freeform 12">
                <a:extLst>
                  <a:ext uri="{FF2B5EF4-FFF2-40B4-BE49-F238E27FC236}">
                    <a16:creationId xmlns:a16="http://schemas.microsoft.com/office/drawing/2014/main" id="{EE4B115D-EB3E-D7B8-9D49-231BB3355437}"/>
                  </a:ext>
                </a:extLst>
              </p:cNvPr>
              <p:cNvSpPr/>
              <p:nvPr/>
            </p:nvSpPr>
            <p:spPr>
              <a:xfrm>
                <a:off x="2591592" y="4117788"/>
                <a:ext cx="98781" cy="98100"/>
              </a:xfrm>
              <a:custGeom>
                <a:avLst/>
                <a:gdLst>
                  <a:gd name="connsiteX0" fmla="*/ 98781 w 98781"/>
                  <a:gd name="connsiteY0" fmla="*/ 49050 h 98100"/>
                  <a:gd name="connsiteX1" fmla="*/ 49391 w 98781"/>
                  <a:gd name="connsiteY1" fmla="*/ 98100 h 98100"/>
                  <a:gd name="connsiteX2" fmla="*/ 0 w 98781"/>
                  <a:gd name="connsiteY2" fmla="*/ 49050 h 98100"/>
                  <a:gd name="connsiteX3" fmla="*/ 49391 w 98781"/>
                  <a:gd name="connsiteY3" fmla="*/ 0 h 98100"/>
                  <a:gd name="connsiteX4" fmla="*/ 98781 w 98781"/>
                  <a:gd name="connsiteY4" fmla="*/ 49050 h 9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781" h="98100">
                    <a:moveTo>
                      <a:pt x="98781" y="49050"/>
                    </a:moveTo>
                    <a:cubicBezTo>
                      <a:pt x="98781" y="76140"/>
                      <a:pt x="76668" y="98100"/>
                      <a:pt x="49391" y="98100"/>
                    </a:cubicBezTo>
                    <a:cubicBezTo>
                      <a:pt x="22113" y="98100"/>
                      <a:pt x="0" y="76140"/>
                      <a:pt x="0" y="49050"/>
                    </a:cubicBezTo>
                    <a:cubicBezTo>
                      <a:pt x="0" y="21960"/>
                      <a:pt x="22113" y="0"/>
                      <a:pt x="49391" y="0"/>
                    </a:cubicBezTo>
                    <a:cubicBezTo>
                      <a:pt x="76668" y="0"/>
                      <a:pt x="98781" y="21960"/>
                      <a:pt x="98781" y="4905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63" name="Freeform 13">
                <a:extLst>
                  <a:ext uri="{FF2B5EF4-FFF2-40B4-BE49-F238E27FC236}">
                    <a16:creationId xmlns:a16="http://schemas.microsoft.com/office/drawing/2014/main" id="{C5D456FE-8668-3481-F167-E4E77CEFFDCC}"/>
                  </a:ext>
                </a:extLst>
              </p:cNvPr>
              <p:cNvSpPr/>
              <p:nvPr/>
            </p:nvSpPr>
            <p:spPr>
              <a:xfrm>
                <a:off x="2752913" y="4117788"/>
                <a:ext cx="98781" cy="98100"/>
              </a:xfrm>
              <a:custGeom>
                <a:avLst/>
                <a:gdLst>
                  <a:gd name="connsiteX0" fmla="*/ 98781 w 98781"/>
                  <a:gd name="connsiteY0" fmla="*/ 49050 h 98100"/>
                  <a:gd name="connsiteX1" fmla="*/ 49391 w 98781"/>
                  <a:gd name="connsiteY1" fmla="*/ 98100 h 98100"/>
                  <a:gd name="connsiteX2" fmla="*/ 0 w 98781"/>
                  <a:gd name="connsiteY2" fmla="*/ 49050 h 98100"/>
                  <a:gd name="connsiteX3" fmla="*/ 49391 w 98781"/>
                  <a:gd name="connsiteY3" fmla="*/ 0 h 98100"/>
                  <a:gd name="connsiteX4" fmla="*/ 98781 w 98781"/>
                  <a:gd name="connsiteY4" fmla="*/ 49050 h 9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781" h="98100">
                    <a:moveTo>
                      <a:pt x="98781" y="49050"/>
                    </a:moveTo>
                    <a:cubicBezTo>
                      <a:pt x="98781" y="76140"/>
                      <a:pt x="76668" y="98100"/>
                      <a:pt x="49391" y="98100"/>
                    </a:cubicBezTo>
                    <a:cubicBezTo>
                      <a:pt x="22113" y="98100"/>
                      <a:pt x="0" y="76140"/>
                      <a:pt x="0" y="49050"/>
                    </a:cubicBezTo>
                    <a:cubicBezTo>
                      <a:pt x="0" y="21960"/>
                      <a:pt x="22113" y="0"/>
                      <a:pt x="49391" y="0"/>
                    </a:cubicBezTo>
                    <a:cubicBezTo>
                      <a:pt x="76668" y="0"/>
                      <a:pt x="98781" y="21960"/>
                      <a:pt x="98781" y="4905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64" name="Freeform 14">
                <a:extLst>
                  <a:ext uri="{FF2B5EF4-FFF2-40B4-BE49-F238E27FC236}">
                    <a16:creationId xmlns:a16="http://schemas.microsoft.com/office/drawing/2014/main" id="{26681C92-7664-5843-0BBC-853CA682E110}"/>
                  </a:ext>
                </a:extLst>
              </p:cNvPr>
              <p:cNvSpPr/>
              <p:nvPr/>
            </p:nvSpPr>
            <p:spPr>
              <a:xfrm>
                <a:off x="2914235" y="4117788"/>
                <a:ext cx="98781" cy="98100"/>
              </a:xfrm>
              <a:custGeom>
                <a:avLst/>
                <a:gdLst>
                  <a:gd name="connsiteX0" fmla="*/ 98781 w 98781"/>
                  <a:gd name="connsiteY0" fmla="*/ 49050 h 98100"/>
                  <a:gd name="connsiteX1" fmla="*/ 49391 w 98781"/>
                  <a:gd name="connsiteY1" fmla="*/ 98100 h 98100"/>
                  <a:gd name="connsiteX2" fmla="*/ 0 w 98781"/>
                  <a:gd name="connsiteY2" fmla="*/ 49050 h 98100"/>
                  <a:gd name="connsiteX3" fmla="*/ 49391 w 98781"/>
                  <a:gd name="connsiteY3" fmla="*/ 0 h 98100"/>
                  <a:gd name="connsiteX4" fmla="*/ 98781 w 98781"/>
                  <a:gd name="connsiteY4" fmla="*/ 49050 h 9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781" h="98100">
                    <a:moveTo>
                      <a:pt x="98781" y="49050"/>
                    </a:moveTo>
                    <a:cubicBezTo>
                      <a:pt x="98781" y="76140"/>
                      <a:pt x="76668" y="98100"/>
                      <a:pt x="49391" y="98100"/>
                    </a:cubicBezTo>
                    <a:cubicBezTo>
                      <a:pt x="22113" y="98100"/>
                      <a:pt x="0" y="76140"/>
                      <a:pt x="0" y="49050"/>
                    </a:cubicBezTo>
                    <a:cubicBezTo>
                      <a:pt x="0" y="21960"/>
                      <a:pt x="22113" y="0"/>
                      <a:pt x="49391" y="0"/>
                    </a:cubicBezTo>
                    <a:cubicBezTo>
                      <a:pt x="76668" y="0"/>
                      <a:pt x="98781" y="21960"/>
                      <a:pt x="98781" y="4905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65" name="Freeform 15">
                <a:extLst>
                  <a:ext uri="{FF2B5EF4-FFF2-40B4-BE49-F238E27FC236}">
                    <a16:creationId xmlns:a16="http://schemas.microsoft.com/office/drawing/2014/main" id="{B2BBDDE0-2DF9-D777-A056-31384918A203}"/>
                  </a:ext>
                </a:extLst>
              </p:cNvPr>
              <p:cNvSpPr/>
              <p:nvPr/>
            </p:nvSpPr>
            <p:spPr>
              <a:xfrm>
                <a:off x="2388371" y="3103687"/>
                <a:ext cx="1834471" cy="1312865"/>
              </a:xfrm>
              <a:custGeom>
                <a:avLst/>
                <a:gdLst>
                  <a:gd name="connsiteX0" fmla="*/ 1834278 w 1834471"/>
                  <a:gd name="connsiteY0" fmla="*/ 210227 h 1312865"/>
                  <a:gd name="connsiteX1" fmla="*/ 1833749 w 1834471"/>
                  <a:gd name="connsiteY1" fmla="*/ 201388 h 1312865"/>
                  <a:gd name="connsiteX2" fmla="*/ 1832885 w 1834471"/>
                  <a:gd name="connsiteY2" fmla="*/ 192566 h 1312865"/>
                  <a:gd name="connsiteX3" fmla="*/ 1831669 w 1834471"/>
                  <a:gd name="connsiteY3" fmla="*/ 183779 h 1312865"/>
                  <a:gd name="connsiteX4" fmla="*/ 1830100 w 1834471"/>
                  <a:gd name="connsiteY4" fmla="*/ 175028 h 1312865"/>
                  <a:gd name="connsiteX5" fmla="*/ 1825817 w 1834471"/>
                  <a:gd name="connsiteY5" fmla="*/ 157772 h 1312865"/>
                  <a:gd name="connsiteX6" fmla="*/ 1746302 w 1834471"/>
                  <a:gd name="connsiteY6" fmla="*/ 43175 h 1312865"/>
                  <a:gd name="connsiteX7" fmla="*/ 1716230 w 1834471"/>
                  <a:gd name="connsiteY7" fmla="*/ 24402 h 1312865"/>
                  <a:gd name="connsiteX8" fmla="*/ 1683497 w 1834471"/>
                  <a:gd name="connsiteY8" fmla="*/ 10692 h 1312865"/>
                  <a:gd name="connsiteX9" fmla="*/ 1648966 w 1834471"/>
                  <a:gd name="connsiteY9" fmla="*/ 2488 h 1312865"/>
                  <a:gd name="connsiteX10" fmla="*/ 1640170 w 1834471"/>
                  <a:gd name="connsiteY10" fmla="*/ 1359 h 1312865"/>
                  <a:gd name="connsiteX11" fmla="*/ 1631356 w 1834471"/>
                  <a:gd name="connsiteY11" fmla="*/ 582 h 1312865"/>
                  <a:gd name="connsiteX12" fmla="*/ 1626949 w 1834471"/>
                  <a:gd name="connsiteY12" fmla="*/ 265 h 1312865"/>
                  <a:gd name="connsiteX13" fmla="*/ 1622543 w 1834471"/>
                  <a:gd name="connsiteY13" fmla="*/ 141 h 1312865"/>
                  <a:gd name="connsiteX14" fmla="*/ 1618118 w 1834471"/>
                  <a:gd name="connsiteY14" fmla="*/ 35 h 1312865"/>
                  <a:gd name="connsiteX15" fmla="*/ 1615915 w 1834471"/>
                  <a:gd name="connsiteY15" fmla="*/ 0 h 1312865"/>
                  <a:gd name="connsiteX16" fmla="*/ 218521 w 1834471"/>
                  <a:gd name="connsiteY16" fmla="*/ 0 h 1312865"/>
                  <a:gd name="connsiteX17" fmla="*/ 183267 w 1834471"/>
                  <a:gd name="connsiteY17" fmla="*/ 2876 h 1312865"/>
                  <a:gd name="connsiteX18" fmla="*/ 148824 w 1834471"/>
                  <a:gd name="connsiteY18" fmla="*/ 11433 h 1312865"/>
                  <a:gd name="connsiteX19" fmla="*/ 86372 w 1834471"/>
                  <a:gd name="connsiteY19" fmla="*/ 44551 h 1312865"/>
                  <a:gd name="connsiteX20" fmla="*/ 37792 w 1834471"/>
                  <a:gd name="connsiteY20" fmla="*/ 95771 h 1312865"/>
                  <a:gd name="connsiteX21" fmla="*/ 8038 w 1834471"/>
                  <a:gd name="connsiteY21" fmla="*/ 159977 h 1312865"/>
                  <a:gd name="connsiteX22" fmla="*/ 1322 w 1834471"/>
                  <a:gd name="connsiteY22" fmla="*/ 194842 h 1312865"/>
                  <a:gd name="connsiteX23" fmla="*/ 564 w 1834471"/>
                  <a:gd name="connsiteY23" fmla="*/ 203664 h 1312865"/>
                  <a:gd name="connsiteX24" fmla="*/ 141 w 1834471"/>
                  <a:gd name="connsiteY24" fmla="*/ 212503 h 1312865"/>
                  <a:gd name="connsiteX25" fmla="*/ 35 w 1834471"/>
                  <a:gd name="connsiteY25" fmla="*/ 216932 h 1312865"/>
                  <a:gd name="connsiteX26" fmla="*/ 0 w 1834471"/>
                  <a:gd name="connsiteY26" fmla="*/ 219049 h 1312865"/>
                  <a:gd name="connsiteX27" fmla="*/ 0 w 1834471"/>
                  <a:gd name="connsiteY27" fmla="*/ 1093887 h 1312865"/>
                  <a:gd name="connsiteX28" fmla="*/ 194 w 1834471"/>
                  <a:gd name="connsiteY28" fmla="*/ 1102639 h 1312865"/>
                  <a:gd name="connsiteX29" fmla="*/ 723 w 1834471"/>
                  <a:gd name="connsiteY29" fmla="*/ 1111478 h 1312865"/>
                  <a:gd name="connsiteX30" fmla="*/ 1586 w 1834471"/>
                  <a:gd name="connsiteY30" fmla="*/ 1120300 h 1312865"/>
                  <a:gd name="connsiteX31" fmla="*/ 2803 w 1834471"/>
                  <a:gd name="connsiteY31" fmla="*/ 1129087 h 1312865"/>
                  <a:gd name="connsiteX32" fmla="*/ 4371 w 1834471"/>
                  <a:gd name="connsiteY32" fmla="*/ 1137838 h 1312865"/>
                  <a:gd name="connsiteX33" fmla="*/ 8655 w 1834471"/>
                  <a:gd name="connsiteY33" fmla="*/ 1155094 h 1312865"/>
                  <a:gd name="connsiteX34" fmla="*/ 88170 w 1834471"/>
                  <a:gd name="connsiteY34" fmla="*/ 1269691 h 1312865"/>
                  <a:gd name="connsiteX35" fmla="*/ 118242 w 1834471"/>
                  <a:gd name="connsiteY35" fmla="*/ 1288464 h 1312865"/>
                  <a:gd name="connsiteX36" fmla="*/ 150975 w 1834471"/>
                  <a:gd name="connsiteY36" fmla="*/ 1302174 h 1312865"/>
                  <a:gd name="connsiteX37" fmla="*/ 185506 w 1834471"/>
                  <a:gd name="connsiteY37" fmla="*/ 1310378 h 1312865"/>
                  <a:gd name="connsiteX38" fmla="*/ 194302 w 1834471"/>
                  <a:gd name="connsiteY38" fmla="*/ 1311507 h 1312865"/>
                  <a:gd name="connsiteX39" fmla="*/ 203115 w 1834471"/>
                  <a:gd name="connsiteY39" fmla="*/ 1312284 h 1312865"/>
                  <a:gd name="connsiteX40" fmla="*/ 207522 w 1834471"/>
                  <a:gd name="connsiteY40" fmla="*/ 1312601 h 1312865"/>
                  <a:gd name="connsiteX41" fmla="*/ 211929 w 1834471"/>
                  <a:gd name="connsiteY41" fmla="*/ 1312725 h 1312865"/>
                  <a:gd name="connsiteX42" fmla="*/ 216353 w 1834471"/>
                  <a:gd name="connsiteY42" fmla="*/ 1312831 h 1312865"/>
                  <a:gd name="connsiteX43" fmla="*/ 218556 w 1834471"/>
                  <a:gd name="connsiteY43" fmla="*/ 1312866 h 1312865"/>
                  <a:gd name="connsiteX44" fmla="*/ 1615950 w 1834471"/>
                  <a:gd name="connsiteY44" fmla="*/ 1312866 h 1312865"/>
                  <a:gd name="connsiteX45" fmla="*/ 1651204 w 1834471"/>
                  <a:gd name="connsiteY45" fmla="*/ 1309990 h 1312865"/>
                  <a:gd name="connsiteX46" fmla="*/ 1685647 w 1834471"/>
                  <a:gd name="connsiteY46" fmla="*/ 1301433 h 1312865"/>
                  <a:gd name="connsiteX47" fmla="*/ 1748099 w 1834471"/>
                  <a:gd name="connsiteY47" fmla="*/ 1268315 h 1312865"/>
                  <a:gd name="connsiteX48" fmla="*/ 1796679 w 1834471"/>
                  <a:gd name="connsiteY48" fmla="*/ 1217095 h 1312865"/>
                  <a:gd name="connsiteX49" fmla="*/ 1826434 w 1834471"/>
                  <a:gd name="connsiteY49" fmla="*/ 1152888 h 1312865"/>
                  <a:gd name="connsiteX50" fmla="*/ 1833149 w 1834471"/>
                  <a:gd name="connsiteY50" fmla="*/ 1118024 h 1312865"/>
                  <a:gd name="connsiteX51" fmla="*/ 1833907 w 1834471"/>
                  <a:gd name="connsiteY51" fmla="*/ 1109202 h 1312865"/>
                  <a:gd name="connsiteX52" fmla="*/ 1834331 w 1834471"/>
                  <a:gd name="connsiteY52" fmla="*/ 1100363 h 1312865"/>
                  <a:gd name="connsiteX53" fmla="*/ 1834436 w 1834471"/>
                  <a:gd name="connsiteY53" fmla="*/ 1095934 h 1312865"/>
                  <a:gd name="connsiteX54" fmla="*/ 1834471 w 1834471"/>
                  <a:gd name="connsiteY54" fmla="*/ 1093817 h 1312865"/>
                  <a:gd name="connsiteX55" fmla="*/ 1834471 w 1834471"/>
                  <a:gd name="connsiteY55" fmla="*/ 218979 h 1312865"/>
                  <a:gd name="connsiteX56" fmla="*/ 1834278 w 1834471"/>
                  <a:gd name="connsiteY56" fmla="*/ 210227 h 1312865"/>
                  <a:gd name="connsiteX57" fmla="*/ 1798636 w 1834471"/>
                  <a:gd name="connsiteY57" fmla="*/ 494365 h 1312865"/>
                  <a:gd name="connsiteX58" fmla="*/ 1798636 w 1834471"/>
                  <a:gd name="connsiteY58" fmla="*/ 1085436 h 1312865"/>
                  <a:gd name="connsiteX59" fmla="*/ 1797525 w 1834471"/>
                  <a:gd name="connsiteY59" fmla="*/ 1114143 h 1312865"/>
                  <a:gd name="connsiteX60" fmla="*/ 1791902 w 1834471"/>
                  <a:gd name="connsiteY60" fmla="*/ 1143255 h 1312865"/>
                  <a:gd name="connsiteX61" fmla="*/ 1767048 w 1834471"/>
                  <a:gd name="connsiteY61" fmla="*/ 1196892 h 1312865"/>
                  <a:gd name="connsiteX62" fmla="*/ 1726401 w 1834471"/>
                  <a:gd name="connsiteY62" fmla="*/ 1239732 h 1312865"/>
                  <a:gd name="connsiteX63" fmla="*/ 1674225 w 1834471"/>
                  <a:gd name="connsiteY63" fmla="*/ 1267398 h 1312865"/>
                  <a:gd name="connsiteX64" fmla="*/ 1615968 w 1834471"/>
                  <a:gd name="connsiteY64" fmla="*/ 1276960 h 1312865"/>
                  <a:gd name="connsiteX65" fmla="*/ 218556 w 1834471"/>
                  <a:gd name="connsiteY65" fmla="*/ 1276960 h 1312865"/>
                  <a:gd name="connsiteX66" fmla="*/ 216706 w 1834471"/>
                  <a:gd name="connsiteY66" fmla="*/ 1276925 h 1312865"/>
                  <a:gd name="connsiteX67" fmla="*/ 213004 w 1834471"/>
                  <a:gd name="connsiteY67" fmla="*/ 1276837 h 1312865"/>
                  <a:gd name="connsiteX68" fmla="*/ 209302 w 1834471"/>
                  <a:gd name="connsiteY68" fmla="*/ 1276731 h 1312865"/>
                  <a:gd name="connsiteX69" fmla="*/ 205601 w 1834471"/>
                  <a:gd name="connsiteY69" fmla="*/ 1276467 h 1312865"/>
                  <a:gd name="connsiteX70" fmla="*/ 198215 w 1834471"/>
                  <a:gd name="connsiteY70" fmla="*/ 1275814 h 1312865"/>
                  <a:gd name="connsiteX71" fmla="*/ 190865 w 1834471"/>
                  <a:gd name="connsiteY71" fmla="*/ 1274879 h 1312865"/>
                  <a:gd name="connsiteX72" fmla="*/ 162027 w 1834471"/>
                  <a:gd name="connsiteY72" fmla="*/ 1268015 h 1312865"/>
                  <a:gd name="connsiteX73" fmla="*/ 134688 w 1834471"/>
                  <a:gd name="connsiteY73" fmla="*/ 1256564 h 1312865"/>
                  <a:gd name="connsiteX74" fmla="*/ 109551 w 1834471"/>
                  <a:gd name="connsiteY74" fmla="*/ 1240879 h 1312865"/>
                  <a:gd name="connsiteX75" fmla="*/ 43080 w 1834471"/>
                  <a:gd name="connsiteY75" fmla="*/ 1145072 h 1312865"/>
                  <a:gd name="connsiteX76" fmla="*/ 39502 w 1834471"/>
                  <a:gd name="connsiteY76" fmla="*/ 1130657 h 1312865"/>
                  <a:gd name="connsiteX77" fmla="*/ 38198 w 1834471"/>
                  <a:gd name="connsiteY77" fmla="*/ 1123353 h 1312865"/>
                  <a:gd name="connsiteX78" fmla="*/ 37193 w 1834471"/>
                  <a:gd name="connsiteY78" fmla="*/ 1115995 h 1312865"/>
                  <a:gd name="connsiteX79" fmla="*/ 36470 w 1834471"/>
                  <a:gd name="connsiteY79" fmla="*/ 1108620 h 1312865"/>
                  <a:gd name="connsiteX80" fmla="*/ 36029 w 1834471"/>
                  <a:gd name="connsiteY80" fmla="*/ 1101227 h 1312865"/>
                  <a:gd name="connsiteX81" fmla="*/ 35853 w 1834471"/>
                  <a:gd name="connsiteY81" fmla="*/ 1093852 h 1312865"/>
                  <a:gd name="connsiteX82" fmla="*/ 35853 w 1834471"/>
                  <a:gd name="connsiteY82" fmla="*/ 227412 h 1312865"/>
                  <a:gd name="connsiteX83" fmla="*/ 36964 w 1834471"/>
                  <a:gd name="connsiteY83" fmla="*/ 198706 h 1312865"/>
                  <a:gd name="connsiteX84" fmla="*/ 42587 w 1834471"/>
                  <a:gd name="connsiteY84" fmla="*/ 169593 h 1312865"/>
                  <a:gd name="connsiteX85" fmla="*/ 67441 w 1834471"/>
                  <a:gd name="connsiteY85" fmla="*/ 115956 h 1312865"/>
                  <a:gd name="connsiteX86" fmla="*/ 108088 w 1834471"/>
                  <a:gd name="connsiteY86" fmla="*/ 73116 h 1312865"/>
                  <a:gd name="connsiteX87" fmla="*/ 160264 w 1834471"/>
                  <a:gd name="connsiteY87" fmla="*/ 45451 h 1312865"/>
                  <a:gd name="connsiteX88" fmla="*/ 218521 w 1834471"/>
                  <a:gd name="connsiteY88" fmla="*/ 35888 h 1312865"/>
                  <a:gd name="connsiteX89" fmla="*/ 1615915 w 1834471"/>
                  <a:gd name="connsiteY89" fmla="*/ 35888 h 1312865"/>
                  <a:gd name="connsiteX90" fmla="*/ 1617766 w 1834471"/>
                  <a:gd name="connsiteY90" fmla="*/ 35923 h 1312865"/>
                  <a:gd name="connsiteX91" fmla="*/ 1621468 w 1834471"/>
                  <a:gd name="connsiteY91" fmla="*/ 36011 h 1312865"/>
                  <a:gd name="connsiteX92" fmla="*/ 1625169 w 1834471"/>
                  <a:gd name="connsiteY92" fmla="*/ 36117 h 1312865"/>
                  <a:gd name="connsiteX93" fmla="*/ 1628871 w 1834471"/>
                  <a:gd name="connsiteY93" fmla="*/ 36382 h 1312865"/>
                  <a:gd name="connsiteX94" fmla="*/ 1636257 w 1834471"/>
                  <a:gd name="connsiteY94" fmla="*/ 37035 h 1312865"/>
                  <a:gd name="connsiteX95" fmla="*/ 1643607 w 1834471"/>
                  <a:gd name="connsiteY95" fmla="*/ 37970 h 1312865"/>
                  <a:gd name="connsiteX96" fmla="*/ 1672445 w 1834471"/>
                  <a:gd name="connsiteY96" fmla="*/ 44833 h 1312865"/>
                  <a:gd name="connsiteX97" fmla="*/ 1699784 w 1834471"/>
                  <a:gd name="connsiteY97" fmla="*/ 56284 h 1312865"/>
                  <a:gd name="connsiteX98" fmla="*/ 1724920 w 1834471"/>
                  <a:gd name="connsiteY98" fmla="*/ 71970 h 1312865"/>
                  <a:gd name="connsiteX99" fmla="*/ 1791391 w 1834471"/>
                  <a:gd name="connsiteY99" fmla="*/ 167776 h 1312865"/>
                  <a:gd name="connsiteX100" fmla="*/ 1794970 w 1834471"/>
                  <a:gd name="connsiteY100" fmla="*/ 182191 h 1312865"/>
                  <a:gd name="connsiteX101" fmla="*/ 1796274 w 1834471"/>
                  <a:gd name="connsiteY101" fmla="*/ 189496 h 1312865"/>
                  <a:gd name="connsiteX102" fmla="*/ 1797279 w 1834471"/>
                  <a:gd name="connsiteY102" fmla="*/ 196853 h 1312865"/>
                  <a:gd name="connsiteX103" fmla="*/ 1798001 w 1834471"/>
                  <a:gd name="connsiteY103" fmla="*/ 204228 h 1312865"/>
                  <a:gd name="connsiteX104" fmla="*/ 1798442 w 1834471"/>
                  <a:gd name="connsiteY104" fmla="*/ 211621 h 1312865"/>
                  <a:gd name="connsiteX105" fmla="*/ 1798618 w 1834471"/>
                  <a:gd name="connsiteY105" fmla="*/ 218996 h 1312865"/>
                  <a:gd name="connsiteX106" fmla="*/ 1798618 w 1834471"/>
                  <a:gd name="connsiteY106" fmla="*/ 494382 h 131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1834471" h="1312865">
                    <a:moveTo>
                      <a:pt x="1834278" y="210227"/>
                    </a:moveTo>
                    <a:cubicBezTo>
                      <a:pt x="1834242" y="207281"/>
                      <a:pt x="1833960" y="204334"/>
                      <a:pt x="1833749" y="201388"/>
                    </a:cubicBezTo>
                    <a:cubicBezTo>
                      <a:pt x="1833537" y="198441"/>
                      <a:pt x="1833291" y="195495"/>
                      <a:pt x="1832885" y="192566"/>
                    </a:cubicBezTo>
                    <a:cubicBezTo>
                      <a:pt x="1832497" y="189637"/>
                      <a:pt x="1832198" y="186690"/>
                      <a:pt x="1831669" y="183779"/>
                    </a:cubicBezTo>
                    <a:lnTo>
                      <a:pt x="1830100" y="175028"/>
                    </a:lnTo>
                    <a:cubicBezTo>
                      <a:pt x="1828831" y="169240"/>
                      <a:pt x="1827527" y="163453"/>
                      <a:pt x="1825817" y="157772"/>
                    </a:cubicBezTo>
                    <a:cubicBezTo>
                      <a:pt x="1812773" y="112074"/>
                      <a:pt x="1784182" y="71387"/>
                      <a:pt x="1746302" y="43175"/>
                    </a:cubicBezTo>
                    <a:cubicBezTo>
                      <a:pt x="1736818" y="36117"/>
                      <a:pt x="1726736" y="29871"/>
                      <a:pt x="1716230" y="24402"/>
                    </a:cubicBezTo>
                    <a:cubicBezTo>
                      <a:pt x="1705724" y="18950"/>
                      <a:pt x="1694778" y="14309"/>
                      <a:pt x="1683497" y="10692"/>
                    </a:cubicBezTo>
                    <a:cubicBezTo>
                      <a:pt x="1672215" y="7058"/>
                      <a:pt x="1660670" y="4305"/>
                      <a:pt x="1648966" y="2488"/>
                    </a:cubicBezTo>
                    <a:lnTo>
                      <a:pt x="1640170" y="1359"/>
                    </a:lnTo>
                    <a:cubicBezTo>
                      <a:pt x="1637244" y="953"/>
                      <a:pt x="1634282" y="829"/>
                      <a:pt x="1631356" y="582"/>
                    </a:cubicBezTo>
                    <a:lnTo>
                      <a:pt x="1626949" y="265"/>
                    </a:lnTo>
                    <a:lnTo>
                      <a:pt x="1622543" y="141"/>
                    </a:lnTo>
                    <a:lnTo>
                      <a:pt x="1618118" y="35"/>
                    </a:lnTo>
                    <a:lnTo>
                      <a:pt x="1615915" y="0"/>
                    </a:lnTo>
                    <a:lnTo>
                      <a:pt x="218521" y="0"/>
                    </a:lnTo>
                    <a:cubicBezTo>
                      <a:pt x="206746" y="53"/>
                      <a:pt x="194954" y="1006"/>
                      <a:pt x="183267" y="2876"/>
                    </a:cubicBezTo>
                    <a:cubicBezTo>
                      <a:pt x="171581" y="4693"/>
                      <a:pt x="160053" y="7693"/>
                      <a:pt x="148824" y="11433"/>
                    </a:cubicBezTo>
                    <a:cubicBezTo>
                      <a:pt x="126332" y="18914"/>
                      <a:pt x="105215" y="30295"/>
                      <a:pt x="86372" y="44551"/>
                    </a:cubicBezTo>
                    <a:cubicBezTo>
                      <a:pt x="67546" y="58860"/>
                      <a:pt x="51136" y="76239"/>
                      <a:pt x="37792" y="95771"/>
                    </a:cubicBezTo>
                    <a:cubicBezTo>
                      <a:pt x="24590" y="115374"/>
                      <a:pt x="14295" y="137076"/>
                      <a:pt x="8038" y="159977"/>
                    </a:cubicBezTo>
                    <a:cubicBezTo>
                      <a:pt x="4900" y="171411"/>
                      <a:pt x="2556" y="183073"/>
                      <a:pt x="1322" y="194842"/>
                    </a:cubicBezTo>
                    <a:cubicBezTo>
                      <a:pt x="952" y="197771"/>
                      <a:pt x="811" y="200735"/>
                      <a:pt x="564" y="203664"/>
                    </a:cubicBezTo>
                    <a:cubicBezTo>
                      <a:pt x="300" y="206610"/>
                      <a:pt x="194" y="209557"/>
                      <a:pt x="141" y="212503"/>
                    </a:cubicBezTo>
                    <a:lnTo>
                      <a:pt x="35" y="216932"/>
                    </a:lnTo>
                    <a:lnTo>
                      <a:pt x="0" y="219049"/>
                    </a:lnTo>
                    <a:lnTo>
                      <a:pt x="0" y="1093887"/>
                    </a:lnTo>
                    <a:lnTo>
                      <a:pt x="194" y="1102639"/>
                    </a:lnTo>
                    <a:cubicBezTo>
                      <a:pt x="229" y="1105585"/>
                      <a:pt x="511" y="1108532"/>
                      <a:pt x="723" y="1111478"/>
                    </a:cubicBezTo>
                    <a:cubicBezTo>
                      <a:pt x="934" y="1114425"/>
                      <a:pt x="1181" y="1117371"/>
                      <a:pt x="1586" y="1120300"/>
                    </a:cubicBezTo>
                    <a:cubicBezTo>
                      <a:pt x="1974" y="1123229"/>
                      <a:pt x="2274" y="1126176"/>
                      <a:pt x="2803" y="1129087"/>
                    </a:cubicBezTo>
                    <a:lnTo>
                      <a:pt x="4371" y="1137838"/>
                    </a:lnTo>
                    <a:cubicBezTo>
                      <a:pt x="5641" y="1143625"/>
                      <a:pt x="6945" y="1149413"/>
                      <a:pt x="8655" y="1155094"/>
                    </a:cubicBezTo>
                    <a:cubicBezTo>
                      <a:pt x="21699" y="1200792"/>
                      <a:pt x="50290" y="1241479"/>
                      <a:pt x="88170" y="1269691"/>
                    </a:cubicBezTo>
                    <a:cubicBezTo>
                      <a:pt x="97653" y="1276749"/>
                      <a:pt x="107736" y="1282995"/>
                      <a:pt x="118242" y="1288464"/>
                    </a:cubicBezTo>
                    <a:cubicBezTo>
                      <a:pt x="128747" y="1293916"/>
                      <a:pt x="139694" y="1298557"/>
                      <a:pt x="150975" y="1302174"/>
                    </a:cubicBezTo>
                    <a:cubicBezTo>
                      <a:pt x="162256" y="1305808"/>
                      <a:pt x="173802" y="1308561"/>
                      <a:pt x="185506" y="1310378"/>
                    </a:cubicBezTo>
                    <a:lnTo>
                      <a:pt x="194302" y="1311507"/>
                    </a:lnTo>
                    <a:cubicBezTo>
                      <a:pt x="197228" y="1311913"/>
                      <a:pt x="200189" y="1312037"/>
                      <a:pt x="203115" y="1312284"/>
                    </a:cubicBezTo>
                    <a:lnTo>
                      <a:pt x="207522" y="1312601"/>
                    </a:lnTo>
                    <a:lnTo>
                      <a:pt x="211929" y="1312725"/>
                    </a:lnTo>
                    <a:lnTo>
                      <a:pt x="216353" y="1312831"/>
                    </a:lnTo>
                    <a:lnTo>
                      <a:pt x="218556" y="1312866"/>
                    </a:lnTo>
                    <a:lnTo>
                      <a:pt x="1615950" y="1312866"/>
                    </a:lnTo>
                    <a:cubicBezTo>
                      <a:pt x="1627725" y="1312813"/>
                      <a:pt x="1639517" y="1311860"/>
                      <a:pt x="1651204" y="1309990"/>
                    </a:cubicBezTo>
                    <a:cubicBezTo>
                      <a:pt x="1662891" y="1308173"/>
                      <a:pt x="1674419" y="1305173"/>
                      <a:pt x="1685647" y="1301433"/>
                    </a:cubicBezTo>
                    <a:cubicBezTo>
                      <a:pt x="1708139" y="1293952"/>
                      <a:pt x="1729256" y="1282571"/>
                      <a:pt x="1748099" y="1268315"/>
                    </a:cubicBezTo>
                    <a:cubicBezTo>
                      <a:pt x="1766925" y="1254006"/>
                      <a:pt x="1783336" y="1236627"/>
                      <a:pt x="1796679" y="1217095"/>
                    </a:cubicBezTo>
                    <a:cubicBezTo>
                      <a:pt x="1809882" y="1197492"/>
                      <a:pt x="1820176" y="1175790"/>
                      <a:pt x="1826434" y="1152888"/>
                    </a:cubicBezTo>
                    <a:cubicBezTo>
                      <a:pt x="1829571" y="1141455"/>
                      <a:pt x="1831916" y="1129793"/>
                      <a:pt x="1833149" y="1118024"/>
                    </a:cubicBezTo>
                    <a:cubicBezTo>
                      <a:pt x="1833520" y="1115095"/>
                      <a:pt x="1833661" y="1112131"/>
                      <a:pt x="1833907" y="1109202"/>
                    </a:cubicBezTo>
                    <a:cubicBezTo>
                      <a:pt x="1834172" y="1106256"/>
                      <a:pt x="1834278" y="1103309"/>
                      <a:pt x="1834331" y="1100363"/>
                    </a:cubicBezTo>
                    <a:lnTo>
                      <a:pt x="1834436" y="1095934"/>
                    </a:lnTo>
                    <a:lnTo>
                      <a:pt x="1834471" y="1093817"/>
                    </a:lnTo>
                    <a:lnTo>
                      <a:pt x="1834471" y="218979"/>
                    </a:lnTo>
                    <a:lnTo>
                      <a:pt x="1834278" y="210227"/>
                    </a:lnTo>
                    <a:close/>
                    <a:moveTo>
                      <a:pt x="1798636" y="494365"/>
                    </a:moveTo>
                    <a:lnTo>
                      <a:pt x="1798636" y="1085436"/>
                    </a:lnTo>
                    <a:cubicBezTo>
                      <a:pt x="1798689" y="1093976"/>
                      <a:pt x="1798601" y="1104438"/>
                      <a:pt x="1797525" y="1114143"/>
                    </a:cubicBezTo>
                    <a:cubicBezTo>
                      <a:pt x="1796503" y="1123988"/>
                      <a:pt x="1794529" y="1133727"/>
                      <a:pt x="1791902" y="1143255"/>
                    </a:cubicBezTo>
                    <a:cubicBezTo>
                      <a:pt x="1786702" y="1162381"/>
                      <a:pt x="1778083" y="1180484"/>
                      <a:pt x="1767048" y="1196892"/>
                    </a:cubicBezTo>
                    <a:cubicBezTo>
                      <a:pt x="1755873" y="1213213"/>
                      <a:pt x="1742159" y="1227769"/>
                      <a:pt x="1726401" y="1239732"/>
                    </a:cubicBezTo>
                    <a:cubicBezTo>
                      <a:pt x="1710642" y="1251642"/>
                      <a:pt x="1693015" y="1261169"/>
                      <a:pt x="1674225" y="1267398"/>
                    </a:cubicBezTo>
                    <a:cubicBezTo>
                      <a:pt x="1655487" y="1273802"/>
                      <a:pt x="1635675" y="1276855"/>
                      <a:pt x="1615968" y="1276960"/>
                    </a:cubicBezTo>
                    <a:lnTo>
                      <a:pt x="218556" y="1276960"/>
                    </a:lnTo>
                    <a:lnTo>
                      <a:pt x="216706" y="1276925"/>
                    </a:lnTo>
                    <a:lnTo>
                      <a:pt x="213004" y="1276837"/>
                    </a:lnTo>
                    <a:lnTo>
                      <a:pt x="209302" y="1276731"/>
                    </a:lnTo>
                    <a:lnTo>
                      <a:pt x="205601" y="1276467"/>
                    </a:lnTo>
                    <a:cubicBezTo>
                      <a:pt x="203133" y="1276255"/>
                      <a:pt x="200665" y="1276166"/>
                      <a:pt x="198215" y="1275814"/>
                    </a:cubicBezTo>
                    <a:lnTo>
                      <a:pt x="190865" y="1274879"/>
                    </a:lnTo>
                    <a:cubicBezTo>
                      <a:pt x="181099" y="1273344"/>
                      <a:pt x="171440" y="1271050"/>
                      <a:pt x="162027" y="1268015"/>
                    </a:cubicBezTo>
                    <a:cubicBezTo>
                      <a:pt x="152596" y="1265016"/>
                      <a:pt x="143466" y="1261116"/>
                      <a:pt x="134688" y="1256564"/>
                    </a:cubicBezTo>
                    <a:cubicBezTo>
                      <a:pt x="125909" y="1252012"/>
                      <a:pt x="117484" y="1246789"/>
                      <a:pt x="109551" y="1240879"/>
                    </a:cubicBezTo>
                    <a:cubicBezTo>
                      <a:pt x="77876" y="1217254"/>
                      <a:pt x="53938" y="1183218"/>
                      <a:pt x="43080" y="1145072"/>
                    </a:cubicBezTo>
                    <a:cubicBezTo>
                      <a:pt x="41635" y="1140326"/>
                      <a:pt x="40577" y="1135492"/>
                      <a:pt x="39502" y="1130657"/>
                    </a:cubicBezTo>
                    <a:lnTo>
                      <a:pt x="38198" y="1123353"/>
                    </a:lnTo>
                    <a:cubicBezTo>
                      <a:pt x="37739" y="1120918"/>
                      <a:pt x="37528" y="1118448"/>
                      <a:pt x="37193" y="1115995"/>
                    </a:cubicBezTo>
                    <a:cubicBezTo>
                      <a:pt x="36840" y="1113543"/>
                      <a:pt x="36629" y="1111090"/>
                      <a:pt x="36470" y="1108620"/>
                    </a:cubicBezTo>
                    <a:cubicBezTo>
                      <a:pt x="36312" y="1106150"/>
                      <a:pt x="36029" y="1103697"/>
                      <a:pt x="36029" y="1101227"/>
                    </a:cubicBezTo>
                    <a:lnTo>
                      <a:pt x="35853" y="1093852"/>
                    </a:lnTo>
                    <a:lnTo>
                      <a:pt x="35853" y="227412"/>
                    </a:lnTo>
                    <a:cubicBezTo>
                      <a:pt x="35800" y="218873"/>
                      <a:pt x="35888" y="208410"/>
                      <a:pt x="36964" y="198706"/>
                    </a:cubicBezTo>
                    <a:cubicBezTo>
                      <a:pt x="37986" y="188860"/>
                      <a:pt x="39960" y="179121"/>
                      <a:pt x="42587" y="169593"/>
                    </a:cubicBezTo>
                    <a:cubicBezTo>
                      <a:pt x="47787" y="150467"/>
                      <a:pt x="56406" y="132365"/>
                      <a:pt x="67441" y="115956"/>
                    </a:cubicBezTo>
                    <a:cubicBezTo>
                      <a:pt x="78616" y="99635"/>
                      <a:pt x="92330" y="85079"/>
                      <a:pt x="108088" y="73116"/>
                    </a:cubicBezTo>
                    <a:cubicBezTo>
                      <a:pt x="123847" y="61207"/>
                      <a:pt x="141474" y="51679"/>
                      <a:pt x="160264" y="45451"/>
                    </a:cubicBezTo>
                    <a:cubicBezTo>
                      <a:pt x="179002" y="39046"/>
                      <a:pt x="198814" y="35994"/>
                      <a:pt x="218521" y="35888"/>
                    </a:cubicBezTo>
                    <a:lnTo>
                      <a:pt x="1615915" y="35888"/>
                    </a:lnTo>
                    <a:lnTo>
                      <a:pt x="1617766" y="35923"/>
                    </a:lnTo>
                    <a:lnTo>
                      <a:pt x="1621468" y="36011"/>
                    </a:lnTo>
                    <a:lnTo>
                      <a:pt x="1625169" y="36117"/>
                    </a:lnTo>
                    <a:lnTo>
                      <a:pt x="1628871" y="36382"/>
                    </a:lnTo>
                    <a:cubicBezTo>
                      <a:pt x="1631339" y="36593"/>
                      <a:pt x="1633806" y="36682"/>
                      <a:pt x="1636257" y="37035"/>
                    </a:cubicBezTo>
                    <a:lnTo>
                      <a:pt x="1643607" y="37970"/>
                    </a:lnTo>
                    <a:cubicBezTo>
                      <a:pt x="1653372" y="39505"/>
                      <a:pt x="1663032" y="41798"/>
                      <a:pt x="1672445" y="44833"/>
                    </a:cubicBezTo>
                    <a:cubicBezTo>
                      <a:pt x="1681875" y="47833"/>
                      <a:pt x="1691006" y="51732"/>
                      <a:pt x="1699784" y="56284"/>
                    </a:cubicBezTo>
                    <a:cubicBezTo>
                      <a:pt x="1708562" y="60836"/>
                      <a:pt x="1716988" y="66059"/>
                      <a:pt x="1724920" y="71970"/>
                    </a:cubicBezTo>
                    <a:cubicBezTo>
                      <a:pt x="1756596" y="95595"/>
                      <a:pt x="1780533" y="129630"/>
                      <a:pt x="1791391" y="167776"/>
                    </a:cubicBezTo>
                    <a:cubicBezTo>
                      <a:pt x="1792837" y="172522"/>
                      <a:pt x="1793894" y="177357"/>
                      <a:pt x="1794970" y="182191"/>
                    </a:cubicBezTo>
                    <a:lnTo>
                      <a:pt x="1796274" y="189496"/>
                    </a:lnTo>
                    <a:cubicBezTo>
                      <a:pt x="1796732" y="191930"/>
                      <a:pt x="1796944" y="194401"/>
                      <a:pt x="1797279" y="196853"/>
                    </a:cubicBezTo>
                    <a:cubicBezTo>
                      <a:pt x="1797631" y="199306"/>
                      <a:pt x="1797843" y="201758"/>
                      <a:pt x="1798001" y="204228"/>
                    </a:cubicBezTo>
                    <a:cubicBezTo>
                      <a:pt x="1798160" y="206698"/>
                      <a:pt x="1798442" y="209151"/>
                      <a:pt x="1798442" y="211621"/>
                    </a:cubicBezTo>
                    <a:lnTo>
                      <a:pt x="1798618" y="218996"/>
                    </a:lnTo>
                    <a:lnTo>
                      <a:pt x="1798618" y="494382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66" name="Freeform 16">
                <a:extLst>
                  <a:ext uri="{FF2B5EF4-FFF2-40B4-BE49-F238E27FC236}">
                    <a16:creationId xmlns:a16="http://schemas.microsoft.com/office/drawing/2014/main" id="{49BC99C7-6B07-EB98-4505-9108649048A6}"/>
                  </a:ext>
                </a:extLst>
              </p:cNvPr>
              <p:cNvSpPr/>
              <p:nvPr/>
            </p:nvSpPr>
            <p:spPr>
              <a:xfrm>
                <a:off x="2458885" y="3174262"/>
                <a:ext cx="1693449" cy="1171697"/>
              </a:xfrm>
              <a:custGeom>
                <a:avLst/>
                <a:gdLst>
                  <a:gd name="connsiteX0" fmla="*/ 1693450 w 1693449"/>
                  <a:gd name="connsiteY0" fmla="*/ 961135 h 1171697"/>
                  <a:gd name="connsiteX1" fmla="*/ 1693450 w 1693449"/>
                  <a:gd name="connsiteY1" fmla="*/ 148403 h 1171697"/>
                  <a:gd name="connsiteX2" fmla="*/ 1693291 w 1693449"/>
                  <a:gd name="connsiteY2" fmla="*/ 142351 h 1171697"/>
                  <a:gd name="connsiteX3" fmla="*/ 1692921 w 1693449"/>
                  <a:gd name="connsiteY3" fmla="*/ 136352 h 1171697"/>
                  <a:gd name="connsiteX4" fmla="*/ 1692339 w 1693449"/>
                  <a:gd name="connsiteY4" fmla="*/ 130371 h 1171697"/>
                  <a:gd name="connsiteX5" fmla="*/ 1691528 w 1693449"/>
                  <a:gd name="connsiteY5" fmla="*/ 124407 h 1171697"/>
                  <a:gd name="connsiteX6" fmla="*/ 1690471 w 1693449"/>
                  <a:gd name="connsiteY6" fmla="*/ 118497 h 1171697"/>
                  <a:gd name="connsiteX7" fmla="*/ 1687562 w 1693449"/>
                  <a:gd name="connsiteY7" fmla="*/ 106852 h 1171697"/>
                  <a:gd name="connsiteX8" fmla="*/ 1633677 w 1693449"/>
                  <a:gd name="connsiteY8" fmla="*/ 29218 h 1171697"/>
                  <a:gd name="connsiteX9" fmla="*/ 1613300 w 1693449"/>
                  <a:gd name="connsiteY9" fmla="*/ 16515 h 1171697"/>
                  <a:gd name="connsiteX10" fmla="*/ 1591178 w 1693449"/>
                  <a:gd name="connsiteY10" fmla="*/ 7252 h 1171697"/>
                  <a:gd name="connsiteX11" fmla="*/ 1567840 w 1693449"/>
                  <a:gd name="connsiteY11" fmla="*/ 1694 h 1171697"/>
                  <a:gd name="connsiteX12" fmla="*/ 1561882 w 1693449"/>
                  <a:gd name="connsiteY12" fmla="*/ 935 h 1171697"/>
                  <a:gd name="connsiteX13" fmla="*/ 1555889 w 1693449"/>
                  <a:gd name="connsiteY13" fmla="*/ 406 h 1171697"/>
                  <a:gd name="connsiteX14" fmla="*/ 1552892 w 1693449"/>
                  <a:gd name="connsiteY14" fmla="*/ 177 h 1171697"/>
                  <a:gd name="connsiteX15" fmla="*/ 1549878 w 1693449"/>
                  <a:gd name="connsiteY15" fmla="*/ 106 h 1171697"/>
                  <a:gd name="connsiteX16" fmla="*/ 1546864 w 1693449"/>
                  <a:gd name="connsiteY16" fmla="*/ 35 h 1171697"/>
                  <a:gd name="connsiteX17" fmla="*/ 1545348 w 1693449"/>
                  <a:gd name="connsiteY17" fmla="*/ 0 h 1171697"/>
                  <a:gd name="connsiteX18" fmla="*/ 148007 w 1693449"/>
                  <a:gd name="connsiteY18" fmla="*/ 0 h 1171697"/>
                  <a:gd name="connsiteX19" fmla="*/ 58533 w 1693449"/>
                  <a:gd name="connsiteY19" fmla="*/ 30154 h 1171697"/>
                  <a:gd name="connsiteX20" fmla="*/ 25570 w 1693449"/>
                  <a:gd name="connsiteY20" fmla="*/ 64894 h 1171697"/>
                  <a:gd name="connsiteX21" fmla="*/ 5458 w 1693449"/>
                  <a:gd name="connsiteY21" fmla="*/ 108316 h 1171697"/>
                  <a:gd name="connsiteX22" fmla="*/ 910 w 1693449"/>
                  <a:gd name="connsiteY22" fmla="*/ 131888 h 1171697"/>
                  <a:gd name="connsiteX23" fmla="*/ 11 w 1693449"/>
                  <a:gd name="connsiteY23" fmla="*/ 156837 h 1171697"/>
                  <a:gd name="connsiteX24" fmla="*/ 11 w 1693449"/>
                  <a:gd name="connsiteY24" fmla="*/ 1023294 h 1171697"/>
                  <a:gd name="connsiteX25" fmla="*/ 170 w 1693449"/>
                  <a:gd name="connsiteY25" fmla="*/ 1029346 h 1171697"/>
                  <a:gd name="connsiteX26" fmla="*/ 540 w 1693449"/>
                  <a:gd name="connsiteY26" fmla="*/ 1035345 h 1171697"/>
                  <a:gd name="connsiteX27" fmla="*/ 1122 w 1693449"/>
                  <a:gd name="connsiteY27" fmla="*/ 1041326 h 1171697"/>
                  <a:gd name="connsiteX28" fmla="*/ 1933 w 1693449"/>
                  <a:gd name="connsiteY28" fmla="*/ 1047290 h 1171697"/>
                  <a:gd name="connsiteX29" fmla="*/ 2990 w 1693449"/>
                  <a:gd name="connsiteY29" fmla="*/ 1053200 h 1171697"/>
                  <a:gd name="connsiteX30" fmla="*/ 5899 w 1693449"/>
                  <a:gd name="connsiteY30" fmla="*/ 1064846 h 1171697"/>
                  <a:gd name="connsiteX31" fmla="*/ 59784 w 1693449"/>
                  <a:gd name="connsiteY31" fmla="*/ 1142479 h 1171697"/>
                  <a:gd name="connsiteX32" fmla="*/ 80161 w 1693449"/>
                  <a:gd name="connsiteY32" fmla="*/ 1155182 h 1171697"/>
                  <a:gd name="connsiteX33" fmla="*/ 102283 w 1693449"/>
                  <a:gd name="connsiteY33" fmla="*/ 1164445 h 1171697"/>
                  <a:gd name="connsiteX34" fmla="*/ 125621 w 1693449"/>
                  <a:gd name="connsiteY34" fmla="*/ 1170003 h 1171697"/>
                  <a:gd name="connsiteX35" fmla="*/ 131579 w 1693449"/>
                  <a:gd name="connsiteY35" fmla="*/ 1170762 h 1171697"/>
                  <a:gd name="connsiteX36" fmla="*/ 137572 w 1693449"/>
                  <a:gd name="connsiteY36" fmla="*/ 1171291 h 1171697"/>
                  <a:gd name="connsiteX37" fmla="*/ 140569 w 1693449"/>
                  <a:gd name="connsiteY37" fmla="*/ 1171521 h 1171697"/>
                  <a:gd name="connsiteX38" fmla="*/ 143583 w 1693449"/>
                  <a:gd name="connsiteY38" fmla="*/ 1171591 h 1171697"/>
                  <a:gd name="connsiteX39" fmla="*/ 146597 w 1693449"/>
                  <a:gd name="connsiteY39" fmla="*/ 1171662 h 1171697"/>
                  <a:gd name="connsiteX40" fmla="*/ 148113 w 1693449"/>
                  <a:gd name="connsiteY40" fmla="*/ 1171697 h 1171697"/>
                  <a:gd name="connsiteX41" fmla="*/ 1545436 w 1693449"/>
                  <a:gd name="connsiteY41" fmla="*/ 1171697 h 1171697"/>
                  <a:gd name="connsiteX42" fmla="*/ 1634911 w 1693449"/>
                  <a:gd name="connsiteY42" fmla="*/ 1141544 h 1171697"/>
                  <a:gd name="connsiteX43" fmla="*/ 1667873 w 1693449"/>
                  <a:gd name="connsiteY43" fmla="*/ 1106803 h 1171697"/>
                  <a:gd name="connsiteX44" fmla="*/ 1687985 w 1693449"/>
                  <a:gd name="connsiteY44" fmla="*/ 1063381 h 1171697"/>
                  <a:gd name="connsiteX45" fmla="*/ 1692533 w 1693449"/>
                  <a:gd name="connsiteY45" fmla="*/ 1039809 h 1171697"/>
                  <a:gd name="connsiteX46" fmla="*/ 1693432 w 1693449"/>
                  <a:gd name="connsiteY46" fmla="*/ 1014860 h 1171697"/>
                  <a:gd name="connsiteX47" fmla="*/ 1693432 w 1693449"/>
                  <a:gd name="connsiteY47" fmla="*/ 961135 h 1171697"/>
                  <a:gd name="connsiteX48" fmla="*/ 35847 w 1693449"/>
                  <a:gd name="connsiteY48" fmla="*/ 210580 h 1171697"/>
                  <a:gd name="connsiteX49" fmla="*/ 35847 w 1693449"/>
                  <a:gd name="connsiteY49" fmla="*/ 148456 h 1171697"/>
                  <a:gd name="connsiteX50" fmla="*/ 35882 w 1693449"/>
                  <a:gd name="connsiteY50" fmla="*/ 147221 h 1171697"/>
                  <a:gd name="connsiteX51" fmla="*/ 35953 w 1693449"/>
                  <a:gd name="connsiteY51" fmla="*/ 144927 h 1171697"/>
                  <a:gd name="connsiteX52" fmla="*/ 36164 w 1693449"/>
                  <a:gd name="connsiteY52" fmla="*/ 140357 h 1171697"/>
                  <a:gd name="connsiteX53" fmla="*/ 36552 w 1693449"/>
                  <a:gd name="connsiteY53" fmla="*/ 135805 h 1171697"/>
                  <a:gd name="connsiteX54" fmla="*/ 40007 w 1693449"/>
                  <a:gd name="connsiteY54" fmla="*/ 117967 h 1171697"/>
                  <a:gd name="connsiteX55" fmla="*/ 55219 w 1693449"/>
                  <a:gd name="connsiteY55" fmla="*/ 85114 h 1171697"/>
                  <a:gd name="connsiteX56" fmla="*/ 80249 w 1693449"/>
                  <a:gd name="connsiteY56" fmla="*/ 58737 h 1171697"/>
                  <a:gd name="connsiteX57" fmla="*/ 148025 w 1693449"/>
                  <a:gd name="connsiteY57" fmla="*/ 35905 h 1171697"/>
                  <a:gd name="connsiteX58" fmla="*/ 1545401 w 1693449"/>
                  <a:gd name="connsiteY58" fmla="*/ 35905 h 1171697"/>
                  <a:gd name="connsiteX59" fmla="*/ 1546564 w 1693449"/>
                  <a:gd name="connsiteY59" fmla="*/ 35941 h 1171697"/>
                  <a:gd name="connsiteX60" fmla="*/ 1548856 w 1693449"/>
                  <a:gd name="connsiteY60" fmla="*/ 36011 h 1171697"/>
                  <a:gd name="connsiteX61" fmla="*/ 1551147 w 1693449"/>
                  <a:gd name="connsiteY61" fmla="*/ 36047 h 1171697"/>
                  <a:gd name="connsiteX62" fmla="*/ 1553421 w 1693449"/>
                  <a:gd name="connsiteY62" fmla="*/ 36223 h 1171697"/>
                  <a:gd name="connsiteX63" fmla="*/ 1557969 w 1693449"/>
                  <a:gd name="connsiteY63" fmla="*/ 36611 h 1171697"/>
                  <a:gd name="connsiteX64" fmla="*/ 1562481 w 1693449"/>
                  <a:gd name="connsiteY64" fmla="*/ 37176 h 1171697"/>
                  <a:gd name="connsiteX65" fmla="*/ 1580126 w 1693449"/>
                  <a:gd name="connsiteY65" fmla="*/ 41393 h 1171697"/>
                  <a:gd name="connsiteX66" fmla="*/ 1596854 w 1693449"/>
                  <a:gd name="connsiteY66" fmla="*/ 48397 h 1171697"/>
                  <a:gd name="connsiteX67" fmla="*/ 1612295 w 1693449"/>
                  <a:gd name="connsiteY67" fmla="*/ 58013 h 1171697"/>
                  <a:gd name="connsiteX68" fmla="*/ 1653137 w 1693449"/>
                  <a:gd name="connsiteY68" fmla="*/ 116838 h 1171697"/>
                  <a:gd name="connsiteX69" fmla="*/ 1655340 w 1693449"/>
                  <a:gd name="connsiteY69" fmla="*/ 125642 h 1171697"/>
                  <a:gd name="connsiteX70" fmla="*/ 1656133 w 1693449"/>
                  <a:gd name="connsiteY70" fmla="*/ 130124 h 1171697"/>
                  <a:gd name="connsiteX71" fmla="*/ 1656750 w 1693449"/>
                  <a:gd name="connsiteY71" fmla="*/ 134641 h 1171697"/>
                  <a:gd name="connsiteX72" fmla="*/ 1657191 w 1693449"/>
                  <a:gd name="connsiteY72" fmla="*/ 139175 h 1171697"/>
                  <a:gd name="connsiteX73" fmla="*/ 1657473 w 1693449"/>
                  <a:gd name="connsiteY73" fmla="*/ 143745 h 1171697"/>
                  <a:gd name="connsiteX74" fmla="*/ 1657596 w 1693449"/>
                  <a:gd name="connsiteY74" fmla="*/ 148421 h 1171697"/>
                  <a:gd name="connsiteX75" fmla="*/ 1657596 w 1693449"/>
                  <a:gd name="connsiteY75" fmla="*/ 380209 h 1171697"/>
                  <a:gd name="connsiteX76" fmla="*/ 35847 w 1693449"/>
                  <a:gd name="connsiteY76" fmla="*/ 380209 h 1171697"/>
                  <a:gd name="connsiteX77" fmla="*/ 35847 w 1693449"/>
                  <a:gd name="connsiteY77" fmla="*/ 210580 h 1171697"/>
                  <a:gd name="connsiteX78" fmla="*/ 35847 w 1693449"/>
                  <a:gd name="connsiteY78" fmla="*/ 532987 h 1171697"/>
                  <a:gd name="connsiteX79" fmla="*/ 35847 w 1693449"/>
                  <a:gd name="connsiteY79" fmla="*/ 415514 h 1171697"/>
                  <a:gd name="connsiteX80" fmla="*/ 1657614 w 1693449"/>
                  <a:gd name="connsiteY80" fmla="*/ 415514 h 1171697"/>
                  <a:gd name="connsiteX81" fmla="*/ 1657614 w 1693449"/>
                  <a:gd name="connsiteY81" fmla="*/ 776015 h 1171697"/>
                  <a:gd name="connsiteX82" fmla="*/ 35847 w 1693449"/>
                  <a:gd name="connsiteY82" fmla="*/ 776015 h 1171697"/>
                  <a:gd name="connsiteX83" fmla="*/ 35847 w 1693449"/>
                  <a:gd name="connsiteY83" fmla="*/ 532987 h 1171697"/>
                  <a:gd name="connsiteX84" fmla="*/ 1638242 w 1693449"/>
                  <a:gd name="connsiteY84" fmla="*/ 1086618 h 1171697"/>
                  <a:gd name="connsiteX85" fmla="*/ 1613212 w 1693449"/>
                  <a:gd name="connsiteY85" fmla="*/ 1112996 h 1171697"/>
                  <a:gd name="connsiteX86" fmla="*/ 1545436 w 1693449"/>
                  <a:gd name="connsiteY86" fmla="*/ 1135827 h 1171697"/>
                  <a:gd name="connsiteX87" fmla="*/ 148042 w 1693449"/>
                  <a:gd name="connsiteY87" fmla="*/ 1135827 h 1171697"/>
                  <a:gd name="connsiteX88" fmla="*/ 146879 w 1693449"/>
                  <a:gd name="connsiteY88" fmla="*/ 1135792 h 1171697"/>
                  <a:gd name="connsiteX89" fmla="*/ 144588 w 1693449"/>
                  <a:gd name="connsiteY89" fmla="*/ 1135721 h 1171697"/>
                  <a:gd name="connsiteX90" fmla="*/ 142296 w 1693449"/>
                  <a:gd name="connsiteY90" fmla="*/ 1135686 h 1171697"/>
                  <a:gd name="connsiteX91" fmla="*/ 140022 w 1693449"/>
                  <a:gd name="connsiteY91" fmla="*/ 1135509 h 1171697"/>
                  <a:gd name="connsiteX92" fmla="*/ 135474 w 1693449"/>
                  <a:gd name="connsiteY92" fmla="*/ 1135121 h 1171697"/>
                  <a:gd name="connsiteX93" fmla="*/ 130962 w 1693449"/>
                  <a:gd name="connsiteY93" fmla="*/ 1134557 h 1171697"/>
                  <a:gd name="connsiteX94" fmla="*/ 113317 w 1693449"/>
                  <a:gd name="connsiteY94" fmla="*/ 1130340 h 1171697"/>
                  <a:gd name="connsiteX95" fmla="*/ 96589 w 1693449"/>
                  <a:gd name="connsiteY95" fmla="*/ 1123335 h 1171697"/>
                  <a:gd name="connsiteX96" fmla="*/ 81148 w 1693449"/>
                  <a:gd name="connsiteY96" fmla="*/ 1113719 h 1171697"/>
                  <a:gd name="connsiteX97" fmla="*/ 40307 w 1693449"/>
                  <a:gd name="connsiteY97" fmla="*/ 1054894 h 1171697"/>
                  <a:gd name="connsiteX98" fmla="*/ 38103 w 1693449"/>
                  <a:gd name="connsiteY98" fmla="*/ 1046090 h 1171697"/>
                  <a:gd name="connsiteX99" fmla="*/ 37310 w 1693449"/>
                  <a:gd name="connsiteY99" fmla="*/ 1041608 h 1171697"/>
                  <a:gd name="connsiteX100" fmla="*/ 36693 w 1693449"/>
                  <a:gd name="connsiteY100" fmla="*/ 1037092 h 1171697"/>
                  <a:gd name="connsiteX101" fmla="*/ 36252 w 1693449"/>
                  <a:gd name="connsiteY101" fmla="*/ 1032557 h 1171697"/>
                  <a:gd name="connsiteX102" fmla="*/ 35970 w 1693449"/>
                  <a:gd name="connsiteY102" fmla="*/ 1027987 h 1171697"/>
                  <a:gd name="connsiteX103" fmla="*/ 35847 w 1693449"/>
                  <a:gd name="connsiteY103" fmla="*/ 1023312 h 1171697"/>
                  <a:gd name="connsiteX104" fmla="*/ 35847 w 1693449"/>
                  <a:gd name="connsiteY104" fmla="*/ 811302 h 1171697"/>
                  <a:gd name="connsiteX105" fmla="*/ 1657614 w 1693449"/>
                  <a:gd name="connsiteY105" fmla="*/ 811302 h 1171697"/>
                  <a:gd name="connsiteX106" fmla="*/ 1657614 w 1693449"/>
                  <a:gd name="connsiteY106" fmla="*/ 1023276 h 1171697"/>
                  <a:gd name="connsiteX107" fmla="*/ 1657579 w 1693449"/>
                  <a:gd name="connsiteY107" fmla="*/ 1024511 h 1171697"/>
                  <a:gd name="connsiteX108" fmla="*/ 1657508 w 1693449"/>
                  <a:gd name="connsiteY108" fmla="*/ 1026805 h 1171697"/>
                  <a:gd name="connsiteX109" fmla="*/ 1657297 w 1693449"/>
                  <a:gd name="connsiteY109" fmla="*/ 1031375 h 1171697"/>
                  <a:gd name="connsiteX110" fmla="*/ 1656909 w 1693449"/>
                  <a:gd name="connsiteY110" fmla="*/ 1035927 h 1171697"/>
                  <a:gd name="connsiteX111" fmla="*/ 1653454 w 1693449"/>
                  <a:gd name="connsiteY111" fmla="*/ 1053765 h 1171697"/>
                  <a:gd name="connsiteX112" fmla="*/ 1638242 w 1693449"/>
                  <a:gd name="connsiteY112" fmla="*/ 1086618 h 1171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</a:cxnLst>
                <a:rect l="l" t="t" r="r" b="b"/>
                <a:pathLst>
                  <a:path w="1693449" h="1171697">
                    <a:moveTo>
                      <a:pt x="1693450" y="961135"/>
                    </a:moveTo>
                    <a:lnTo>
                      <a:pt x="1693450" y="148403"/>
                    </a:lnTo>
                    <a:lnTo>
                      <a:pt x="1693291" y="142351"/>
                    </a:lnTo>
                    <a:cubicBezTo>
                      <a:pt x="1693291" y="140340"/>
                      <a:pt x="1693062" y="138346"/>
                      <a:pt x="1692921" y="136352"/>
                    </a:cubicBezTo>
                    <a:cubicBezTo>
                      <a:pt x="1692797" y="134358"/>
                      <a:pt x="1692621" y="132347"/>
                      <a:pt x="1692339" y="130371"/>
                    </a:cubicBezTo>
                    <a:cubicBezTo>
                      <a:pt x="1692057" y="128395"/>
                      <a:pt x="1691899" y="126383"/>
                      <a:pt x="1691528" y="124407"/>
                    </a:cubicBezTo>
                    <a:lnTo>
                      <a:pt x="1690471" y="118497"/>
                    </a:lnTo>
                    <a:cubicBezTo>
                      <a:pt x="1689572" y="114597"/>
                      <a:pt x="1688743" y="110680"/>
                      <a:pt x="1687562" y="106852"/>
                    </a:cubicBezTo>
                    <a:cubicBezTo>
                      <a:pt x="1678802" y="76010"/>
                      <a:pt x="1659377" y="48397"/>
                      <a:pt x="1633677" y="29218"/>
                    </a:cubicBezTo>
                    <a:cubicBezTo>
                      <a:pt x="1627243" y="24437"/>
                      <a:pt x="1620404" y="20202"/>
                      <a:pt x="1613300" y="16515"/>
                    </a:cubicBezTo>
                    <a:cubicBezTo>
                      <a:pt x="1606196" y="12827"/>
                      <a:pt x="1598811" y="9669"/>
                      <a:pt x="1591178" y="7252"/>
                    </a:cubicBezTo>
                    <a:cubicBezTo>
                      <a:pt x="1583563" y="4799"/>
                      <a:pt x="1575755" y="2947"/>
                      <a:pt x="1567840" y="1694"/>
                    </a:cubicBezTo>
                    <a:lnTo>
                      <a:pt x="1561882" y="935"/>
                    </a:lnTo>
                    <a:cubicBezTo>
                      <a:pt x="1559908" y="635"/>
                      <a:pt x="1557881" y="600"/>
                      <a:pt x="1555889" y="406"/>
                    </a:cubicBezTo>
                    <a:lnTo>
                      <a:pt x="1552892" y="177"/>
                    </a:lnTo>
                    <a:lnTo>
                      <a:pt x="1549878" y="106"/>
                    </a:lnTo>
                    <a:lnTo>
                      <a:pt x="1546864" y="35"/>
                    </a:lnTo>
                    <a:lnTo>
                      <a:pt x="1545348" y="0"/>
                    </a:lnTo>
                    <a:lnTo>
                      <a:pt x="148007" y="0"/>
                    </a:lnTo>
                    <a:cubicBezTo>
                      <a:pt x="115891" y="-35"/>
                      <a:pt x="84039" y="10657"/>
                      <a:pt x="58533" y="30154"/>
                    </a:cubicBezTo>
                    <a:cubicBezTo>
                      <a:pt x="45771" y="39858"/>
                      <a:pt x="34631" y="51679"/>
                      <a:pt x="25570" y="64894"/>
                    </a:cubicBezTo>
                    <a:cubicBezTo>
                      <a:pt x="16651" y="78198"/>
                      <a:pt x="9636" y="92842"/>
                      <a:pt x="5458" y="108316"/>
                    </a:cubicBezTo>
                    <a:cubicBezTo>
                      <a:pt x="3343" y="116044"/>
                      <a:pt x="1721" y="123913"/>
                      <a:pt x="910" y="131888"/>
                    </a:cubicBezTo>
                    <a:cubicBezTo>
                      <a:pt x="64" y="139987"/>
                      <a:pt x="-42" y="147468"/>
                      <a:pt x="11" y="156837"/>
                    </a:cubicBezTo>
                    <a:lnTo>
                      <a:pt x="11" y="1023294"/>
                    </a:lnTo>
                    <a:lnTo>
                      <a:pt x="170" y="1029346"/>
                    </a:lnTo>
                    <a:cubicBezTo>
                      <a:pt x="170" y="1031357"/>
                      <a:pt x="399" y="1033351"/>
                      <a:pt x="540" y="1035345"/>
                    </a:cubicBezTo>
                    <a:cubicBezTo>
                      <a:pt x="664" y="1037339"/>
                      <a:pt x="840" y="1039350"/>
                      <a:pt x="1122" y="1041326"/>
                    </a:cubicBezTo>
                    <a:cubicBezTo>
                      <a:pt x="1404" y="1043302"/>
                      <a:pt x="1562" y="1045314"/>
                      <a:pt x="1933" y="1047290"/>
                    </a:cubicBezTo>
                    <a:lnTo>
                      <a:pt x="2990" y="1053200"/>
                    </a:lnTo>
                    <a:cubicBezTo>
                      <a:pt x="3889" y="1057100"/>
                      <a:pt x="4718" y="1061017"/>
                      <a:pt x="5899" y="1064846"/>
                    </a:cubicBezTo>
                    <a:cubicBezTo>
                      <a:pt x="14659" y="1095687"/>
                      <a:pt x="34084" y="1123300"/>
                      <a:pt x="59784" y="1142479"/>
                    </a:cubicBezTo>
                    <a:cubicBezTo>
                      <a:pt x="66218" y="1147260"/>
                      <a:pt x="73057" y="1151495"/>
                      <a:pt x="80161" y="1155182"/>
                    </a:cubicBezTo>
                    <a:cubicBezTo>
                      <a:pt x="87265" y="1158870"/>
                      <a:pt x="94650" y="1162028"/>
                      <a:pt x="102283" y="1164445"/>
                    </a:cubicBezTo>
                    <a:cubicBezTo>
                      <a:pt x="109898" y="1166898"/>
                      <a:pt x="117706" y="1168750"/>
                      <a:pt x="125621" y="1170003"/>
                    </a:cubicBezTo>
                    <a:lnTo>
                      <a:pt x="131579" y="1170762"/>
                    </a:lnTo>
                    <a:cubicBezTo>
                      <a:pt x="133553" y="1171062"/>
                      <a:pt x="135580" y="1171097"/>
                      <a:pt x="137572" y="1171291"/>
                    </a:cubicBezTo>
                    <a:lnTo>
                      <a:pt x="140569" y="1171521"/>
                    </a:lnTo>
                    <a:lnTo>
                      <a:pt x="143583" y="1171591"/>
                    </a:lnTo>
                    <a:lnTo>
                      <a:pt x="146597" y="1171662"/>
                    </a:lnTo>
                    <a:lnTo>
                      <a:pt x="148113" y="1171697"/>
                    </a:lnTo>
                    <a:lnTo>
                      <a:pt x="1545436" y="1171697"/>
                    </a:lnTo>
                    <a:cubicBezTo>
                      <a:pt x="1577552" y="1171732"/>
                      <a:pt x="1609404" y="1161040"/>
                      <a:pt x="1634911" y="1141544"/>
                    </a:cubicBezTo>
                    <a:cubicBezTo>
                      <a:pt x="1647672" y="1131839"/>
                      <a:pt x="1658813" y="1120018"/>
                      <a:pt x="1667873" y="1106803"/>
                    </a:cubicBezTo>
                    <a:cubicBezTo>
                      <a:pt x="1676792" y="1093499"/>
                      <a:pt x="1683808" y="1078855"/>
                      <a:pt x="1687985" y="1063381"/>
                    </a:cubicBezTo>
                    <a:cubicBezTo>
                      <a:pt x="1690101" y="1055653"/>
                      <a:pt x="1691722" y="1047784"/>
                      <a:pt x="1692533" y="1039809"/>
                    </a:cubicBezTo>
                    <a:cubicBezTo>
                      <a:pt x="1693379" y="1031710"/>
                      <a:pt x="1693485" y="1024229"/>
                      <a:pt x="1693432" y="1014860"/>
                    </a:cubicBezTo>
                    <a:lnTo>
                      <a:pt x="1693432" y="961135"/>
                    </a:lnTo>
                    <a:close/>
                    <a:moveTo>
                      <a:pt x="35847" y="210580"/>
                    </a:moveTo>
                    <a:lnTo>
                      <a:pt x="35847" y="148456"/>
                    </a:lnTo>
                    <a:cubicBezTo>
                      <a:pt x="35847" y="147891"/>
                      <a:pt x="35865" y="147644"/>
                      <a:pt x="35882" y="147221"/>
                    </a:cubicBezTo>
                    <a:lnTo>
                      <a:pt x="35953" y="144927"/>
                    </a:lnTo>
                    <a:cubicBezTo>
                      <a:pt x="35953" y="143392"/>
                      <a:pt x="36006" y="141857"/>
                      <a:pt x="36164" y="140357"/>
                    </a:cubicBezTo>
                    <a:cubicBezTo>
                      <a:pt x="36305" y="138840"/>
                      <a:pt x="36323" y="137305"/>
                      <a:pt x="36552" y="135805"/>
                    </a:cubicBezTo>
                    <a:cubicBezTo>
                      <a:pt x="37169" y="129753"/>
                      <a:pt x="38420" y="123807"/>
                      <a:pt x="40007" y="117967"/>
                    </a:cubicBezTo>
                    <a:cubicBezTo>
                      <a:pt x="43144" y="106269"/>
                      <a:pt x="48485" y="95224"/>
                      <a:pt x="55219" y="85114"/>
                    </a:cubicBezTo>
                    <a:cubicBezTo>
                      <a:pt x="62093" y="75093"/>
                      <a:pt x="70554" y="66094"/>
                      <a:pt x="80249" y="58737"/>
                    </a:cubicBezTo>
                    <a:cubicBezTo>
                      <a:pt x="99656" y="43933"/>
                      <a:pt x="123559" y="35905"/>
                      <a:pt x="148025" y="35905"/>
                    </a:cubicBezTo>
                    <a:lnTo>
                      <a:pt x="1545401" y="35905"/>
                    </a:lnTo>
                    <a:lnTo>
                      <a:pt x="1546564" y="35941"/>
                    </a:lnTo>
                    <a:lnTo>
                      <a:pt x="1548856" y="36011"/>
                    </a:lnTo>
                    <a:lnTo>
                      <a:pt x="1551147" y="36047"/>
                    </a:lnTo>
                    <a:lnTo>
                      <a:pt x="1553421" y="36223"/>
                    </a:lnTo>
                    <a:cubicBezTo>
                      <a:pt x="1554937" y="36382"/>
                      <a:pt x="1556471" y="36382"/>
                      <a:pt x="1557969" y="36611"/>
                    </a:cubicBezTo>
                    <a:lnTo>
                      <a:pt x="1562481" y="37176"/>
                    </a:lnTo>
                    <a:cubicBezTo>
                      <a:pt x="1568475" y="38146"/>
                      <a:pt x="1574362" y="39540"/>
                      <a:pt x="1580126" y="41393"/>
                    </a:cubicBezTo>
                    <a:cubicBezTo>
                      <a:pt x="1585890" y="43210"/>
                      <a:pt x="1591478" y="45610"/>
                      <a:pt x="1596854" y="48397"/>
                    </a:cubicBezTo>
                    <a:cubicBezTo>
                      <a:pt x="1602230" y="51203"/>
                      <a:pt x="1607412" y="54379"/>
                      <a:pt x="1612295" y="58013"/>
                    </a:cubicBezTo>
                    <a:cubicBezTo>
                      <a:pt x="1631791" y="72587"/>
                      <a:pt x="1646562" y="93548"/>
                      <a:pt x="1653137" y="116838"/>
                    </a:cubicBezTo>
                    <a:cubicBezTo>
                      <a:pt x="1654036" y="119732"/>
                      <a:pt x="1654653" y="122696"/>
                      <a:pt x="1655340" y="125642"/>
                    </a:cubicBezTo>
                    <a:lnTo>
                      <a:pt x="1656133" y="130124"/>
                    </a:lnTo>
                    <a:cubicBezTo>
                      <a:pt x="1656433" y="131606"/>
                      <a:pt x="1656521" y="133141"/>
                      <a:pt x="1656750" y="134641"/>
                    </a:cubicBezTo>
                    <a:cubicBezTo>
                      <a:pt x="1656997" y="136141"/>
                      <a:pt x="1657103" y="137658"/>
                      <a:pt x="1657191" y="139175"/>
                    </a:cubicBezTo>
                    <a:cubicBezTo>
                      <a:pt x="1657279" y="140693"/>
                      <a:pt x="1657491" y="142210"/>
                      <a:pt x="1657473" y="143745"/>
                    </a:cubicBezTo>
                    <a:lnTo>
                      <a:pt x="1657596" y="148421"/>
                    </a:lnTo>
                    <a:lnTo>
                      <a:pt x="1657596" y="380209"/>
                    </a:lnTo>
                    <a:lnTo>
                      <a:pt x="35847" y="380209"/>
                    </a:lnTo>
                    <a:lnTo>
                      <a:pt x="35847" y="210580"/>
                    </a:lnTo>
                    <a:close/>
                    <a:moveTo>
                      <a:pt x="35847" y="532987"/>
                    </a:moveTo>
                    <a:lnTo>
                      <a:pt x="35847" y="415514"/>
                    </a:lnTo>
                    <a:lnTo>
                      <a:pt x="1657614" y="415514"/>
                    </a:lnTo>
                    <a:lnTo>
                      <a:pt x="1657614" y="776015"/>
                    </a:lnTo>
                    <a:lnTo>
                      <a:pt x="35847" y="776015"/>
                    </a:lnTo>
                    <a:lnTo>
                      <a:pt x="35847" y="532987"/>
                    </a:lnTo>
                    <a:close/>
                    <a:moveTo>
                      <a:pt x="1638242" y="1086618"/>
                    </a:moveTo>
                    <a:cubicBezTo>
                      <a:pt x="1631368" y="1096640"/>
                      <a:pt x="1622907" y="1105638"/>
                      <a:pt x="1613212" y="1112996"/>
                    </a:cubicBezTo>
                    <a:cubicBezTo>
                      <a:pt x="1593805" y="1127799"/>
                      <a:pt x="1569902" y="1135827"/>
                      <a:pt x="1545436" y="1135827"/>
                    </a:cubicBezTo>
                    <a:lnTo>
                      <a:pt x="148042" y="1135827"/>
                    </a:lnTo>
                    <a:lnTo>
                      <a:pt x="146879" y="1135792"/>
                    </a:lnTo>
                    <a:lnTo>
                      <a:pt x="144588" y="1135721"/>
                    </a:lnTo>
                    <a:lnTo>
                      <a:pt x="142296" y="1135686"/>
                    </a:lnTo>
                    <a:lnTo>
                      <a:pt x="140022" y="1135509"/>
                    </a:lnTo>
                    <a:cubicBezTo>
                      <a:pt x="138506" y="1135351"/>
                      <a:pt x="136973" y="1135351"/>
                      <a:pt x="135474" y="1135121"/>
                    </a:cubicBezTo>
                    <a:lnTo>
                      <a:pt x="130962" y="1134557"/>
                    </a:lnTo>
                    <a:cubicBezTo>
                      <a:pt x="124969" y="1133586"/>
                      <a:pt x="119081" y="1132192"/>
                      <a:pt x="113317" y="1130340"/>
                    </a:cubicBezTo>
                    <a:cubicBezTo>
                      <a:pt x="107553" y="1128522"/>
                      <a:pt x="101966" y="1126123"/>
                      <a:pt x="96589" y="1123335"/>
                    </a:cubicBezTo>
                    <a:cubicBezTo>
                      <a:pt x="91213" y="1120530"/>
                      <a:pt x="86031" y="1117354"/>
                      <a:pt x="81148" y="1113719"/>
                    </a:cubicBezTo>
                    <a:cubicBezTo>
                      <a:pt x="61653" y="1099145"/>
                      <a:pt x="46881" y="1078184"/>
                      <a:pt x="40307" y="1054894"/>
                    </a:cubicBezTo>
                    <a:cubicBezTo>
                      <a:pt x="39408" y="1052001"/>
                      <a:pt x="38791" y="1049037"/>
                      <a:pt x="38103" y="1046090"/>
                    </a:cubicBezTo>
                    <a:lnTo>
                      <a:pt x="37310" y="1041608"/>
                    </a:lnTo>
                    <a:cubicBezTo>
                      <a:pt x="37010" y="1040126"/>
                      <a:pt x="36922" y="1038591"/>
                      <a:pt x="36693" y="1037092"/>
                    </a:cubicBezTo>
                    <a:cubicBezTo>
                      <a:pt x="36446" y="1035592"/>
                      <a:pt x="36340" y="1034075"/>
                      <a:pt x="36252" y="1032557"/>
                    </a:cubicBezTo>
                    <a:cubicBezTo>
                      <a:pt x="36164" y="1031040"/>
                      <a:pt x="35953" y="1029522"/>
                      <a:pt x="35970" y="1027987"/>
                    </a:cubicBezTo>
                    <a:lnTo>
                      <a:pt x="35847" y="1023312"/>
                    </a:lnTo>
                    <a:lnTo>
                      <a:pt x="35847" y="811302"/>
                    </a:lnTo>
                    <a:lnTo>
                      <a:pt x="1657614" y="811302"/>
                    </a:lnTo>
                    <a:lnTo>
                      <a:pt x="1657614" y="1023276"/>
                    </a:lnTo>
                    <a:cubicBezTo>
                      <a:pt x="1657614" y="1023841"/>
                      <a:pt x="1657596" y="1024088"/>
                      <a:pt x="1657579" y="1024511"/>
                    </a:cubicBezTo>
                    <a:lnTo>
                      <a:pt x="1657508" y="1026805"/>
                    </a:lnTo>
                    <a:cubicBezTo>
                      <a:pt x="1657508" y="1028340"/>
                      <a:pt x="1657455" y="1029875"/>
                      <a:pt x="1657297" y="1031375"/>
                    </a:cubicBezTo>
                    <a:cubicBezTo>
                      <a:pt x="1657156" y="1032892"/>
                      <a:pt x="1657138" y="1034427"/>
                      <a:pt x="1656909" y="1035927"/>
                    </a:cubicBezTo>
                    <a:cubicBezTo>
                      <a:pt x="1656310" y="1041979"/>
                      <a:pt x="1655041" y="1047925"/>
                      <a:pt x="1653454" y="1053765"/>
                    </a:cubicBezTo>
                    <a:cubicBezTo>
                      <a:pt x="1650316" y="1065463"/>
                      <a:pt x="1644975" y="1076508"/>
                      <a:pt x="1638242" y="1086618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67" name="Freeform 17">
                <a:extLst>
                  <a:ext uri="{FF2B5EF4-FFF2-40B4-BE49-F238E27FC236}">
                    <a16:creationId xmlns:a16="http://schemas.microsoft.com/office/drawing/2014/main" id="{AB5BCDE2-ED4D-D3EA-1544-4EA82A184BA0}"/>
                  </a:ext>
                </a:extLst>
              </p:cNvPr>
              <p:cNvSpPr/>
              <p:nvPr/>
            </p:nvSpPr>
            <p:spPr>
              <a:xfrm>
                <a:off x="3614589" y="4136279"/>
                <a:ext cx="391459" cy="35287"/>
              </a:xfrm>
              <a:custGeom>
                <a:avLst/>
                <a:gdLst>
                  <a:gd name="connsiteX0" fmla="*/ 0 w 391459"/>
                  <a:gd name="connsiteY0" fmla="*/ 0 h 35287"/>
                  <a:gd name="connsiteX1" fmla="*/ 391459 w 391459"/>
                  <a:gd name="connsiteY1" fmla="*/ 0 h 35287"/>
                  <a:gd name="connsiteX2" fmla="*/ 391459 w 391459"/>
                  <a:gd name="connsiteY2" fmla="*/ 35288 h 35287"/>
                  <a:gd name="connsiteX3" fmla="*/ 0 w 391459"/>
                  <a:gd name="connsiteY3" fmla="*/ 35288 h 35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1459" h="35287">
                    <a:moveTo>
                      <a:pt x="0" y="0"/>
                    </a:moveTo>
                    <a:lnTo>
                      <a:pt x="391459" y="0"/>
                    </a:lnTo>
                    <a:lnTo>
                      <a:pt x="391459" y="35288"/>
                    </a:lnTo>
                    <a:lnTo>
                      <a:pt x="0" y="35288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68" name="Freeform 18">
                <a:extLst>
                  <a:ext uri="{FF2B5EF4-FFF2-40B4-BE49-F238E27FC236}">
                    <a16:creationId xmlns:a16="http://schemas.microsoft.com/office/drawing/2014/main" id="{A8295533-241D-B8F8-FF4E-680D50CE677F}"/>
                  </a:ext>
                </a:extLst>
              </p:cNvPr>
              <p:cNvSpPr/>
              <p:nvPr/>
            </p:nvSpPr>
            <p:spPr>
              <a:xfrm>
                <a:off x="3614589" y="3748413"/>
                <a:ext cx="391459" cy="35287"/>
              </a:xfrm>
              <a:custGeom>
                <a:avLst/>
                <a:gdLst>
                  <a:gd name="connsiteX0" fmla="*/ 0 w 391459"/>
                  <a:gd name="connsiteY0" fmla="*/ 0 h 35287"/>
                  <a:gd name="connsiteX1" fmla="*/ 391459 w 391459"/>
                  <a:gd name="connsiteY1" fmla="*/ 0 h 35287"/>
                  <a:gd name="connsiteX2" fmla="*/ 391459 w 391459"/>
                  <a:gd name="connsiteY2" fmla="*/ 35288 h 35287"/>
                  <a:gd name="connsiteX3" fmla="*/ 0 w 391459"/>
                  <a:gd name="connsiteY3" fmla="*/ 35288 h 35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1459" h="35287">
                    <a:moveTo>
                      <a:pt x="0" y="0"/>
                    </a:moveTo>
                    <a:lnTo>
                      <a:pt x="391459" y="0"/>
                    </a:lnTo>
                    <a:lnTo>
                      <a:pt x="391459" y="35288"/>
                    </a:lnTo>
                    <a:lnTo>
                      <a:pt x="0" y="35288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69" name="Freeform 19">
                <a:extLst>
                  <a:ext uri="{FF2B5EF4-FFF2-40B4-BE49-F238E27FC236}">
                    <a16:creationId xmlns:a16="http://schemas.microsoft.com/office/drawing/2014/main" id="{E851E6CA-778C-39CB-5EDC-C29CAC1E31E5}"/>
                  </a:ext>
                </a:extLst>
              </p:cNvPr>
              <p:cNvSpPr/>
              <p:nvPr/>
            </p:nvSpPr>
            <p:spPr>
              <a:xfrm>
                <a:off x="3614589" y="3360547"/>
                <a:ext cx="391459" cy="35287"/>
              </a:xfrm>
              <a:custGeom>
                <a:avLst/>
                <a:gdLst>
                  <a:gd name="connsiteX0" fmla="*/ 0 w 391459"/>
                  <a:gd name="connsiteY0" fmla="*/ 0 h 35287"/>
                  <a:gd name="connsiteX1" fmla="*/ 391459 w 391459"/>
                  <a:gd name="connsiteY1" fmla="*/ 0 h 35287"/>
                  <a:gd name="connsiteX2" fmla="*/ 391459 w 391459"/>
                  <a:gd name="connsiteY2" fmla="*/ 35288 h 35287"/>
                  <a:gd name="connsiteX3" fmla="*/ 0 w 391459"/>
                  <a:gd name="connsiteY3" fmla="*/ 35288 h 35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1459" h="35287">
                    <a:moveTo>
                      <a:pt x="0" y="0"/>
                    </a:moveTo>
                    <a:lnTo>
                      <a:pt x="391459" y="0"/>
                    </a:lnTo>
                    <a:lnTo>
                      <a:pt x="391459" y="35288"/>
                    </a:lnTo>
                    <a:lnTo>
                      <a:pt x="0" y="35288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</p:grpSp>
        <p:grpSp>
          <p:nvGrpSpPr>
            <p:cNvPr id="365" name="Group 364">
              <a:extLst>
                <a:ext uri="{FF2B5EF4-FFF2-40B4-BE49-F238E27FC236}">
                  <a16:creationId xmlns:a16="http://schemas.microsoft.com/office/drawing/2014/main" id="{0047F874-A499-BD88-DFE3-6C574AEDD0D3}"/>
                </a:ext>
              </a:extLst>
            </p:cNvPr>
            <p:cNvGrpSpPr/>
            <p:nvPr/>
          </p:nvGrpSpPr>
          <p:grpSpPr>
            <a:xfrm>
              <a:off x="1477285" y="5443001"/>
              <a:ext cx="307882" cy="336081"/>
              <a:chOff x="2371158" y="2738576"/>
              <a:chExt cx="1893230" cy="2066630"/>
            </a:xfrm>
            <a:solidFill>
              <a:schemeClr val="accent5"/>
            </a:solidFill>
          </p:grpSpPr>
          <p:sp>
            <p:nvSpPr>
              <p:cNvPr id="371" name="Freeform 3">
                <a:extLst>
                  <a:ext uri="{FF2B5EF4-FFF2-40B4-BE49-F238E27FC236}">
                    <a16:creationId xmlns:a16="http://schemas.microsoft.com/office/drawing/2014/main" id="{5A172442-1549-82B7-3146-B1990C9980ED}"/>
                  </a:ext>
                </a:extLst>
              </p:cNvPr>
              <p:cNvSpPr/>
              <p:nvPr/>
            </p:nvSpPr>
            <p:spPr>
              <a:xfrm>
                <a:off x="3214541" y="3966196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72" name="Freeform 4">
                <a:extLst>
                  <a:ext uri="{FF2B5EF4-FFF2-40B4-BE49-F238E27FC236}">
                    <a16:creationId xmlns:a16="http://schemas.microsoft.com/office/drawing/2014/main" id="{74E8032C-6935-9129-D245-52BC990FE638}"/>
                  </a:ext>
                </a:extLst>
              </p:cNvPr>
              <p:cNvSpPr/>
              <p:nvPr/>
            </p:nvSpPr>
            <p:spPr>
              <a:xfrm>
                <a:off x="3214541" y="3866917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73" name="Freeform 5">
                <a:extLst>
                  <a:ext uri="{FF2B5EF4-FFF2-40B4-BE49-F238E27FC236}">
                    <a16:creationId xmlns:a16="http://schemas.microsoft.com/office/drawing/2014/main" id="{A309825D-6B4A-3DCD-9616-B4F7D3886819}"/>
                  </a:ext>
                </a:extLst>
              </p:cNvPr>
              <p:cNvSpPr/>
              <p:nvPr/>
            </p:nvSpPr>
            <p:spPr>
              <a:xfrm>
                <a:off x="3214541" y="3767618"/>
                <a:ext cx="50505" cy="62387"/>
              </a:xfrm>
              <a:custGeom>
                <a:avLst/>
                <a:gdLst>
                  <a:gd name="connsiteX0" fmla="*/ 0 w 50505"/>
                  <a:gd name="connsiteY0" fmla="*/ 51301 h 62387"/>
                  <a:gd name="connsiteX1" fmla="*/ 9382 w 50505"/>
                  <a:gd name="connsiteY1" fmla="*/ 62387 h 62387"/>
                  <a:gd name="connsiteX2" fmla="*/ 41123 w 50505"/>
                  <a:gd name="connsiteY2" fmla="*/ 62387 h 62387"/>
                  <a:gd name="connsiteX3" fmla="*/ 50505 w 50505"/>
                  <a:gd name="connsiteY3" fmla="*/ 51301 h 62387"/>
                  <a:gd name="connsiteX4" fmla="*/ 50505 w 50505"/>
                  <a:gd name="connsiteY4" fmla="*/ 11107 h 62387"/>
                  <a:gd name="connsiteX5" fmla="*/ 41123 w 50505"/>
                  <a:gd name="connsiteY5" fmla="*/ 0 h 62387"/>
                  <a:gd name="connsiteX6" fmla="*/ 9382 w 50505"/>
                  <a:gd name="connsiteY6" fmla="*/ 0 h 62387"/>
                  <a:gd name="connsiteX7" fmla="*/ 0 w 50505"/>
                  <a:gd name="connsiteY7" fmla="*/ 11107 h 62387"/>
                  <a:gd name="connsiteX8" fmla="*/ 0 w 50505"/>
                  <a:gd name="connsiteY8" fmla="*/ 51301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387">
                    <a:moveTo>
                      <a:pt x="0" y="51301"/>
                    </a:moveTo>
                    <a:cubicBezTo>
                      <a:pt x="0" y="57412"/>
                      <a:pt x="4195" y="62387"/>
                      <a:pt x="9382" y="62387"/>
                    </a:cubicBezTo>
                    <a:lnTo>
                      <a:pt x="41123" y="62387"/>
                    </a:lnTo>
                    <a:cubicBezTo>
                      <a:pt x="46310" y="62387"/>
                      <a:pt x="50505" y="57412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74" name="Freeform 6">
                <a:extLst>
                  <a:ext uri="{FF2B5EF4-FFF2-40B4-BE49-F238E27FC236}">
                    <a16:creationId xmlns:a16="http://schemas.microsoft.com/office/drawing/2014/main" id="{6B49EECF-0847-600B-AE20-DC4B95F31513}"/>
                  </a:ext>
                </a:extLst>
              </p:cNvPr>
              <p:cNvSpPr/>
              <p:nvPr/>
            </p:nvSpPr>
            <p:spPr>
              <a:xfrm>
                <a:off x="3214541" y="3668338"/>
                <a:ext cx="50505" cy="62387"/>
              </a:xfrm>
              <a:custGeom>
                <a:avLst/>
                <a:gdLst>
                  <a:gd name="connsiteX0" fmla="*/ 0 w 50505"/>
                  <a:gd name="connsiteY0" fmla="*/ 51301 h 62387"/>
                  <a:gd name="connsiteX1" fmla="*/ 9382 w 50505"/>
                  <a:gd name="connsiteY1" fmla="*/ 62387 h 62387"/>
                  <a:gd name="connsiteX2" fmla="*/ 41123 w 50505"/>
                  <a:gd name="connsiteY2" fmla="*/ 62387 h 62387"/>
                  <a:gd name="connsiteX3" fmla="*/ 50505 w 50505"/>
                  <a:gd name="connsiteY3" fmla="*/ 51301 h 62387"/>
                  <a:gd name="connsiteX4" fmla="*/ 50505 w 50505"/>
                  <a:gd name="connsiteY4" fmla="*/ 11086 h 62387"/>
                  <a:gd name="connsiteX5" fmla="*/ 41123 w 50505"/>
                  <a:gd name="connsiteY5" fmla="*/ 0 h 62387"/>
                  <a:gd name="connsiteX6" fmla="*/ 9382 w 50505"/>
                  <a:gd name="connsiteY6" fmla="*/ 0 h 62387"/>
                  <a:gd name="connsiteX7" fmla="*/ 0 w 50505"/>
                  <a:gd name="connsiteY7" fmla="*/ 11086 h 62387"/>
                  <a:gd name="connsiteX8" fmla="*/ 0 w 50505"/>
                  <a:gd name="connsiteY8" fmla="*/ 51301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387">
                    <a:moveTo>
                      <a:pt x="0" y="51301"/>
                    </a:moveTo>
                    <a:cubicBezTo>
                      <a:pt x="0" y="57412"/>
                      <a:pt x="4195" y="62387"/>
                      <a:pt x="9382" y="62387"/>
                    </a:cubicBezTo>
                    <a:lnTo>
                      <a:pt x="41123" y="62387"/>
                    </a:lnTo>
                    <a:cubicBezTo>
                      <a:pt x="46310" y="62387"/>
                      <a:pt x="50505" y="57412"/>
                      <a:pt x="50505" y="51301"/>
                    </a:cubicBezTo>
                    <a:lnTo>
                      <a:pt x="50505" y="11086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086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75" name="Freeform 7">
                <a:extLst>
                  <a:ext uri="{FF2B5EF4-FFF2-40B4-BE49-F238E27FC236}">
                    <a16:creationId xmlns:a16="http://schemas.microsoft.com/office/drawing/2014/main" id="{34975ED3-E706-EC01-29E5-75391281A9AE}"/>
                  </a:ext>
                </a:extLst>
              </p:cNvPr>
              <p:cNvSpPr/>
              <p:nvPr/>
            </p:nvSpPr>
            <p:spPr>
              <a:xfrm>
                <a:off x="3214541" y="3569018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76" name="Freeform 8">
                <a:extLst>
                  <a:ext uri="{FF2B5EF4-FFF2-40B4-BE49-F238E27FC236}">
                    <a16:creationId xmlns:a16="http://schemas.microsoft.com/office/drawing/2014/main" id="{14D4E3AE-74DD-C435-DE2C-F35A29BD7FDC}"/>
                  </a:ext>
                </a:extLst>
              </p:cNvPr>
              <p:cNvSpPr/>
              <p:nvPr/>
            </p:nvSpPr>
            <p:spPr>
              <a:xfrm>
                <a:off x="3214541" y="3469739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77" name="Freeform 10">
                <a:extLst>
                  <a:ext uri="{FF2B5EF4-FFF2-40B4-BE49-F238E27FC236}">
                    <a16:creationId xmlns:a16="http://schemas.microsoft.com/office/drawing/2014/main" id="{D6A865EA-0F25-A237-9741-763F6047131F}"/>
                  </a:ext>
                </a:extLst>
              </p:cNvPr>
              <p:cNvSpPr/>
              <p:nvPr/>
            </p:nvSpPr>
            <p:spPr>
              <a:xfrm>
                <a:off x="3214541" y="3370439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12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12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78" name="Freeform 11">
                <a:extLst>
                  <a:ext uri="{FF2B5EF4-FFF2-40B4-BE49-F238E27FC236}">
                    <a16:creationId xmlns:a16="http://schemas.microsoft.com/office/drawing/2014/main" id="{9F95D45A-EDC8-3ABF-27AE-70106EAC79F2}"/>
                  </a:ext>
                </a:extLst>
              </p:cNvPr>
              <p:cNvSpPr/>
              <p:nvPr/>
            </p:nvSpPr>
            <p:spPr>
              <a:xfrm>
                <a:off x="3214541" y="3271140"/>
                <a:ext cx="50505" cy="62387"/>
              </a:xfrm>
              <a:custGeom>
                <a:avLst/>
                <a:gdLst>
                  <a:gd name="connsiteX0" fmla="*/ 0 w 50505"/>
                  <a:gd name="connsiteY0" fmla="*/ 51301 h 62387"/>
                  <a:gd name="connsiteX1" fmla="*/ 9382 w 50505"/>
                  <a:gd name="connsiteY1" fmla="*/ 62387 h 62387"/>
                  <a:gd name="connsiteX2" fmla="*/ 41123 w 50505"/>
                  <a:gd name="connsiteY2" fmla="*/ 62387 h 62387"/>
                  <a:gd name="connsiteX3" fmla="*/ 50505 w 50505"/>
                  <a:gd name="connsiteY3" fmla="*/ 51301 h 62387"/>
                  <a:gd name="connsiteX4" fmla="*/ 50505 w 50505"/>
                  <a:gd name="connsiteY4" fmla="*/ 11086 h 62387"/>
                  <a:gd name="connsiteX5" fmla="*/ 41123 w 50505"/>
                  <a:gd name="connsiteY5" fmla="*/ 0 h 62387"/>
                  <a:gd name="connsiteX6" fmla="*/ 9382 w 50505"/>
                  <a:gd name="connsiteY6" fmla="*/ 0 h 62387"/>
                  <a:gd name="connsiteX7" fmla="*/ 0 w 50505"/>
                  <a:gd name="connsiteY7" fmla="*/ 11086 h 62387"/>
                  <a:gd name="connsiteX8" fmla="*/ 0 w 50505"/>
                  <a:gd name="connsiteY8" fmla="*/ 51301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387">
                    <a:moveTo>
                      <a:pt x="0" y="51301"/>
                    </a:moveTo>
                    <a:cubicBezTo>
                      <a:pt x="0" y="57412"/>
                      <a:pt x="4195" y="62387"/>
                      <a:pt x="9382" y="62387"/>
                    </a:cubicBezTo>
                    <a:lnTo>
                      <a:pt x="41123" y="62387"/>
                    </a:lnTo>
                    <a:cubicBezTo>
                      <a:pt x="46310" y="62387"/>
                      <a:pt x="50505" y="57412"/>
                      <a:pt x="50505" y="51301"/>
                    </a:cubicBezTo>
                    <a:lnTo>
                      <a:pt x="50505" y="11086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086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79" name="Freeform 14">
                <a:extLst>
                  <a:ext uri="{FF2B5EF4-FFF2-40B4-BE49-F238E27FC236}">
                    <a16:creationId xmlns:a16="http://schemas.microsoft.com/office/drawing/2014/main" id="{33633D79-4F77-1B94-85E3-60044EA808FB}"/>
                  </a:ext>
                </a:extLst>
              </p:cNvPr>
              <p:cNvSpPr/>
              <p:nvPr/>
            </p:nvSpPr>
            <p:spPr>
              <a:xfrm>
                <a:off x="3214541" y="3171840"/>
                <a:ext cx="50505" cy="62408"/>
              </a:xfrm>
              <a:custGeom>
                <a:avLst/>
                <a:gdLst>
                  <a:gd name="connsiteX0" fmla="*/ 9382 w 50505"/>
                  <a:gd name="connsiteY0" fmla="*/ 62408 h 62408"/>
                  <a:gd name="connsiteX1" fmla="*/ 41123 w 50505"/>
                  <a:gd name="connsiteY1" fmla="*/ 62408 h 62408"/>
                  <a:gd name="connsiteX2" fmla="*/ 50505 w 50505"/>
                  <a:gd name="connsiteY2" fmla="*/ 51301 h 62408"/>
                  <a:gd name="connsiteX3" fmla="*/ 50505 w 50505"/>
                  <a:gd name="connsiteY3" fmla="*/ 11107 h 62408"/>
                  <a:gd name="connsiteX4" fmla="*/ 41123 w 50505"/>
                  <a:gd name="connsiteY4" fmla="*/ 0 h 62408"/>
                  <a:gd name="connsiteX5" fmla="*/ 9382 w 50505"/>
                  <a:gd name="connsiteY5" fmla="*/ 0 h 62408"/>
                  <a:gd name="connsiteX6" fmla="*/ 0 w 50505"/>
                  <a:gd name="connsiteY6" fmla="*/ 11107 h 62408"/>
                  <a:gd name="connsiteX7" fmla="*/ 0 w 50505"/>
                  <a:gd name="connsiteY7" fmla="*/ 51301 h 62408"/>
                  <a:gd name="connsiteX8" fmla="*/ 9382 w 50505"/>
                  <a:gd name="connsiteY8" fmla="*/ 62408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9382" y="62408"/>
                    </a:move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96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96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80" name="Freeform 15">
                <a:extLst>
                  <a:ext uri="{FF2B5EF4-FFF2-40B4-BE49-F238E27FC236}">
                    <a16:creationId xmlns:a16="http://schemas.microsoft.com/office/drawing/2014/main" id="{10A47D3F-A80B-8BA9-12D3-D1CC2FF8A67E}"/>
                  </a:ext>
                </a:extLst>
              </p:cNvPr>
              <p:cNvSpPr/>
              <p:nvPr/>
            </p:nvSpPr>
            <p:spPr>
              <a:xfrm>
                <a:off x="3294453" y="3966196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81" name="Freeform 16">
                <a:extLst>
                  <a:ext uri="{FF2B5EF4-FFF2-40B4-BE49-F238E27FC236}">
                    <a16:creationId xmlns:a16="http://schemas.microsoft.com/office/drawing/2014/main" id="{9887B450-E70C-8378-F407-87D079DA02AE}"/>
                  </a:ext>
                </a:extLst>
              </p:cNvPr>
              <p:cNvSpPr/>
              <p:nvPr/>
            </p:nvSpPr>
            <p:spPr>
              <a:xfrm>
                <a:off x="3294453" y="3866917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82" name="Freeform 17">
                <a:extLst>
                  <a:ext uri="{FF2B5EF4-FFF2-40B4-BE49-F238E27FC236}">
                    <a16:creationId xmlns:a16="http://schemas.microsoft.com/office/drawing/2014/main" id="{A5B4C612-EF79-6E01-F4D6-48A7C269023B}"/>
                  </a:ext>
                </a:extLst>
              </p:cNvPr>
              <p:cNvSpPr/>
              <p:nvPr/>
            </p:nvSpPr>
            <p:spPr>
              <a:xfrm>
                <a:off x="3294453" y="3767618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83" name="Freeform 18">
                <a:extLst>
                  <a:ext uri="{FF2B5EF4-FFF2-40B4-BE49-F238E27FC236}">
                    <a16:creationId xmlns:a16="http://schemas.microsoft.com/office/drawing/2014/main" id="{E84B3B84-575E-D1D2-69D0-C899C5BD96BB}"/>
                  </a:ext>
                </a:extLst>
              </p:cNvPr>
              <p:cNvSpPr/>
              <p:nvPr/>
            </p:nvSpPr>
            <p:spPr>
              <a:xfrm>
                <a:off x="3294453" y="3668318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84" name="Freeform 19">
                <a:extLst>
                  <a:ext uri="{FF2B5EF4-FFF2-40B4-BE49-F238E27FC236}">
                    <a16:creationId xmlns:a16="http://schemas.microsoft.com/office/drawing/2014/main" id="{7CAF7E68-823C-DF47-CA79-D0727E9DB41E}"/>
                  </a:ext>
                </a:extLst>
              </p:cNvPr>
              <p:cNvSpPr/>
              <p:nvPr/>
            </p:nvSpPr>
            <p:spPr>
              <a:xfrm>
                <a:off x="3294453" y="3569018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85" name="Freeform 20">
                <a:extLst>
                  <a:ext uri="{FF2B5EF4-FFF2-40B4-BE49-F238E27FC236}">
                    <a16:creationId xmlns:a16="http://schemas.microsoft.com/office/drawing/2014/main" id="{73BA89F2-4628-54AA-30B4-165A830AEF5B}"/>
                  </a:ext>
                </a:extLst>
              </p:cNvPr>
              <p:cNvSpPr/>
              <p:nvPr/>
            </p:nvSpPr>
            <p:spPr>
              <a:xfrm>
                <a:off x="3294453" y="3469739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86" name="Freeform 21">
                <a:extLst>
                  <a:ext uri="{FF2B5EF4-FFF2-40B4-BE49-F238E27FC236}">
                    <a16:creationId xmlns:a16="http://schemas.microsoft.com/office/drawing/2014/main" id="{E578ADBA-DD0E-0B84-2E71-5B9E952B6287}"/>
                  </a:ext>
                </a:extLst>
              </p:cNvPr>
              <p:cNvSpPr/>
              <p:nvPr/>
            </p:nvSpPr>
            <p:spPr>
              <a:xfrm>
                <a:off x="3294453" y="3370439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87" name="Freeform 22">
                <a:extLst>
                  <a:ext uri="{FF2B5EF4-FFF2-40B4-BE49-F238E27FC236}">
                    <a16:creationId xmlns:a16="http://schemas.microsoft.com/office/drawing/2014/main" id="{5700BBDB-B82F-1F12-0183-307704D809BE}"/>
                  </a:ext>
                </a:extLst>
              </p:cNvPr>
              <p:cNvSpPr/>
              <p:nvPr/>
            </p:nvSpPr>
            <p:spPr>
              <a:xfrm>
                <a:off x="3294453" y="3271140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88" name="Freeform 23">
                <a:extLst>
                  <a:ext uri="{FF2B5EF4-FFF2-40B4-BE49-F238E27FC236}">
                    <a16:creationId xmlns:a16="http://schemas.microsoft.com/office/drawing/2014/main" id="{C7F1BFD9-ABE4-DCC4-8F4D-9A5A06A4F642}"/>
                  </a:ext>
                </a:extLst>
              </p:cNvPr>
              <p:cNvSpPr/>
              <p:nvPr/>
            </p:nvSpPr>
            <p:spPr>
              <a:xfrm>
                <a:off x="3294453" y="3171840"/>
                <a:ext cx="50505" cy="62408"/>
              </a:xfrm>
              <a:custGeom>
                <a:avLst/>
                <a:gdLst>
                  <a:gd name="connsiteX0" fmla="*/ 9382 w 50505"/>
                  <a:gd name="connsiteY0" fmla="*/ 62408 h 62408"/>
                  <a:gd name="connsiteX1" fmla="*/ 41123 w 50505"/>
                  <a:gd name="connsiteY1" fmla="*/ 62408 h 62408"/>
                  <a:gd name="connsiteX2" fmla="*/ 50505 w 50505"/>
                  <a:gd name="connsiteY2" fmla="*/ 51301 h 62408"/>
                  <a:gd name="connsiteX3" fmla="*/ 50505 w 50505"/>
                  <a:gd name="connsiteY3" fmla="*/ 11107 h 62408"/>
                  <a:gd name="connsiteX4" fmla="*/ 41123 w 50505"/>
                  <a:gd name="connsiteY4" fmla="*/ 0 h 62408"/>
                  <a:gd name="connsiteX5" fmla="*/ 9382 w 50505"/>
                  <a:gd name="connsiteY5" fmla="*/ 0 h 62408"/>
                  <a:gd name="connsiteX6" fmla="*/ 0 w 50505"/>
                  <a:gd name="connsiteY6" fmla="*/ 11107 h 62408"/>
                  <a:gd name="connsiteX7" fmla="*/ 0 w 50505"/>
                  <a:gd name="connsiteY7" fmla="*/ 51301 h 62408"/>
                  <a:gd name="connsiteX8" fmla="*/ 9382 w 50505"/>
                  <a:gd name="connsiteY8" fmla="*/ 62408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9382" y="62408"/>
                    </a:move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89" name="Freeform 24">
                <a:extLst>
                  <a:ext uri="{FF2B5EF4-FFF2-40B4-BE49-F238E27FC236}">
                    <a16:creationId xmlns:a16="http://schemas.microsoft.com/office/drawing/2014/main" id="{3D351EA3-5FB4-C3D2-5D82-D4A1D8BAD2BE}"/>
                  </a:ext>
                </a:extLst>
              </p:cNvPr>
              <p:cNvSpPr/>
              <p:nvPr/>
            </p:nvSpPr>
            <p:spPr>
              <a:xfrm>
                <a:off x="3374365" y="3966196"/>
                <a:ext cx="50484" cy="62408"/>
              </a:xfrm>
              <a:custGeom>
                <a:avLst/>
                <a:gdLst>
                  <a:gd name="connsiteX0" fmla="*/ 0 w 50484"/>
                  <a:gd name="connsiteY0" fmla="*/ 51301 h 62408"/>
                  <a:gd name="connsiteX1" fmla="*/ 9361 w 50484"/>
                  <a:gd name="connsiteY1" fmla="*/ 62408 h 62408"/>
                  <a:gd name="connsiteX2" fmla="*/ 41103 w 50484"/>
                  <a:gd name="connsiteY2" fmla="*/ 62408 h 62408"/>
                  <a:gd name="connsiteX3" fmla="*/ 50485 w 50484"/>
                  <a:gd name="connsiteY3" fmla="*/ 51301 h 62408"/>
                  <a:gd name="connsiteX4" fmla="*/ 50485 w 50484"/>
                  <a:gd name="connsiteY4" fmla="*/ 11107 h 62408"/>
                  <a:gd name="connsiteX5" fmla="*/ 41103 w 50484"/>
                  <a:gd name="connsiteY5" fmla="*/ 0 h 62408"/>
                  <a:gd name="connsiteX6" fmla="*/ 9361 w 50484"/>
                  <a:gd name="connsiteY6" fmla="*/ 0 h 62408"/>
                  <a:gd name="connsiteX7" fmla="*/ 0 w 50484"/>
                  <a:gd name="connsiteY7" fmla="*/ 11107 h 62408"/>
                  <a:gd name="connsiteX8" fmla="*/ 0 w 50484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90" name="Freeform 25">
                <a:extLst>
                  <a:ext uri="{FF2B5EF4-FFF2-40B4-BE49-F238E27FC236}">
                    <a16:creationId xmlns:a16="http://schemas.microsoft.com/office/drawing/2014/main" id="{E043ED41-9AC1-428B-072B-3693CB447D02}"/>
                  </a:ext>
                </a:extLst>
              </p:cNvPr>
              <p:cNvSpPr/>
              <p:nvPr/>
            </p:nvSpPr>
            <p:spPr>
              <a:xfrm>
                <a:off x="3374365" y="3866917"/>
                <a:ext cx="50484" cy="62408"/>
              </a:xfrm>
              <a:custGeom>
                <a:avLst/>
                <a:gdLst>
                  <a:gd name="connsiteX0" fmla="*/ 0 w 50484"/>
                  <a:gd name="connsiteY0" fmla="*/ 51301 h 62408"/>
                  <a:gd name="connsiteX1" fmla="*/ 9361 w 50484"/>
                  <a:gd name="connsiteY1" fmla="*/ 62408 h 62408"/>
                  <a:gd name="connsiteX2" fmla="*/ 41103 w 50484"/>
                  <a:gd name="connsiteY2" fmla="*/ 62408 h 62408"/>
                  <a:gd name="connsiteX3" fmla="*/ 50485 w 50484"/>
                  <a:gd name="connsiteY3" fmla="*/ 51301 h 62408"/>
                  <a:gd name="connsiteX4" fmla="*/ 50485 w 50484"/>
                  <a:gd name="connsiteY4" fmla="*/ 11107 h 62408"/>
                  <a:gd name="connsiteX5" fmla="*/ 41103 w 50484"/>
                  <a:gd name="connsiteY5" fmla="*/ 0 h 62408"/>
                  <a:gd name="connsiteX6" fmla="*/ 9361 w 50484"/>
                  <a:gd name="connsiteY6" fmla="*/ 0 h 62408"/>
                  <a:gd name="connsiteX7" fmla="*/ 0 w 50484"/>
                  <a:gd name="connsiteY7" fmla="*/ 11107 h 62408"/>
                  <a:gd name="connsiteX8" fmla="*/ 0 w 50484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91" name="Freeform 26">
                <a:extLst>
                  <a:ext uri="{FF2B5EF4-FFF2-40B4-BE49-F238E27FC236}">
                    <a16:creationId xmlns:a16="http://schemas.microsoft.com/office/drawing/2014/main" id="{3D8CC3AA-5973-2367-1EFF-8CA702553EC3}"/>
                  </a:ext>
                </a:extLst>
              </p:cNvPr>
              <p:cNvSpPr/>
              <p:nvPr/>
            </p:nvSpPr>
            <p:spPr>
              <a:xfrm>
                <a:off x="3374365" y="3767618"/>
                <a:ext cx="50484" cy="62387"/>
              </a:xfrm>
              <a:custGeom>
                <a:avLst/>
                <a:gdLst>
                  <a:gd name="connsiteX0" fmla="*/ 0 w 50484"/>
                  <a:gd name="connsiteY0" fmla="*/ 51301 h 62387"/>
                  <a:gd name="connsiteX1" fmla="*/ 9361 w 50484"/>
                  <a:gd name="connsiteY1" fmla="*/ 62387 h 62387"/>
                  <a:gd name="connsiteX2" fmla="*/ 41103 w 50484"/>
                  <a:gd name="connsiteY2" fmla="*/ 62387 h 62387"/>
                  <a:gd name="connsiteX3" fmla="*/ 50485 w 50484"/>
                  <a:gd name="connsiteY3" fmla="*/ 51301 h 62387"/>
                  <a:gd name="connsiteX4" fmla="*/ 50485 w 50484"/>
                  <a:gd name="connsiteY4" fmla="*/ 11107 h 62387"/>
                  <a:gd name="connsiteX5" fmla="*/ 41103 w 50484"/>
                  <a:gd name="connsiteY5" fmla="*/ 0 h 62387"/>
                  <a:gd name="connsiteX6" fmla="*/ 9361 w 50484"/>
                  <a:gd name="connsiteY6" fmla="*/ 0 h 62387"/>
                  <a:gd name="connsiteX7" fmla="*/ 0 w 50484"/>
                  <a:gd name="connsiteY7" fmla="*/ 11107 h 62387"/>
                  <a:gd name="connsiteX8" fmla="*/ 0 w 50484"/>
                  <a:gd name="connsiteY8" fmla="*/ 51301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387">
                    <a:moveTo>
                      <a:pt x="0" y="51301"/>
                    </a:moveTo>
                    <a:cubicBezTo>
                      <a:pt x="0" y="57412"/>
                      <a:pt x="4195" y="62387"/>
                      <a:pt x="9361" y="62387"/>
                    </a:cubicBezTo>
                    <a:lnTo>
                      <a:pt x="41103" y="62387"/>
                    </a:lnTo>
                    <a:cubicBezTo>
                      <a:pt x="46290" y="62387"/>
                      <a:pt x="50485" y="57412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92" name="Freeform 27">
                <a:extLst>
                  <a:ext uri="{FF2B5EF4-FFF2-40B4-BE49-F238E27FC236}">
                    <a16:creationId xmlns:a16="http://schemas.microsoft.com/office/drawing/2014/main" id="{84A367DA-8A0F-512F-61C1-520004536C1D}"/>
                  </a:ext>
                </a:extLst>
              </p:cNvPr>
              <p:cNvSpPr/>
              <p:nvPr/>
            </p:nvSpPr>
            <p:spPr>
              <a:xfrm>
                <a:off x="3374365" y="3668338"/>
                <a:ext cx="50484" cy="62387"/>
              </a:xfrm>
              <a:custGeom>
                <a:avLst/>
                <a:gdLst>
                  <a:gd name="connsiteX0" fmla="*/ 0 w 50484"/>
                  <a:gd name="connsiteY0" fmla="*/ 51301 h 62387"/>
                  <a:gd name="connsiteX1" fmla="*/ 9361 w 50484"/>
                  <a:gd name="connsiteY1" fmla="*/ 62387 h 62387"/>
                  <a:gd name="connsiteX2" fmla="*/ 41103 w 50484"/>
                  <a:gd name="connsiteY2" fmla="*/ 62387 h 62387"/>
                  <a:gd name="connsiteX3" fmla="*/ 50485 w 50484"/>
                  <a:gd name="connsiteY3" fmla="*/ 51301 h 62387"/>
                  <a:gd name="connsiteX4" fmla="*/ 50485 w 50484"/>
                  <a:gd name="connsiteY4" fmla="*/ 11086 h 62387"/>
                  <a:gd name="connsiteX5" fmla="*/ 41103 w 50484"/>
                  <a:gd name="connsiteY5" fmla="*/ 0 h 62387"/>
                  <a:gd name="connsiteX6" fmla="*/ 9361 w 50484"/>
                  <a:gd name="connsiteY6" fmla="*/ 0 h 62387"/>
                  <a:gd name="connsiteX7" fmla="*/ 0 w 50484"/>
                  <a:gd name="connsiteY7" fmla="*/ 11086 h 62387"/>
                  <a:gd name="connsiteX8" fmla="*/ 0 w 50484"/>
                  <a:gd name="connsiteY8" fmla="*/ 51301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387">
                    <a:moveTo>
                      <a:pt x="0" y="51301"/>
                    </a:moveTo>
                    <a:cubicBezTo>
                      <a:pt x="0" y="57412"/>
                      <a:pt x="4195" y="62387"/>
                      <a:pt x="9361" y="62387"/>
                    </a:cubicBezTo>
                    <a:lnTo>
                      <a:pt x="41103" y="62387"/>
                    </a:lnTo>
                    <a:cubicBezTo>
                      <a:pt x="46290" y="62387"/>
                      <a:pt x="50485" y="57412"/>
                      <a:pt x="50485" y="51301"/>
                    </a:cubicBezTo>
                    <a:lnTo>
                      <a:pt x="50485" y="11086"/>
                    </a:lnTo>
                    <a:cubicBezTo>
                      <a:pt x="50485" y="4975"/>
                      <a:pt x="46290" y="0"/>
                      <a:pt x="41103" y="0"/>
                    </a:cubicBezTo>
                    <a:lnTo>
                      <a:pt x="9361" y="0"/>
                    </a:lnTo>
                    <a:cubicBezTo>
                      <a:pt x="4195" y="0"/>
                      <a:pt x="0" y="4975"/>
                      <a:pt x="0" y="11086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93" name="Freeform 28">
                <a:extLst>
                  <a:ext uri="{FF2B5EF4-FFF2-40B4-BE49-F238E27FC236}">
                    <a16:creationId xmlns:a16="http://schemas.microsoft.com/office/drawing/2014/main" id="{A2D15EFA-3496-BFE6-C942-2F277E98493A}"/>
                  </a:ext>
                </a:extLst>
              </p:cNvPr>
              <p:cNvSpPr/>
              <p:nvPr/>
            </p:nvSpPr>
            <p:spPr>
              <a:xfrm>
                <a:off x="3374365" y="3569018"/>
                <a:ext cx="50484" cy="62408"/>
              </a:xfrm>
              <a:custGeom>
                <a:avLst/>
                <a:gdLst>
                  <a:gd name="connsiteX0" fmla="*/ 0 w 50484"/>
                  <a:gd name="connsiteY0" fmla="*/ 51301 h 62408"/>
                  <a:gd name="connsiteX1" fmla="*/ 9361 w 50484"/>
                  <a:gd name="connsiteY1" fmla="*/ 62408 h 62408"/>
                  <a:gd name="connsiteX2" fmla="*/ 41103 w 50484"/>
                  <a:gd name="connsiteY2" fmla="*/ 62408 h 62408"/>
                  <a:gd name="connsiteX3" fmla="*/ 50485 w 50484"/>
                  <a:gd name="connsiteY3" fmla="*/ 51301 h 62408"/>
                  <a:gd name="connsiteX4" fmla="*/ 50485 w 50484"/>
                  <a:gd name="connsiteY4" fmla="*/ 11107 h 62408"/>
                  <a:gd name="connsiteX5" fmla="*/ 41103 w 50484"/>
                  <a:gd name="connsiteY5" fmla="*/ 0 h 62408"/>
                  <a:gd name="connsiteX6" fmla="*/ 9361 w 50484"/>
                  <a:gd name="connsiteY6" fmla="*/ 0 h 62408"/>
                  <a:gd name="connsiteX7" fmla="*/ 0 w 50484"/>
                  <a:gd name="connsiteY7" fmla="*/ 11107 h 62408"/>
                  <a:gd name="connsiteX8" fmla="*/ 0 w 50484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94" name="Freeform 29">
                <a:extLst>
                  <a:ext uri="{FF2B5EF4-FFF2-40B4-BE49-F238E27FC236}">
                    <a16:creationId xmlns:a16="http://schemas.microsoft.com/office/drawing/2014/main" id="{84E2EC7F-86EB-4C12-E16B-E8193748D6DE}"/>
                  </a:ext>
                </a:extLst>
              </p:cNvPr>
              <p:cNvSpPr/>
              <p:nvPr/>
            </p:nvSpPr>
            <p:spPr>
              <a:xfrm>
                <a:off x="3374365" y="3469739"/>
                <a:ext cx="50484" cy="62408"/>
              </a:xfrm>
              <a:custGeom>
                <a:avLst/>
                <a:gdLst>
                  <a:gd name="connsiteX0" fmla="*/ 0 w 50484"/>
                  <a:gd name="connsiteY0" fmla="*/ 51301 h 62408"/>
                  <a:gd name="connsiteX1" fmla="*/ 9361 w 50484"/>
                  <a:gd name="connsiteY1" fmla="*/ 62408 h 62408"/>
                  <a:gd name="connsiteX2" fmla="*/ 41103 w 50484"/>
                  <a:gd name="connsiteY2" fmla="*/ 62408 h 62408"/>
                  <a:gd name="connsiteX3" fmla="*/ 50485 w 50484"/>
                  <a:gd name="connsiteY3" fmla="*/ 51301 h 62408"/>
                  <a:gd name="connsiteX4" fmla="*/ 50485 w 50484"/>
                  <a:gd name="connsiteY4" fmla="*/ 11107 h 62408"/>
                  <a:gd name="connsiteX5" fmla="*/ 41103 w 50484"/>
                  <a:gd name="connsiteY5" fmla="*/ 0 h 62408"/>
                  <a:gd name="connsiteX6" fmla="*/ 9361 w 50484"/>
                  <a:gd name="connsiteY6" fmla="*/ 0 h 62408"/>
                  <a:gd name="connsiteX7" fmla="*/ 0 w 50484"/>
                  <a:gd name="connsiteY7" fmla="*/ 11107 h 62408"/>
                  <a:gd name="connsiteX8" fmla="*/ 0 w 50484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95" name="Freeform 30">
                <a:extLst>
                  <a:ext uri="{FF2B5EF4-FFF2-40B4-BE49-F238E27FC236}">
                    <a16:creationId xmlns:a16="http://schemas.microsoft.com/office/drawing/2014/main" id="{E584441D-17F7-B6FF-E0D8-17921981BB78}"/>
                  </a:ext>
                </a:extLst>
              </p:cNvPr>
              <p:cNvSpPr/>
              <p:nvPr/>
            </p:nvSpPr>
            <p:spPr>
              <a:xfrm>
                <a:off x="3374365" y="3370439"/>
                <a:ext cx="50484" cy="62408"/>
              </a:xfrm>
              <a:custGeom>
                <a:avLst/>
                <a:gdLst>
                  <a:gd name="connsiteX0" fmla="*/ 0 w 50484"/>
                  <a:gd name="connsiteY0" fmla="*/ 51301 h 62408"/>
                  <a:gd name="connsiteX1" fmla="*/ 9361 w 50484"/>
                  <a:gd name="connsiteY1" fmla="*/ 62408 h 62408"/>
                  <a:gd name="connsiteX2" fmla="*/ 41103 w 50484"/>
                  <a:gd name="connsiteY2" fmla="*/ 62408 h 62408"/>
                  <a:gd name="connsiteX3" fmla="*/ 50485 w 50484"/>
                  <a:gd name="connsiteY3" fmla="*/ 51301 h 62408"/>
                  <a:gd name="connsiteX4" fmla="*/ 50485 w 50484"/>
                  <a:gd name="connsiteY4" fmla="*/ 11107 h 62408"/>
                  <a:gd name="connsiteX5" fmla="*/ 41103 w 50484"/>
                  <a:gd name="connsiteY5" fmla="*/ 0 h 62408"/>
                  <a:gd name="connsiteX6" fmla="*/ 9361 w 50484"/>
                  <a:gd name="connsiteY6" fmla="*/ 0 h 62408"/>
                  <a:gd name="connsiteX7" fmla="*/ 0 w 50484"/>
                  <a:gd name="connsiteY7" fmla="*/ 11107 h 62408"/>
                  <a:gd name="connsiteX8" fmla="*/ 0 w 50484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0" y="51301"/>
                    </a:moveTo>
                    <a:cubicBezTo>
                      <a:pt x="0" y="57412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12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96" name="Freeform 31">
                <a:extLst>
                  <a:ext uri="{FF2B5EF4-FFF2-40B4-BE49-F238E27FC236}">
                    <a16:creationId xmlns:a16="http://schemas.microsoft.com/office/drawing/2014/main" id="{512D0916-E116-2985-39F5-EDBD451E540D}"/>
                  </a:ext>
                </a:extLst>
              </p:cNvPr>
              <p:cNvSpPr/>
              <p:nvPr/>
            </p:nvSpPr>
            <p:spPr>
              <a:xfrm>
                <a:off x="3374365" y="3271140"/>
                <a:ext cx="50484" cy="62387"/>
              </a:xfrm>
              <a:custGeom>
                <a:avLst/>
                <a:gdLst>
                  <a:gd name="connsiteX0" fmla="*/ 0 w 50484"/>
                  <a:gd name="connsiteY0" fmla="*/ 51301 h 62387"/>
                  <a:gd name="connsiteX1" fmla="*/ 9361 w 50484"/>
                  <a:gd name="connsiteY1" fmla="*/ 62387 h 62387"/>
                  <a:gd name="connsiteX2" fmla="*/ 41103 w 50484"/>
                  <a:gd name="connsiteY2" fmla="*/ 62387 h 62387"/>
                  <a:gd name="connsiteX3" fmla="*/ 50485 w 50484"/>
                  <a:gd name="connsiteY3" fmla="*/ 51301 h 62387"/>
                  <a:gd name="connsiteX4" fmla="*/ 50485 w 50484"/>
                  <a:gd name="connsiteY4" fmla="*/ 11086 h 62387"/>
                  <a:gd name="connsiteX5" fmla="*/ 41103 w 50484"/>
                  <a:gd name="connsiteY5" fmla="*/ 0 h 62387"/>
                  <a:gd name="connsiteX6" fmla="*/ 9361 w 50484"/>
                  <a:gd name="connsiteY6" fmla="*/ 0 h 62387"/>
                  <a:gd name="connsiteX7" fmla="*/ 0 w 50484"/>
                  <a:gd name="connsiteY7" fmla="*/ 11086 h 62387"/>
                  <a:gd name="connsiteX8" fmla="*/ 0 w 50484"/>
                  <a:gd name="connsiteY8" fmla="*/ 51301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387">
                    <a:moveTo>
                      <a:pt x="0" y="51301"/>
                    </a:moveTo>
                    <a:cubicBezTo>
                      <a:pt x="0" y="57412"/>
                      <a:pt x="4195" y="62387"/>
                      <a:pt x="9361" y="62387"/>
                    </a:cubicBezTo>
                    <a:lnTo>
                      <a:pt x="41103" y="62387"/>
                    </a:lnTo>
                    <a:cubicBezTo>
                      <a:pt x="46290" y="62387"/>
                      <a:pt x="50485" y="57412"/>
                      <a:pt x="50485" y="51301"/>
                    </a:cubicBezTo>
                    <a:lnTo>
                      <a:pt x="50485" y="11086"/>
                    </a:lnTo>
                    <a:cubicBezTo>
                      <a:pt x="50485" y="4975"/>
                      <a:pt x="46290" y="0"/>
                      <a:pt x="41103" y="0"/>
                    </a:cubicBezTo>
                    <a:lnTo>
                      <a:pt x="9361" y="0"/>
                    </a:lnTo>
                    <a:cubicBezTo>
                      <a:pt x="4195" y="0"/>
                      <a:pt x="0" y="4975"/>
                      <a:pt x="0" y="11086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97" name="Freeform 32">
                <a:extLst>
                  <a:ext uri="{FF2B5EF4-FFF2-40B4-BE49-F238E27FC236}">
                    <a16:creationId xmlns:a16="http://schemas.microsoft.com/office/drawing/2014/main" id="{91C5BF40-92C2-9522-EEB9-F48783A60616}"/>
                  </a:ext>
                </a:extLst>
              </p:cNvPr>
              <p:cNvSpPr/>
              <p:nvPr/>
            </p:nvSpPr>
            <p:spPr>
              <a:xfrm>
                <a:off x="3374385" y="3171840"/>
                <a:ext cx="50484" cy="62408"/>
              </a:xfrm>
              <a:custGeom>
                <a:avLst/>
                <a:gdLst>
                  <a:gd name="connsiteX0" fmla="*/ 9361 w 50484"/>
                  <a:gd name="connsiteY0" fmla="*/ 62408 h 62408"/>
                  <a:gd name="connsiteX1" fmla="*/ 41103 w 50484"/>
                  <a:gd name="connsiteY1" fmla="*/ 62408 h 62408"/>
                  <a:gd name="connsiteX2" fmla="*/ 50485 w 50484"/>
                  <a:gd name="connsiteY2" fmla="*/ 51301 h 62408"/>
                  <a:gd name="connsiteX3" fmla="*/ 50485 w 50484"/>
                  <a:gd name="connsiteY3" fmla="*/ 11107 h 62408"/>
                  <a:gd name="connsiteX4" fmla="*/ 41103 w 50484"/>
                  <a:gd name="connsiteY4" fmla="*/ 0 h 62408"/>
                  <a:gd name="connsiteX5" fmla="*/ 9361 w 50484"/>
                  <a:gd name="connsiteY5" fmla="*/ 0 h 62408"/>
                  <a:gd name="connsiteX6" fmla="*/ 0 w 50484"/>
                  <a:gd name="connsiteY6" fmla="*/ 11107 h 62408"/>
                  <a:gd name="connsiteX7" fmla="*/ 0 w 50484"/>
                  <a:gd name="connsiteY7" fmla="*/ 51301 h 62408"/>
                  <a:gd name="connsiteX8" fmla="*/ 9361 w 50484"/>
                  <a:gd name="connsiteY8" fmla="*/ 62408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9361" y="62408"/>
                    </a:move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96"/>
                      <a:pt x="46290" y="0"/>
                      <a:pt x="41103" y="0"/>
                    </a:cubicBezTo>
                    <a:lnTo>
                      <a:pt x="9361" y="0"/>
                    </a:lnTo>
                    <a:cubicBezTo>
                      <a:pt x="4195" y="0"/>
                      <a:pt x="0" y="4996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61" y="62408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98" name="Freeform 33">
                <a:extLst>
                  <a:ext uri="{FF2B5EF4-FFF2-40B4-BE49-F238E27FC236}">
                    <a16:creationId xmlns:a16="http://schemas.microsoft.com/office/drawing/2014/main" id="{A6541DAE-B2D5-6CB2-5EC1-0AB9D57F83AB}"/>
                  </a:ext>
                </a:extLst>
              </p:cNvPr>
              <p:cNvSpPr/>
              <p:nvPr/>
            </p:nvSpPr>
            <p:spPr>
              <a:xfrm>
                <a:off x="2540405" y="3752010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99" name="Freeform 34">
                <a:extLst>
                  <a:ext uri="{FF2B5EF4-FFF2-40B4-BE49-F238E27FC236}">
                    <a16:creationId xmlns:a16="http://schemas.microsoft.com/office/drawing/2014/main" id="{8BECF481-F389-2267-A181-33CFCDDCB40F}"/>
                  </a:ext>
                </a:extLst>
              </p:cNvPr>
              <p:cNvSpPr/>
              <p:nvPr/>
            </p:nvSpPr>
            <p:spPr>
              <a:xfrm>
                <a:off x="2540405" y="3652731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00" name="Freeform 35">
                <a:extLst>
                  <a:ext uri="{FF2B5EF4-FFF2-40B4-BE49-F238E27FC236}">
                    <a16:creationId xmlns:a16="http://schemas.microsoft.com/office/drawing/2014/main" id="{8F449DA2-4EF7-F03E-5FFC-168CB4FCC716}"/>
                  </a:ext>
                </a:extLst>
              </p:cNvPr>
              <p:cNvSpPr/>
              <p:nvPr/>
            </p:nvSpPr>
            <p:spPr>
              <a:xfrm>
                <a:off x="2540405" y="3553432"/>
                <a:ext cx="50505" cy="62387"/>
              </a:xfrm>
              <a:custGeom>
                <a:avLst/>
                <a:gdLst>
                  <a:gd name="connsiteX0" fmla="*/ 41123 w 50505"/>
                  <a:gd name="connsiteY0" fmla="*/ 0 h 62387"/>
                  <a:gd name="connsiteX1" fmla="*/ 9382 w 50505"/>
                  <a:gd name="connsiteY1" fmla="*/ 0 h 62387"/>
                  <a:gd name="connsiteX2" fmla="*/ 0 w 50505"/>
                  <a:gd name="connsiteY2" fmla="*/ 11107 h 62387"/>
                  <a:gd name="connsiteX3" fmla="*/ 0 w 50505"/>
                  <a:gd name="connsiteY3" fmla="*/ 51301 h 62387"/>
                  <a:gd name="connsiteX4" fmla="*/ 9382 w 50505"/>
                  <a:gd name="connsiteY4" fmla="*/ 62387 h 62387"/>
                  <a:gd name="connsiteX5" fmla="*/ 41123 w 50505"/>
                  <a:gd name="connsiteY5" fmla="*/ 62387 h 62387"/>
                  <a:gd name="connsiteX6" fmla="*/ 50505 w 50505"/>
                  <a:gd name="connsiteY6" fmla="*/ 51301 h 62387"/>
                  <a:gd name="connsiteX7" fmla="*/ 50505 w 50505"/>
                  <a:gd name="connsiteY7" fmla="*/ 11107 h 62387"/>
                  <a:gd name="connsiteX8" fmla="*/ 41123 w 50505"/>
                  <a:gd name="connsiteY8" fmla="*/ 0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387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12"/>
                      <a:pt x="4195" y="62387"/>
                      <a:pt x="9382" y="62387"/>
                    </a:cubicBezTo>
                    <a:lnTo>
                      <a:pt x="41123" y="62387"/>
                    </a:lnTo>
                    <a:cubicBezTo>
                      <a:pt x="46310" y="62387"/>
                      <a:pt x="50505" y="57412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01" name="Freeform 36">
                <a:extLst>
                  <a:ext uri="{FF2B5EF4-FFF2-40B4-BE49-F238E27FC236}">
                    <a16:creationId xmlns:a16="http://schemas.microsoft.com/office/drawing/2014/main" id="{42647FB3-149C-1DFA-5501-E5A89D6F8C7E}"/>
                  </a:ext>
                </a:extLst>
              </p:cNvPr>
              <p:cNvSpPr/>
              <p:nvPr/>
            </p:nvSpPr>
            <p:spPr>
              <a:xfrm>
                <a:off x="2540405" y="3454153"/>
                <a:ext cx="50505" cy="62387"/>
              </a:xfrm>
              <a:custGeom>
                <a:avLst/>
                <a:gdLst>
                  <a:gd name="connsiteX0" fmla="*/ 41123 w 50505"/>
                  <a:gd name="connsiteY0" fmla="*/ 0 h 62387"/>
                  <a:gd name="connsiteX1" fmla="*/ 9382 w 50505"/>
                  <a:gd name="connsiteY1" fmla="*/ 0 h 62387"/>
                  <a:gd name="connsiteX2" fmla="*/ 0 w 50505"/>
                  <a:gd name="connsiteY2" fmla="*/ 11086 h 62387"/>
                  <a:gd name="connsiteX3" fmla="*/ 0 w 50505"/>
                  <a:gd name="connsiteY3" fmla="*/ 51301 h 62387"/>
                  <a:gd name="connsiteX4" fmla="*/ 9382 w 50505"/>
                  <a:gd name="connsiteY4" fmla="*/ 62387 h 62387"/>
                  <a:gd name="connsiteX5" fmla="*/ 41123 w 50505"/>
                  <a:gd name="connsiteY5" fmla="*/ 62387 h 62387"/>
                  <a:gd name="connsiteX6" fmla="*/ 50505 w 50505"/>
                  <a:gd name="connsiteY6" fmla="*/ 51301 h 62387"/>
                  <a:gd name="connsiteX7" fmla="*/ 50505 w 50505"/>
                  <a:gd name="connsiteY7" fmla="*/ 11086 h 62387"/>
                  <a:gd name="connsiteX8" fmla="*/ 41123 w 50505"/>
                  <a:gd name="connsiteY8" fmla="*/ 0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387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086"/>
                    </a:cubicBezTo>
                    <a:lnTo>
                      <a:pt x="0" y="51301"/>
                    </a:lnTo>
                    <a:cubicBezTo>
                      <a:pt x="0" y="57412"/>
                      <a:pt x="4195" y="62387"/>
                      <a:pt x="9382" y="62387"/>
                    </a:cubicBezTo>
                    <a:lnTo>
                      <a:pt x="41123" y="62387"/>
                    </a:lnTo>
                    <a:cubicBezTo>
                      <a:pt x="46310" y="62387"/>
                      <a:pt x="50505" y="57412"/>
                      <a:pt x="50505" y="51301"/>
                    </a:cubicBezTo>
                    <a:lnTo>
                      <a:pt x="50505" y="11086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02" name="Freeform 37">
                <a:extLst>
                  <a:ext uri="{FF2B5EF4-FFF2-40B4-BE49-F238E27FC236}">
                    <a16:creationId xmlns:a16="http://schemas.microsoft.com/office/drawing/2014/main" id="{974B0D7C-B44F-6543-FBFC-8A9511F7FC0E}"/>
                  </a:ext>
                </a:extLst>
              </p:cNvPr>
              <p:cNvSpPr/>
              <p:nvPr/>
            </p:nvSpPr>
            <p:spPr>
              <a:xfrm>
                <a:off x="2540405" y="3354832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03" name="Freeform 38">
                <a:extLst>
                  <a:ext uri="{FF2B5EF4-FFF2-40B4-BE49-F238E27FC236}">
                    <a16:creationId xmlns:a16="http://schemas.microsoft.com/office/drawing/2014/main" id="{1807A7B0-7F44-1284-4891-869333EA47C8}"/>
                  </a:ext>
                </a:extLst>
              </p:cNvPr>
              <p:cNvSpPr/>
              <p:nvPr/>
            </p:nvSpPr>
            <p:spPr>
              <a:xfrm>
                <a:off x="2540405" y="3255553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04" name="Freeform 39">
                <a:extLst>
                  <a:ext uri="{FF2B5EF4-FFF2-40B4-BE49-F238E27FC236}">
                    <a16:creationId xmlns:a16="http://schemas.microsoft.com/office/drawing/2014/main" id="{CA5FB867-E421-32AF-089B-39A86FF3C344}"/>
                  </a:ext>
                </a:extLst>
              </p:cNvPr>
              <p:cNvSpPr/>
              <p:nvPr/>
            </p:nvSpPr>
            <p:spPr>
              <a:xfrm>
                <a:off x="2540405" y="3156254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12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12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05" name="Freeform 40">
                <a:extLst>
                  <a:ext uri="{FF2B5EF4-FFF2-40B4-BE49-F238E27FC236}">
                    <a16:creationId xmlns:a16="http://schemas.microsoft.com/office/drawing/2014/main" id="{65A79A60-627F-C083-07C2-BF1716418B36}"/>
                  </a:ext>
                </a:extLst>
              </p:cNvPr>
              <p:cNvSpPr/>
              <p:nvPr/>
            </p:nvSpPr>
            <p:spPr>
              <a:xfrm>
                <a:off x="2540405" y="3056974"/>
                <a:ext cx="50505" cy="62387"/>
              </a:xfrm>
              <a:custGeom>
                <a:avLst/>
                <a:gdLst>
                  <a:gd name="connsiteX0" fmla="*/ 41123 w 50505"/>
                  <a:gd name="connsiteY0" fmla="*/ 0 h 62387"/>
                  <a:gd name="connsiteX1" fmla="*/ 9382 w 50505"/>
                  <a:gd name="connsiteY1" fmla="*/ 0 h 62387"/>
                  <a:gd name="connsiteX2" fmla="*/ 0 w 50505"/>
                  <a:gd name="connsiteY2" fmla="*/ 11086 h 62387"/>
                  <a:gd name="connsiteX3" fmla="*/ 0 w 50505"/>
                  <a:gd name="connsiteY3" fmla="*/ 51301 h 62387"/>
                  <a:gd name="connsiteX4" fmla="*/ 9382 w 50505"/>
                  <a:gd name="connsiteY4" fmla="*/ 62387 h 62387"/>
                  <a:gd name="connsiteX5" fmla="*/ 41123 w 50505"/>
                  <a:gd name="connsiteY5" fmla="*/ 62387 h 62387"/>
                  <a:gd name="connsiteX6" fmla="*/ 50505 w 50505"/>
                  <a:gd name="connsiteY6" fmla="*/ 51301 h 62387"/>
                  <a:gd name="connsiteX7" fmla="*/ 50505 w 50505"/>
                  <a:gd name="connsiteY7" fmla="*/ 11086 h 62387"/>
                  <a:gd name="connsiteX8" fmla="*/ 41123 w 50505"/>
                  <a:gd name="connsiteY8" fmla="*/ 0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387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086"/>
                    </a:cubicBezTo>
                    <a:lnTo>
                      <a:pt x="0" y="51301"/>
                    </a:lnTo>
                    <a:cubicBezTo>
                      <a:pt x="0" y="57412"/>
                      <a:pt x="4195" y="62387"/>
                      <a:pt x="9382" y="62387"/>
                    </a:cubicBezTo>
                    <a:lnTo>
                      <a:pt x="41123" y="62387"/>
                    </a:lnTo>
                    <a:cubicBezTo>
                      <a:pt x="46310" y="62387"/>
                      <a:pt x="50505" y="57412"/>
                      <a:pt x="50505" y="51301"/>
                    </a:cubicBezTo>
                    <a:lnTo>
                      <a:pt x="50505" y="11086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06" name="Freeform 41">
                <a:extLst>
                  <a:ext uri="{FF2B5EF4-FFF2-40B4-BE49-F238E27FC236}">
                    <a16:creationId xmlns:a16="http://schemas.microsoft.com/office/drawing/2014/main" id="{18C6B4A2-66DC-D6BA-EF31-E299894F8567}"/>
                  </a:ext>
                </a:extLst>
              </p:cNvPr>
              <p:cNvSpPr/>
              <p:nvPr/>
            </p:nvSpPr>
            <p:spPr>
              <a:xfrm>
                <a:off x="2540405" y="2957654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96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96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07" name="Freeform 42">
                <a:extLst>
                  <a:ext uri="{FF2B5EF4-FFF2-40B4-BE49-F238E27FC236}">
                    <a16:creationId xmlns:a16="http://schemas.microsoft.com/office/drawing/2014/main" id="{71B92C37-CB27-2AEC-FBE2-8164952B0C5F}"/>
                  </a:ext>
                </a:extLst>
              </p:cNvPr>
              <p:cNvSpPr/>
              <p:nvPr/>
            </p:nvSpPr>
            <p:spPr>
              <a:xfrm>
                <a:off x="2620317" y="3752031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08" name="Freeform 43">
                <a:extLst>
                  <a:ext uri="{FF2B5EF4-FFF2-40B4-BE49-F238E27FC236}">
                    <a16:creationId xmlns:a16="http://schemas.microsoft.com/office/drawing/2014/main" id="{8BC6854D-C3B2-582B-F4E9-B11B02E1E22E}"/>
                  </a:ext>
                </a:extLst>
              </p:cNvPr>
              <p:cNvSpPr/>
              <p:nvPr/>
            </p:nvSpPr>
            <p:spPr>
              <a:xfrm>
                <a:off x="2620317" y="3652731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09" name="Freeform 44">
                <a:extLst>
                  <a:ext uri="{FF2B5EF4-FFF2-40B4-BE49-F238E27FC236}">
                    <a16:creationId xmlns:a16="http://schemas.microsoft.com/office/drawing/2014/main" id="{1EE9C600-6F15-AA3F-64D3-2F6FB045B14E}"/>
                  </a:ext>
                </a:extLst>
              </p:cNvPr>
              <p:cNvSpPr/>
              <p:nvPr/>
            </p:nvSpPr>
            <p:spPr>
              <a:xfrm>
                <a:off x="2620317" y="3553432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10" name="Freeform 45">
                <a:extLst>
                  <a:ext uri="{FF2B5EF4-FFF2-40B4-BE49-F238E27FC236}">
                    <a16:creationId xmlns:a16="http://schemas.microsoft.com/office/drawing/2014/main" id="{5EE856D0-26C9-92AB-AD64-DEB0FEA90CDF}"/>
                  </a:ext>
                </a:extLst>
              </p:cNvPr>
              <p:cNvSpPr/>
              <p:nvPr/>
            </p:nvSpPr>
            <p:spPr>
              <a:xfrm>
                <a:off x="2620317" y="3454132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11" name="Freeform 46">
                <a:extLst>
                  <a:ext uri="{FF2B5EF4-FFF2-40B4-BE49-F238E27FC236}">
                    <a16:creationId xmlns:a16="http://schemas.microsoft.com/office/drawing/2014/main" id="{3118EC15-FB97-D2A7-4E7D-B7391584B524}"/>
                  </a:ext>
                </a:extLst>
              </p:cNvPr>
              <p:cNvSpPr/>
              <p:nvPr/>
            </p:nvSpPr>
            <p:spPr>
              <a:xfrm>
                <a:off x="2620317" y="3354853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12" name="Freeform 47">
                <a:extLst>
                  <a:ext uri="{FF2B5EF4-FFF2-40B4-BE49-F238E27FC236}">
                    <a16:creationId xmlns:a16="http://schemas.microsoft.com/office/drawing/2014/main" id="{CBA68FD8-6EBC-5F20-FD6A-ACACA554AB4C}"/>
                  </a:ext>
                </a:extLst>
              </p:cNvPr>
              <p:cNvSpPr/>
              <p:nvPr/>
            </p:nvSpPr>
            <p:spPr>
              <a:xfrm>
                <a:off x="2620317" y="3255553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13" name="Freeform 48">
                <a:extLst>
                  <a:ext uri="{FF2B5EF4-FFF2-40B4-BE49-F238E27FC236}">
                    <a16:creationId xmlns:a16="http://schemas.microsoft.com/office/drawing/2014/main" id="{5A4BEF06-DD3A-0E02-2A5E-9AFEC2DE18E9}"/>
                  </a:ext>
                </a:extLst>
              </p:cNvPr>
              <p:cNvSpPr/>
              <p:nvPr/>
            </p:nvSpPr>
            <p:spPr>
              <a:xfrm>
                <a:off x="2620317" y="3156254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14" name="Freeform 49">
                <a:extLst>
                  <a:ext uri="{FF2B5EF4-FFF2-40B4-BE49-F238E27FC236}">
                    <a16:creationId xmlns:a16="http://schemas.microsoft.com/office/drawing/2014/main" id="{46694314-99B1-4889-E917-6CDF7ECF0656}"/>
                  </a:ext>
                </a:extLst>
              </p:cNvPr>
              <p:cNvSpPr/>
              <p:nvPr/>
            </p:nvSpPr>
            <p:spPr>
              <a:xfrm>
                <a:off x="2620317" y="3056954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15" name="Freeform 50">
                <a:extLst>
                  <a:ext uri="{FF2B5EF4-FFF2-40B4-BE49-F238E27FC236}">
                    <a16:creationId xmlns:a16="http://schemas.microsoft.com/office/drawing/2014/main" id="{07FDDE80-6036-01CD-811D-1AF0A17A141D}"/>
                  </a:ext>
                </a:extLst>
              </p:cNvPr>
              <p:cNvSpPr/>
              <p:nvPr/>
            </p:nvSpPr>
            <p:spPr>
              <a:xfrm>
                <a:off x="2620317" y="2957654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16" name="Freeform 51">
                <a:extLst>
                  <a:ext uri="{FF2B5EF4-FFF2-40B4-BE49-F238E27FC236}">
                    <a16:creationId xmlns:a16="http://schemas.microsoft.com/office/drawing/2014/main" id="{674CC47B-6199-0625-9EB1-9B01D3B35AFB}"/>
                  </a:ext>
                </a:extLst>
              </p:cNvPr>
              <p:cNvSpPr/>
              <p:nvPr/>
            </p:nvSpPr>
            <p:spPr>
              <a:xfrm>
                <a:off x="2700229" y="3752010"/>
                <a:ext cx="50484" cy="62408"/>
              </a:xfrm>
              <a:custGeom>
                <a:avLst/>
                <a:gdLst>
                  <a:gd name="connsiteX0" fmla="*/ 41103 w 50484"/>
                  <a:gd name="connsiteY0" fmla="*/ 0 h 62408"/>
                  <a:gd name="connsiteX1" fmla="*/ 9361 w 50484"/>
                  <a:gd name="connsiteY1" fmla="*/ 0 h 62408"/>
                  <a:gd name="connsiteX2" fmla="*/ 0 w 50484"/>
                  <a:gd name="connsiteY2" fmla="*/ 11107 h 62408"/>
                  <a:gd name="connsiteX3" fmla="*/ 0 w 50484"/>
                  <a:gd name="connsiteY3" fmla="*/ 51301 h 62408"/>
                  <a:gd name="connsiteX4" fmla="*/ 9361 w 50484"/>
                  <a:gd name="connsiteY4" fmla="*/ 62408 h 62408"/>
                  <a:gd name="connsiteX5" fmla="*/ 41103 w 50484"/>
                  <a:gd name="connsiteY5" fmla="*/ 62408 h 62408"/>
                  <a:gd name="connsiteX6" fmla="*/ 50485 w 50484"/>
                  <a:gd name="connsiteY6" fmla="*/ 51301 h 62408"/>
                  <a:gd name="connsiteX7" fmla="*/ 50485 w 50484"/>
                  <a:gd name="connsiteY7" fmla="*/ 11107 h 62408"/>
                  <a:gd name="connsiteX8" fmla="*/ 41103 w 50484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17" name="Freeform 52">
                <a:extLst>
                  <a:ext uri="{FF2B5EF4-FFF2-40B4-BE49-F238E27FC236}">
                    <a16:creationId xmlns:a16="http://schemas.microsoft.com/office/drawing/2014/main" id="{0AD3052A-FDA8-6884-6868-48ABC237CAEB}"/>
                  </a:ext>
                </a:extLst>
              </p:cNvPr>
              <p:cNvSpPr/>
              <p:nvPr/>
            </p:nvSpPr>
            <p:spPr>
              <a:xfrm>
                <a:off x="2700229" y="3652731"/>
                <a:ext cx="50484" cy="62408"/>
              </a:xfrm>
              <a:custGeom>
                <a:avLst/>
                <a:gdLst>
                  <a:gd name="connsiteX0" fmla="*/ 41103 w 50484"/>
                  <a:gd name="connsiteY0" fmla="*/ 0 h 62408"/>
                  <a:gd name="connsiteX1" fmla="*/ 9361 w 50484"/>
                  <a:gd name="connsiteY1" fmla="*/ 0 h 62408"/>
                  <a:gd name="connsiteX2" fmla="*/ 0 w 50484"/>
                  <a:gd name="connsiteY2" fmla="*/ 11107 h 62408"/>
                  <a:gd name="connsiteX3" fmla="*/ 0 w 50484"/>
                  <a:gd name="connsiteY3" fmla="*/ 51301 h 62408"/>
                  <a:gd name="connsiteX4" fmla="*/ 9361 w 50484"/>
                  <a:gd name="connsiteY4" fmla="*/ 62408 h 62408"/>
                  <a:gd name="connsiteX5" fmla="*/ 41103 w 50484"/>
                  <a:gd name="connsiteY5" fmla="*/ 62408 h 62408"/>
                  <a:gd name="connsiteX6" fmla="*/ 50485 w 50484"/>
                  <a:gd name="connsiteY6" fmla="*/ 51301 h 62408"/>
                  <a:gd name="connsiteX7" fmla="*/ 50485 w 50484"/>
                  <a:gd name="connsiteY7" fmla="*/ 11107 h 62408"/>
                  <a:gd name="connsiteX8" fmla="*/ 41103 w 50484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18" name="Freeform 53">
                <a:extLst>
                  <a:ext uri="{FF2B5EF4-FFF2-40B4-BE49-F238E27FC236}">
                    <a16:creationId xmlns:a16="http://schemas.microsoft.com/office/drawing/2014/main" id="{446A06A3-9971-52A0-88B8-778E588D31F7}"/>
                  </a:ext>
                </a:extLst>
              </p:cNvPr>
              <p:cNvSpPr/>
              <p:nvPr/>
            </p:nvSpPr>
            <p:spPr>
              <a:xfrm>
                <a:off x="2700229" y="3553432"/>
                <a:ext cx="50484" cy="62387"/>
              </a:xfrm>
              <a:custGeom>
                <a:avLst/>
                <a:gdLst>
                  <a:gd name="connsiteX0" fmla="*/ 41103 w 50484"/>
                  <a:gd name="connsiteY0" fmla="*/ 0 h 62387"/>
                  <a:gd name="connsiteX1" fmla="*/ 9361 w 50484"/>
                  <a:gd name="connsiteY1" fmla="*/ 0 h 62387"/>
                  <a:gd name="connsiteX2" fmla="*/ 0 w 50484"/>
                  <a:gd name="connsiteY2" fmla="*/ 11107 h 62387"/>
                  <a:gd name="connsiteX3" fmla="*/ 0 w 50484"/>
                  <a:gd name="connsiteY3" fmla="*/ 51301 h 62387"/>
                  <a:gd name="connsiteX4" fmla="*/ 9361 w 50484"/>
                  <a:gd name="connsiteY4" fmla="*/ 62387 h 62387"/>
                  <a:gd name="connsiteX5" fmla="*/ 41103 w 50484"/>
                  <a:gd name="connsiteY5" fmla="*/ 62387 h 62387"/>
                  <a:gd name="connsiteX6" fmla="*/ 50485 w 50484"/>
                  <a:gd name="connsiteY6" fmla="*/ 51301 h 62387"/>
                  <a:gd name="connsiteX7" fmla="*/ 50485 w 50484"/>
                  <a:gd name="connsiteY7" fmla="*/ 11107 h 62387"/>
                  <a:gd name="connsiteX8" fmla="*/ 41103 w 50484"/>
                  <a:gd name="connsiteY8" fmla="*/ 0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387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12"/>
                      <a:pt x="4195" y="62387"/>
                      <a:pt x="9361" y="62387"/>
                    </a:cubicBezTo>
                    <a:lnTo>
                      <a:pt x="41103" y="62387"/>
                    </a:lnTo>
                    <a:cubicBezTo>
                      <a:pt x="46290" y="62387"/>
                      <a:pt x="50485" y="57412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19" name="Freeform 54">
                <a:extLst>
                  <a:ext uri="{FF2B5EF4-FFF2-40B4-BE49-F238E27FC236}">
                    <a16:creationId xmlns:a16="http://schemas.microsoft.com/office/drawing/2014/main" id="{AA2E87E7-BF74-5F9D-BBE8-F833A310EC53}"/>
                  </a:ext>
                </a:extLst>
              </p:cNvPr>
              <p:cNvSpPr/>
              <p:nvPr/>
            </p:nvSpPr>
            <p:spPr>
              <a:xfrm>
                <a:off x="2700229" y="3454153"/>
                <a:ext cx="50484" cy="62387"/>
              </a:xfrm>
              <a:custGeom>
                <a:avLst/>
                <a:gdLst>
                  <a:gd name="connsiteX0" fmla="*/ 41103 w 50484"/>
                  <a:gd name="connsiteY0" fmla="*/ 0 h 62387"/>
                  <a:gd name="connsiteX1" fmla="*/ 9361 w 50484"/>
                  <a:gd name="connsiteY1" fmla="*/ 0 h 62387"/>
                  <a:gd name="connsiteX2" fmla="*/ 0 w 50484"/>
                  <a:gd name="connsiteY2" fmla="*/ 11086 h 62387"/>
                  <a:gd name="connsiteX3" fmla="*/ 0 w 50484"/>
                  <a:gd name="connsiteY3" fmla="*/ 51301 h 62387"/>
                  <a:gd name="connsiteX4" fmla="*/ 9361 w 50484"/>
                  <a:gd name="connsiteY4" fmla="*/ 62387 h 62387"/>
                  <a:gd name="connsiteX5" fmla="*/ 41103 w 50484"/>
                  <a:gd name="connsiteY5" fmla="*/ 62387 h 62387"/>
                  <a:gd name="connsiteX6" fmla="*/ 50485 w 50484"/>
                  <a:gd name="connsiteY6" fmla="*/ 51301 h 62387"/>
                  <a:gd name="connsiteX7" fmla="*/ 50485 w 50484"/>
                  <a:gd name="connsiteY7" fmla="*/ 11086 h 62387"/>
                  <a:gd name="connsiteX8" fmla="*/ 41103 w 50484"/>
                  <a:gd name="connsiteY8" fmla="*/ 0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387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086"/>
                    </a:cubicBezTo>
                    <a:lnTo>
                      <a:pt x="0" y="51301"/>
                    </a:lnTo>
                    <a:cubicBezTo>
                      <a:pt x="0" y="57412"/>
                      <a:pt x="4195" y="62387"/>
                      <a:pt x="9361" y="62387"/>
                    </a:cubicBezTo>
                    <a:lnTo>
                      <a:pt x="41103" y="62387"/>
                    </a:lnTo>
                    <a:cubicBezTo>
                      <a:pt x="46290" y="62387"/>
                      <a:pt x="50485" y="57412"/>
                      <a:pt x="50485" y="51301"/>
                    </a:cubicBezTo>
                    <a:lnTo>
                      <a:pt x="50485" y="11086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20" name="Freeform 55">
                <a:extLst>
                  <a:ext uri="{FF2B5EF4-FFF2-40B4-BE49-F238E27FC236}">
                    <a16:creationId xmlns:a16="http://schemas.microsoft.com/office/drawing/2014/main" id="{DDF2B876-9565-E7C9-BF1A-545D917B574E}"/>
                  </a:ext>
                </a:extLst>
              </p:cNvPr>
              <p:cNvSpPr/>
              <p:nvPr/>
            </p:nvSpPr>
            <p:spPr>
              <a:xfrm>
                <a:off x="2700229" y="3354832"/>
                <a:ext cx="50484" cy="62408"/>
              </a:xfrm>
              <a:custGeom>
                <a:avLst/>
                <a:gdLst>
                  <a:gd name="connsiteX0" fmla="*/ 41103 w 50484"/>
                  <a:gd name="connsiteY0" fmla="*/ 0 h 62408"/>
                  <a:gd name="connsiteX1" fmla="*/ 9361 w 50484"/>
                  <a:gd name="connsiteY1" fmla="*/ 0 h 62408"/>
                  <a:gd name="connsiteX2" fmla="*/ 0 w 50484"/>
                  <a:gd name="connsiteY2" fmla="*/ 11107 h 62408"/>
                  <a:gd name="connsiteX3" fmla="*/ 0 w 50484"/>
                  <a:gd name="connsiteY3" fmla="*/ 51301 h 62408"/>
                  <a:gd name="connsiteX4" fmla="*/ 9361 w 50484"/>
                  <a:gd name="connsiteY4" fmla="*/ 62408 h 62408"/>
                  <a:gd name="connsiteX5" fmla="*/ 41103 w 50484"/>
                  <a:gd name="connsiteY5" fmla="*/ 62408 h 62408"/>
                  <a:gd name="connsiteX6" fmla="*/ 50485 w 50484"/>
                  <a:gd name="connsiteY6" fmla="*/ 51301 h 62408"/>
                  <a:gd name="connsiteX7" fmla="*/ 50485 w 50484"/>
                  <a:gd name="connsiteY7" fmla="*/ 11107 h 62408"/>
                  <a:gd name="connsiteX8" fmla="*/ 41103 w 50484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21" name="Freeform 56">
                <a:extLst>
                  <a:ext uri="{FF2B5EF4-FFF2-40B4-BE49-F238E27FC236}">
                    <a16:creationId xmlns:a16="http://schemas.microsoft.com/office/drawing/2014/main" id="{2CC4A12F-1495-7765-70CB-0C1BAABF6F42}"/>
                  </a:ext>
                </a:extLst>
              </p:cNvPr>
              <p:cNvSpPr/>
              <p:nvPr/>
            </p:nvSpPr>
            <p:spPr>
              <a:xfrm>
                <a:off x="2700229" y="3255553"/>
                <a:ext cx="50484" cy="62408"/>
              </a:xfrm>
              <a:custGeom>
                <a:avLst/>
                <a:gdLst>
                  <a:gd name="connsiteX0" fmla="*/ 41103 w 50484"/>
                  <a:gd name="connsiteY0" fmla="*/ 0 h 62408"/>
                  <a:gd name="connsiteX1" fmla="*/ 9361 w 50484"/>
                  <a:gd name="connsiteY1" fmla="*/ 0 h 62408"/>
                  <a:gd name="connsiteX2" fmla="*/ 0 w 50484"/>
                  <a:gd name="connsiteY2" fmla="*/ 11107 h 62408"/>
                  <a:gd name="connsiteX3" fmla="*/ 0 w 50484"/>
                  <a:gd name="connsiteY3" fmla="*/ 51301 h 62408"/>
                  <a:gd name="connsiteX4" fmla="*/ 9361 w 50484"/>
                  <a:gd name="connsiteY4" fmla="*/ 62408 h 62408"/>
                  <a:gd name="connsiteX5" fmla="*/ 41103 w 50484"/>
                  <a:gd name="connsiteY5" fmla="*/ 62408 h 62408"/>
                  <a:gd name="connsiteX6" fmla="*/ 50485 w 50484"/>
                  <a:gd name="connsiteY6" fmla="*/ 51301 h 62408"/>
                  <a:gd name="connsiteX7" fmla="*/ 50485 w 50484"/>
                  <a:gd name="connsiteY7" fmla="*/ 11107 h 62408"/>
                  <a:gd name="connsiteX8" fmla="*/ 41103 w 50484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22" name="Freeform 57">
                <a:extLst>
                  <a:ext uri="{FF2B5EF4-FFF2-40B4-BE49-F238E27FC236}">
                    <a16:creationId xmlns:a16="http://schemas.microsoft.com/office/drawing/2014/main" id="{28BD35A1-F368-4745-A475-B4BE998C29C3}"/>
                  </a:ext>
                </a:extLst>
              </p:cNvPr>
              <p:cNvSpPr/>
              <p:nvPr/>
            </p:nvSpPr>
            <p:spPr>
              <a:xfrm>
                <a:off x="2700229" y="3156254"/>
                <a:ext cx="50484" cy="62408"/>
              </a:xfrm>
              <a:custGeom>
                <a:avLst/>
                <a:gdLst>
                  <a:gd name="connsiteX0" fmla="*/ 41103 w 50484"/>
                  <a:gd name="connsiteY0" fmla="*/ 0 h 62408"/>
                  <a:gd name="connsiteX1" fmla="*/ 9361 w 50484"/>
                  <a:gd name="connsiteY1" fmla="*/ 0 h 62408"/>
                  <a:gd name="connsiteX2" fmla="*/ 0 w 50484"/>
                  <a:gd name="connsiteY2" fmla="*/ 11107 h 62408"/>
                  <a:gd name="connsiteX3" fmla="*/ 0 w 50484"/>
                  <a:gd name="connsiteY3" fmla="*/ 51301 h 62408"/>
                  <a:gd name="connsiteX4" fmla="*/ 9361 w 50484"/>
                  <a:gd name="connsiteY4" fmla="*/ 62408 h 62408"/>
                  <a:gd name="connsiteX5" fmla="*/ 41103 w 50484"/>
                  <a:gd name="connsiteY5" fmla="*/ 62408 h 62408"/>
                  <a:gd name="connsiteX6" fmla="*/ 50485 w 50484"/>
                  <a:gd name="connsiteY6" fmla="*/ 51301 h 62408"/>
                  <a:gd name="connsiteX7" fmla="*/ 50485 w 50484"/>
                  <a:gd name="connsiteY7" fmla="*/ 11107 h 62408"/>
                  <a:gd name="connsiteX8" fmla="*/ 41103 w 50484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12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12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23" name="Freeform 58">
                <a:extLst>
                  <a:ext uri="{FF2B5EF4-FFF2-40B4-BE49-F238E27FC236}">
                    <a16:creationId xmlns:a16="http://schemas.microsoft.com/office/drawing/2014/main" id="{2A0931A5-6C81-4EDA-0217-526FBAED0B48}"/>
                  </a:ext>
                </a:extLst>
              </p:cNvPr>
              <p:cNvSpPr/>
              <p:nvPr/>
            </p:nvSpPr>
            <p:spPr>
              <a:xfrm>
                <a:off x="2700229" y="3056974"/>
                <a:ext cx="50484" cy="62387"/>
              </a:xfrm>
              <a:custGeom>
                <a:avLst/>
                <a:gdLst>
                  <a:gd name="connsiteX0" fmla="*/ 41103 w 50484"/>
                  <a:gd name="connsiteY0" fmla="*/ 0 h 62387"/>
                  <a:gd name="connsiteX1" fmla="*/ 9361 w 50484"/>
                  <a:gd name="connsiteY1" fmla="*/ 0 h 62387"/>
                  <a:gd name="connsiteX2" fmla="*/ 0 w 50484"/>
                  <a:gd name="connsiteY2" fmla="*/ 11086 h 62387"/>
                  <a:gd name="connsiteX3" fmla="*/ 0 w 50484"/>
                  <a:gd name="connsiteY3" fmla="*/ 51301 h 62387"/>
                  <a:gd name="connsiteX4" fmla="*/ 9361 w 50484"/>
                  <a:gd name="connsiteY4" fmla="*/ 62387 h 62387"/>
                  <a:gd name="connsiteX5" fmla="*/ 41103 w 50484"/>
                  <a:gd name="connsiteY5" fmla="*/ 62387 h 62387"/>
                  <a:gd name="connsiteX6" fmla="*/ 50485 w 50484"/>
                  <a:gd name="connsiteY6" fmla="*/ 51301 h 62387"/>
                  <a:gd name="connsiteX7" fmla="*/ 50485 w 50484"/>
                  <a:gd name="connsiteY7" fmla="*/ 11086 h 62387"/>
                  <a:gd name="connsiteX8" fmla="*/ 41103 w 50484"/>
                  <a:gd name="connsiteY8" fmla="*/ 0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387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086"/>
                    </a:cubicBezTo>
                    <a:lnTo>
                      <a:pt x="0" y="51301"/>
                    </a:lnTo>
                    <a:cubicBezTo>
                      <a:pt x="0" y="57412"/>
                      <a:pt x="4195" y="62387"/>
                      <a:pt x="9361" y="62387"/>
                    </a:cubicBezTo>
                    <a:lnTo>
                      <a:pt x="41103" y="62387"/>
                    </a:lnTo>
                    <a:cubicBezTo>
                      <a:pt x="46290" y="62387"/>
                      <a:pt x="50485" y="57412"/>
                      <a:pt x="50485" y="51301"/>
                    </a:cubicBezTo>
                    <a:lnTo>
                      <a:pt x="50485" y="11086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24" name="Freeform 59">
                <a:extLst>
                  <a:ext uri="{FF2B5EF4-FFF2-40B4-BE49-F238E27FC236}">
                    <a16:creationId xmlns:a16="http://schemas.microsoft.com/office/drawing/2014/main" id="{23FC084C-8B9D-0854-0C5D-B8F2744A6BAD}"/>
                  </a:ext>
                </a:extLst>
              </p:cNvPr>
              <p:cNvSpPr/>
              <p:nvPr/>
            </p:nvSpPr>
            <p:spPr>
              <a:xfrm>
                <a:off x="2700229" y="2957654"/>
                <a:ext cx="50484" cy="62408"/>
              </a:xfrm>
              <a:custGeom>
                <a:avLst/>
                <a:gdLst>
                  <a:gd name="connsiteX0" fmla="*/ 41103 w 50484"/>
                  <a:gd name="connsiteY0" fmla="*/ 0 h 62408"/>
                  <a:gd name="connsiteX1" fmla="*/ 9361 w 50484"/>
                  <a:gd name="connsiteY1" fmla="*/ 0 h 62408"/>
                  <a:gd name="connsiteX2" fmla="*/ 0 w 50484"/>
                  <a:gd name="connsiteY2" fmla="*/ 11107 h 62408"/>
                  <a:gd name="connsiteX3" fmla="*/ 0 w 50484"/>
                  <a:gd name="connsiteY3" fmla="*/ 51301 h 62408"/>
                  <a:gd name="connsiteX4" fmla="*/ 9361 w 50484"/>
                  <a:gd name="connsiteY4" fmla="*/ 62408 h 62408"/>
                  <a:gd name="connsiteX5" fmla="*/ 41103 w 50484"/>
                  <a:gd name="connsiteY5" fmla="*/ 62408 h 62408"/>
                  <a:gd name="connsiteX6" fmla="*/ 50485 w 50484"/>
                  <a:gd name="connsiteY6" fmla="*/ 51301 h 62408"/>
                  <a:gd name="connsiteX7" fmla="*/ 50485 w 50484"/>
                  <a:gd name="connsiteY7" fmla="*/ 11107 h 62408"/>
                  <a:gd name="connsiteX8" fmla="*/ 41103 w 50484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96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96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25" name="Freeform 60">
                <a:extLst>
                  <a:ext uri="{FF2B5EF4-FFF2-40B4-BE49-F238E27FC236}">
                    <a16:creationId xmlns:a16="http://schemas.microsoft.com/office/drawing/2014/main" id="{5CAD567D-CEE9-2022-753C-F64185A5AC22}"/>
                  </a:ext>
                </a:extLst>
              </p:cNvPr>
              <p:cNvSpPr/>
              <p:nvPr/>
            </p:nvSpPr>
            <p:spPr>
              <a:xfrm>
                <a:off x="3884565" y="3752010"/>
                <a:ext cx="50505" cy="62408"/>
              </a:xfrm>
              <a:custGeom>
                <a:avLst/>
                <a:gdLst>
                  <a:gd name="connsiteX0" fmla="*/ 41124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4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4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4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4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4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26" name="Freeform 61">
                <a:extLst>
                  <a:ext uri="{FF2B5EF4-FFF2-40B4-BE49-F238E27FC236}">
                    <a16:creationId xmlns:a16="http://schemas.microsoft.com/office/drawing/2014/main" id="{19C70BC3-08BD-4E6E-4B0E-5EFD417B3325}"/>
                  </a:ext>
                </a:extLst>
              </p:cNvPr>
              <p:cNvSpPr/>
              <p:nvPr/>
            </p:nvSpPr>
            <p:spPr>
              <a:xfrm>
                <a:off x="3884565" y="3652731"/>
                <a:ext cx="50505" cy="62408"/>
              </a:xfrm>
              <a:custGeom>
                <a:avLst/>
                <a:gdLst>
                  <a:gd name="connsiteX0" fmla="*/ 41124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4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4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4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4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4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27" name="Freeform 62">
                <a:extLst>
                  <a:ext uri="{FF2B5EF4-FFF2-40B4-BE49-F238E27FC236}">
                    <a16:creationId xmlns:a16="http://schemas.microsoft.com/office/drawing/2014/main" id="{DE279BFC-AA53-AACA-75DF-71805CBFFFFD}"/>
                  </a:ext>
                </a:extLst>
              </p:cNvPr>
              <p:cNvSpPr/>
              <p:nvPr/>
            </p:nvSpPr>
            <p:spPr>
              <a:xfrm>
                <a:off x="3884565" y="3553432"/>
                <a:ext cx="50505" cy="62387"/>
              </a:xfrm>
              <a:custGeom>
                <a:avLst/>
                <a:gdLst>
                  <a:gd name="connsiteX0" fmla="*/ 41124 w 50505"/>
                  <a:gd name="connsiteY0" fmla="*/ 0 h 62387"/>
                  <a:gd name="connsiteX1" fmla="*/ 9382 w 50505"/>
                  <a:gd name="connsiteY1" fmla="*/ 0 h 62387"/>
                  <a:gd name="connsiteX2" fmla="*/ 0 w 50505"/>
                  <a:gd name="connsiteY2" fmla="*/ 11107 h 62387"/>
                  <a:gd name="connsiteX3" fmla="*/ 0 w 50505"/>
                  <a:gd name="connsiteY3" fmla="*/ 51301 h 62387"/>
                  <a:gd name="connsiteX4" fmla="*/ 9382 w 50505"/>
                  <a:gd name="connsiteY4" fmla="*/ 62387 h 62387"/>
                  <a:gd name="connsiteX5" fmla="*/ 41124 w 50505"/>
                  <a:gd name="connsiteY5" fmla="*/ 62387 h 62387"/>
                  <a:gd name="connsiteX6" fmla="*/ 50505 w 50505"/>
                  <a:gd name="connsiteY6" fmla="*/ 51301 h 62387"/>
                  <a:gd name="connsiteX7" fmla="*/ 50505 w 50505"/>
                  <a:gd name="connsiteY7" fmla="*/ 11107 h 62387"/>
                  <a:gd name="connsiteX8" fmla="*/ 41124 w 50505"/>
                  <a:gd name="connsiteY8" fmla="*/ 0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387">
                    <a:moveTo>
                      <a:pt x="41124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12"/>
                      <a:pt x="4195" y="62387"/>
                      <a:pt x="9382" y="62387"/>
                    </a:cubicBezTo>
                    <a:lnTo>
                      <a:pt x="41124" y="62387"/>
                    </a:lnTo>
                    <a:cubicBezTo>
                      <a:pt x="46310" y="62387"/>
                      <a:pt x="50505" y="57412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4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28" name="Freeform 63">
                <a:extLst>
                  <a:ext uri="{FF2B5EF4-FFF2-40B4-BE49-F238E27FC236}">
                    <a16:creationId xmlns:a16="http://schemas.microsoft.com/office/drawing/2014/main" id="{BD35F932-D5A0-E6BC-D16C-93CBB69A4475}"/>
                  </a:ext>
                </a:extLst>
              </p:cNvPr>
              <p:cNvSpPr/>
              <p:nvPr/>
            </p:nvSpPr>
            <p:spPr>
              <a:xfrm>
                <a:off x="3884565" y="3454153"/>
                <a:ext cx="50505" cy="62387"/>
              </a:xfrm>
              <a:custGeom>
                <a:avLst/>
                <a:gdLst>
                  <a:gd name="connsiteX0" fmla="*/ 41124 w 50505"/>
                  <a:gd name="connsiteY0" fmla="*/ 0 h 62387"/>
                  <a:gd name="connsiteX1" fmla="*/ 9382 w 50505"/>
                  <a:gd name="connsiteY1" fmla="*/ 0 h 62387"/>
                  <a:gd name="connsiteX2" fmla="*/ 0 w 50505"/>
                  <a:gd name="connsiteY2" fmla="*/ 11086 h 62387"/>
                  <a:gd name="connsiteX3" fmla="*/ 0 w 50505"/>
                  <a:gd name="connsiteY3" fmla="*/ 51301 h 62387"/>
                  <a:gd name="connsiteX4" fmla="*/ 9382 w 50505"/>
                  <a:gd name="connsiteY4" fmla="*/ 62387 h 62387"/>
                  <a:gd name="connsiteX5" fmla="*/ 41124 w 50505"/>
                  <a:gd name="connsiteY5" fmla="*/ 62387 h 62387"/>
                  <a:gd name="connsiteX6" fmla="*/ 50505 w 50505"/>
                  <a:gd name="connsiteY6" fmla="*/ 51301 h 62387"/>
                  <a:gd name="connsiteX7" fmla="*/ 50505 w 50505"/>
                  <a:gd name="connsiteY7" fmla="*/ 11086 h 62387"/>
                  <a:gd name="connsiteX8" fmla="*/ 41124 w 50505"/>
                  <a:gd name="connsiteY8" fmla="*/ 0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387">
                    <a:moveTo>
                      <a:pt x="41124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086"/>
                    </a:cubicBezTo>
                    <a:lnTo>
                      <a:pt x="0" y="51301"/>
                    </a:lnTo>
                    <a:cubicBezTo>
                      <a:pt x="0" y="57412"/>
                      <a:pt x="4195" y="62387"/>
                      <a:pt x="9382" y="62387"/>
                    </a:cubicBezTo>
                    <a:lnTo>
                      <a:pt x="41124" y="62387"/>
                    </a:lnTo>
                    <a:cubicBezTo>
                      <a:pt x="46310" y="62387"/>
                      <a:pt x="50505" y="57412"/>
                      <a:pt x="50505" y="51301"/>
                    </a:cubicBezTo>
                    <a:lnTo>
                      <a:pt x="50505" y="11086"/>
                    </a:lnTo>
                    <a:cubicBezTo>
                      <a:pt x="50505" y="4975"/>
                      <a:pt x="46310" y="0"/>
                      <a:pt x="41124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29" name="Freeform 64">
                <a:extLst>
                  <a:ext uri="{FF2B5EF4-FFF2-40B4-BE49-F238E27FC236}">
                    <a16:creationId xmlns:a16="http://schemas.microsoft.com/office/drawing/2014/main" id="{0873C6CF-4E2C-C6E4-1AD5-27D59CA2BE4B}"/>
                  </a:ext>
                </a:extLst>
              </p:cNvPr>
              <p:cNvSpPr/>
              <p:nvPr/>
            </p:nvSpPr>
            <p:spPr>
              <a:xfrm>
                <a:off x="3884565" y="3354832"/>
                <a:ext cx="50505" cy="62408"/>
              </a:xfrm>
              <a:custGeom>
                <a:avLst/>
                <a:gdLst>
                  <a:gd name="connsiteX0" fmla="*/ 41124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4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4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4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4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4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30" name="Freeform 65">
                <a:extLst>
                  <a:ext uri="{FF2B5EF4-FFF2-40B4-BE49-F238E27FC236}">
                    <a16:creationId xmlns:a16="http://schemas.microsoft.com/office/drawing/2014/main" id="{47C3EFE8-170C-303D-68FB-F84DDF93ACF6}"/>
                  </a:ext>
                </a:extLst>
              </p:cNvPr>
              <p:cNvSpPr/>
              <p:nvPr/>
            </p:nvSpPr>
            <p:spPr>
              <a:xfrm>
                <a:off x="3884565" y="3255553"/>
                <a:ext cx="50505" cy="62408"/>
              </a:xfrm>
              <a:custGeom>
                <a:avLst/>
                <a:gdLst>
                  <a:gd name="connsiteX0" fmla="*/ 41124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4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4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4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4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4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31" name="Freeform 66">
                <a:extLst>
                  <a:ext uri="{FF2B5EF4-FFF2-40B4-BE49-F238E27FC236}">
                    <a16:creationId xmlns:a16="http://schemas.microsoft.com/office/drawing/2014/main" id="{6D9C0A87-E462-B7D2-9F41-4720C6C45CF7}"/>
                  </a:ext>
                </a:extLst>
              </p:cNvPr>
              <p:cNvSpPr/>
              <p:nvPr/>
            </p:nvSpPr>
            <p:spPr>
              <a:xfrm>
                <a:off x="3884565" y="3156254"/>
                <a:ext cx="50505" cy="62408"/>
              </a:xfrm>
              <a:custGeom>
                <a:avLst/>
                <a:gdLst>
                  <a:gd name="connsiteX0" fmla="*/ 41124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4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4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4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12"/>
                      <a:pt x="4195" y="62408"/>
                      <a:pt x="9382" y="62408"/>
                    </a:cubicBezTo>
                    <a:lnTo>
                      <a:pt x="41124" y="62408"/>
                    </a:lnTo>
                    <a:cubicBezTo>
                      <a:pt x="46310" y="62408"/>
                      <a:pt x="50505" y="57412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4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32" name="Freeform 67">
                <a:extLst>
                  <a:ext uri="{FF2B5EF4-FFF2-40B4-BE49-F238E27FC236}">
                    <a16:creationId xmlns:a16="http://schemas.microsoft.com/office/drawing/2014/main" id="{138153D7-C4FE-EB02-6A1E-3DF1264EA08D}"/>
                  </a:ext>
                </a:extLst>
              </p:cNvPr>
              <p:cNvSpPr/>
              <p:nvPr/>
            </p:nvSpPr>
            <p:spPr>
              <a:xfrm>
                <a:off x="3884565" y="3056974"/>
                <a:ext cx="50505" cy="62387"/>
              </a:xfrm>
              <a:custGeom>
                <a:avLst/>
                <a:gdLst>
                  <a:gd name="connsiteX0" fmla="*/ 41124 w 50505"/>
                  <a:gd name="connsiteY0" fmla="*/ 0 h 62387"/>
                  <a:gd name="connsiteX1" fmla="*/ 9382 w 50505"/>
                  <a:gd name="connsiteY1" fmla="*/ 0 h 62387"/>
                  <a:gd name="connsiteX2" fmla="*/ 0 w 50505"/>
                  <a:gd name="connsiteY2" fmla="*/ 11086 h 62387"/>
                  <a:gd name="connsiteX3" fmla="*/ 0 w 50505"/>
                  <a:gd name="connsiteY3" fmla="*/ 51301 h 62387"/>
                  <a:gd name="connsiteX4" fmla="*/ 9382 w 50505"/>
                  <a:gd name="connsiteY4" fmla="*/ 62387 h 62387"/>
                  <a:gd name="connsiteX5" fmla="*/ 41124 w 50505"/>
                  <a:gd name="connsiteY5" fmla="*/ 62387 h 62387"/>
                  <a:gd name="connsiteX6" fmla="*/ 50505 w 50505"/>
                  <a:gd name="connsiteY6" fmla="*/ 51301 h 62387"/>
                  <a:gd name="connsiteX7" fmla="*/ 50505 w 50505"/>
                  <a:gd name="connsiteY7" fmla="*/ 11086 h 62387"/>
                  <a:gd name="connsiteX8" fmla="*/ 41124 w 50505"/>
                  <a:gd name="connsiteY8" fmla="*/ 0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387">
                    <a:moveTo>
                      <a:pt x="41124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086"/>
                    </a:cubicBezTo>
                    <a:lnTo>
                      <a:pt x="0" y="51301"/>
                    </a:lnTo>
                    <a:cubicBezTo>
                      <a:pt x="0" y="57412"/>
                      <a:pt x="4195" y="62387"/>
                      <a:pt x="9382" y="62387"/>
                    </a:cubicBezTo>
                    <a:lnTo>
                      <a:pt x="41124" y="62387"/>
                    </a:lnTo>
                    <a:cubicBezTo>
                      <a:pt x="46310" y="62387"/>
                      <a:pt x="50505" y="57412"/>
                      <a:pt x="50505" y="51301"/>
                    </a:cubicBezTo>
                    <a:lnTo>
                      <a:pt x="50505" y="11086"/>
                    </a:lnTo>
                    <a:cubicBezTo>
                      <a:pt x="50505" y="4975"/>
                      <a:pt x="46310" y="0"/>
                      <a:pt x="41124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33" name="Freeform 68">
                <a:extLst>
                  <a:ext uri="{FF2B5EF4-FFF2-40B4-BE49-F238E27FC236}">
                    <a16:creationId xmlns:a16="http://schemas.microsoft.com/office/drawing/2014/main" id="{0BAAD1EF-FB97-135A-143F-DA6D5CA0BFAA}"/>
                  </a:ext>
                </a:extLst>
              </p:cNvPr>
              <p:cNvSpPr/>
              <p:nvPr/>
            </p:nvSpPr>
            <p:spPr>
              <a:xfrm>
                <a:off x="3884565" y="2957654"/>
                <a:ext cx="50505" cy="62408"/>
              </a:xfrm>
              <a:custGeom>
                <a:avLst/>
                <a:gdLst>
                  <a:gd name="connsiteX0" fmla="*/ 41124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4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4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4" y="0"/>
                    </a:moveTo>
                    <a:lnTo>
                      <a:pt x="9382" y="0"/>
                    </a:lnTo>
                    <a:cubicBezTo>
                      <a:pt x="4195" y="0"/>
                      <a:pt x="0" y="4996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4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96"/>
                      <a:pt x="46310" y="0"/>
                      <a:pt x="41124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34" name="Freeform 69">
                <a:extLst>
                  <a:ext uri="{FF2B5EF4-FFF2-40B4-BE49-F238E27FC236}">
                    <a16:creationId xmlns:a16="http://schemas.microsoft.com/office/drawing/2014/main" id="{7E4DB1A5-BD31-3BD0-F160-0E640D0F3C20}"/>
                  </a:ext>
                </a:extLst>
              </p:cNvPr>
              <p:cNvSpPr/>
              <p:nvPr/>
            </p:nvSpPr>
            <p:spPr>
              <a:xfrm>
                <a:off x="3964476" y="3752031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35" name="Freeform 70">
                <a:extLst>
                  <a:ext uri="{FF2B5EF4-FFF2-40B4-BE49-F238E27FC236}">
                    <a16:creationId xmlns:a16="http://schemas.microsoft.com/office/drawing/2014/main" id="{C8758FA1-C35F-DAD3-1D64-B1AD6585C888}"/>
                  </a:ext>
                </a:extLst>
              </p:cNvPr>
              <p:cNvSpPr/>
              <p:nvPr/>
            </p:nvSpPr>
            <p:spPr>
              <a:xfrm>
                <a:off x="3964476" y="3652731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36" name="Freeform 71">
                <a:extLst>
                  <a:ext uri="{FF2B5EF4-FFF2-40B4-BE49-F238E27FC236}">
                    <a16:creationId xmlns:a16="http://schemas.microsoft.com/office/drawing/2014/main" id="{3B4935D5-CBA9-AAE0-BA29-5BC5783D05D4}"/>
                  </a:ext>
                </a:extLst>
              </p:cNvPr>
              <p:cNvSpPr/>
              <p:nvPr/>
            </p:nvSpPr>
            <p:spPr>
              <a:xfrm>
                <a:off x="3964476" y="3553432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37" name="Freeform 72">
                <a:extLst>
                  <a:ext uri="{FF2B5EF4-FFF2-40B4-BE49-F238E27FC236}">
                    <a16:creationId xmlns:a16="http://schemas.microsoft.com/office/drawing/2014/main" id="{D7C6133D-B5C1-8B09-F0C1-DECD9F89F1FE}"/>
                  </a:ext>
                </a:extLst>
              </p:cNvPr>
              <p:cNvSpPr/>
              <p:nvPr/>
            </p:nvSpPr>
            <p:spPr>
              <a:xfrm>
                <a:off x="3964476" y="3454132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38" name="Freeform 73">
                <a:extLst>
                  <a:ext uri="{FF2B5EF4-FFF2-40B4-BE49-F238E27FC236}">
                    <a16:creationId xmlns:a16="http://schemas.microsoft.com/office/drawing/2014/main" id="{4B381A49-EF05-FD27-95D0-14168DC878EA}"/>
                  </a:ext>
                </a:extLst>
              </p:cNvPr>
              <p:cNvSpPr/>
              <p:nvPr/>
            </p:nvSpPr>
            <p:spPr>
              <a:xfrm>
                <a:off x="3964476" y="3354853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39" name="Freeform 74">
                <a:extLst>
                  <a:ext uri="{FF2B5EF4-FFF2-40B4-BE49-F238E27FC236}">
                    <a16:creationId xmlns:a16="http://schemas.microsoft.com/office/drawing/2014/main" id="{C71DA12A-653F-2A1D-E40E-1B5CF0CEA76B}"/>
                  </a:ext>
                </a:extLst>
              </p:cNvPr>
              <p:cNvSpPr/>
              <p:nvPr/>
            </p:nvSpPr>
            <p:spPr>
              <a:xfrm>
                <a:off x="3964476" y="3255553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40" name="Freeform 75">
                <a:extLst>
                  <a:ext uri="{FF2B5EF4-FFF2-40B4-BE49-F238E27FC236}">
                    <a16:creationId xmlns:a16="http://schemas.microsoft.com/office/drawing/2014/main" id="{A58E0784-4B8D-058A-72A3-DCD850E05419}"/>
                  </a:ext>
                </a:extLst>
              </p:cNvPr>
              <p:cNvSpPr/>
              <p:nvPr/>
            </p:nvSpPr>
            <p:spPr>
              <a:xfrm>
                <a:off x="3964476" y="3156254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41" name="Freeform 76">
                <a:extLst>
                  <a:ext uri="{FF2B5EF4-FFF2-40B4-BE49-F238E27FC236}">
                    <a16:creationId xmlns:a16="http://schemas.microsoft.com/office/drawing/2014/main" id="{4FF584C3-442E-A056-390A-5605C749F8BC}"/>
                  </a:ext>
                </a:extLst>
              </p:cNvPr>
              <p:cNvSpPr/>
              <p:nvPr/>
            </p:nvSpPr>
            <p:spPr>
              <a:xfrm>
                <a:off x="3964476" y="3056954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42" name="Freeform 77">
                <a:extLst>
                  <a:ext uri="{FF2B5EF4-FFF2-40B4-BE49-F238E27FC236}">
                    <a16:creationId xmlns:a16="http://schemas.microsoft.com/office/drawing/2014/main" id="{B11A5FBF-C40B-2452-2A9B-D51C71D51E04}"/>
                  </a:ext>
                </a:extLst>
              </p:cNvPr>
              <p:cNvSpPr/>
              <p:nvPr/>
            </p:nvSpPr>
            <p:spPr>
              <a:xfrm>
                <a:off x="3964476" y="2957654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43" name="Freeform 78">
                <a:extLst>
                  <a:ext uri="{FF2B5EF4-FFF2-40B4-BE49-F238E27FC236}">
                    <a16:creationId xmlns:a16="http://schemas.microsoft.com/office/drawing/2014/main" id="{E705939A-CD47-AA85-77F6-02058D68FEA4}"/>
                  </a:ext>
                </a:extLst>
              </p:cNvPr>
              <p:cNvSpPr/>
              <p:nvPr/>
            </p:nvSpPr>
            <p:spPr>
              <a:xfrm>
                <a:off x="4044388" y="3752010"/>
                <a:ext cx="50484" cy="62408"/>
              </a:xfrm>
              <a:custGeom>
                <a:avLst/>
                <a:gdLst>
                  <a:gd name="connsiteX0" fmla="*/ 41103 w 50484"/>
                  <a:gd name="connsiteY0" fmla="*/ 0 h 62408"/>
                  <a:gd name="connsiteX1" fmla="*/ 9361 w 50484"/>
                  <a:gd name="connsiteY1" fmla="*/ 0 h 62408"/>
                  <a:gd name="connsiteX2" fmla="*/ 0 w 50484"/>
                  <a:gd name="connsiteY2" fmla="*/ 11107 h 62408"/>
                  <a:gd name="connsiteX3" fmla="*/ 0 w 50484"/>
                  <a:gd name="connsiteY3" fmla="*/ 51301 h 62408"/>
                  <a:gd name="connsiteX4" fmla="*/ 9361 w 50484"/>
                  <a:gd name="connsiteY4" fmla="*/ 62408 h 62408"/>
                  <a:gd name="connsiteX5" fmla="*/ 41103 w 50484"/>
                  <a:gd name="connsiteY5" fmla="*/ 62408 h 62408"/>
                  <a:gd name="connsiteX6" fmla="*/ 50485 w 50484"/>
                  <a:gd name="connsiteY6" fmla="*/ 51301 h 62408"/>
                  <a:gd name="connsiteX7" fmla="*/ 50485 w 50484"/>
                  <a:gd name="connsiteY7" fmla="*/ 11107 h 62408"/>
                  <a:gd name="connsiteX8" fmla="*/ 41103 w 50484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44" name="Freeform 79">
                <a:extLst>
                  <a:ext uri="{FF2B5EF4-FFF2-40B4-BE49-F238E27FC236}">
                    <a16:creationId xmlns:a16="http://schemas.microsoft.com/office/drawing/2014/main" id="{21C3C85F-7A1E-966B-2C66-5636822EA69F}"/>
                  </a:ext>
                </a:extLst>
              </p:cNvPr>
              <p:cNvSpPr/>
              <p:nvPr/>
            </p:nvSpPr>
            <p:spPr>
              <a:xfrm>
                <a:off x="4044388" y="3652731"/>
                <a:ext cx="50484" cy="62408"/>
              </a:xfrm>
              <a:custGeom>
                <a:avLst/>
                <a:gdLst>
                  <a:gd name="connsiteX0" fmla="*/ 41103 w 50484"/>
                  <a:gd name="connsiteY0" fmla="*/ 0 h 62408"/>
                  <a:gd name="connsiteX1" fmla="*/ 9361 w 50484"/>
                  <a:gd name="connsiteY1" fmla="*/ 0 h 62408"/>
                  <a:gd name="connsiteX2" fmla="*/ 0 w 50484"/>
                  <a:gd name="connsiteY2" fmla="*/ 11107 h 62408"/>
                  <a:gd name="connsiteX3" fmla="*/ 0 w 50484"/>
                  <a:gd name="connsiteY3" fmla="*/ 51301 h 62408"/>
                  <a:gd name="connsiteX4" fmla="*/ 9361 w 50484"/>
                  <a:gd name="connsiteY4" fmla="*/ 62408 h 62408"/>
                  <a:gd name="connsiteX5" fmla="*/ 41103 w 50484"/>
                  <a:gd name="connsiteY5" fmla="*/ 62408 h 62408"/>
                  <a:gd name="connsiteX6" fmla="*/ 50485 w 50484"/>
                  <a:gd name="connsiteY6" fmla="*/ 51301 h 62408"/>
                  <a:gd name="connsiteX7" fmla="*/ 50485 w 50484"/>
                  <a:gd name="connsiteY7" fmla="*/ 11107 h 62408"/>
                  <a:gd name="connsiteX8" fmla="*/ 41103 w 50484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45" name="Freeform 80">
                <a:extLst>
                  <a:ext uri="{FF2B5EF4-FFF2-40B4-BE49-F238E27FC236}">
                    <a16:creationId xmlns:a16="http://schemas.microsoft.com/office/drawing/2014/main" id="{589104CF-A3F5-516F-5E5D-3039CBA186F5}"/>
                  </a:ext>
                </a:extLst>
              </p:cNvPr>
              <p:cNvSpPr/>
              <p:nvPr/>
            </p:nvSpPr>
            <p:spPr>
              <a:xfrm>
                <a:off x="4044388" y="3553432"/>
                <a:ext cx="50484" cy="62387"/>
              </a:xfrm>
              <a:custGeom>
                <a:avLst/>
                <a:gdLst>
                  <a:gd name="connsiteX0" fmla="*/ 41103 w 50484"/>
                  <a:gd name="connsiteY0" fmla="*/ 0 h 62387"/>
                  <a:gd name="connsiteX1" fmla="*/ 9361 w 50484"/>
                  <a:gd name="connsiteY1" fmla="*/ 0 h 62387"/>
                  <a:gd name="connsiteX2" fmla="*/ 0 w 50484"/>
                  <a:gd name="connsiteY2" fmla="*/ 11107 h 62387"/>
                  <a:gd name="connsiteX3" fmla="*/ 0 w 50484"/>
                  <a:gd name="connsiteY3" fmla="*/ 51301 h 62387"/>
                  <a:gd name="connsiteX4" fmla="*/ 9361 w 50484"/>
                  <a:gd name="connsiteY4" fmla="*/ 62387 h 62387"/>
                  <a:gd name="connsiteX5" fmla="*/ 41103 w 50484"/>
                  <a:gd name="connsiteY5" fmla="*/ 62387 h 62387"/>
                  <a:gd name="connsiteX6" fmla="*/ 50485 w 50484"/>
                  <a:gd name="connsiteY6" fmla="*/ 51301 h 62387"/>
                  <a:gd name="connsiteX7" fmla="*/ 50485 w 50484"/>
                  <a:gd name="connsiteY7" fmla="*/ 11107 h 62387"/>
                  <a:gd name="connsiteX8" fmla="*/ 41103 w 50484"/>
                  <a:gd name="connsiteY8" fmla="*/ 0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387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12"/>
                      <a:pt x="4195" y="62387"/>
                      <a:pt x="9361" y="62387"/>
                    </a:cubicBezTo>
                    <a:lnTo>
                      <a:pt x="41103" y="62387"/>
                    </a:lnTo>
                    <a:cubicBezTo>
                      <a:pt x="46290" y="62387"/>
                      <a:pt x="50485" y="57412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46" name="Freeform 81">
                <a:extLst>
                  <a:ext uri="{FF2B5EF4-FFF2-40B4-BE49-F238E27FC236}">
                    <a16:creationId xmlns:a16="http://schemas.microsoft.com/office/drawing/2014/main" id="{5F1C7CCF-346E-B92A-7E64-872C3B02247B}"/>
                  </a:ext>
                </a:extLst>
              </p:cNvPr>
              <p:cNvSpPr/>
              <p:nvPr/>
            </p:nvSpPr>
            <p:spPr>
              <a:xfrm>
                <a:off x="4044388" y="3454153"/>
                <a:ext cx="50484" cy="62387"/>
              </a:xfrm>
              <a:custGeom>
                <a:avLst/>
                <a:gdLst>
                  <a:gd name="connsiteX0" fmla="*/ 41103 w 50484"/>
                  <a:gd name="connsiteY0" fmla="*/ 0 h 62387"/>
                  <a:gd name="connsiteX1" fmla="*/ 9361 w 50484"/>
                  <a:gd name="connsiteY1" fmla="*/ 0 h 62387"/>
                  <a:gd name="connsiteX2" fmla="*/ 0 w 50484"/>
                  <a:gd name="connsiteY2" fmla="*/ 11086 h 62387"/>
                  <a:gd name="connsiteX3" fmla="*/ 0 w 50484"/>
                  <a:gd name="connsiteY3" fmla="*/ 51301 h 62387"/>
                  <a:gd name="connsiteX4" fmla="*/ 9361 w 50484"/>
                  <a:gd name="connsiteY4" fmla="*/ 62387 h 62387"/>
                  <a:gd name="connsiteX5" fmla="*/ 41103 w 50484"/>
                  <a:gd name="connsiteY5" fmla="*/ 62387 h 62387"/>
                  <a:gd name="connsiteX6" fmla="*/ 50485 w 50484"/>
                  <a:gd name="connsiteY6" fmla="*/ 51301 h 62387"/>
                  <a:gd name="connsiteX7" fmla="*/ 50485 w 50484"/>
                  <a:gd name="connsiteY7" fmla="*/ 11086 h 62387"/>
                  <a:gd name="connsiteX8" fmla="*/ 41103 w 50484"/>
                  <a:gd name="connsiteY8" fmla="*/ 0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387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086"/>
                    </a:cubicBezTo>
                    <a:lnTo>
                      <a:pt x="0" y="51301"/>
                    </a:lnTo>
                    <a:cubicBezTo>
                      <a:pt x="0" y="57412"/>
                      <a:pt x="4195" y="62387"/>
                      <a:pt x="9361" y="62387"/>
                    </a:cubicBezTo>
                    <a:lnTo>
                      <a:pt x="41103" y="62387"/>
                    </a:lnTo>
                    <a:cubicBezTo>
                      <a:pt x="46290" y="62387"/>
                      <a:pt x="50485" y="57412"/>
                      <a:pt x="50485" y="51301"/>
                    </a:cubicBezTo>
                    <a:lnTo>
                      <a:pt x="50485" y="11086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47" name="Freeform 82">
                <a:extLst>
                  <a:ext uri="{FF2B5EF4-FFF2-40B4-BE49-F238E27FC236}">
                    <a16:creationId xmlns:a16="http://schemas.microsoft.com/office/drawing/2014/main" id="{6736E1CD-4944-013A-2481-F07B8501AF59}"/>
                  </a:ext>
                </a:extLst>
              </p:cNvPr>
              <p:cNvSpPr/>
              <p:nvPr/>
            </p:nvSpPr>
            <p:spPr>
              <a:xfrm>
                <a:off x="4044388" y="3354832"/>
                <a:ext cx="50484" cy="62408"/>
              </a:xfrm>
              <a:custGeom>
                <a:avLst/>
                <a:gdLst>
                  <a:gd name="connsiteX0" fmla="*/ 41103 w 50484"/>
                  <a:gd name="connsiteY0" fmla="*/ 0 h 62408"/>
                  <a:gd name="connsiteX1" fmla="*/ 9361 w 50484"/>
                  <a:gd name="connsiteY1" fmla="*/ 0 h 62408"/>
                  <a:gd name="connsiteX2" fmla="*/ 0 w 50484"/>
                  <a:gd name="connsiteY2" fmla="*/ 11107 h 62408"/>
                  <a:gd name="connsiteX3" fmla="*/ 0 w 50484"/>
                  <a:gd name="connsiteY3" fmla="*/ 51301 h 62408"/>
                  <a:gd name="connsiteX4" fmla="*/ 9361 w 50484"/>
                  <a:gd name="connsiteY4" fmla="*/ 62408 h 62408"/>
                  <a:gd name="connsiteX5" fmla="*/ 41103 w 50484"/>
                  <a:gd name="connsiteY5" fmla="*/ 62408 h 62408"/>
                  <a:gd name="connsiteX6" fmla="*/ 50485 w 50484"/>
                  <a:gd name="connsiteY6" fmla="*/ 51301 h 62408"/>
                  <a:gd name="connsiteX7" fmla="*/ 50485 w 50484"/>
                  <a:gd name="connsiteY7" fmla="*/ 11107 h 62408"/>
                  <a:gd name="connsiteX8" fmla="*/ 41103 w 50484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48" name="Freeform 83">
                <a:extLst>
                  <a:ext uri="{FF2B5EF4-FFF2-40B4-BE49-F238E27FC236}">
                    <a16:creationId xmlns:a16="http://schemas.microsoft.com/office/drawing/2014/main" id="{BDD48CFA-C1F6-2712-6F4C-EB16662BCC90}"/>
                  </a:ext>
                </a:extLst>
              </p:cNvPr>
              <p:cNvSpPr/>
              <p:nvPr/>
            </p:nvSpPr>
            <p:spPr>
              <a:xfrm>
                <a:off x="4044388" y="3255553"/>
                <a:ext cx="50484" cy="62408"/>
              </a:xfrm>
              <a:custGeom>
                <a:avLst/>
                <a:gdLst>
                  <a:gd name="connsiteX0" fmla="*/ 41103 w 50484"/>
                  <a:gd name="connsiteY0" fmla="*/ 0 h 62408"/>
                  <a:gd name="connsiteX1" fmla="*/ 9361 w 50484"/>
                  <a:gd name="connsiteY1" fmla="*/ 0 h 62408"/>
                  <a:gd name="connsiteX2" fmla="*/ 0 w 50484"/>
                  <a:gd name="connsiteY2" fmla="*/ 11107 h 62408"/>
                  <a:gd name="connsiteX3" fmla="*/ 0 w 50484"/>
                  <a:gd name="connsiteY3" fmla="*/ 51301 h 62408"/>
                  <a:gd name="connsiteX4" fmla="*/ 9361 w 50484"/>
                  <a:gd name="connsiteY4" fmla="*/ 62408 h 62408"/>
                  <a:gd name="connsiteX5" fmla="*/ 41103 w 50484"/>
                  <a:gd name="connsiteY5" fmla="*/ 62408 h 62408"/>
                  <a:gd name="connsiteX6" fmla="*/ 50485 w 50484"/>
                  <a:gd name="connsiteY6" fmla="*/ 51301 h 62408"/>
                  <a:gd name="connsiteX7" fmla="*/ 50485 w 50484"/>
                  <a:gd name="connsiteY7" fmla="*/ 11107 h 62408"/>
                  <a:gd name="connsiteX8" fmla="*/ 41103 w 50484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49" name="Freeform 84">
                <a:extLst>
                  <a:ext uri="{FF2B5EF4-FFF2-40B4-BE49-F238E27FC236}">
                    <a16:creationId xmlns:a16="http://schemas.microsoft.com/office/drawing/2014/main" id="{26061159-344E-B3DE-13FE-86CB2DEDC3F4}"/>
                  </a:ext>
                </a:extLst>
              </p:cNvPr>
              <p:cNvSpPr/>
              <p:nvPr/>
            </p:nvSpPr>
            <p:spPr>
              <a:xfrm>
                <a:off x="4044388" y="3156254"/>
                <a:ext cx="50484" cy="62408"/>
              </a:xfrm>
              <a:custGeom>
                <a:avLst/>
                <a:gdLst>
                  <a:gd name="connsiteX0" fmla="*/ 41103 w 50484"/>
                  <a:gd name="connsiteY0" fmla="*/ 0 h 62408"/>
                  <a:gd name="connsiteX1" fmla="*/ 9361 w 50484"/>
                  <a:gd name="connsiteY1" fmla="*/ 0 h 62408"/>
                  <a:gd name="connsiteX2" fmla="*/ 0 w 50484"/>
                  <a:gd name="connsiteY2" fmla="*/ 11107 h 62408"/>
                  <a:gd name="connsiteX3" fmla="*/ 0 w 50484"/>
                  <a:gd name="connsiteY3" fmla="*/ 51301 h 62408"/>
                  <a:gd name="connsiteX4" fmla="*/ 9361 w 50484"/>
                  <a:gd name="connsiteY4" fmla="*/ 62408 h 62408"/>
                  <a:gd name="connsiteX5" fmla="*/ 41103 w 50484"/>
                  <a:gd name="connsiteY5" fmla="*/ 62408 h 62408"/>
                  <a:gd name="connsiteX6" fmla="*/ 50485 w 50484"/>
                  <a:gd name="connsiteY6" fmla="*/ 51301 h 62408"/>
                  <a:gd name="connsiteX7" fmla="*/ 50485 w 50484"/>
                  <a:gd name="connsiteY7" fmla="*/ 11107 h 62408"/>
                  <a:gd name="connsiteX8" fmla="*/ 41103 w 50484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12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12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50" name="Freeform 85">
                <a:extLst>
                  <a:ext uri="{FF2B5EF4-FFF2-40B4-BE49-F238E27FC236}">
                    <a16:creationId xmlns:a16="http://schemas.microsoft.com/office/drawing/2014/main" id="{F606F0A9-5655-E0D1-8234-D2941FC563C9}"/>
                  </a:ext>
                </a:extLst>
              </p:cNvPr>
              <p:cNvSpPr/>
              <p:nvPr/>
            </p:nvSpPr>
            <p:spPr>
              <a:xfrm>
                <a:off x="4044388" y="3056974"/>
                <a:ext cx="50484" cy="62387"/>
              </a:xfrm>
              <a:custGeom>
                <a:avLst/>
                <a:gdLst>
                  <a:gd name="connsiteX0" fmla="*/ 41103 w 50484"/>
                  <a:gd name="connsiteY0" fmla="*/ 0 h 62387"/>
                  <a:gd name="connsiteX1" fmla="*/ 9361 w 50484"/>
                  <a:gd name="connsiteY1" fmla="*/ 0 h 62387"/>
                  <a:gd name="connsiteX2" fmla="*/ 0 w 50484"/>
                  <a:gd name="connsiteY2" fmla="*/ 11086 h 62387"/>
                  <a:gd name="connsiteX3" fmla="*/ 0 w 50484"/>
                  <a:gd name="connsiteY3" fmla="*/ 51301 h 62387"/>
                  <a:gd name="connsiteX4" fmla="*/ 9361 w 50484"/>
                  <a:gd name="connsiteY4" fmla="*/ 62387 h 62387"/>
                  <a:gd name="connsiteX5" fmla="*/ 41103 w 50484"/>
                  <a:gd name="connsiteY5" fmla="*/ 62387 h 62387"/>
                  <a:gd name="connsiteX6" fmla="*/ 50485 w 50484"/>
                  <a:gd name="connsiteY6" fmla="*/ 51301 h 62387"/>
                  <a:gd name="connsiteX7" fmla="*/ 50485 w 50484"/>
                  <a:gd name="connsiteY7" fmla="*/ 11086 h 62387"/>
                  <a:gd name="connsiteX8" fmla="*/ 41103 w 50484"/>
                  <a:gd name="connsiteY8" fmla="*/ 0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387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086"/>
                    </a:cubicBezTo>
                    <a:lnTo>
                      <a:pt x="0" y="51301"/>
                    </a:lnTo>
                    <a:cubicBezTo>
                      <a:pt x="0" y="57412"/>
                      <a:pt x="4195" y="62387"/>
                      <a:pt x="9361" y="62387"/>
                    </a:cubicBezTo>
                    <a:lnTo>
                      <a:pt x="41103" y="62387"/>
                    </a:lnTo>
                    <a:cubicBezTo>
                      <a:pt x="46290" y="62387"/>
                      <a:pt x="50485" y="57412"/>
                      <a:pt x="50485" y="51301"/>
                    </a:cubicBezTo>
                    <a:lnTo>
                      <a:pt x="50485" y="11086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51" name="Freeform 86">
                <a:extLst>
                  <a:ext uri="{FF2B5EF4-FFF2-40B4-BE49-F238E27FC236}">
                    <a16:creationId xmlns:a16="http://schemas.microsoft.com/office/drawing/2014/main" id="{DC7E3AFA-8795-C441-DDE4-FF8433A12AF2}"/>
                  </a:ext>
                </a:extLst>
              </p:cNvPr>
              <p:cNvSpPr/>
              <p:nvPr/>
            </p:nvSpPr>
            <p:spPr>
              <a:xfrm>
                <a:off x="4044388" y="2957654"/>
                <a:ext cx="50484" cy="62408"/>
              </a:xfrm>
              <a:custGeom>
                <a:avLst/>
                <a:gdLst>
                  <a:gd name="connsiteX0" fmla="*/ 41103 w 50484"/>
                  <a:gd name="connsiteY0" fmla="*/ 0 h 62408"/>
                  <a:gd name="connsiteX1" fmla="*/ 9361 w 50484"/>
                  <a:gd name="connsiteY1" fmla="*/ 0 h 62408"/>
                  <a:gd name="connsiteX2" fmla="*/ 0 w 50484"/>
                  <a:gd name="connsiteY2" fmla="*/ 11107 h 62408"/>
                  <a:gd name="connsiteX3" fmla="*/ 0 w 50484"/>
                  <a:gd name="connsiteY3" fmla="*/ 51301 h 62408"/>
                  <a:gd name="connsiteX4" fmla="*/ 9361 w 50484"/>
                  <a:gd name="connsiteY4" fmla="*/ 62408 h 62408"/>
                  <a:gd name="connsiteX5" fmla="*/ 41103 w 50484"/>
                  <a:gd name="connsiteY5" fmla="*/ 62408 h 62408"/>
                  <a:gd name="connsiteX6" fmla="*/ 50485 w 50484"/>
                  <a:gd name="connsiteY6" fmla="*/ 51301 h 62408"/>
                  <a:gd name="connsiteX7" fmla="*/ 50485 w 50484"/>
                  <a:gd name="connsiteY7" fmla="*/ 11107 h 62408"/>
                  <a:gd name="connsiteX8" fmla="*/ 41103 w 50484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96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96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52" name="Freeform 87">
                <a:extLst>
                  <a:ext uri="{FF2B5EF4-FFF2-40B4-BE49-F238E27FC236}">
                    <a16:creationId xmlns:a16="http://schemas.microsoft.com/office/drawing/2014/main" id="{51634F4D-8A3E-6B00-B4F4-60878FD9A35F}"/>
                  </a:ext>
                </a:extLst>
              </p:cNvPr>
              <p:cNvSpPr/>
              <p:nvPr/>
            </p:nvSpPr>
            <p:spPr>
              <a:xfrm>
                <a:off x="2453777" y="2867170"/>
                <a:ext cx="379658" cy="1051028"/>
              </a:xfrm>
              <a:custGeom>
                <a:avLst/>
                <a:gdLst>
                  <a:gd name="connsiteX0" fmla="*/ 379287 w 379658"/>
                  <a:gd name="connsiteY0" fmla="*/ 63791 h 1051028"/>
                  <a:gd name="connsiteX1" fmla="*/ 379059 w 379658"/>
                  <a:gd name="connsiteY1" fmla="*/ 62367 h 1051028"/>
                  <a:gd name="connsiteX2" fmla="*/ 378605 w 379658"/>
                  <a:gd name="connsiteY2" fmla="*/ 59497 h 1051028"/>
                  <a:gd name="connsiteX3" fmla="*/ 378191 w 379658"/>
                  <a:gd name="connsiteY3" fmla="*/ 56628 h 1051028"/>
                  <a:gd name="connsiteX4" fmla="*/ 377447 w 379658"/>
                  <a:gd name="connsiteY4" fmla="*/ 53820 h 1051028"/>
                  <a:gd name="connsiteX5" fmla="*/ 352773 w 379658"/>
                  <a:gd name="connsiteY5" fmla="*/ 15483 h 1051028"/>
                  <a:gd name="connsiteX6" fmla="*/ 332584 w 379658"/>
                  <a:gd name="connsiteY6" fmla="*/ 4273 h 1051028"/>
                  <a:gd name="connsiteX7" fmla="*/ 329876 w 379658"/>
                  <a:gd name="connsiteY7" fmla="*/ 3262 h 1051028"/>
                  <a:gd name="connsiteX8" fmla="*/ 327066 w 379658"/>
                  <a:gd name="connsiteY8" fmla="*/ 2539 h 1051028"/>
                  <a:gd name="connsiteX9" fmla="*/ 324256 w 379658"/>
                  <a:gd name="connsiteY9" fmla="*/ 1817 h 1051028"/>
                  <a:gd name="connsiteX10" fmla="*/ 322850 w 379658"/>
                  <a:gd name="connsiteY10" fmla="*/ 1445 h 1051028"/>
                  <a:gd name="connsiteX11" fmla="*/ 321404 w 379658"/>
                  <a:gd name="connsiteY11" fmla="*/ 1239 h 1051028"/>
                  <a:gd name="connsiteX12" fmla="*/ 315659 w 379658"/>
                  <a:gd name="connsiteY12" fmla="*/ 372 h 1051028"/>
                  <a:gd name="connsiteX13" fmla="*/ 309831 w 379658"/>
                  <a:gd name="connsiteY13" fmla="*/ 83 h 1051028"/>
                  <a:gd name="connsiteX14" fmla="*/ 71129 w 379658"/>
                  <a:gd name="connsiteY14" fmla="*/ 0 h 1051028"/>
                  <a:gd name="connsiteX15" fmla="*/ 27939 w 379658"/>
                  <a:gd name="connsiteY15" fmla="*/ 14719 h 1051028"/>
                  <a:gd name="connsiteX16" fmla="*/ 12027 w 379658"/>
                  <a:gd name="connsiteY16" fmla="*/ 31545 h 1051028"/>
                  <a:gd name="connsiteX17" fmla="*/ 2542 w 379658"/>
                  <a:gd name="connsiteY17" fmla="*/ 52581 h 1051028"/>
                  <a:gd name="connsiteX18" fmla="*/ 1819 w 379658"/>
                  <a:gd name="connsiteY18" fmla="*/ 55389 h 1051028"/>
                  <a:gd name="connsiteX19" fmla="*/ 1447 w 379658"/>
                  <a:gd name="connsiteY19" fmla="*/ 56793 h 1051028"/>
                  <a:gd name="connsiteX20" fmla="*/ 1240 w 379658"/>
                  <a:gd name="connsiteY20" fmla="*/ 58238 h 1051028"/>
                  <a:gd name="connsiteX21" fmla="*/ 372 w 379658"/>
                  <a:gd name="connsiteY21" fmla="*/ 63977 h 1051028"/>
                  <a:gd name="connsiteX22" fmla="*/ 83 w 379658"/>
                  <a:gd name="connsiteY22" fmla="*/ 69799 h 1051028"/>
                  <a:gd name="connsiteX23" fmla="*/ 0 w 379658"/>
                  <a:gd name="connsiteY23" fmla="*/ 71306 h 1051028"/>
                  <a:gd name="connsiteX24" fmla="*/ 0 w 379658"/>
                  <a:gd name="connsiteY24" fmla="*/ 979950 h 1051028"/>
                  <a:gd name="connsiteX25" fmla="*/ 310 w 379658"/>
                  <a:gd name="connsiteY25" fmla="*/ 985771 h 1051028"/>
                  <a:gd name="connsiteX26" fmla="*/ 372 w 379658"/>
                  <a:gd name="connsiteY26" fmla="*/ 987237 h 1051028"/>
                  <a:gd name="connsiteX27" fmla="*/ 599 w 379658"/>
                  <a:gd name="connsiteY27" fmla="*/ 988662 h 1051028"/>
                  <a:gd name="connsiteX28" fmla="*/ 1054 w 379658"/>
                  <a:gd name="connsiteY28" fmla="*/ 991531 h 1051028"/>
                  <a:gd name="connsiteX29" fmla="*/ 1467 w 379658"/>
                  <a:gd name="connsiteY29" fmla="*/ 994401 h 1051028"/>
                  <a:gd name="connsiteX30" fmla="*/ 2211 w 379658"/>
                  <a:gd name="connsiteY30" fmla="*/ 997208 h 1051028"/>
                  <a:gd name="connsiteX31" fmla="*/ 26885 w 379658"/>
                  <a:gd name="connsiteY31" fmla="*/ 1035545 h 1051028"/>
                  <a:gd name="connsiteX32" fmla="*/ 47075 w 379658"/>
                  <a:gd name="connsiteY32" fmla="*/ 1046755 h 1051028"/>
                  <a:gd name="connsiteX33" fmla="*/ 49782 w 379658"/>
                  <a:gd name="connsiteY33" fmla="*/ 1047767 h 1051028"/>
                  <a:gd name="connsiteX34" fmla="*/ 52593 w 379658"/>
                  <a:gd name="connsiteY34" fmla="*/ 1048489 h 1051028"/>
                  <a:gd name="connsiteX35" fmla="*/ 55403 w 379658"/>
                  <a:gd name="connsiteY35" fmla="*/ 1049212 h 1051028"/>
                  <a:gd name="connsiteX36" fmla="*/ 56808 w 379658"/>
                  <a:gd name="connsiteY36" fmla="*/ 1049583 h 1051028"/>
                  <a:gd name="connsiteX37" fmla="*/ 58255 w 379658"/>
                  <a:gd name="connsiteY37" fmla="*/ 1049790 h 1051028"/>
                  <a:gd name="connsiteX38" fmla="*/ 64000 w 379658"/>
                  <a:gd name="connsiteY38" fmla="*/ 1050657 h 1051028"/>
                  <a:gd name="connsiteX39" fmla="*/ 69827 w 379658"/>
                  <a:gd name="connsiteY39" fmla="*/ 1050946 h 1051028"/>
                  <a:gd name="connsiteX40" fmla="*/ 308529 w 379658"/>
                  <a:gd name="connsiteY40" fmla="*/ 1051028 h 1051028"/>
                  <a:gd name="connsiteX41" fmla="*/ 351719 w 379658"/>
                  <a:gd name="connsiteY41" fmla="*/ 1036309 h 1051028"/>
                  <a:gd name="connsiteX42" fmla="*/ 367632 w 379658"/>
                  <a:gd name="connsiteY42" fmla="*/ 1019484 h 1051028"/>
                  <a:gd name="connsiteX43" fmla="*/ 377117 w 379658"/>
                  <a:gd name="connsiteY43" fmla="*/ 998447 h 1051028"/>
                  <a:gd name="connsiteX44" fmla="*/ 377840 w 379658"/>
                  <a:gd name="connsiteY44" fmla="*/ 995639 h 1051028"/>
                  <a:gd name="connsiteX45" fmla="*/ 378212 w 379658"/>
                  <a:gd name="connsiteY45" fmla="*/ 994236 h 1051028"/>
                  <a:gd name="connsiteX46" fmla="*/ 378419 w 379658"/>
                  <a:gd name="connsiteY46" fmla="*/ 992790 h 1051028"/>
                  <a:gd name="connsiteX47" fmla="*/ 379287 w 379658"/>
                  <a:gd name="connsiteY47" fmla="*/ 987051 h 1051028"/>
                  <a:gd name="connsiteX48" fmla="*/ 379576 w 379658"/>
                  <a:gd name="connsiteY48" fmla="*/ 981230 h 1051028"/>
                  <a:gd name="connsiteX49" fmla="*/ 379659 w 379658"/>
                  <a:gd name="connsiteY49" fmla="*/ 979723 h 1051028"/>
                  <a:gd name="connsiteX50" fmla="*/ 379659 w 379658"/>
                  <a:gd name="connsiteY50" fmla="*/ 71058 h 1051028"/>
                  <a:gd name="connsiteX51" fmla="*/ 379349 w 379658"/>
                  <a:gd name="connsiteY51" fmla="*/ 65236 h 1051028"/>
                  <a:gd name="connsiteX52" fmla="*/ 379287 w 379658"/>
                  <a:gd name="connsiteY52" fmla="*/ 63771 h 1051028"/>
                  <a:gd name="connsiteX53" fmla="*/ 337626 w 379658"/>
                  <a:gd name="connsiteY53" fmla="*/ 406902 h 1051028"/>
                  <a:gd name="connsiteX54" fmla="*/ 337626 w 379658"/>
                  <a:gd name="connsiteY54" fmla="*/ 979702 h 1051028"/>
                  <a:gd name="connsiteX55" fmla="*/ 337585 w 379658"/>
                  <a:gd name="connsiteY55" fmla="*/ 980177 h 1051028"/>
                  <a:gd name="connsiteX56" fmla="*/ 337543 w 379658"/>
                  <a:gd name="connsiteY56" fmla="*/ 980486 h 1051028"/>
                  <a:gd name="connsiteX57" fmla="*/ 337461 w 379658"/>
                  <a:gd name="connsiteY57" fmla="*/ 982922 h 1051028"/>
                  <a:gd name="connsiteX58" fmla="*/ 337068 w 379658"/>
                  <a:gd name="connsiteY58" fmla="*/ 985255 h 1051028"/>
                  <a:gd name="connsiteX59" fmla="*/ 337027 w 379658"/>
                  <a:gd name="connsiteY59" fmla="*/ 985854 h 1051028"/>
                  <a:gd name="connsiteX60" fmla="*/ 336841 w 379658"/>
                  <a:gd name="connsiteY60" fmla="*/ 986411 h 1051028"/>
                  <a:gd name="connsiteX61" fmla="*/ 336531 w 379658"/>
                  <a:gd name="connsiteY61" fmla="*/ 987526 h 1051028"/>
                  <a:gd name="connsiteX62" fmla="*/ 332728 w 379658"/>
                  <a:gd name="connsiteY62" fmla="*/ 996073 h 1051028"/>
                  <a:gd name="connsiteX63" fmla="*/ 326136 w 379658"/>
                  <a:gd name="connsiteY63" fmla="*/ 1002968 h 1051028"/>
                  <a:gd name="connsiteX64" fmla="*/ 317870 w 379658"/>
                  <a:gd name="connsiteY64" fmla="*/ 1007407 h 1051028"/>
                  <a:gd name="connsiteX65" fmla="*/ 308550 w 379658"/>
                  <a:gd name="connsiteY65" fmla="*/ 1008996 h 1051028"/>
                  <a:gd name="connsiteX66" fmla="*/ 70592 w 379658"/>
                  <a:gd name="connsiteY66" fmla="*/ 1008914 h 1051028"/>
                  <a:gd name="connsiteX67" fmla="*/ 68153 w 379658"/>
                  <a:gd name="connsiteY67" fmla="*/ 1008831 h 1051028"/>
                  <a:gd name="connsiteX68" fmla="*/ 65818 w 379658"/>
                  <a:gd name="connsiteY68" fmla="*/ 1008439 h 1051028"/>
                  <a:gd name="connsiteX69" fmla="*/ 65219 w 379658"/>
                  <a:gd name="connsiteY69" fmla="*/ 1008398 h 1051028"/>
                  <a:gd name="connsiteX70" fmla="*/ 64661 w 379658"/>
                  <a:gd name="connsiteY70" fmla="*/ 1008212 h 1051028"/>
                  <a:gd name="connsiteX71" fmla="*/ 63545 w 379658"/>
                  <a:gd name="connsiteY71" fmla="*/ 1007902 h 1051028"/>
                  <a:gd name="connsiteX72" fmla="*/ 62388 w 379658"/>
                  <a:gd name="connsiteY72" fmla="*/ 1007675 h 1051028"/>
                  <a:gd name="connsiteX73" fmla="*/ 61313 w 379658"/>
                  <a:gd name="connsiteY73" fmla="*/ 1007200 h 1051028"/>
                  <a:gd name="connsiteX74" fmla="*/ 53089 w 379658"/>
                  <a:gd name="connsiteY74" fmla="*/ 1002658 h 1051028"/>
                  <a:gd name="connsiteX75" fmla="*/ 43004 w 379658"/>
                  <a:gd name="connsiteY75" fmla="*/ 987010 h 1051028"/>
                  <a:gd name="connsiteX76" fmla="*/ 42653 w 379658"/>
                  <a:gd name="connsiteY76" fmla="*/ 985895 h 1051028"/>
                  <a:gd name="connsiteX77" fmla="*/ 42549 w 379658"/>
                  <a:gd name="connsiteY77" fmla="*/ 984719 h 1051028"/>
                  <a:gd name="connsiteX78" fmla="*/ 42343 w 379658"/>
                  <a:gd name="connsiteY78" fmla="*/ 983562 h 1051028"/>
                  <a:gd name="connsiteX79" fmla="*/ 42198 w 379658"/>
                  <a:gd name="connsiteY79" fmla="*/ 982984 h 1051028"/>
                  <a:gd name="connsiteX80" fmla="*/ 42198 w 379658"/>
                  <a:gd name="connsiteY80" fmla="*/ 982365 h 1051028"/>
                  <a:gd name="connsiteX81" fmla="*/ 42053 w 379658"/>
                  <a:gd name="connsiteY81" fmla="*/ 979929 h 1051028"/>
                  <a:gd name="connsiteX82" fmla="*/ 42053 w 379658"/>
                  <a:gd name="connsiteY82" fmla="*/ 71285 h 1051028"/>
                  <a:gd name="connsiteX83" fmla="*/ 42095 w 379658"/>
                  <a:gd name="connsiteY83" fmla="*/ 70810 h 1051028"/>
                  <a:gd name="connsiteX84" fmla="*/ 42136 w 379658"/>
                  <a:gd name="connsiteY84" fmla="*/ 70501 h 1051028"/>
                  <a:gd name="connsiteX85" fmla="*/ 42219 w 379658"/>
                  <a:gd name="connsiteY85" fmla="*/ 68065 h 1051028"/>
                  <a:gd name="connsiteX86" fmla="*/ 42611 w 379658"/>
                  <a:gd name="connsiteY86" fmla="*/ 65732 h 1051028"/>
                  <a:gd name="connsiteX87" fmla="*/ 42653 w 379658"/>
                  <a:gd name="connsiteY87" fmla="*/ 65133 h 1051028"/>
                  <a:gd name="connsiteX88" fmla="*/ 42839 w 379658"/>
                  <a:gd name="connsiteY88" fmla="*/ 64576 h 1051028"/>
                  <a:gd name="connsiteX89" fmla="*/ 43149 w 379658"/>
                  <a:gd name="connsiteY89" fmla="*/ 63461 h 1051028"/>
                  <a:gd name="connsiteX90" fmla="*/ 46951 w 379658"/>
                  <a:gd name="connsiteY90" fmla="*/ 54914 h 1051028"/>
                  <a:gd name="connsiteX91" fmla="*/ 53543 w 379658"/>
                  <a:gd name="connsiteY91" fmla="*/ 48019 h 1051028"/>
                  <a:gd name="connsiteX92" fmla="*/ 61809 w 379658"/>
                  <a:gd name="connsiteY92" fmla="*/ 43580 h 1051028"/>
                  <a:gd name="connsiteX93" fmla="*/ 71129 w 379658"/>
                  <a:gd name="connsiteY93" fmla="*/ 41991 h 1051028"/>
                  <a:gd name="connsiteX94" fmla="*/ 309087 w 379658"/>
                  <a:gd name="connsiteY94" fmla="*/ 42073 h 1051028"/>
                  <a:gd name="connsiteX95" fmla="*/ 311526 w 379658"/>
                  <a:gd name="connsiteY95" fmla="*/ 42156 h 1051028"/>
                  <a:gd name="connsiteX96" fmla="*/ 313861 w 379658"/>
                  <a:gd name="connsiteY96" fmla="*/ 42548 h 1051028"/>
                  <a:gd name="connsiteX97" fmla="*/ 314460 w 379658"/>
                  <a:gd name="connsiteY97" fmla="*/ 42589 h 1051028"/>
                  <a:gd name="connsiteX98" fmla="*/ 315018 w 379658"/>
                  <a:gd name="connsiteY98" fmla="*/ 42775 h 1051028"/>
                  <a:gd name="connsiteX99" fmla="*/ 316134 w 379658"/>
                  <a:gd name="connsiteY99" fmla="*/ 43085 h 1051028"/>
                  <a:gd name="connsiteX100" fmla="*/ 317291 w 379658"/>
                  <a:gd name="connsiteY100" fmla="*/ 43312 h 1051028"/>
                  <a:gd name="connsiteX101" fmla="*/ 318366 w 379658"/>
                  <a:gd name="connsiteY101" fmla="*/ 43787 h 1051028"/>
                  <a:gd name="connsiteX102" fmla="*/ 326591 w 379658"/>
                  <a:gd name="connsiteY102" fmla="*/ 48329 h 1051028"/>
                  <a:gd name="connsiteX103" fmla="*/ 336675 w 379658"/>
                  <a:gd name="connsiteY103" fmla="*/ 63977 h 1051028"/>
                  <a:gd name="connsiteX104" fmla="*/ 337027 w 379658"/>
                  <a:gd name="connsiteY104" fmla="*/ 65092 h 1051028"/>
                  <a:gd name="connsiteX105" fmla="*/ 337130 w 379658"/>
                  <a:gd name="connsiteY105" fmla="*/ 66269 h 1051028"/>
                  <a:gd name="connsiteX106" fmla="*/ 337337 w 379658"/>
                  <a:gd name="connsiteY106" fmla="*/ 67425 h 1051028"/>
                  <a:gd name="connsiteX107" fmla="*/ 337481 w 379658"/>
                  <a:gd name="connsiteY107" fmla="*/ 68003 h 1051028"/>
                  <a:gd name="connsiteX108" fmla="*/ 337481 w 379658"/>
                  <a:gd name="connsiteY108" fmla="*/ 68622 h 1051028"/>
                  <a:gd name="connsiteX109" fmla="*/ 337626 w 379658"/>
                  <a:gd name="connsiteY109" fmla="*/ 71058 h 1051028"/>
                  <a:gd name="connsiteX110" fmla="*/ 337626 w 379658"/>
                  <a:gd name="connsiteY110" fmla="*/ 406902 h 1051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</a:cxnLst>
                <a:rect l="l" t="t" r="r" b="b"/>
                <a:pathLst>
                  <a:path w="379658" h="1051028">
                    <a:moveTo>
                      <a:pt x="379287" y="63791"/>
                    </a:moveTo>
                    <a:lnTo>
                      <a:pt x="379059" y="62367"/>
                    </a:lnTo>
                    <a:lnTo>
                      <a:pt x="378605" y="59497"/>
                    </a:lnTo>
                    <a:lnTo>
                      <a:pt x="378191" y="56628"/>
                    </a:lnTo>
                    <a:lnTo>
                      <a:pt x="377447" y="53820"/>
                    </a:lnTo>
                    <a:cubicBezTo>
                      <a:pt x="373934" y="38750"/>
                      <a:pt x="364800" y="25207"/>
                      <a:pt x="352773" y="15483"/>
                    </a:cubicBezTo>
                    <a:cubicBezTo>
                      <a:pt x="346780" y="10549"/>
                      <a:pt x="339816" y="6875"/>
                      <a:pt x="332584" y="4273"/>
                    </a:cubicBezTo>
                    <a:lnTo>
                      <a:pt x="329876" y="3262"/>
                    </a:lnTo>
                    <a:cubicBezTo>
                      <a:pt x="328947" y="2993"/>
                      <a:pt x="327996" y="2787"/>
                      <a:pt x="327066" y="2539"/>
                    </a:cubicBezTo>
                    <a:lnTo>
                      <a:pt x="324256" y="1817"/>
                    </a:lnTo>
                    <a:lnTo>
                      <a:pt x="322850" y="1445"/>
                    </a:lnTo>
                    <a:lnTo>
                      <a:pt x="321404" y="1239"/>
                    </a:lnTo>
                    <a:lnTo>
                      <a:pt x="315659" y="372"/>
                    </a:lnTo>
                    <a:lnTo>
                      <a:pt x="309831" y="83"/>
                    </a:lnTo>
                    <a:lnTo>
                      <a:pt x="71129" y="0"/>
                    </a:lnTo>
                    <a:cubicBezTo>
                      <a:pt x="55610" y="248"/>
                      <a:pt x="40152" y="5037"/>
                      <a:pt x="27939" y="14719"/>
                    </a:cubicBezTo>
                    <a:cubicBezTo>
                      <a:pt x="21802" y="19447"/>
                      <a:pt x="16408" y="25145"/>
                      <a:pt x="12027" y="31545"/>
                    </a:cubicBezTo>
                    <a:cubicBezTo>
                      <a:pt x="7729" y="38006"/>
                      <a:pt x="4567" y="45149"/>
                      <a:pt x="2542" y="52581"/>
                    </a:cubicBezTo>
                    <a:lnTo>
                      <a:pt x="1819" y="55389"/>
                    </a:lnTo>
                    <a:cubicBezTo>
                      <a:pt x="1695" y="55864"/>
                      <a:pt x="1550" y="56318"/>
                      <a:pt x="1447" y="56793"/>
                    </a:cubicBezTo>
                    <a:lnTo>
                      <a:pt x="1240" y="58238"/>
                    </a:lnTo>
                    <a:lnTo>
                      <a:pt x="372" y="63977"/>
                    </a:lnTo>
                    <a:lnTo>
                      <a:pt x="83" y="69799"/>
                    </a:lnTo>
                    <a:cubicBezTo>
                      <a:pt x="62" y="70315"/>
                      <a:pt x="21" y="70707"/>
                      <a:pt x="0" y="71306"/>
                    </a:cubicBezTo>
                    <a:lnTo>
                      <a:pt x="0" y="979950"/>
                    </a:lnTo>
                    <a:lnTo>
                      <a:pt x="310" y="985771"/>
                    </a:lnTo>
                    <a:lnTo>
                      <a:pt x="372" y="987237"/>
                    </a:lnTo>
                    <a:lnTo>
                      <a:pt x="599" y="988662"/>
                    </a:lnTo>
                    <a:lnTo>
                      <a:pt x="1054" y="991531"/>
                    </a:lnTo>
                    <a:lnTo>
                      <a:pt x="1467" y="994401"/>
                    </a:lnTo>
                    <a:lnTo>
                      <a:pt x="2211" y="997208"/>
                    </a:lnTo>
                    <a:cubicBezTo>
                      <a:pt x="5724" y="1012279"/>
                      <a:pt x="14858" y="1025822"/>
                      <a:pt x="26885" y="1035545"/>
                    </a:cubicBezTo>
                    <a:cubicBezTo>
                      <a:pt x="32878" y="1040479"/>
                      <a:pt x="39842" y="1044154"/>
                      <a:pt x="47075" y="1046755"/>
                    </a:cubicBezTo>
                    <a:lnTo>
                      <a:pt x="49782" y="1047767"/>
                    </a:lnTo>
                    <a:cubicBezTo>
                      <a:pt x="50712" y="1048035"/>
                      <a:pt x="51663" y="1048241"/>
                      <a:pt x="52593" y="1048489"/>
                    </a:cubicBezTo>
                    <a:lnTo>
                      <a:pt x="55403" y="1049212"/>
                    </a:lnTo>
                    <a:lnTo>
                      <a:pt x="56808" y="1049583"/>
                    </a:lnTo>
                    <a:lnTo>
                      <a:pt x="58255" y="1049790"/>
                    </a:lnTo>
                    <a:lnTo>
                      <a:pt x="64000" y="1050657"/>
                    </a:lnTo>
                    <a:lnTo>
                      <a:pt x="69827" y="1050946"/>
                    </a:lnTo>
                    <a:lnTo>
                      <a:pt x="308529" y="1051028"/>
                    </a:lnTo>
                    <a:cubicBezTo>
                      <a:pt x="324049" y="1050781"/>
                      <a:pt x="339506" y="1045991"/>
                      <a:pt x="351719" y="1036309"/>
                    </a:cubicBezTo>
                    <a:cubicBezTo>
                      <a:pt x="357857" y="1031581"/>
                      <a:pt x="363251" y="1025883"/>
                      <a:pt x="367632" y="1019484"/>
                    </a:cubicBezTo>
                    <a:cubicBezTo>
                      <a:pt x="371930" y="1013022"/>
                      <a:pt x="375092" y="1005879"/>
                      <a:pt x="377117" y="998447"/>
                    </a:cubicBezTo>
                    <a:lnTo>
                      <a:pt x="377840" y="995639"/>
                    </a:lnTo>
                    <a:cubicBezTo>
                      <a:pt x="377964" y="995165"/>
                      <a:pt x="378109" y="994710"/>
                      <a:pt x="378212" y="994236"/>
                    </a:cubicBezTo>
                    <a:lnTo>
                      <a:pt x="378419" y="992790"/>
                    </a:lnTo>
                    <a:lnTo>
                      <a:pt x="379287" y="987051"/>
                    </a:lnTo>
                    <a:lnTo>
                      <a:pt x="379576" y="981230"/>
                    </a:lnTo>
                    <a:cubicBezTo>
                      <a:pt x="379597" y="980714"/>
                      <a:pt x="379638" y="980321"/>
                      <a:pt x="379659" y="979723"/>
                    </a:cubicBezTo>
                    <a:lnTo>
                      <a:pt x="379659" y="71058"/>
                    </a:lnTo>
                    <a:lnTo>
                      <a:pt x="379349" y="65236"/>
                    </a:lnTo>
                    <a:lnTo>
                      <a:pt x="379287" y="63771"/>
                    </a:lnTo>
                    <a:close/>
                    <a:moveTo>
                      <a:pt x="337626" y="406902"/>
                    </a:moveTo>
                    <a:lnTo>
                      <a:pt x="337626" y="979702"/>
                    </a:lnTo>
                    <a:cubicBezTo>
                      <a:pt x="337626" y="980115"/>
                      <a:pt x="337605" y="980012"/>
                      <a:pt x="337585" y="980177"/>
                    </a:cubicBezTo>
                    <a:lnTo>
                      <a:pt x="337543" y="980486"/>
                    </a:lnTo>
                    <a:cubicBezTo>
                      <a:pt x="337440" y="981292"/>
                      <a:pt x="337419" y="982097"/>
                      <a:pt x="337461" y="982922"/>
                    </a:cubicBezTo>
                    <a:cubicBezTo>
                      <a:pt x="337295" y="983707"/>
                      <a:pt x="337130" y="984471"/>
                      <a:pt x="337068" y="985255"/>
                    </a:cubicBezTo>
                    <a:lnTo>
                      <a:pt x="337027" y="985854"/>
                    </a:lnTo>
                    <a:cubicBezTo>
                      <a:pt x="336985" y="986040"/>
                      <a:pt x="336903" y="986226"/>
                      <a:pt x="336841" y="986411"/>
                    </a:cubicBezTo>
                    <a:cubicBezTo>
                      <a:pt x="336717" y="986783"/>
                      <a:pt x="336613" y="987155"/>
                      <a:pt x="336531" y="987526"/>
                    </a:cubicBezTo>
                    <a:cubicBezTo>
                      <a:pt x="335704" y="990520"/>
                      <a:pt x="334485" y="993410"/>
                      <a:pt x="332728" y="996073"/>
                    </a:cubicBezTo>
                    <a:cubicBezTo>
                      <a:pt x="330889" y="998674"/>
                      <a:pt x="328657" y="1001028"/>
                      <a:pt x="326136" y="1002968"/>
                    </a:cubicBezTo>
                    <a:cubicBezTo>
                      <a:pt x="323636" y="1004929"/>
                      <a:pt x="320846" y="1006540"/>
                      <a:pt x="317870" y="1007407"/>
                    </a:cubicBezTo>
                    <a:cubicBezTo>
                      <a:pt x="314915" y="1008356"/>
                      <a:pt x="311836" y="1008872"/>
                      <a:pt x="308550" y="1008996"/>
                    </a:cubicBezTo>
                    <a:lnTo>
                      <a:pt x="70592" y="1008914"/>
                    </a:lnTo>
                    <a:cubicBezTo>
                      <a:pt x="69786" y="1008811"/>
                      <a:pt x="68980" y="1008790"/>
                      <a:pt x="68153" y="1008831"/>
                    </a:cubicBezTo>
                    <a:cubicBezTo>
                      <a:pt x="67368" y="1008666"/>
                      <a:pt x="66604" y="1008501"/>
                      <a:pt x="65818" y="1008439"/>
                    </a:cubicBezTo>
                    <a:lnTo>
                      <a:pt x="65219" y="1008398"/>
                    </a:lnTo>
                    <a:lnTo>
                      <a:pt x="64661" y="1008212"/>
                    </a:lnTo>
                    <a:cubicBezTo>
                      <a:pt x="64289" y="1008088"/>
                      <a:pt x="63917" y="1007985"/>
                      <a:pt x="63545" y="1007902"/>
                    </a:cubicBezTo>
                    <a:lnTo>
                      <a:pt x="62388" y="1007675"/>
                    </a:lnTo>
                    <a:cubicBezTo>
                      <a:pt x="62037" y="1007510"/>
                      <a:pt x="61685" y="1007345"/>
                      <a:pt x="61313" y="1007200"/>
                    </a:cubicBezTo>
                    <a:cubicBezTo>
                      <a:pt x="58399" y="1006147"/>
                      <a:pt x="55506" y="1004764"/>
                      <a:pt x="53089" y="1002658"/>
                    </a:cubicBezTo>
                    <a:cubicBezTo>
                      <a:pt x="48191" y="998592"/>
                      <a:pt x="44306" y="993100"/>
                      <a:pt x="43004" y="987010"/>
                    </a:cubicBezTo>
                    <a:cubicBezTo>
                      <a:pt x="42901" y="986638"/>
                      <a:pt x="42777" y="986267"/>
                      <a:pt x="42653" y="985895"/>
                    </a:cubicBezTo>
                    <a:cubicBezTo>
                      <a:pt x="42611" y="985503"/>
                      <a:pt x="42591" y="985111"/>
                      <a:pt x="42549" y="984719"/>
                    </a:cubicBezTo>
                    <a:cubicBezTo>
                      <a:pt x="42508" y="984326"/>
                      <a:pt x="42425" y="983934"/>
                      <a:pt x="42343" y="983562"/>
                    </a:cubicBezTo>
                    <a:lnTo>
                      <a:pt x="42198" y="982984"/>
                    </a:lnTo>
                    <a:lnTo>
                      <a:pt x="42198" y="982365"/>
                    </a:lnTo>
                    <a:cubicBezTo>
                      <a:pt x="42219" y="981539"/>
                      <a:pt x="42177" y="980775"/>
                      <a:pt x="42053" y="979929"/>
                    </a:cubicBezTo>
                    <a:lnTo>
                      <a:pt x="42053" y="71285"/>
                    </a:lnTo>
                    <a:cubicBezTo>
                      <a:pt x="42053" y="70872"/>
                      <a:pt x="42074" y="70976"/>
                      <a:pt x="42095" y="70810"/>
                    </a:cubicBezTo>
                    <a:lnTo>
                      <a:pt x="42136" y="70501"/>
                    </a:lnTo>
                    <a:cubicBezTo>
                      <a:pt x="42239" y="69696"/>
                      <a:pt x="42260" y="68890"/>
                      <a:pt x="42219" y="68065"/>
                    </a:cubicBezTo>
                    <a:cubicBezTo>
                      <a:pt x="42384" y="67280"/>
                      <a:pt x="42549" y="66516"/>
                      <a:pt x="42611" y="65732"/>
                    </a:cubicBezTo>
                    <a:lnTo>
                      <a:pt x="42653" y="65133"/>
                    </a:lnTo>
                    <a:cubicBezTo>
                      <a:pt x="42694" y="64947"/>
                      <a:pt x="42777" y="64762"/>
                      <a:pt x="42839" y="64576"/>
                    </a:cubicBezTo>
                    <a:cubicBezTo>
                      <a:pt x="42963" y="64204"/>
                      <a:pt x="43066" y="63833"/>
                      <a:pt x="43149" y="63461"/>
                    </a:cubicBezTo>
                    <a:cubicBezTo>
                      <a:pt x="43975" y="60468"/>
                      <a:pt x="45194" y="57577"/>
                      <a:pt x="46951" y="54914"/>
                    </a:cubicBezTo>
                    <a:cubicBezTo>
                      <a:pt x="48790" y="52313"/>
                      <a:pt x="51022" y="49960"/>
                      <a:pt x="53543" y="48019"/>
                    </a:cubicBezTo>
                    <a:cubicBezTo>
                      <a:pt x="56044" y="46058"/>
                      <a:pt x="58833" y="44447"/>
                      <a:pt x="61809" y="43580"/>
                    </a:cubicBezTo>
                    <a:cubicBezTo>
                      <a:pt x="64764" y="42631"/>
                      <a:pt x="67843" y="42115"/>
                      <a:pt x="71129" y="41991"/>
                    </a:cubicBezTo>
                    <a:lnTo>
                      <a:pt x="309087" y="42073"/>
                    </a:lnTo>
                    <a:cubicBezTo>
                      <a:pt x="309893" y="42177"/>
                      <a:pt x="310699" y="42197"/>
                      <a:pt x="311526" y="42156"/>
                    </a:cubicBezTo>
                    <a:cubicBezTo>
                      <a:pt x="312311" y="42321"/>
                      <a:pt x="313076" y="42486"/>
                      <a:pt x="313861" y="42548"/>
                    </a:cubicBezTo>
                    <a:lnTo>
                      <a:pt x="314460" y="42589"/>
                    </a:lnTo>
                    <a:lnTo>
                      <a:pt x="315018" y="42775"/>
                    </a:lnTo>
                    <a:cubicBezTo>
                      <a:pt x="315390" y="42899"/>
                      <a:pt x="315762" y="43002"/>
                      <a:pt x="316134" y="43085"/>
                    </a:cubicBezTo>
                    <a:lnTo>
                      <a:pt x="317291" y="43312"/>
                    </a:lnTo>
                    <a:cubicBezTo>
                      <a:pt x="317643" y="43477"/>
                      <a:pt x="317994" y="43642"/>
                      <a:pt x="318366" y="43787"/>
                    </a:cubicBezTo>
                    <a:cubicBezTo>
                      <a:pt x="321280" y="44840"/>
                      <a:pt x="324173" y="46223"/>
                      <a:pt x="326591" y="48329"/>
                    </a:cubicBezTo>
                    <a:cubicBezTo>
                      <a:pt x="331488" y="52396"/>
                      <a:pt x="335373" y="57887"/>
                      <a:pt x="336675" y="63977"/>
                    </a:cubicBezTo>
                    <a:cubicBezTo>
                      <a:pt x="336779" y="64349"/>
                      <a:pt x="336903" y="64720"/>
                      <a:pt x="337027" y="65092"/>
                    </a:cubicBezTo>
                    <a:cubicBezTo>
                      <a:pt x="337068" y="65484"/>
                      <a:pt x="337089" y="65876"/>
                      <a:pt x="337130" y="66269"/>
                    </a:cubicBezTo>
                    <a:cubicBezTo>
                      <a:pt x="337171" y="66661"/>
                      <a:pt x="337254" y="67053"/>
                      <a:pt x="337337" y="67425"/>
                    </a:cubicBezTo>
                    <a:lnTo>
                      <a:pt x="337481" y="68003"/>
                    </a:lnTo>
                    <a:lnTo>
                      <a:pt x="337481" y="68622"/>
                    </a:lnTo>
                    <a:cubicBezTo>
                      <a:pt x="337461" y="69448"/>
                      <a:pt x="337502" y="70212"/>
                      <a:pt x="337626" y="71058"/>
                    </a:cubicBezTo>
                    <a:lnTo>
                      <a:pt x="337626" y="406902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53" name="Freeform 88">
                <a:extLst>
                  <a:ext uri="{FF2B5EF4-FFF2-40B4-BE49-F238E27FC236}">
                    <a16:creationId xmlns:a16="http://schemas.microsoft.com/office/drawing/2014/main" id="{1C796CBB-1B43-B01E-2565-65CD91C164B7}"/>
                  </a:ext>
                </a:extLst>
              </p:cNvPr>
              <p:cNvSpPr/>
              <p:nvPr/>
            </p:nvSpPr>
            <p:spPr>
              <a:xfrm>
                <a:off x="2371158" y="2738576"/>
                <a:ext cx="1893230" cy="2066630"/>
              </a:xfrm>
              <a:custGeom>
                <a:avLst/>
                <a:gdLst>
                  <a:gd name="connsiteX0" fmla="*/ 1892651 w 1893230"/>
                  <a:gd name="connsiteY0" fmla="*/ 187204 h 2066630"/>
                  <a:gd name="connsiteX1" fmla="*/ 1892445 w 1893230"/>
                  <a:gd name="connsiteY1" fmla="*/ 184086 h 2066630"/>
                  <a:gd name="connsiteX2" fmla="*/ 1892011 w 1893230"/>
                  <a:gd name="connsiteY2" fmla="*/ 180969 h 2066630"/>
                  <a:gd name="connsiteX3" fmla="*/ 1891102 w 1893230"/>
                  <a:gd name="connsiteY3" fmla="*/ 174755 h 2066630"/>
                  <a:gd name="connsiteX4" fmla="*/ 1890068 w 1893230"/>
                  <a:gd name="connsiteY4" fmla="*/ 168562 h 2066630"/>
                  <a:gd name="connsiteX5" fmla="*/ 1888560 w 1893230"/>
                  <a:gd name="connsiteY5" fmla="*/ 162451 h 2066630"/>
                  <a:gd name="connsiteX6" fmla="*/ 1868680 w 1893230"/>
                  <a:gd name="connsiteY6" fmla="*/ 116476 h 2066630"/>
                  <a:gd name="connsiteX7" fmla="*/ 1835182 w 1893230"/>
                  <a:gd name="connsiteY7" fmla="*/ 79481 h 2066630"/>
                  <a:gd name="connsiteX8" fmla="*/ 1742210 w 1893230"/>
                  <a:gd name="connsiteY8" fmla="*/ 46120 h 2066630"/>
                  <a:gd name="connsiteX9" fmla="*/ 1502040 w 1893230"/>
                  <a:gd name="connsiteY9" fmla="*/ 46016 h 2066630"/>
                  <a:gd name="connsiteX10" fmla="*/ 1452692 w 1893230"/>
                  <a:gd name="connsiteY10" fmla="*/ 54212 h 2066630"/>
                  <a:gd name="connsiteX11" fmla="*/ 1408531 w 1893230"/>
                  <a:gd name="connsiteY11" fmla="*/ 77809 h 2066630"/>
                  <a:gd name="connsiteX12" fmla="*/ 1374310 w 1893230"/>
                  <a:gd name="connsiteY12" fmla="*/ 114143 h 2066630"/>
                  <a:gd name="connsiteX13" fmla="*/ 1353644 w 1893230"/>
                  <a:gd name="connsiteY13" fmla="*/ 159767 h 2066630"/>
                  <a:gd name="connsiteX14" fmla="*/ 1352095 w 1893230"/>
                  <a:gd name="connsiteY14" fmla="*/ 165857 h 2066630"/>
                  <a:gd name="connsiteX15" fmla="*/ 1351371 w 1893230"/>
                  <a:gd name="connsiteY15" fmla="*/ 168933 h 2066630"/>
                  <a:gd name="connsiteX16" fmla="*/ 1350855 w 1893230"/>
                  <a:gd name="connsiteY16" fmla="*/ 172030 h 2066630"/>
                  <a:gd name="connsiteX17" fmla="*/ 1349036 w 1893230"/>
                  <a:gd name="connsiteY17" fmla="*/ 184458 h 2066630"/>
                  <a:gd name="connsiteX18" fmla="*/ 1348375 w 1893230"/>
                  <a:gd name="connsiteY18" fmla="*/ 196927 h 2066630"/>
                  <a:gd name="connsiteX19" fmla="*/ 1348272 w 1893230"/>
                  <a:gd name="connsiteY19" fmla="*/ 199879 h 2066630"/>
                  <a:gd name="connsiteX20" fmla="*/ 1348272 w 1893230"/>
                  <a:gd name="connsiteY20" fmla="*/ 487890 h 2066630"/>
                  <a:gd name="connsiteX21" fmla="*/ 1219673 w 1893230"/>
                  <a:gd name="connsiteY21" fmla="*/ 648008 h 2066630"/>
                  <a:gd name="connsiteX22" fmla="*/ 1219673 w 1893230"/>
                  <a:gd name="connsiteY22" fmla="*/ 407211 h 2066630"/>
                  <a:gd name="connsiteX23" fmla="*/ 1219094 w 1893230"/>
                  <a:gd name="connsiteY23" fmla="*/ 394742 h 2066630"/>
                  <a:gd name="connsiteX24" fmla="*/ 1218888 w 1893230"/>
                  <a:gd name="connsiteY24" fmla="*/ 391625 h 2066630"/>
                  <a:gd name="connsiteX25" fmla="*/ 1218454 w 1893230"/>
                  <a:gd name="connsiteY25" fmla="*/ 388528 h 2066630"/>
                  <a:gd name="connsiteX26" fmla="*/ 1217544 w 1893230"/>
                  <a:gd name="connsiteY26" fmla="*/ 382314 h 2066630"/>
                  <a:gd name="connsiteX27" fmla="*/ 1216490 w 1893230"/>
                  <a:gd name="connsiteY27" fmla="*/ 376121 h 2066630"/>
                  <a:gd name="connsiteX28" fmla="*/ 1215003 w 1893230"/>
                  <a:gd name="connsiteY28" fmla="*/ 369989 h 2066630"/>
                  <a:gd name="connsiteX29" fmla="*/ 1195123 w 1893230"/>
                  <a:gd name="connsiteY29" fmla="*/ 324035 h 2066630"/>
                  <a:gd name="connsiteX30" fmla="*/ 1161604 w 1893230"/>
                  <a:gd name="connsiteY30" fmla="*/ 287040 h 2066630"/>
                  <a:gd name="connsiteX31" fmla="*/ 1068653 w 1893230"/>
                  <a:gd name="connsiteY31" fmla="*/ 253658 h 2066630"/>
                  <a:gd name="connsiteX32" fmla="*/ 1061957 w 1893230"/>
                  <a:gd name="connsiteY32" fmla="*/ 253658 h 2066630"/>
                  <a:gd name="connsiteX33" fmla="*/ 1061957 w 1893230"/>
                  <a:gd name="connsiteY33" fmla="*/ 109932 h 2066630"/>
                  <a:gd name="connsiteX34" fmla="*/ 951916 w 1893230"/>
                  <a:gd name="connsiteY34" fmla="*/ 0 h 2066630"/>
                  <a:gd name="connsiteX35" fmla="*/ 948981 w 1893230"/>
                  <a:gd name="connsiteY35" fmla="*/ 0 h 2066630"/>
                  <a:gd name="connsiteX36" fmla="*/ 838940 w 1893230"/>
                  <a:gd name="connsiteY36" fmla="*/ 109932 h 2066630"/>
                  <a:gd name="connsiteX37" fmla="*/ 838940 w 1893230"/>
                  <a:gd name="connsiteY37" fmla="*/ 253575 h 2066630"/>
                  <a:gd name="connsiteX38" fmla="*/ 828483 w 1893230"/>
                  <a:gd name="connsiteY38" fmla="*/ 253575 h 2066630"/>
                  <a:gd name="connsiteX39" fmla="*/ 779135 w 1893230"/>
                  <a:gd name="connsiteY39" fmla="*/ 261771 h 2066630"/>
                  <a:gd name="connsiteX40" fmla="*/ 734974 w 1893230"/>
                  <a:gd name="connsiteY40" fmla="*/ 285368 h 2066630"/>
                  <a:gd name="connsiteX41" fmla="*/ 700752 w 1893230"/>
                  <a:gd name="connsiteY41" fmla="*/ 321702 h 2066630"/>
                  <a:gd name="connsiteX42" fmla="*/ 680087 w 1893230"/>
                  <a:gd name="connsiteY42" fmla="*/ 367306 h 2066630"/>
                  <a:gd name="connsiteX43" fmla="*/ 678537 w 1893230"/>
                  <a:gd name="connsiteY43" fmla="*/ 373416 h 2066630"/>
                  <a:gd name="connsiteX44" fmla="*/ 677814 w 1893230"/>
                  <a:gd name="connsiteY44" fmla="*/ 376472 h 2066630"/>
                  <a:gd name="connsiteX45" fmla="*/ 677298 w 1893230"/>
                  <a:gd name="connsiteY45" fmla="*/ 379568 h 2066630"/>
                  <a:gd name="connsiteX46" fmla="*/ 675479 w 1893230"/>
                  <a:gd name="connsiteY46" fmla="*/ 391996 h 2066630"/>
                  <a:gd name="connsiteX47" fmla="*/ 674818 w 1893230"/>
                  <a:gd name="connsiteY47" fmla="*/ 404486 h 2066630"/>
                  <a:gd name="connsiteX48" fmla="*/ 674714 w 1893230"/>
                  <a:gd name="connsiteY48" fmla="*/ 407438 h 2066630"/>
                  <a:gd name="connsiteX49" fmla="*/ 674714 w 1893230"/>
                  <a:gd name="connsiteY49" fmla="*/ 644127 h 2066630"/>
                  <a:gd name="connsiteX50" fmla="*/ 544938 w 1893230"/>
                  <a:gd name="connsiteY50" fmla="*/ 482563 h 2066630"/>
                  <a:gd name="connsiteX51" fmla="*/ 544938 w 1893230"/>
                  <a:gd name="connsiteY51" fmla="*/ 199652 h 2066630"/>
                  <a:gd name="connsiteX52" fmla="*/ 544359 w 1893230"/>
                  <a:gd name="connsiteY52" fmla="*/ 187204 h 2066630"/>
                  <a:gd name="connsiteX53" fmla="*/ 544153 w 1893230"/>
                  <a:gd name="connsiteY53" fmla="*/ 184086 h 2066630"/>
                  <a:gd name="connsiteX54" fmla="*/ 543739 w 1893230"/>
                  <a:gd name="connsiteY54" fmla="*/ 180969 h 2066630"/>
                  <a:gd name="connsiteX55" fmla="*/ 542809 w 1893230"/>
                  <a:gd name="connsiteY55" fmla="*/ 174755 h 2066630"/>
                  <a:gd name="connsiteX56" fmla="*/ 541776 w 1893230"/>
                  <a:gd name="connsiteY56" fmla="*/ 168562 h 2066630"/>
                  <a:gd name="connsiteX57" fmla="*/ 540268 w 1893230"/>
                  <a:gd name="connsiteY57" fmla="*/ 162451 h 2066630"/>
                  <a:gd name="connsiteX58" fmla="*/ 520388 w 1893230"/>
                  <a:gd name="connsiteY58" fmla="*/ 116476 h 2066630"/>
                  <a:gd name="connsiteX59" fmla="*/ 486890 w 1893230"/>
                  <a:gd name="connsiteY59" fmla="*/ 79481 h 2066630"/>
                  <a:gd name="connsiteX60" fmla="*/ 393938 w 1893230"/>
                  <a:gd name="connsiteY60" fmla="*/ 46120 h 2066630"/>
                  <a:gd name="connsiteX61" fmla="*/ 153769 w 1893230"/>
                  <a:gd name="connsiteY61" fmla="*/ 46016 h 2066630"/>
                  <a:gd name="connsiteX62" fmla="*/ 104400 w 1893230"/>
                  <a:gd name="connsiteY62" fmla="*/ 54212 h 2066630"/>
                  <a:gd name="connsiteX63" fmla="*/ 60259 w 1893230"/>
                  <a:gd name="connsiteY63" fmla="*/ 77809 h 2066630"/>
                  <a:gd name="connsiteX64" fmla="*/ 26017 w 1893230"/>
                  <a:gd name="connsiteY64" fmla="*/ 114143 h 2066630"/>
                  <a:gd name="connsiteX65" fmla="*/ 5352 w 1893230"/>
                  <a:gd name="connsiteY65" fmla="*/ 159767 h 2066630"/>
                  <a:gd name="connsiteX66" fmla="*/ 3802 w 1893230"/>
                  <a:gd name="connsiteY66" fmla="*/ 165857 h 2066630"/>
                  <a:gd name="connsiteX67" fmla="*/ 3079 w 1893230"/>
                  <a:gd name="connsiteY67" fmla="*/ 168933 h 2066630"/>
                  <a:gd name="connsiteX68" fmla="*/ 2562 w 1893230"/>
                  <a:gd name="connsiteY68" fmla="*/ 172030 h 2066630"/>
                  <a:gd name="connsiteX69" fmla="*/ 765 w 1893230"/>
                  <a:gd name="connsiteY69" fmla="*/ 184458 h 2066630"/>
                  <a:gd name="connsiteX70" fmla="*/ 83 w 1893230"/>
                  <a:gd name="connsiteY70" fmla="*/ 196927 h 2066630"/>
                  <a:gd name="connsiteX71" fmla="*/ 0 w 1893230"/>
                  <a:gd name="connsiteY71" fmla="*/ 199879 h 2066630"/>
                  <a:gd name="connsiteX72" fmla="*/ 0 w 1893230"/>
                  <a:gd name="connsiteY72" fmla="*/ 1108523 h 2066630"/>
                  <a:gd name="connsiteX73" fmla="*/ 579 w 1893230"/>
                  <a:gd name="connsiteY73" fmla="*/ 1120992 h 2066630"/>
                  <a:gd name="connsiteX74" fmla="*/ 785 w 1893230"/>
                  <a:gd name="connsiteY74" fmla="*/ 1124110 h 2066630"/>
                  <a:gd name="connsiteX75" fmla="*/ 1199 w 1893230"/>
                  <a:gd name="connsiteY75" fmla="*/ 1127206 h 2066630"/>
                  <a:gd name="connsiteX76" fmla="*/ 2129 w 1893230"/>
                  <a:gd name="connsiteY76" fmla="*/ 1133420 h 2066630"/>
                  <a:gd name="connsiteX77" fmla="*/ 3162 w 1893230"/>
                  <a:gd name="connsiteY77" fmla="*/ 1139614 h 2066630"/>
                  <a:gd name="connsiteX78" fmla="*/ 4670 w 1893230"/>
                  <a:gd name="connsiteY78" fmla="*/ 1145745 h 2066630"/>
                  <a:gd name="connsiteX79" fmla="*/ 24550 w 1893230"/>
                  <a:gd name="connsiteY79" fmla="*/ 1191700 h 2066630"/>
                  <a:gd name="connsiteX80" fmla="*/ 58048 w 1893230"/>
                  <a:gd name="connsiteY80" fmla="*/ 1228694 h 2066630"/>
                  <a:gd name="connsiteX81" fmla="*/ 151020 w 1893230"/>
                  <a:gd name="connsiteY81" fmla="*/ 1262076 h 2066630"/>
                  <a:gd name="connsiteX82" fmla="*/ 391169 w 1893230"/>
                  <a:gd name="connsiteY82" fmla="*/ 1262159 h 2066630"/>
                  <a:gd name="connsiteX83" fmla="*/ 440538 w 1893230"/>
                  <a:gd name="connsiteY83" fmla="*/ 1253963 h 2066630"/>
                  <a:gd name="connsiteX84" fmla="*/ 484699 w 1893230"/>
                  <a:gd name="connsiteY84" fmla="*/ 1230366 h 2066630"/>
                  <a:gd name="connsiteX85" fmla="*/ 518920 w 1893230"/>
                  <a:gd name="connsiteY85" fmla="*/ 1194053 h 2066630"/>
                  <a:gd name="connsiteX86" fmla="*/ 539586 w 1893230"/>
                  <a:gd name="connsiteY86" fmla="*/ 1148429 h 2066630"/>
                  <a:gd name="connsiteX87" fmla="*/ 541135 w 1893230"/>
                  <a:gd name="connsiteY87" fmla="*/ 1142318 h 2066630"/>
                  <a:gd name="connsiteX88" fmla="*/ 541859 w 1893230"/>
                  <a:gd name="connsiteY88" fmla="*/ 1139263 h 2066630"/>
                  <a:gd name="connsiteX89" fmla="*/ 542375 w 1893230"/>
                  <a:gd name="connsiteY89" fmla="*/ 1136166 h 2066630"/>
                  <a:gd name="connsiteX90" fmla="*/ 544173 w 1893230"/>
                  <a:gd name="connsiteY90" fmla="*/ 1123738 h 2066630"/>
                  <a:gd name="connsiteX91" fmla="*/ 544855 w 1893230"/>
                  <a:gd name="connsiteY91" fmla="*/ 1111248 h 2066630"/>
                  <a:gd name="connsiteX92" fmla="*/ 544938 w 1893230"/>
                  <a:gd name="connsiteY92" fmla="*/ 1108296 h 2066630"/>
                  <a:gd name="connsiteX93" fmla="*/ 544938 w 1893230"/>
                  <a:gd name="connsiteY93" fmla="*/ 674846 h 2066630"/>
                  <a:gd name="connsiteX94" fmla="*/ 674714 w 1893230"/>
                  <a:gd name="connsiteY94" fmla="*/ 836409 h 2066630"/>
                  <a:gd name="connsiteX95" fmla="*/ 674714 w 1893230"/>
                  <a:gd name="connsiteY95" fmla="*/ 1316082 h 2066630"/>
                  <a:gd name="connsiteX96" fmla="*/ 675293 w 1893230"/>
                  <a:gd name="connsiteY96" fmla="*/ 1328551 h 2066630"/>
                  <a:gd name="connsiteX97" fmla="*/ 675500 w 1893230"/>
                  <a:gd name="connsiteY97" fmla="*/ 1331648 h 2066630"/>
                  <a:gd name="connsiteX98" fmla="*/ 675934 w 1893230"/>
                  <a:gd name="connsiteY98" fmla="*/ 1334765 h 2066630"/>
                  <a:gd name="connsiteX99" fmla="*/ 676843 w 1893230"/>
                  <a:gd name="connsiteY99" fmla="*/ 1340979 h 2066630"/>
                  <a:gd name="connsiteX100" fmla="*/ 677897 w 1893230"/>
                  <a:gd name="connsiteY100" fmla="*/ 1347173 h 2066630"/>
                  <a:gd name="connsiteX101" fmla="*/ 679385 w 1893230"/>
                  <a:gd name="connsiteY101" fmla="*/ 1353283 h 2066630"/>
                  <a:gd name="connsiteX102" fmla="*/ 699265 w 1893230"/>
                  <a:gd name="connsiteY102" fmla="*/ 1399259 h 2066630"/>
                  <a:gd name="connsiteX103" fmla="*/ 732783 w 1893230"/>
                  <a:gd name="connsiteY103" fmla="*/ 1436253 h 2066630"/>
                  <a:gd name="connsiteX104" fmla="*/ 825735 w 1893230"/>
                  <a:gd name="connsiteY104" fmla="*/ 1469615 h 2066630"/>
                  <a:gd name="connsiteX105" fmla="*/ 838940 w 1893230"/>
                  <a:gd name="connsiteY105" fmla="*/ 1469615 h 2066630"/>
                  <a:gd name="connsiteX106" fmla="*/ 838940 w 1893230"/>
                  <a:gd name="connsiteY106" fmla="*/ 1956699 h 2066630"/>
                  <a:gd name="connsiteX107" fmla="*/ 948981 w 1893230"/>
                  <a:gd name="connsiteY107" fmla="*/ 2066631 h 2066630"/>
                  <a:gd name="connsiteX108" fmla="*/ 951916 w 1893230"/>
                  <a:gd name="connsiteY108" fmla="*/ 2066631 h 2066630"/>
                  <a:gd name="connsiteX109" fmla="*/ 1061957 w 1893230"/>
                  <a:gd name="connsiteY109" fmla="*/ 1956699 h 2066630"/>
                  <a:gd name="connsiteX110" fmla="*/ 1061957 w 1893230"/>
                  <a:gd name="connsiteY110" fmla="*/ 1469718 h 2066630"/>
                  <a:gd name="connsiteX111" fmla="*/ 1065904 w 1893230"/>
                  <a:gd name="connsiteY111" fmla="*/ 1469718 h 2066630"/>
                  <a:gd name="connsiteX112" fmla="*/ 1090847 w 1893230"/>
                  <a:gd name="connsiteY112" fmla="*/ 1467571 h 2066630"/>
                  <a:gd name="connsiteX113" fmla="*/ 1115252 w 1893230"/>
                  <a:gd name="connsiteY113" fmla="*/ 1461522 h 2066630"/>
                  <a:gd name="connsiteX114" fmla="*/ 1159414 w 1893230"/>
                  <a:gd name="connsiteY114" fmla="*/ 1437926 h 2066630"/>
                  <a:gd name="connsiteX115" fmla="*/ 1193635 w 1893230"/>
                  <a:gd name="connsiteY115" fmla="*/ 1401591 h 2066630"/>
                  <a:gd name="connsiteX116" fmla="*/ 1214300 w 1893230"/>
                  <a:gd name="connsiteY116" fmla="*/ 1355967 h 2066630"/>
                  <a:gd name="connsiteX117" fmla="*/ 1215850 w 1893230"/>
                  <a:gd name="connsiteY117" fmla="*/ 1349877 h 2066630"/>
                  <a:gd name="connsiteX118" fmla="*/ 1216573 w 1893230"/>
                  <a:gd name="connsiteY118" fmla="*/ 1346801 h 2066630"/>
                  <a:gd name="connsiteX119" fmla="*/ 1217090 w 1893230"/>
                  <a:gd name="connsiteY119" fmla="*/ 1343704 h 2066630"/>
                  <a:gd name="connsiteX120" fmla="*/ 1218908 w 1893230"/>
                  <a:gd name="connsiteY120" fmla="*/ 1331276 h 2066630"/>
                  <a:gd name="connsiteX121" fmla="*/ 1219570 w 1893230"/>
                  <a:gd name="connsiteY121" fmla="*/ 1318807 h 2066630"/>
                  <a:gd name="connsiteX122" fmla="*/ 1219673 w 1893230"/>
                  <a:gd name="connsiteY122" fmla="*/ 1315855 h 2066630"/>
                  <a:gd name="connsiteX123" fmla="*/ 1219673 w 1893230"/>
                  <a:gd name="connsiteY123" fmla="*/ 840290 h 2066630"/>
                  <a:gd name="connsiteX124" fmla="*/ 1348272 w 1893230"/>
                  <a:gd name="connsiteY124" fmla="*/ 680172 h 2066630"/>
                  <a:gd name="connsiteX125" fmla="*/ 1348272 w 1893230"/>
                  <a:gd name="connsiteY125" fmla="*/ 1108523 h 2066630"/>
                  <a:gd name="connsiteX126" fmla="*/ 1348850 w 1893230"/>
                  <a:gd name="connsiteY126" fmla="*/ 1120992 h 2066630"/>
                  <a:gd name="connsiteX127" fmla="*/ 1349078 w 1893230"/>
                  <a:gd name="connsiteY127" fmla="*/ 1124110 h 2066630"/>
                  <a:gd name="connsiteX128" fmla="*/ 1349491 w 1893230"/>
                  <a:gd name="connsiteY128" fmla="*/ 1127206 h 2066630"/>
                  <a:gd name="connsiteX129" fmla="*/ 1350400 w 1893230"/>
                  <a:gd name="connsiteY129" fmla="*/ 1133420 h 2066630"/>
                  <a:gd name="connsiteX130" fmla="*/ 1351454 w 1893230"/>
                  <a:gd name="connsiteY130" fmla="*/ 1139614 h 2066630"/>
                  <a:gd name="connsiteX131" fmla="*/ 1352942 w 1893230"/>
                  <a:gd name="connsiteY131" fmla="*/ 1145745 h 2066630"/>
                  <a:gd name="connsiteX132" fmla="*/ 1372842 w 1893230"/>
                  <a:gd name="connsiteY132" fmla="*/ 1191700 h 2066630"/>
                  <a:gd name="connsiteX133" fmla="*/ 1406340 w 1893230"/>
                  <a:gd name="connsiteY133" fmla="*/ 1228694 h 2066630"/>
                  <a:gd name="connsiteX134" fmla="*/ 1499292 w 1893230"/>
                  <a:gd name="connsiteY134" fmla="*/ 1262076 h 2066630"/>
                  <a:gd name="connsiteX135" fmla="*/ 1739461 w 1893230"/>
                  <a:gd name="connsiteY135" fmla="*/ 1262159 h 2066630"/>
                  <a:gd name="connsiteX136" fmla="*/ 1788809 w 1893230"/>
                  <a:gd name="connsiteY136" fmla="*/ 1253963 h 2066630"/>
                  <a:gd name="connsiteX137" fmla="*/ 1832971 w 1893230"/>
                  <a:gd name="connsiteY137" fmla="*/ 1230366 h 2066630"/>
                  <a:gd name="connsiteX138" fmla="*/ 1867213 w 1893230"/>
                  <a:gd name="connsiteY138" fmla="*/ 1194053 h 2066630"/>
                  <a:gd name="connsiteX139" fmla="*/ 1887857 w 1893230"/>
                  <a:gd name="connsiteY139" fmla="*/ 1148429 h 2066630"/>
                  <a:gd name="connsiteX140" fmla="*/ 1889407 w 1893230"/>
                  <a:gd name="connsiteY140" fmla="*/ 1142318 h 2066630"/>
                  <a:gd name="connsiteX141" fmla="*/ 1890130 w 1893230"/>
                  <a:gd name="connsiteY141" fmla="*/ 1139263 h 2066630"/>
                  <a:gd name="connsiteX142" fmla="*/ 1890647 w 1893230"/>
                  <a:gd name="connsiteY142" fmla="*/ 1136166 h 2066630"/>
                  <a:gd name="connsiteX143" fmla="*/ 1892465 w 1893230"/>
                  <a:gd name="connsiteY143" fmla="*/ 1123738 h 2066630"/>
                  <a:gd name="connsiteX144" fmla="*/ 1893127 w 1893230"/>
                  <a:gd name="connsiteY144" fmla="*/ 1111248 h 2066630"/>
                  <a:gd name="connsiteX145" fmla="*/ 1893230 w 1893230"/>
                  <a:gd name="connsiteY145" fmla="*/ 1108296 h 2066630"/>
                  <a:gd name="connsiteX146" fmla="*/ 1893230 w 1893230"/>
                  <a:gd name="connsiteY146" fmla="*/ 199652 h 2066630"/>
                  <a:gd name="connsiteX147" fmla="*/ 1892651 w 1893230"/>
                  <a:gd name="connsiteY147" fmla="*/ 187204 h 2066630"/>
                  <a:gd name="connsiteX148" fmla="*/ 502905 w 1893230"/>
                  <a:gd name="connsiteY148" fmla="*/ 1108296 h 2066630"/>
                  <a:gd name="connsiteX149" fmla="*/ 502822 w 1893230"/>
                  <a:gd name="connsiteY149" fmla="*/ 1110526 h 2066630"/>
                  <a:gd name="connsiteX150" fmla="*/ 502347 w 1893230"/>
                  <a:gd name="connsiteY150" fmla="*/ 1119609 h 2066630"/>
                  <a:gd name="connsiteX151" fmla="*/ 501025 w 1893230"/>
                  <a:gd name="connsiteY151" fmla="*/ 1128631 h 2066630"/>
                  <a:gd name="connsiteX152" fmla="*/ 500673 w 1893230"/>
                  <a:gd name="connsiteY152" fmla="*/ 1130881 h 2066630"/>
                  <a:gd name="connsiteX153" fmla="*/ 500115 w 1893230"/>
                  <a:gd name="connsiteY153" fmla="*/ 1133111 h 2066630"/>
                  <a:gd name="connsiteX154" fmla="*/ 498999 w 1893230"/>
                  <a:gd name="connsiteY154" fmla="*/ 1137529 h 2066630"/>
                  <a:gd name="connsiteX155" fmla="*/ 484017 w 1893230"/>
                  <a:gd name="connsiteY155" fmla="*/ 1170663 h 2066630"/>
                  <a:gd name="connsiteX156" fmla="*/ 459095 w 1893230"/>
                  <a:gd name="connsiteY156" fmla="*/ 1197067 h 2066630"/>
                  <a:gd name="connsiteX157" fmla="*/ 391169 w 1893230"/>
                  <a:gd name="connsiteY157" fmla="*/ 1220168 h 2066630"/>
                  <a:gd name="connsiteX158" fmla="*/ 151764 w 1893230"/>
                  <a:gd name="connsiteY158" fmla="*/ 1220086 h 2066630"/>
                  <a:gd name="connsiteX159" fmla="*/ 142651 w 1893230"/>
                  <a:gd name="connsiteY159" fmla="*/ 1219611 h 2066630"/>
                  <a:gd name="connsiteX160" fmla="*/ 133620 w 1893230"/>
                  <a:gd name="connsiteY160" fmla="*/ 1218290 h 2066630"/>
                  <a:gd name="connsiteX161" fmla="*/ 131368 w 1893230"/>
                  <a:gd name="connsiteY161" fmla="*/ 1217918 h 2066630"/>
                  <a:gd name="connsiteX162" fmla="*/ 129157 w 1893230"/>
                  <a:gd name="connsiteY162" fmla="*/ 1217381 h 2066630"/>
                  <a:gd name="connsiteX163" fmla="*/ 124714 w 1893230"/>
                  <a:gd name="connsiteY163" fmla="*/ 1216246 h 2066630"/>
                  <a:gd name="connsiteX164" fmla="*/ 120312 w 1893230"/>
                  <a:gd name="connsiteY164" fmla="*/ 1215069 h 2066630"/>
                  <a:gd name="connsiteX165" fmla="*/ 116014 w 1893230"/>
                  <a:gd name="connsiteY165" fmla="*/ 1213521 h 2066630"/>
                  <a:gd name="connsiteX166" fmla="*/ 84231 w 1893230"/>
                  <a:gd name="connsiteY166" fmla="*/ 1195849 h 2066630"/>
                  <a:gd name="connsiteX167" fmla="*/ 45442 w 1893230"/>
                  <a:gd name="connsiteY167" fmla="*/ 1135588 h 2066630"/>
                  <a:gd name="connsiteX168" fmla="*/ 44327 w 1893230"/>
                  <a:gd name="connsiteY168" fmla="*/ 1131149 h 2066630"/>
                  <a:gd name="connsiteX169" fmla="*/ 43603 w 1893230"/>
                  <a:gd name="connsiteY169" fmla="*/ 1126649 h 2066630"/>
                  <a:gd name="connsiteX170" fmla="*/ 42921 w 1893230"/>
                  <a:gd name="connsiteY170" fmla="*/ 1122148 h 2066630"/>
                  <a:gd name="connsiteX171" fmla="*/ 42611 w 1893230"/>
                  <a:gd name="connsiteY171" fmla="*/ 1119878 h 2066630"/>
                  <a:gd name="connsiteX172" fmla="*/ 42467 w 1893230"/>
                  <a:gd name="connsiteY172" fmla="*/ 1117607 h 2066630"/>
                  <a:gd name="connsiteX173" fmla="*/ 42033 w 1893230"/>
                  <a:gd name="connsiteY173" fmla="*/ 1108523 h 2066630"/>
                  <a:gd name="connsiteX174" fmla="*/ 42033 w 1893230"/>
                  <a:gd name="connsiteY174" fmla="*/ 199879 h 2066630"/>
                  <a:gd name="connsiteX175" fmla="*/ 42115 w 1893230"/>
                  <a:gd name="connsiteY175" fmla="*/ 197670 h 2066630"/>
                  <a:gd name="connsiteX176" fmla="*/ 42591 w 1893230"/>
                  <a:gd name="connsiteY176" fmla="*/ 188566 h 2066630"/>
                  <a:gd name="connsiteX177" fmla="*/ 43913 w 1893230"/>
                  <a:gd name="connsiteY177" fmla="*/ 179545 h 2066630"/>
                  <a:gd name="connsiteX178" fmla="*/ 44285 w 1893230"/>
                  <a:gd name="connsiteY178" fmla="*/ 177294 h 2066630"/>
                  <a:gd name="connsiteX179" fmla="*/ 44823 w 1893230"/>
                  <a:gd name="connsiteY179" fmla="*/ 175085 h 2066630"/>
                  <a:gd name="connsiteX180" fmla="*/ 45959 w 1893230"/>
                  <a:gd name="connsiteY180" fmla="*/ 170647 h 2066630"/>
                  <a:gd name="connsiteX181" fmla="*/ 60921 w 1893230"/>
                  <a:gd name="connsiteY181" fmla="*/ 137533 h 2066630"/>
                  <a:gd name="connsiteX182" fmla="*/ 85843 w 1893230"/>
                  <a:gd name="connsiteY182" fmla="*/ 111129 h 2066630"/>
                  <a:gd name="connsiteX183" fmla="*/ 153769 w 1893230"/>
                  <a:gd name="connsiteY183" fmla="*/ 88007 h 2066630"/>
                  <a:gd name="connsiteX184" fmla="*/ 393174 w 1893230"/>
                  <a:gd name="connsiteY184" fmla="*/ 88090 h 2066630"/>
                  <a:gd name="connsiteX185" fmla="*/ 402287 w 1893230"/>
                  <a:gd name="connsiteY185" fmla="*/ 88565 h 2066630"/>
                  <a:gd name="connsiteX186" fmla="*/ 411317 w 1893230"/>
                  <a:gd name="connsiteY186" fmla="*/ 89906 h 2066630"/>
                  <a:gd name="connsiteX187" fmla="*/ 413570 w 1893230"/>
                  <a:gd name="connsiteY187" fmla="*/ 90257 h 2066630"/>
                  <a:gd name="connsiteX188" fmla="*/ 415781 w 1893230"/>
                  <a:gd name="connsiteY188" fmla="*/ 90815 h 2066630"/>
                  <a:gd name="connsiteX189" fmla="*/ 420224 w 1893230"/>
                  <a:gd name="connsiteY189" fmla="*/ 91930 h 2066630"/>
                  <a:gd name="connsiteX190" fmla="*/ 424626 w 1893230"/>
                  <a:gd name="connsiteY190" fmla="*/ 93127 h 2066630"/>
                  <a:gd name="connsiteX191" fmla="*/ 428924 w 1893230"/>
                  <a:gd name="connsiteY191" fmla="*/ 94675 h 2066630"/>
                  <a:gd name="connsiteX192" fmla="*/ 460707 w 1893230"/>
                  <a:gd name="connsiteY192" fmla="*/ 112326 h 2066630"/>
                  <a:gd name="connsiteX193" fmla="*/ 499495 w 1893230"/>
                  <a:gd name="connsiteY193" fmla="*/ 172608 h 2066630"/>
                  <a:gd name="connsiteX194" fmla="*/ 500611 w 1893230"/>
                  <a:gd name="connsiteY194" fmla="*/ 177026 h 2066630"/>
                  <a:gd name="connsiteX195" fmla="*/ 501335 w 1893230"/>
                  <a:gd name="connsiteY195" fmla="*/ 181526 h 2066630"/>
                  <a:gd name="connsiteX196" fmla="*/ 502016 w 1893230"/>
                  <a:gd name="connsiteY196" fmla="*/ 186048 h 2066630"/>
                  <a:gd name="connsiteX197" fmla="*/ 502347 w 1893230"/>
                  <a:gd name="connsiteY197" fmla="*/ 188298 h 2066630"/>
                  <a:gd name="connsiteX198" fmla="*/ 502471 w 1893230"/>
                  <a:gd name="connsiteY198" fmla="*/ 190569 h 2066630"/>
                  <a:gd name="connsiteX199" fmla="*/ 502905 w 1893230"/>
                  <a:gd name="connsiteY199" fmla="*/ 199652 h 2066630"/>
                  <a:gd name="connsiteX200" fmla="*/ 502905 w 1893230"/>
                  <a:gd name="connsiteY200" fmla="*/ 1108296 h 2066630"/>
                  <a:gd name="connsiteX201" fmla="*/ 674714 w 1893230"/>
                  <a:gd name="connsiteY201" fmla="*/ 770450 h 2066630"/>
                  <a:gd name="connsiteX202" fmla="*/ 544938 w 1893230"/>
                  <a:gd name="connsiteY202" fmla="*/ 608887 h 2066630"/>
                  <a:gd name="connsiteX203" fmla="*/ 544938 w 1893230"/>
                  <a:gd name="connsiteY203" fmla="*/ 548543 h 2066630"/>
                  <a:gd name="connsiteX204" fmla="*/ 674714 w 1893230"/>
                  <a:gd name="connsiteY204" fmla="*/ 710086 h 2066630"/>
                  <a:gd name="connsiteX205" fmla="*/ 674714 w 1893230"/>
                  <a:gd name="connsiteY205" fmla="*/ 770450 h 2066630"/>
                  <a:gd name="connsiteX206" fmla="*/ 880270 w 1893230"/>
                  <a:gd name="connsiteY206" fmla="*/ 109932 h 2066630"/>
                  <a:gd name="connsiteX207" fmla="*/ 948981 w 1893230"/>
                  <a:gd name="connsiteY207" fmla="*/ 41289 h 2066630"/>
                  <a:gd name="connsiteX208" fmla="*/ 951916 w 1893230"/>
                  <a:gd name="connsiteY208" fmla="*/ 41289 h 2066630"/>
                  <a:gd name="connsiteX209" fmla="*/ 1020627 w 1893230"/>
                  <a:gd name="connsiteY209" fmla="*/ 109932 h 2066630"/>
                  <a:gd name="connsiteX210" fmla="*/ 1020627 w 1893230"/>
                  <a:gd name="connsiteY210" fmla="*/ 253637 h 2066630"/>
                  <a:gd name="connsiteX211" fmla="*/ 880270 w 1893230"/>
                  <a:gd name="connsiteY211" fmla="*/ 253575 h 2066630"/>
                  <a:gd name="connsiteX212" fmla="*/ 880270 w 1893230"/>
                  <a:gd name="connsiteY212" fmla="*/ 109932 h 2066630"/>
                  <a:gd name="connsiteX213" fmla="*/ 1020627 w 1893230"/>
                  <a:gd name="connsiteY213" fmla="*/ 1956699 h 2066630"/>
                  <a:gd name="connsiteX214" fmla="*/ 951916 w 1893230"/>
                  <a:gd name="connsiteY214" fmla="*/ 2025342 h 2066630"/>
                  <a:gd name="connsiteX215" fmla="*/ 948981 w 1893230"/>
                  <a:gd name="connsiteY215" fmla="*/ 2025342 h 2066630"/>
                  <a:gd name="connsiteX216" fmla="*/ 880270 w 1893230"/>
                  <a:gd name="connsiteY216" fmla="*/ 1956699 h 2066630"/>
                  <a:gd name="connsiteX217" fmla="*/ 880270 w 1893230"/>
                  <a:gd name="connsiteY217" fmla="*/ 1469635 h 2066630"/>
                  <a:gd name="connsiteX218" fmla="*/ 1020627 w 1893230"/>
                  <a:gd name="connsiteY218" fmla="*/ 1469697 h 2066630"/>
                  <a:gd name="connsiteX219" fmla="*/ 1020627 w 1893230"/>
                  <a:gd name="connsiteY219" fmla="*/ 1956699 h 2066630"/>
                  <a:gd name="connsiteX220" fmla="*/ 1177640 w 1893230"/>
                  <a:gd name="connsiteY220" fmla="*/ 1315855 h 2066630"/>
                  <a:gd name="connsiteX221" fmla="*/ 1177558 w 1893230"/>
                  <a:gd name="connsiteY221" fmla="*/ 1318064 h 2066630"/>
                  <a:gd name="connsiteX222" fmla="*/ 1177082 w 1893230"/>
                  <a:gd name="connsiteY222" fmla="*/ 1327168 h 2066630"/>
                  <a:gd name="connsiteX223" fmla="*/ 1175739 w 1893230"/>
                  <a:gd name="connsiteY223" fmla="*/ 1336190 h 2066630"/>
                  <a:gd name="connsiteX224" fmla="*/ 1175388 w 1893230"/>
                  <a:gd name="connsiteY224" fmla="*/ 1338440 h 2066630"/>
                  <a:gd name="connsiteX225" fmla="*/ 1174850 w 1893230"/>
                  <a:gd name="connsiteY225" fmla="*/ 1340649 h 2066630"/>
                  <a:gd name="connsiteX226" fmla="*/ 1173714 w 1893230"/>
                  <a:gd name="connsiteY226" fmla="*/ 1345088 h 2066630"/>
                  <a:gd name="connsiteX227" fmla="*/ 1158732 w 1893230"/>
                  <a:gd name="connsiteY227" fmla="*/ 1378201 h 2066630"/>
                  <a:gd name="connsiteX228" fmla="*/ 1133830 w 1893230"/>
                  <a:gd name="connsiteY228" fmla="*/ 1404605 h 2066630"/>
                  <a:gd name="connsiteX229" fmla="*/ 1065904 w 1893230"/>
                  <a:gd name="connsiteY229" fmla="*/ 1427727 h 2066630"/>
                  <a:gd name="connsiteX230" fmla="*/ 1061957 w 1893230"/>
                  <a:gd name="connsiteY230" fmla="*/ 1427727 h 2066630"/>
                  <a:gd name="connsiteX231" fmla="*/ 1020627 w 1893230"/>
                  <a:gd name="connsiteY231" fmla="*/ 1427686 h 2066630"/>
                  <a:gd name="connsiteX232" fmla="*/ 880270 w 1893230"/>
                  <a:gd name="connsiteY232" fmla="*/ 1427645 h 2066630"/>
                  <a:gd name="connsiteX233" fmla="*/ 826479 w 1893230"/>
                  <a:gd name="connsiteY233" fmla="*/ 1427645 h 2066630"/>
                  <a:gd name="connsiteX234" fmla="*/ 817386 w 1893230"/>
                  <a:gd name="connsiteY234" fmla="*/ 1427170 h 2066630"/>
                  <a:gd name="connsiteX235" fmla="*/ 808355 w 1893230"/>
                  <a:gd name="connsiteY235" fmla="*/ 1425828 h 2066630"/>
                  <a:gd name="connsiteX236" fmla="*/ 806103 w 1893230"/>
                  <a:gd name="connsiteY236" fmla="*/ 1425477 h 2066630"/>
                  <a:gd name="connsiteX237" fmla="*/ 803871 w 1893230"/>
                  <a:gd name="connsiteY237" fmla="*/ 1424940 h 2066630"/>
                  <a:gd name="connsiteX238" fmla="*/ 799449 w 1893230"/>
                  <a:gd name="connsiteY238" fmla="*/ 1423805 h 2066630"/>
                  <a:gd name="connsiteX239" fmla="*/ 795026 w 1893230"/>
                  <a:gd name="connsiteY239" fmla="*/ 1422628 h 2066630"/>
                  <a:gd name="connsiteX240" fmla="*/ 790728 w 1893230"/>
                  <a:gd name="connsiteY240" fmla="*/ 1421080 h 2066630"/>
                  <a:gd name="connsiteX241" fmla="*/ 758966 w 1893230"/>
                  <a:gd name="connsiteY241" fmla="*/ 1403408 h 2066630"/>
                  <a:gd name="connsiteX242" fmla="*/ 720178 w 1893230"/>
                  <a:gd name="connsiteY242" fmla="*/ 1343126 h 2066630"/>
                  <a:gd name="connsiteX243" fmla="*/ 719062 w 1893230"/>
                  <a:gd name="connsiteY243" fmla="*/ 1338709 h 2066630"/>
                  <a:gd name="connsiteX244" fmla="*/ 718338 w 1893230"/>
                  <a:gd name="connsiteY244" fmla="*/ 1334208 h 2066630"/>
                  <a:gd name="connsiteX245" fmla="*/ 717656 w 1893230"/>
                  <a:gd name="connsiteY245" fmla="*/ 1329687 h 2066630"/>
                  <a:gd name="connsiteX246" fmla="*/ 717326 w 1893230"/>
                  <a:gd name="connsiteY246" fmla="*/ 1327437 h 2066630"/>
                  <a:gd name="connsiteX247" fmla="*/ 717202 w 1893230"/>
                  <a:gd name="connsiteY247" fmla="*/ 1325166 h 2066630"/>
                  <a:gd name="connsiteX248" fmla="*/ 716747 w 1893230"/>
                  <a:gd name="connsiteY248" fmla="*/ 1316082 h 2066630"/>
                  <a:gd name="connsiteX249" fmla="*/ 716747 w 1893230"/>
                  <a:gd name="connsiteY249" fmla="*/ 407438 h 2066630"/>
                  <a:gd name="connsiteX250" fmla="*/ 716830 w 1893230"/>
                  <a:gd name="connsiteY250" fmla="*/ 405209 h 2066630"/>
                  <a:gd name="connsiteX251" fmla="*/ 717305 w 1893230"/>
                  <a:gd name="connsiteY251" fmla="*/ 396125 h 2066630"/>
                  <a:gd name="connsiteX252" fmla="*/ 718648 w 1893230"/>
                  <a:gd name="connsiteY252" fmla="*/ 387104 h 2066630"/>
                  <a:gd name="connsiteX253" fmla="*/ 719000 w 1893230"/>
                  <a:gd name="connsiteY253" fmla="*/ 384853 h 2066630"/>
                  <a:gd name="connsiteX254" fmla="*/ 719537 w 1893230"/>
                  <a:gd name="connsiteY254" fmla="*/ 382624 h 2066630"/>
                  <a:gd name="connsiteX255" fmla="*/ 720674 w 1893230"/>
                  <a:gd name="connsiteY255" fmla="*/ 378206 h 2066630"/>
                  <a:gd name="connsiteX256" fmla="*/ 735656 w 1893230"/>
                  <a:gd name="connsiteY256" fmla="*/ 345072 h 2066630"/>
                  <a:gd name="connsiteX257" fmla="*/ 760557 w 1893230"/>
                  <a:gd name="connsiteY257" fmla="*/ 318667 h 2066630"/>
                  <a:gd name="connsiteX258" fmla="*/ 828483 w 1893230"/>
                  <a:gd name="connsiteY258" fmla="*/ 295566 h 2066630"/>
                  <a:gd name="connsiteX259" fmla="*/ 880270 w 1893230"/>
                  <a:gd name="connsiteY259" fmla="*/ 295566 h 2066630"/>
                  <a:gd name="connsiteX260" fmla="*/ 1020627 w 1893230"/>
                  <a:gd name="connsiteY260" fmla="*/ 295649 h 2066630"/>
                  <a:gd name="connsiteX261" fmla="*/ 1067909 w 1893230"/>
                  <a:gd name="connsiteY261" fmla="*/ 295649 h 2066630"/>
                  <a:gd name="connsiteX262" fmla="*/ 1077001 w 1893230"/>
                  <a:gd name="connsiteY262" fmla="*/ 296124 h 2066630"/>
                  <a:gd name="connsiteX263" fmla="*/ 1086032 w 1893230"/>
                  <a:gd name="connsiteY263" fmla="*/ 297445 h 2066630"/>
                  <a:gd name="connsiteX264" fmla="*/ 1088284 w 1893230"/>
                  <a:gd name="connsiteY264" fmla="*/ 297816 h 2066630"/>
                  <a:gd name="connsiteX265" fmla="*/ 1090516 w 1893230"/>
                  <a:gd name="connsiteY265" fmla="*/ 298353 h 2066630"/>
                  <a:gd name="connsiteX266" fmla="*/ 1094939 w 1893230"/>
                  <a:gd name="connsiteY266" fmla="*/ 299489 h 2066630"/>
                  <a:gd name="connsiteX267" fmla="*/ 1099361 w 1893230"/>
                  <a:gd name="connsiteY267" fmla="*/ 300665 h 2066630"/>
                  <a:gd name="connsiteX268" fmla="*/ 1103659 w 1893230"/>
                  <a:gd name="connsiteY268" fmla="*/ 302214 h 2066630"/>
                  <a:gd name="connsiteX269" fmla="*/ 1135421 w 1893230"/>
                  <a:gd name="connsiteY269" fmla="*/ 319885 h 2066630"/>
                  <a:gd name="connsiteX270" fmla="*/ 1174210 w 1893230"/>
                  <a:gd name="connsiteY270" fmla="*/ 380146 h 2066630"/>
                  <a:gd name="connsiteX271" fmla="*/ 1175326 w 1893230"/>
                  <a:gd name="connsiteY271" fmla="*/ 384585 h 2066630"/>
                  <a:gd name="connsiteX272" fmla="*/ 1176049 w 1893230"/>
                  <a:gd name="connsiteY272" fmla="*/ 389086 h 2066630"/>
                  <a:gd name="connsiteX273" fmla="*/ 1176731 w 1893230"/>
                  <a:gd name="connsiteY273" fmla="*/ 393586 h 2066630"/>
                  <a:gd name="connsiteX274" fmla="*/ 1177062 w 1893230"/>
                  <a:gd name="connsiteY274" fmla="*/ 395857 h 2066630"/>
                  <a:gd name="connsiteX275" fmla="*/ 1177186 w 1893230"/>
                  <a:gd name="connsiteY275" fmla="*/ 398128 h 2066630"/>
                  <a:gd name="connsiteX276" fmla="*/ 1177640 w 1893230"/>
                  <a:gd name="connsiteY276" fmla="*/ 407211 h 2066630"/>
                  <a:gd name="connsiteX277" fmla="*/ 1177640 w 1893230"/>
                  <a:gd name="connsiteY277" fmla="*/ 1315855 h 2066630"/>
                  <a:gd name="connsiteX278" fmla="*/ 1348272 w 1893230"/>
                  <a:gd name="connsiteY278" fmla="*/ 614213 h 2066630"/>
                  <a:gd name="connsiteX279" fmla="*/ 1219673 w 1893230"/>
                  <a:gd name="connsiteY279" fmla="*/ 774311 h 2066630"/>
                  <a:gd name="connsiteX280" fmla="*/ 1219673 w 1893230"/>
                  <a:gd name="connsiteY280" fmla="*/ 713967 h 2066630"/>
                  <a:gd name="connsiteX281" fmla="*/ 1348272 w 1893230"/>
                  <a:gd name="connsiteY281" fmla="*/ 553849 h 2066630"/>
                  <a:gd name="connsiteX282" fmla="*/ 1348272 w 1893230"/>
                  <a:gd name="connsiteY282" fmla="*/ 614213 h 2066630"/>
                  <a:gd name="connsiteX283" fmla="*/ 1851197 w 1893230"/>
                  <a:gd name="connsiteY283" fmla="*/ 1108296 h 2066630"/>
                  <a:gd name="connsiteX284" fmla="*/ 1851115 w 1893230"/>
                  <a:gd name="connsiteY284" fmla="*/ 1110526 h 2066630"/>
                  <a:gd name="connsiteX285" fmla="*/ 1850639 w 1893230"/>
                  <a:gd name="connsiteY285" fmla="*/ 1119609 h 2066630"/>
                  <a:gd name="connsiteX286" fmla="*/ 1849317 w 1893230"/>
                  <a:gd name="connsiteY286" fmla="*/ 1128631 h 2066630"/>
                  <a:gd name="connsiteX287" fmla="*/ 1848945 w 1893230"/>
                  <a:gd name="connsiteY287" fmla="*/ 1130881 h 2066630"/>
                  <a:gd name="connsiteX288" fmla="*/ 1848408 w 1893230"/>
                  <a:gd name="connsiteY288" fmla="*/ 1133111 h 2066630"/>
                  <a:gd name="connsiteX289" fmla="*/ 1847271 w 1893230"/>
                  <a:gd name="connsiteY289" fmla="*/ 1137529 h 2066630"/>
                  <a:gd name="connsiteX290" fmla="*/ 1832289 w 1893230"/>
                  <a:gd name="connsiteY290" fmla="*/ 1170663 h 2066630"/>
                  <a:gd name="connsiteX291" fmla="*/ 1807387 w 1893230"/>
                  <a:gd name="connsiteY291" fmla="*/ 1197067 h 2066630"/>
                  <a:gd name="connsiteX292" fmla="*/ 1739461 w 1893230"/>
                  <a:gd name="connsiteY292" fmla="*/ 1220168 h 2066630"/>
                  <a:gd name="connsiteX293" fmla="*/ 1500036 w 1893230"/>
                  <a:gd name="connsiteY293" fmla="*/ 1220086 h 2066630"/>
                  <a:gd name="connsiteX294" fmla="*/ 1490943 w 1893230"/>
                  <a:gd name="connsiteY294" fmla="*/ 1219611 h 2066630"/>
                  <a:gd name="connsiteX295" fmla="*/ 1481913 w 1893230"/>
                  <a:gd name="connsiteY295" fmla="*/ 1218290 h 2066630"/>
                  <a:gd name="connsiteX296" fmla="*/ 1479660 w 1893230"/>
                  <a:gd name="connsiteY296" fmla="*/ 1217918 h 2066630"/>
                  <a:gd name="connsiteX297" fmla="*/ 1477428 w 1893230"/>
                  <a:gd name="connsiteY297" fmla="*/ 1217381 h 2066630"/>
                  <a:gd name="connsiteX298" fmla="*/ 1473006 w 1893230"/>
                  <a:gd name="connsiteY298" fmla="*/ 1216246 h 2066630"/>
                  <a:gd name="connsiteX299" fmla="*/ 1468584 w 1893230"/>
                  <a:gd name="connsiteY299" fmla="*/ 1215069 h 2066630"/>
                  <a:gd name="connsiteX300" fmla="*/ 1464285 w 1893230"/>
                  <a:gd name="connsiteY300" fmla="*/ 1213521 h 2066630"/>
                  <a:gd name="connsiteX301" fmla="*/ 1432523 w 1893230"/>
                  <a:gd name="connsiteY301" fmla="*/ 1195849 h 2066630"/>
                  <a:gd name="connsiteX302" fmla="*/ 1393735 w 1893230"/>
                  <a:gd name="connsiteY302" fmla="*/ 1135588 h 2066630"/>
                  <a:gd name="connsiteX303" fmla="*/ 1392619 w 1893230"/>
                  <a:gd name="connsiteY303" fmla="*/ 1131149 h 2066630"/>
                  <a:gd name="connsiteX304" fmla="*/ 1391896 w 1893230"/>
                  <a:gd name="connsiteY304" fmla="*/ 1126649 h 2066630"/>
                  <a:gd name="connsiteX305" fmla="*/ 1391214 w 1893230"/>
                  <a:gd name="connsiteY305" fmla="*/ 1122148 h 2066630"/>
                  <a:gd name="connsiteX306" fmla="*/ 1390883 w 1893230"/>
                  <a:gd name="connsiteY306" fmla="*/ 1119878 h 2066630"/>
                  <a:gd name="connsiteX307" fmla="*/ 1390759 w 1893230"/>
                  <a:gd name="connsiteY307" fmla="*/ 1117607 h 2066630"/>
                  <a:gd name="connsiteX308" fmla="*/ 1390304 w 1893230"/>
                  <a:gd name="connsiteY308" fmla="*/ 1108523 h 2066630"/>
                  <a:gd name="connsiteX309" fmla="*/ 1390304 w 1893230"/>
                  <a:gd name="connsiteY309" fmla="*/ 199879 h 2066630"/>
                  <a:gd name="connsiteX310" fmla="*/ 1390387 w 1893230"/>
                  <a:gd name="connsiteY310" fmla="*/ 197670 h 2066630"/>
                  <a:gd name="connsiteX311" fmla="*/ 1390862 w 1893230"/>
                  <a:gd name="connsiteY311" fmla="*/ 188566 h 2066630"/>
                  <a:gd name="connsiteX312" fmla="*/ 1392206 w 1893230"/>
                  <a:gd name="connsiteY312" fmla="*/ 179545 h 2066630"/>
                  <a:gd name="connsiteX313" fmla="*/ 1392557 w 1893230"/>
                  <a:gd name="connsiteY313" fmla="*/ 177294 h 2066630"/>
                  <a:gd name="connsiteX314" fmla="*/ 1393094 w 1893230"/>
                  <a:gd name="connsiteY314" fmla="*/ 175085 h 2066630"/>
                  <a:gd name="connsiteX315" fmla="*/ 1394231 w 1893230"/>
                  <a:gd name="connsiteY315" fmla="*/ 170647 h 2066630"/>
                  <a:gd name="connsiteX316" fmla="*/ 1409213 w 1893230"/>
                  <a:gd name="connsiteY316" fmla="*/ 137533 h 2066630"/>
                  <a:gd name="connsiteX317" fmla="*/ 1434114 w 1893230"/>
                  <a:gd name="connsiteY317" fmla="*/ 111129 h 2066630"/>
                  <a:gd name="connsiteX318" fmla="*/ 1502040 w 1893230"/>
                  <a:gd name="connsiteY318" fmla="*/ 88007 h 2066630"/>
                  <a:gd name="connsiteX319" fmla="*/ 1741466 w 1893230"/>
                  <a:gd name="connsiteY319" fmla="*/ 88090 h 2066630"/>
                  <a:gd name="connsiteX320" fmla="*/ 1750558 w 1893230"/>
                  <a:gd name="connsiteY320" fmla="*/ 88565 h 2066630"/>
                  <a:gd name="connsiteX321" fmla="*/ 1759589 w 1893230"/>
                  <a:gd name="connsiteY321" fmla="*/ 89906 h 2066630"/>
                  <a:gd name="connsiteX322" fmla="*/ 1761862 w 1893230"/>
                  <a:gd name="connsiteY322" fmla="*/ 90257 h 2066630"/>
                  <a:gd name="connsiteX323" fmla="*/ 1764073 w 1893230"/>
                  <a:gd name="connsiteY323" fmla="*/ 90815 h 2066630"/>
                  <a:gd name="connsiteX324" fmla="*/ 1768496 w 1893230"/>
                  <a:gd name="connsiteY324" fmla="*/ 91930 h 2066630"/>
                  <a:gd name="connsiteX325" fmla="*/ 1772918 w 1893230"/>
                  <a:gd name="connsiteY325" fmla="*/ 93127 h 2066630"/>
                  <a:gd name="connsiteX326" fmla="*/ 1777216 w 1893230"/>
                  <a:gd name="connsiteY326" fmla="*/ 94675 h 2066630"/>
                  <a:gd name="connsiteX327" fmla="*/ 1808979 w 1893230"/>
                  <a:gd name="connsiteY327" fmla="*/ 112326 h 2066630"/>
                  <a:gd name="connsiteX328" fmla="*/ 1847767 w 1893230"/>
                  <a:gd name="connsiteY328" fmla="*/ 172608 h 2066630"/>
                  <a:gd name="connsiteX329" fmla="*/ 1848883 w 1893230"/>
                  <a:gd name="connsiteY329" fmla="*/ 177026 h 2066630"/>
                  <a:gd name="connsiteX330" fmla="*/ 1849627 w 1893230"/>
                  <a:gd name="connsiteY330" fmla="*/ 181526 h 2066630"/>
                  <a:gd name="connsiteX331" fmla="*/ 1850288 w 1893230"/>
                  <a:gd name="connsiteY331" fmla="*/ 186048 h 2066630"/>
                  <a:gd name="connsiteX332" fmla="*/ 1850619 w 1893230"/>
                  <a:gd name="connsiteY332" fmla="*/ 188298 h 2066630"/>
                  <a:gd name="connsiteX333" fmla="*/ 1850743 w 1893230"/>
                  <a:gd name="connsiteY333" fmla="*/ 190569 h 2066630"/>
                  <a:gd name="connsiteX334" fmla="*/ 1851197 w 1893230"/>
                  <a:gd name="connsiteY334" fmla="*/ 199652 h 2066630"/>
                  <a:gd name="connsiteX335" fmla="*/ 1851197 w 1893230"/>
                  <a:gd name="connsiteY335" fmla="*/ 1108296 h 2066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</a:cxnLst>
                <a:rect l="l" t="t" r="r" b="b"/>
                <a:pathLst>
                  <a:path w="1893230" h="2066630">
                    <a:moveTo>
                      <a:pt x="1892651" y="187204"/>
                    </a:moveTo>
                    <a:lnTo>
                      <a:pt x="1892445" y="184086"/>
                    </a:lnTo>
                    <a:lnTo>
                      <a:pt x="1892011" y="180969"/>
                    </a:lnTo>
                    <a:lnTo>
                      <a:pt x="1891102" y="174755"/>
                    </a:lnTo>
                    <a:cubicBezTo>
                      <a:pt x="1890771" y="172691"/>
                      <a:pt x="1890440" y="170626"/>
                      <a:pt x="1890068" y="168562"/>
                    </a:cubicBezTo>
                    <a:lnTo>
                      <a:pt x="1888560" y="162451"/>
                    </a:lnTo>
                    <a:cubicBezTo>
                      <a:pt x="1884530" y="146163"/>
                      <a:pt x="1877855" y="130473"/>
                      <a:pt x="1868680" y="116476"/>
                    </a:cubicBezTo>
                    <a:cubicBezTo>
                      <a:pt x="1859567" y="102438"/>
                      <a:pt x="1848222" y="89927"/>
                      <a:pt x="1835182" y="79481"/>
                    </a:cubicBezTo>
                    <a:cubicBezTo>
                      <a:pt x="1809123" y="58548"/>
                      <a:pt x="1775563" y="46636"/>
                      <a:pt x="1742210" y="46120"/>
                    </a:cubicBezTo>
                    <a:lnTo>
                      <a:pt x="1502040" y="46016"/>
                    </a:lnTo>
                    <a:cubicBezTo>
                      <a:pt x="1485405" y="46140"/>
                      <a:pt x="1468625" y="48865"/>
                      <a:pt x="1452692" y="54212"/>
                    </a:cubicBezTo>
                    <a:cubicBezTo>
                      <a:pt x="1436718" y="59497"/>
                      <a:pt x="1421757" y="67631"/>
                      <a:pt x="1408531" y="77809"/>
                    </a:cubicBezTo>
                    <a:cubicBezTo>
                      <a:pt x="1395285" y="88007"/>
                      <a:pt x="1383692" y="100291"/>
                      <a:pt x="1374310" y="114143"/>
                    </a:cubicBezTo>
                    <a:cubicBezTo>
                      <a:pt x="1364990" y="128057"/>
                      <a:pt x="1358025" y="143561"/>
                      <a:pt x="1353644" y="159767"/>
                    </a:cubicBezTo>
                    <a:lnTo>
                      <a:pt x="1352095" y="165857"/>
                    </a:lnTo>
                    <a:lnTo>
                      <a:pt x="1351371" y="168933"/>
                    </a:lnTo>
                    <a:lnTo>
                      <a:pt x="1350855" y="172030"/>
                    </a:lnTo>
                    <a:cubicBezTo>
                      <a:pt x="1350173" y="176159"/>
                      <a:pt x="1349532" y="180308"/>
                      <a:pt x="1349036" y="184458"/>
                    </a:cubicBezTo>
                    <a:cubicBezTo>
                      <a:pt x="1348747" y="188607"/>
                      <a:pt x="1348520" y="192778"/>
                      <a:pt x="1348375" y="196927"/>
                    </a:cubicBezTo>
                    <a:lnTo>
                      <a:pt x="1348272" y="199879"/>
                    </a:lnTo>
                    <a:lnTo>
                      <a:pt x="1348272" y="487890"/>
                    </a:lnTo>
                    <a:lnTo>
                      <a:pt x="1219673" y="648008"/>
                    </a:lnTo>
                    <a:lnTo>
                      <a:pt x="1219673" y="407211"/>
                    </a:lnTo>
                    <a:cubicBezTo>
                      <a:pt x="1219549" y="403082"/>
                      <a:pt x="1219342" y="398892"/>
                      <a:pt x="1219094" y="394742"/>
                    </a:cubicBezTo>
                    <a:lnTo>
                      <a:pt x="1218888" y="391625"/>
                    </a:lnTo>
                    <a:lnTo>
                      <a:pt x="1218454" y="388528"/>
                    </a:lnTo>
                    <a:lnTo>
                      <a:pt x="1217544" y="382314"/>
                    </a:lnTo>
                    <a:cubicBezTo>
                      <a:pt x="1217214" y="380229"/>
                      <a:pt x="1216883" y="378165"/>
                      <a:pt x="1216490" y="376121"/>
                    </a:cubicBezTo>
                    <a:lnTo>
                      <a:pt x="1215003" y="369989"/>
                    </a:lnTo>
                    <a:cubicBezTo>
                      <a:pt x="1210973" y="353722"/>
                      <a:pt x="1204298" y="338011"/>
                      <a:pt x="1195123" y="324035"/>
                    </a:cubicBezTo>
                    <a:cubicBezTo>
                      <a:pt x="1186009" y="309997"/>
                      <a:pt x="1174664" y="297486"/>
                      <a:pt x="1161604" y="287040"/>
                    </a:cubicBezTo>
                    <a:cubicBezTo>
                      <a:pt x="1135566" y="266107"/>
                      <a:pt x="1102006" y="254174"/>
                      <a:pt x="1068653" y="253658"/>
                    </a:cubicBezTo>
                    <a:lnTo>
                      <a:pt x="1061957" y="253658"/>
                    </a:lnTo>
                    <a:lnTo>
                      <a:pt x="1061957" y="109932"/>
                    </a:lnTo>
                    <a:cubicBezTo>
                      <a:pt x="1061957" y="49299"/>
                      <a:pt x="1012588" y="0"/>
                      <a:pt x="951916" y="0"/>
                    </a:cubicBezTo>
                    <a:lnTo>
                      <a:pt x="948981" y="0"/>
                    </a:lnTo>
                    <a:cubicBezTo>
                      <a:pt x="888309" y="0"/>
                      <a:pt x="838940" y="49299"/>
                      <a:pt x="838940" y="109932"/>
                    </a:cubicBezTo>
                    <a:lnTo>
                      <a:pt x="838940" y="253575"/>
                    </a:lnTo>
                    <a:lnTo>
                      <a:pt x="828483" y="253575"/>
                    </a:lnTo>
                    <a:cubicBezTo>
                      <a:pt x="811848" y="253699"/>
                      <a:pt x="795047" y="256404"/>
                      <a:pt x="779135" y="261771"/>
                    </a:cubicBezTo>
                    <a:cubicBezTo>
                      <a:pt x="763161" y="267036"/>
                      <a:pt x="748199" y="275170"/>
                      <a:pt x="734974" y="285368"/>
                    </a:cubicBezTo>
                    <a:cubicBezTo>
                      <a:pt x="721727" y="295546"/>
                      <a:pt x="710134" y="307850"/>
                      <a:pt x="700752" y="321702"/>
                    </a:cubicBezTo>
                    <a:cubicBezTo>
                      <a:pt x="691432" y="335596"/>
                      <a:pt x="684448" y="351120"/>
                      <a:pt x="680087" y="367306"/>
                    </a:cubicBezTo>
                    <a:lnTo>
                      <a:pt x="678537" y="373416"/>
                    </a:lnTo>
                    <a:lnTo>
                      <a:pt x="677814" y="376472"/>
                    </a:lnTo>
                    <a:lnTo>
                      <a:pt x="677298" y="379568"/>
                    </a:lnTo>
                    <a:cubicBezTo>
                      <a:pt x="676616" y="383718"/>
                      <a:pt x="675975" y="387847"/>
                      <a:pt x="675479" y="391996"/>
                    </a:cubicBezTo>
                    <a:cubicBezTo>
                      <a:pt x="675190" y="396146"/>
                      <a:pt x="674962" y="400316"/>
                      <a:pt x="674818" y="404486"/>
                    </a:cubicBezTo>
                    <a:lnTo>
                      <a:pt x="674714" y="407438"/>
                    </a:lnTo>
                    <a:lnTo>
                      <a:pt x="674714" y="644127"/>
                    </a:lnTo>
                    <a:lnTo>
                      <a:pt x="544938" y="482563"/>
                    </a:lnTo>
                    <a:lnTo>
                      <a:pt x="544938" y="199652"/>
                    </a:lnTo>
                    <a:cubicBezTo>
                      <a:pt x="544814" y="195544"/>
                      <a:pt x="544628" y="191353"/>
                      <a:pt x="544359" y="187204"/>
                    </a:cubicBezTo>
                    <a:lnTo>
                      <a:pt x="544153" y="184086"/>
                    </a:lnTo>
                    <a:lnTo>
                      <a:pt x="543739" y="180969"/>
                    </a:lnTo>
                    <a:lnTo>
                      <a:pt x="542809" y="174755"/>
                    </a:lnTo>
                    <a:cubicBezTo>
                      <a:pt x="542479" y="172691"/>
                      <a:pt x="542148" y="170626"/>
                      <a:pt x="541776" y="168562"/>
                    </a:cubicBezTo>
                    <a:lnTo>
                      <a:pt x="540268" y="162451"/>
                    </a:lnTo>
                    <a:cubicBezTo>
                      <a:pt x="536238" y="146163"/>
                      <a:pt x="529584" y="130473"/>
                      <a:pt x="520388" y="116476"/>
                    </a:cubicBezTo>
                    <a:cubicBezTo>
                      <a:pt x="511274" y="102438"/>
                      <a:pt x="499929" y="89927"/>
                      <a:pt x="486890" y="79481"/>
                    </a:cubicBezTo>
                    <a:cubicBezTo>
                      <a:pt x="460852" y="58548"/>
                      <a:pt x="427271" y="46636"/>
                      <a:pt x="393938" y="46120"/>
                    </a:cubicBezTo>
                    <a:lnTo>
                      <a:pt x="153769" y="46016"/>
                    </a:lnTo>
                    <a:cubicBezTo>
                      <a:pt x="137113" y="46140"/>
                      <a:pt x="120333" y="48865"/>
                      <a:pt x="104400" y="54212"/>
                    </a:cubicBezTo>
                    <a:cubicBezTo>
                      <a:pt x="88426" y="59497"/>
                      <a:pt x="73485" y="67631"/>
                      <a:pt x="60259" y="77809"/>
                    </a:cubicBezTo>
                    <a:cubicBezTo>
                      <a:pt x="46992" y="88007"/>
                      <a:pt x="35420" y="100291"/>
                      <a:pt x="26017" y="114143"/>
                    </a:cubicBezTo>
                    <a:cubicBezTo>
                      <a:pt x="16718" y="128057"/>
                      <a:pt x="9733" y="143561"/>
                      <a:pt x="5352" y="159767"/>
                    </a:cubicBezTo>
                    <a:lnTo>
                      <a:pt x="3802" y="165857"/>
                    </a:lnTo>
                    <a:lnTo>
                      <a:pt x="3079" y="168933"/>
                    </a:lnTo>
                    <a:lnTo>
                      <a:pt x="2562" y="172030"/>
                    </a:lnTo>
                    <a:cubicBezTo>
                      <a:pt x="1901" y="176159"/>
                      <a:pt x="1240" y="180308"/>
                      <a:pt x="765" y="184458"/>
                    </a:cubicBezTo>
                    <a:cubicBezTo>
                      <a:pt x="475" y="188607"/>
                      <a:pt x="248" y="192778"/>
                      <a:pt x="83" y="196927"/>
                    </a:cubicBezTo>
                    <a:lnTo>
                      <a:pt x="0" y="199879"/>
                    </a:lnTo>
                    <a:lnTo>
                      <a:pt x="0" y="1108523"/>
                    </a:lnTo>
                    <a:cubicBezTo>
                      <a:pt x="124" y="1112652"/>
                      <a:pt x="310" y="1116843"/>
                      <a:pt x="579" y="1120992"/>
                    </a:cubicBezTo>
                    <a:lnTo>
                      <a:pt x="785" y="1124110"/>
                    </a:lnTo>
                    <a:lnTo>
                      <a:pt x="1199" y="1127206"/>
                    </a:lnTo>
                    <a:lnTo>
                      <a:pt x="2129" y="1133420"/>
                    </a:lnTo>
                    <a:cubicBezTo>
                      <a:pt x="2459" y="1135505"/>
                      <a:pt x="2790" y="1137570"/>
                      <a:pt x="3162" y="1139614"/>
                    </a:cubicBezTo>
                    <a:lnTo>
                      <a:pt x="4670" y="1145745"/>
                    </a:lnTo>
                    <a:cubicBezTo>
                      <a:pt x="8700" y="1162013"/>
                      <a:pt x="15354" y="1177723"/>
                      <a:pt x="24550" y="1191700"/>
                    </a:cubicBezTo>
                    <a:cubicBezTo>
                      <a:pt x="33663" y="1205738"/>
                      <a:pt x="45009" y="1218248"/>
                      <a:pt x="58048" y="1228694"/>
                    </a:cubicBezTo>
                    <a:cubicBezTo>
                      <a:pt x="84107" y="1249628"/>
                      <a:pt x="117667" y="1261560"/>
                      <a:pt x="151020" y="1262076"/>
                    </a:cubicBezTo>
                    <a:lnTo>
                      <a:pt x="391169" y="1262159"/>
                    </a:lnTo>
                    <a:cubicBezTo>
                      <a:pt x="407825" y="1262035"/>
                      <a:pt x="424605" y="1259331"/>
                      <a:pt x="440538" y="1253963"/>
                    </a:cubicBezTo>
                    <a:cubicBezTo>
                      <a:pt x="456512" y="1248699"/>
                      <a:pt x="471453" y="1240565"/>
                      <a:pt x="484699" y="1230366"/>
                    </a:cubicBezTo>
                    <a:cubicBezTo>
                      <a:pt x="497945" y="1220189"/>
                      <a:pt x="509518" y="1207905"/>
                      <a:pt x="518920" y="1194053"/>
                    </a:cubicBezTo>
                    <a:cubicBezTo>
                      <a:pt x="528240" y="1180139"/>
                      <a:pt x="535205" y="1164614"/>
                      <a:pt x="539586" y="1148429"/>
                    </a:cubicBezTo>
                    <a:lnTo>
                      <a:pt x="541135" y="1142318"/>
                    </a:lnTo>
                    <a:lnTo>
                      <a:pt x="541859" y="1139263"/>
                    </a:lnTo>
                    <a:lnTo>
                      <a:pt x="542375" y="1136166"/>
                    </a:lnTo>
                    <a:cubicBezTo>
                      <a:pt x="543037" y="1132037"/>
                      <a:pt x="543698" y="1127888"/>
                      <a:pt x="544173" y="1123738"/>
                    </a:cubicBezTo>
                    <a:cubicBezTo>
                      <a:pt x="544463" y="1119589"/>
                      <a:pt x="544690" y="1115418"/>
                      <a:pt x="544855" y="1111248"/>
                    </a:cubicBezTo>
                    <a:lnTo>
                      <a:pt x="544938" y="1108296"/>
                    </a:lnTo>
                    <a:lnTo>
                      <a:pt x="544938" y="674846"/>
                    </a:lnTo>
                    <a:lnTo>
                      <a:pt x="674714" y="836409"/>
                    </a:lnTo>
                    <a:lnTo>
                      <a:pt x="674714" y="1316082"/>
                    </a:lnTo>
                    <a:cubicBezTo>
                      <a:pt x="674838" y="1320211"/>
                      <a:pt x="675045" y="1324402"/>
                      <a:pt x="675293" y="1328551"/>
                    </a:cubicBezTo>
                    <a:lnTo>
                      <a:pt x="675500" y="1331648"/>
                    </a:lnTo>
                    <a:lnTo>
                      <a:pt x="675934" y="1334765"/>
                    </a:lnTo>
                    <a:lnTo>
                      <a:pt x="676843" y="1340979"/>
                    </a:lnTo>
                    <a:cubicBezTo>
                      <a:pt x="677174" y="1343044"/>
                      <a:pt x="677504" y="1345108"/>
                      <a:pt x="677897" y="1347173"/>
                    </a:cubicBezTo>
                    <a:lnTo>
                      <a:pt x="679385" y="1353283"/>
                    </a:lnTo>
                    <a:cubicBezTo>
                      <a:pt x="683414" y="1369572"/>
                      <a:pt x="690089" y="1385262"/>
                      <a:pt x="699265" y="1399259"/>
                    </a:cubicBezTo>
                    <a:cubicBezTo>
                      <a:pt x="708378" y="1413297"/>
                      <a:pt x="719723" y="1425807"/>
                      <a:pt x="732783" y="1436253"/>
                    </a:cubicBezTo>
                    <a:cubicBezTo>
                      <a:pt x="758821" y="1457187"/>
                      <a:pt x="792381" y="1469099"/>
                      <a:pt x="825735" y="1469615"/>
                    </a:cubicBezTo>
                    <a:lnTo>
                      <a:pt x="838940" y="1469615"/>
                    </a:lnTo>
                    <a:lnTo>
                      <a:pt x="838940" y="1956699"/>
                    </a:lnTo>
                    <a:cubicBezTo>
                      <a:pt x="838940" y="2017332"/>
                      <a:pt x="888309" y="2066631"/>
                      <a:pt x="948981" y="2066631"/>
                    </a:cubicBezTo>
                    <a:lnTo>
                      <a:pt x="951916" y="2066631"/>
                    </a:lnTo>
                    <a:cubicBezTo>
                      <a:pt x="1012588" y="2066631"/>
                      <a:pt x="1061957" y="2017332"/>
                      <a:pt x="1061957" y="1956699"/>
                    </a:cubicBezTo>
                    <a:lnTo>
                      <a:pt x="1061957" y="1469718"/>
                    </a:lnTo>
                    <a:lnTo>
                      <a:pt x="1065904" y="1469718"/>
                    </a:lnTo>
                    <a:cubicBezTo>
                      <a:pt x="1074232" y="1469656"/>
                      <a:pt x="1082581" y="1468954"/>
                      <a:pt x="1090847" y="1467571"/>
                    </a:cubicBezTo>
                    <a:cubicBezTo>
                      <a:pt x="1099113" y="1466208"/>
                      <a:pt x="1107296" y="1464206"/>
                      <a:pt x="1115252" y="1461522"/>
                    </a:cubicBezTo>
                    <a:cubicBezTo>
                      <a:pt x="1131226" y="1456258"/>
                      <a:pt x="1146188" y="1448124"/>
                      <a:pt x="1159414" y="1437926"/>
                    </a:cubicBezTo>
                    <a:cubicBezTo>
                      <a:pt x="1172660" y="1427748"/>
                      <a:pt x="1184253" y="1415444"/>
                      <a:pt x="1193635" y="1401591"/>
                    </a:cubicBezTo>
                    <a:cubicBezTo>
                      <a:pt x="1202955" y="1387677"/>
                      <a:pt x="1209919" y="1372173"/>
                      <a:pt x="1214300" y="1355967"/>
                    </a:cubicBezTo>
                    <a:lnTo>
                      <a:pt x="1215850" y="1349877"/>
                    </a:lnTo>
                    <a:lnTo>
                      <a:pt x="1216573" y="1346801"/>
                    </a:lnTo>
                    <a:lnTo>
                      <a:pt x="1217090" y="1343704"/>
                    </a:lnTo>
                    <a:cubicBezTo>
                      <a:pt x="1217772" y="1339576"/>
                      <a:pt x="1218412" y="1335426"/>
                      <a:pt x="1218908" y="1331276"/>
                    </a:cubicBezTo>
                    <a:cubicBezTo>
                      <a:pt x="1219198" y="1327127"/>
                      <a:pt x="1219425" y="1322977"/>
                      <a:pt x="1219570" y="1318807"/>
                    </a:cubicBezTo>
                    <a:lnTo>
                      <a:pt x="1219673" y="1315855"/>
                    </a:lnTo>
                    <a:lnTo>
                      <a:pt x="1219673" y="840290"/>
                    </a:lnTo>
                    <a:lnTo>
                      <a:pt x="1348272" y="680172"/>
                    </a:lnTo>
                    <a:lnTo>
                      <a:pt x="1348272" y="1108523"/>
                    </a:lnTo>
                    <a:cubicBezTo>
                      <a:pt x="1348396" y="1112652"/>
                      <a:pt x="1348602" y="1116843"/>
                      <a:pt x="1348850" y="1120992"/>
                    </a:cubicBezTo>
                    <a:lnTo>
                      <a:pt x="1349078" y="1124110"/>
                    </a:lnTo>
                    <a:lnTo>
                      <a:pt x="1349491" y="1127206"/>
                    </a:lnTo>
                    <a:lnTo>
                      <a:pt x="1350400" y="1133420"/>
                    </a:lnTo>
                    <a:cubicBezTo>
                      <a:pt x="1350731" y="1135505"/>
                      <a:pt x="1351061" y="1137570"/>
                      <a:pt x="1351454" y="1139614"/>
                    </a:cubicBezTo>
                    <a:lnTo>
                      <a:pt x="1352942" y="1145745"/>
                    </a:lnTo>
                    <a:cubicBezTo>
                      <a:pt x="1356972" y="1162013"/>
                      <a:pt x="1363646" y="1177723"/>
                      <a:pt x="1372842" y="1191700"/>
                    </a:cubicBezTo>
                    <a:cubicBezTo>
                      <a:pt x="1381956" y="1205738"/>
                      <a:pt x="1393280" y="1218248"/>
                      <a:pt x="1406340" y="1228694"/>
                    </a:cubicBezTo>
                    <a:cubicBezTo>
                      <a:pt x="1432378" y="1249628"/>
                      <a:pt x="1465938" y="1261560"/>
                      <a:pt x="1499292" y="1262076"/>
                    </a:cubicBezTo>
                    <a:lnTo>
                      <a:pt x="1739461" y="1262159"/>
                    </a:lnTo>
                    <a:cubicBezTo>
                      <a:pt x="1756097" y="1262035"/>
                      <a:pt x="1772897" y="1259331"/>
                      <a:pt x="1788809" y="1253963"/>
                    </a:cubicBezTo>
                    <a:cubicBezTo>
                      <a:pt x="1804784" y="1248699"/>
                      <a:pt x="1819745" y="1240565"/>
                      <a:pt x="1832971" y="1230366"/>
                    </a:cubicBezTo>
                    <a:cubicBezTo>
                      <a:pt x="1846217" y="1220189"/>
                      <a:pt x="1857810" y="1207905"/>
                      <a:pt x="1867213" y="1194053"/>
                    </a:cubicBezTo>
                    <a:cubicBezTo>
                      <a:pt x="1876512" y="1180139"/>
                      <a:pt x="1883497" y="1164614"/>
                      <a:pt x="1887857" y="1148429"/>
                    </a:cubicBezTo>
                    <a:lnTo>
                      <a:pt x="1889407" y="1142318"/>
                    </a:lnTo>
                    <a:lnTo>
                      <a:pt x="1890130" y="1139263"/>
                    </a:lnTo>
                    <a:lnTo>
                      <a:pt x="1890647" y="1136166"/>
                    </a:lnTo>
                    <a:cubicBezTo>
                      <a:pt x="1891329" y="1132037"/>
                      <a:pt x="1891969" y="1127888"/>
                      <a:pt x="1892465" y="1123738"/>
                    </a:cubicBezTo>
                    <a:cubicBezTo>
                      <a:pt x="1892755" y="1119589"/>
                      <a:pt x="1892982" y="1115418"/>
                      <a:pt x="1893127" y="1111248"/>
                    </a:cubicBezTo>
                    <a:lnTo>
                      <a:pt x="1893230" y="1108296"/>
                    </a:lnTo>
                    <a:lnTo>
                      <a:pt x="1893230" y="199652"/>
                    </a:lnTo>
                    <a:cubicBezTo>
                      <a:pt x="1893106" y="195544"/>
                      <a:pt x="1892899" y="191353"/>
                      <a:pt x="1892651" y="187204"/>
                    </a:cubicBezTo>
                    <a:close/>
                    <a:moveTo>
                      <a:pt x="502905" y="1108296"/>
                    </a:moveTo>
                    <a:lnTo>
                      <a:pt x="502822" y="1110526"/>
                    </a:lnTo>
                    <a:lnTo>
                      <a:pt x="502347" y="1119609"/>
                    </a:lnTo>
                    <a:cubicBezTo>
                      <a:pt x="501975" y="1122623"/>
                      <a:pt x="501479" y="1125637"/>
                      <a:pt x="501025" y="1128631"/>
                    </a:cubicBezTo>
                    <a:lnTo>
                      <a:pt x="500673" y="1130881"/>
                    </a:lnTo>
                    <a:lnTo>
                      <a:pt x="500115" y="1133111"/>
                    </a:lnTo>
                    <a:lnTo>
                      <a:pt x="498999" y="1137529"/>
                    </a:lnTo>
                    <a:cubicBezTo>
                      <a:pt x="495817" y="1149275"/>
                      <a:pt x="490775" y="1160526"/>
                      <a:pt x="484017" y="1170663"/>
                    </a:cubicBezTo>
                    <a:cubicBezTo>
                      <a:pt x="477177" y="1180717"/>
                      <a:pt x="468725" y="1189656"/>
                      <a:pt x="459095" y="1197067"/>
                    </a:cubicBezTo>
                    <a:cubicBezTo>
                      <a:pt x="439939" y="1212138"/>
                      <a:pt x="415430" y="1219982"/>
                      <a:pt x="391169" y="1220168"/>
                    </a:cubicBezTo>
                    <a:lnTo>
                      <a:pt x="151764" y="1220086"/>
                    </a:lnTo>
                    <a:lnTo>
                      <a:pt x="142651" y="1219611"/>
                    </a:lnTo>
                    <a:cubicBezTo>
                      <a:pt x="139634" y="1219239"/>
                      <a:pt x="136637" y="1218744"/>
                      <a:pt x="133620" y="1218290"/>
                    </a:cubicBezTo>
                    <a:lnTo>
                      <a:pt x="131368" y="1217918"/>
                    </a:lnTo>
                    <a:lnTo>
                      <a:pt x="129157" y="1217381"/>
                    </a:lnTo>
                    <a:lnTo>
                      <a:pt x="124714" y="1216246"/>
                    </a:lnTo>
                    <a:cubicBezTo>
                      <a:pt x="123246" y="1215854"/>
                      <a:pt x="121759" y="1215503"/>
                      <a:pt x="120312" y="1215069"/>
                    </a:cubicBezTo>
                    <a:lnTo>
                      <a:pt x="116014" y="1213521"/>
                    </a:lnTo>
                    <a:cubicBezTo>
                      <a:pt x="104565" y="1209392"/>
                      <a:pt x="93675" y="1203529"/>
                      <a:pt x="84231" y="1195849"/>
                    </a:cubicBezTo>
                    <a:cubicBezTo>
                      <a:pt x="65302" y="1180675"/>
                      <a:pt x="51105" y="1159350"/>
                      <a:pt x="45442" y="1135588"/>
                    </a:cubicBezTo>
                    <a:lnTo>
                      <a:pt x="44327" y="1131149"/>
                    </a:lnTo>
                    <a:lnTo>
                      <a:pt x="43603" y="1126649"/>
                    </a:lnTo>
                    <a:lnTo>
                      <a:pt x="42921" y="1122148"/>
                    </a:lnTo>
                    <a:lnTo>
                      <a:pt x="42611" y="1119878"/>
                    </a:lnTo>
                    <a:lnTo>
                      <a:pt x="42467" y="1117607"/>
                    </a:lnTo>
                    <a:lnTo>
                      <a:pt x="42033" y="1108523"/>
                    </a:lnTo>
                    <a:lnTo>
                      <a:pt x="42033" y="199879"/>
                    </a:lnTo>
                    <a:lnTo>
                      <a:pt x="42115" y="197670"/>
                    </a:lnTo>
                    <a:lnTo>
                      <a:pt x="42591" y="188566"/>
                    </a:lnTo>
                    <a:cubicBezTo>
                      <a:pt x="42963" y="185552"/>
                      <a:pt x="43459" y="182559"/>
                      <a:pt x="43913" y="179545"/>
                    </a:cubicBezTo>
                    <a:lnTo>
                      <a:pt x="44285" y="177294"/>
                    </a:lnTo>
                    <a:lnTo>
                      <a:pt x="44823" y="175085"/>
                    </a:lnTo>
                    <a:lnTo>
                      <a:pt x="45959" y="170647"/>
                    </a:lnTo>
                    <a:cubicBezTo>
                      <a:pt x="49142" y="158900"/>
                      <a:pt x="54163" y="147649"/>
                      <a:pt x="60921" y="137533"/>
                    </a:cubicBezTo>
                    <a:cubicBezTo>
                      <a:pt x="67781" y="127479"/>
                      <a:pt x="76213" y="118540"/>
                      <a:pt x="85843" y="111129"/>
                    </a:cubicBezTo>
                    <a:cubicBezTo>
                      <a:pt x="104999" y="96038"/>
                      <a:pt x="129508" y="88214"/>
                      <a:pt x="153769" y="88007"/>
                    </a:cubicBezTo>
                    <a:lnTo>
                      <a:pt x="393174" y="88090"/>
                    </a:lnTo>
                    <a:lnTo>
                      <a:pt x="402287" y="88565"/>
                    </a:lnTo>
                    <a:cubicBezTo>
                      <a:pt x="405304" y="88957"/>
                      <a:pt x="408300" y="89432"/>
                      <a:pt x="411317" y="89906"/>
                    </a:cubicBezTo>
                    <a:lnTo>
                      <a:pt x="413570" y="90257"/>
                    </a:lnTo>
                    <a:lnTo>
                      <a:pt x="415781" y="90815"/>
                    </a:lnTo>
                    <a:lnTo>
                      <a:pt x="420224" y="91930"/>
                    </a:lnTo>
                    <a:cubicBezTo>
                      <a:pt x="421691" y="92322"/>
                      <a:pt x="423179" y="92693"/>
                      <a:pt x="424626" y="93127"/>
                    </a:cubicBezTo>
                    <a:lnTo>
                      <a:pt x="428924" y="94675"/>
                    </a:lnTo>
                    <a:cubicBezTo>
                      <a:pt x="440373" y="98784"/>
                      <a:pt x="451263" y="104647"/>
                      <a:pt x="460707" y="112326"/>
                    </a:cubicBezTo>
                    <a:cubicBezTo>
                      <a:pt x="479636" y="127500"/>
                      <a:pt x="493833" y="148846"/>
                      <a:pt x="499495" y="172608"/>
                    </a:cubicBezTo>
                    <a:lnTo>
                      <a:pt x="500611" y="177026"/>
                    </a:lnTo>
                    <a:lnTo>
                      <a:pt x="501335" y="181526"/>
                    </a:lnTo>
                    <a:lnTo>
                      <a:pt x="502016" y="186048"/>
                    </a:lnTo>
                    <a:lnTo>
                      <a:pt x="502347" y="188298"/>
                    </a:lnTo>
                    <a:lnTo>
                      <a:pt x="502471" y="190569"/>
                    </a:lnTo>
                    <a:lnTo>
                      <a:pt x="502905" y="199652"/>
                    </a:lnTo>
                    <a:lnTo>
                      <a:pt x="502905" y="1108296"/>
                    </a:lnTo>
                    <a:close/>
                    <a:moveTo>
                      <a:pt x="674714" y="770450"/>
                    </a:moveTo>
                    <a:lnTo>
                      <a:pt x="544938" y="608887"/>
                    </a:lnTo>
                    <a:lnTo>
                      <a:pt x="544938" y="548543"/>
                    </a:lnTo>
                    <a:lnTo>
                      <a:pt x="674714" y="710086"/>
                    </a:lnTo>
                    <a:lnTo>
                      <a:pt x="674714" y="770450"/>
                    </a:lnTo>
                    <a:close/>
                    <a:moveTo>
                      <a:pt x="880270" y="109932"/>
                    </a:moveTo>
                    <a:cubicBezTo>
                      <a:pt x="880270" y="72090"/>
                      <a:pt x="911102" y="41289"/>
                      <a:pt x="948981" y="41289"/>
                    </a:cubicBezTo>
                    <a:lnTo>
                      <a:pt x="951916" y="41289"/>
                    </a:lnTo>
                    <a:cubicBezTo>
                      <a:pt x="989795" y="41289"/>
                      <a:pt x="1020627" y="72090"/>
                      <a:pt x="1020627" y="109932"/>
                    </a:cubicBezTo>
                    <a:lnTo>
                      <a:pt x="1020627" y="253637"/>
                    </a:lnTo>
                    <a:lnTo>
                      <a:pt x="880270" y="253575"/>
                    </a:lnTo>
                    <a:lnTo>
                      <a:pt x="880270" y="109932"/>
                    </a:lnTo>
                    <a:close/>
                    <a:moveTo>
                      <a:pt x="1020627" y="1956699"/>
                    </a:moveTo>
                    <a:cubicBezTo>
                      <a:pt x="1020627" y="1994541"/>
                      <a:pt x="989795" y="2025342"/>
                      <a:pt x="951916" y="2025342"/>
                    </a:cubicBezTo>
                    <a:lnTo>
                      <a:pt x="948981" y="2025342"/>
                    </a:lnTo>
                    <a:cubicBezTo>
                      <a:pt x="911102" y="2025342"/>
                      <a:pt x="880270" y="1994541"/>
                      <a:pt x="880270" y="1956699"/>
                    </a:cubicBezTo>
                    <a:lnTo>
                      <a:pt x="880270" y="1469635"/>
                    </a:lnTo>
                    <a:lnTo>
                      <a:pt x="1020627" y="1469697"/>
                    </a:lnTo>
                    <a:lnTo>
                      <a:pt x="1020627" y="1956699"/>
                    </a:lnTo>
                    <a:close/>
                    <a:moveTo>
                      <a:pt x="1177640" y="1315855"/>
                    </a:moveTo>
                    <a:lnTo>
                      <a:pt x="1177558" y="1318064"/>
                    </a:lnTo>
                    <a:lnTo>
                      <a:pt x="1177082" y="1327168"/>
                    </a:lnTo>
                    <a:cubicBezTo>
                      <a:pt x="1176710" y="1330182"/>
                      <a:pt x="1176214" y="1333176"/>
                      <a:pt x="1175739" y="1336190"/>
                    </a:cubicBezTo>
                    <a:lnTo>
                      <a:pt x="1175388" y="1338440"/>
                    </a:lnTo>
                    <a:lnTo>
                      <a:pt x="1174850" y="1340649"/>
                    </a:lnTo>
                    <a:lnTo>
                      <a:pt x="1173714" y="1345088"/>
                    </a:lnTo>
                    <a:cubicBezTo>
                      <a:pt x="1170531" y="1356834"/>
                      <a:pt x="1165510" y="1368086"/>
                      <a:pt x="1158732" y="1378201"/>
                    </a:cubicBezTo>
                    <a:cubicBezTo>
                      <a:pt x="1151891" y="1388276"/>
                      <a:pt x="1143460" y="1397194"/>
                      <a:pt x="1133830" y="1404605"/>
                    </a:cubicBezTo>
                    <a:cubicBezTo>
                      <a:pt x="1114674" y="1419697"/>
                      <a:pt x="1090144" y="1427521"/>
                      <a:pt x="1065904" y="1427727"/>
                    </a:cubicBezTo>
                    <a:lnTo>
                      <a:pt x="1061957" y="1427727"/>
                    </a:lnTo>
                    <a:lnTo>
                      <a:pt x="1020627" y="1427686"/>
                    </a:lnTo>
                    <a:lnTo>
                      <a:pt x="880270" y="1427645"/>
                    </a:lnTo>
                    <a:lnTo>
                      <a:pt x="826479" y="1427645"/>
                    </a:lnTo>
                    <a:lnTo>
                      <a:pt x="817386" y="1427170"/>
                    </a:lnTo>
                    <a:cubicBezTo>
                      <a:pt x="814369" y="1426778"/>
                      <a:pt x="811352" y="1426303"/>
                      <a:pt x="808355" y="1425828"/>
                    </a:cubicBezTo>
                    <a:lnTo>
                      <a:pt x="806103" y="1425477"/>
                    </a:lnTo>
                    <a:lnTo>
                      <a:pt x="803871" y="1424940"/>
                    </a:lnTo>
                    <a:lnTo>
                      <a:pt x="799449" y="1423805"/>
                    </a:lnTo>
                    <a:cubicBezTo>
                      <a:pt x="797982" y="1423413"/>
                      <a:pt x="796494" y="1423041"/>
                      <a:pt x="795026" y="1422628"/>
                    </a:cubicBezTo>
                    <a:lnTo>
                      <a:pt x="790728" y="1421080"/>
                    </a:lnTo>
                    <a:cubicBezTo>
                      <a:pt x="779280" y="1416951"/>
                      <a:pt x="768389" y="1411088"/>
                      <a:pt x="758966" y="1403408"/>
                    </a:cubicBezTo>
                    <a:cubicBezTo>
                      <a:pt x="740037" y="1388234"/>
                      <a:pt x="725840" y="1366888"/>
                      <a:pt x="720178" y="1343126"/>
                    </a:cubicBezTo>
                    <a:lnTo>
                      <a:pt x="719062" y="1338709"/>
                    </a:lnTo>
                    <a:lnTo>
                      <a:pt x="718338" y="1334208"/>
                    </a:lnTo>
                    <a:lnTo>
                      <a:pt x="717656" y="1329687"/>
                    </a:lnTo>
                    <a:lnTo>
                      <a:pt x="717326" y="1327437"/>
                    </a:lnTo>
                    <a:lnTo>
                      <a:pt x="717202" y="1325166"/>
                    </a:lnTo>
                    <a:lnTo>
                      <a:pt x="716747" y="1316082"/>
                    </a:lnTo>
                    <a:lnTo>
                      <a:pt x="716747" y="407438"/>
                    </a:lnTo>
                    <a:lnTo>
                      <a:pt x="716830" y="405209"/>
                    </a:lnTo>
                    <a:lnTo>
                      <a:pt x="717305" y="396125"/>
                    </a:lnTo>
                    <a:cubicBezTo>
                      <a:pt x="717677" y="393111"/>
                      <a:pt x="718173" y="390097"/>
                      <a:pt x="718648" y="387104"/>
                    </a:cubicBezTo>
                    <a:lnTo>
                      <a:pt x="719000" y="384853"/>
                    </a:lnTo>
                    <a:lnTo>
                      <a:pt x="719537" y="382624"/>
                    </a:lnTo>
                    <a:lnTo>
                      <a:pt x="720674" y="378206"/>
                    </a:lnTo>
                    <a:cubicBezTo>
                      <a:pt x="723856" y="366459"/>
                      <a:pt x="728878" y="355208"/>
                      <a:pt x="735656" y="345072"/>
                    </a:cubicBezTo>
                    <a:cubicBezTo>
                      <a:pt x="742496" y="335018"/>
                      <a:pt x="750927" y="326079"/>
                      <a:pt x="760557" y="318667"/>
                    </a:cubicBezTo>
                    <a:cubicBezTo>
                      <a:pt x="779714" y="303597"/>
                      <a:pt x="804243" y="295752"/>
                      <a:pt x="828483" y="295566"/>
                    </a:cubicBezTo>
                    <a:lnTo>
                      <a:pt x="880270" y="295566"/>
                    </a:lnTo>
                    <a:lnTo>
                      <a:pt x="1020627" y="295649"/>
                    </a:lnTo>
                    <a:lnTo>
                      <a:pt x="1067909" y="295649"/>
                    </a:lnTo>
                    <a:lnTo>
                      <a:pt x="1077001" y="296124"/>
                    </a:lnTo>
                    <a:cubicBezTo>
                      <a:pt x="1080018" y="296495"/>
                      <a:pt x="1083036" y="296991"/>
                      <a:pt x="1086032" y="297445"/>
                    </a:cubicBezTo>
                    <a:lnTo>
                      <a:pt x="1088284" y="297816"/>
                    </a:lnTo>
                    <a:lnTo>
                      <a:pt x="1090516" y="298353"/>
                    </a:lnTo>
                    <a:lnTo>
                      <a:pt x="1094939" y="299489"/>
                    </a:lnTo>
                    <a:cubicBezTo>
                      <a:pt x="1096406" y="299881"/>
                      <a:pt x="1097894" y="300232"/>
                      <a:pt x="1099361" y="300665"/>
                    </a:cubicBezTo>
                    <a:lnTo>
                      <a:pt x="1103659" y="302214"/>
                    </a:lnTo>
                    <a:cubicBezTo>
                      <a:pt x="1115108" y="306343"/>
                      <a:pt x="1125998" y="312206"/>
                      <a:pt x="1135421" y="319885"/>
                    </a:cubicBezTo>
                    <a:cubicBezTo>
                      <a:pt x="1154351" y="335059"/>
                      <a:pt x="1168547" y="356385"/>
                      <a:pt x="1174210" y="380146"/>
                    </a:cubicBezTo>
                    <a:lnTo>
                      <a:pt x="1175326" y="384585"/>
                    </a:lnTo>
                    <a:lnTo>
                      <a:pt x="1176049" y="389086"/>
                    </a:lnTo>
                    <a:lnTo>
                      <a:pt x="1176731" y="393586"/>
                    </a:lnTo>
                    <a:lnTo>
                      <a:pt x="1177062" y="395857"/>
                    </a:lnTo>
                    <a:lnTo>
                      <a:pt x="1177186" y="398128"/>
                    </a:lnTo>
                    <a:lnTo>
                      <a:pt x="1177640" y="407211"/>
                    </a:lnTo>
                    <a:lnTo>
                      <a:pt x="1177640" y="1315855"/>
                    </a:lnTo>
                    <a:close/>
                    <a:moveTo>
                      <a:pt x="1348272" y="614213"/>
                    </a:moveTo>
                    <a:lnTo>
                      <a:pt x="1219673" y="774311"/>
                    </a:lnTo>
                    <a:lnTo>
                      <a:pt x="1219673" y="713967"/>
                    </a:lnTo>
                    <a:lnTo>
                      <a:pt x="1348272" y="553849"/>
                    </a:lnTo>
                    <a:lnTo>
                      <a:pt x="1348272" y="614213"/>
                    </a:lnTo>
                    <a:close/>
                    <a:moveTo>
                      <a:pt x="1851197" y="1108296"/>
                    </a:moveTo>
                    <a:lnTo>
                      <a:pt x="1851115" y="1110526"/>
                    </a:lnTo>
                    <a:lnTo>
                      <a:pt x="1850639" y="1119609"/>
                    </a:lnTo>
                    <a:cubicBezTo>
                      <a:pt x="1850267" y="1122623"/>
                      <a:pt x="1849771" y="1125637"/>
                      <a:pt x="1849317" y="1128631"/>
                    </a:cubicBezTo>
                    <a:lnTo>
                      <a:pt x="1848945" y="1130881"/>
                    </a:lnTo>
                    <a:lnTo>
                      <a:pt x="1848408" y="1133111"/>
                    </a:lnTo>
                    <a:lnTo>
                      <a:pt x="1847271" y="1137529"/>
                    </a:lnTo>
                    <a:cubicBezTo>
                      <a:pt x="1844089" y="1149275"/>
                      <a:pt x="1839067" y="1160526"/>
                      <a:pt x="1832289" y="1170663"/>
                    </a:cubicBezTo>
                    <a:cubicBezTo>
                      <a:pt x="1825449" y="1180717"/>
                      <a:pt x="1817017" y="1189656"/>
                      <a:pt x="1807387" y="1197067"/>
                    </a:cubicBezTo>
                    <a:cubicBezTo>
                      <a:pt x="1788231" y="1212138"/>
                      <a:pt x="1763701" y="1219982"/>
                      <a:pt x="1739461" y="1220168"/>
                    </a:cubicBezTo>
                    <a:lnTo>
                      <a:pt x="1500036" y="1220086"/>
                    </a:lnTo>
                    <a:lnTo>
                      <a:pt x="1490943" y="1219611"/>
                    </a:lnTo>
                    <a:cubicBezTo>
                      <a:pt x="1487926" y="1219239"/>
                      <a:pt x="1484909" y="1218744"/>
                      <a:pt x="1481913" y="1218290"/>
                    </a:cubicBezTo>
                    <a:lnTo>
                      <a:pt x="1479660" y="1217918"/>
                    </a:lnTo>
                    <a:lnTo>
                      <a:pt x="1477428" y="1217381"/>
                    </a:lnTo>
                    <a:lnTo>
                      <a:pt x="1473006" y="1216246"/>
                    </a:lnTo>
                    <a:cubicBezTo>
                      <a:pt x="1471539" y="1215854"/>
                      <a:pt x="1470051" y="1215503"/>
                      <a:pt x="1468584" y="1215069"/>
                    </a:cubicBezTo>
                    <a:lnTo>
                      <a:pt x="1464285" y="1213521"/>
                    </a:lnTo>
                    <a:cubicBezTo>
                      <a:pt x="1452837" y="1209392"/>
                      <a:pt x="1441946" y="1203529"/>
                      <a:pt x="1432523" y="1195849"/>
                    </a:cubicBezTo>
                    <a:cubicBezTo>
                      <a:pt x="1413594" y="1180675"/>
                      <a:pt x="1399397" y="1159350"/>
                      <a:pt x="1393735" y="1135588"/>
                    </a:cubicBezTo>
                    <a:lnTo>
                      <a:pt x="1392619" y="1131149"/>
                    </a:lnTo>
                    <a:lnTo>
                      <a:pt x="1391896" y="1126649"/>
                    </a:lnTo>
                    <a:lnTo>
                      <a:pt x="1391214" y="1122148"/>
                    </a:lnTo>
                    <a:lnTo>
                      <a:pt x="1390883" y="1119878"/>
                    </a:lnTo>
                    <a:lnTo>
                      <a:pt x="1390759" y="1117607"/>
                    </a:lnTo>
                    <a:lnTo>
                      <a:pt x="1390304" y="1108523"/>
                    </a:lnTo>
                    <a:lnTo>
                      <a:pt x="1390304" y="199879"/>
                    </a:lnTo>
                    <a:lnTo>
                      <a:pt x="1390387" y="197670"/>
                    </a:lnTo>
                    <a:lnTo>
                      <a:pt x="1390862" y="188566"/>
                    </a:lnTo>
                    <a:cubicBezTo>
                      <a:pt x="1391234" y="185552"/>
                      <a:pt x="1391730" y="182559"/>
                      <a:pt x="1392206" y="179545"/>
                    </a:cubicBezTo>
                    <a:lnTo>
                      <a:pt x="1392557" y="177294"/>
                    </a:lnTo>
                    <a:lnTo>
                      <a:pt x="1393094" y="175085"/>
                    </a:lnTo>
                    <a:lnTo>
                      <a:pt x="1394231" y="170647"/>
                    </a:lnTo>
                    <a:cubicBezTo>
                      <a:pt x="1397413" y="158900"/>
                      <a:pt x="1402455" y="147649"/>
                      <a:pt x="1409213" y="137533"/>
                    </a:cubicBezTo>
                    <a:cubicBezTo>
                      <a:pt x="1416053" y="127479"/>
                      <a:pt x="1424484" y="118540"/>
                      <a:pt x="1434114" y="111129"/>
                    </a:cubicBezTo>
                    <a:cubicBezTo>
                      <a:pt x="1453291" y="96038"/>
                      <a:pt x="1477800" y="88214"/>
                      <a:pt x="1502040" y="88007"/>
                    </a:cubicBezTo>
                    <a:lnTo>
                      <a:pt x="1741466" y="88090"/>
                    </a:lnTo>
                    <a:lnTo>
                      <a:pt x="1750558" y="88565"/>
                    </a:lnTo>
                    <a:cubicBezTo>
                      <a:pt x="1753576" y="88957"/>
                      <a:pt x="1756593" y="89432"/>
                      <a:pt x="1759589" y="89906"/>
                    </a:cubicBezTo>
                    <a:lnTo>
                      <a:pt x="1761862" y="90257"/>
                    </a:lnTo>
                    <a:lnTo>
                      <a:pt x="1764073" y="90815"/>
                    </a:lnTo>
                    <a:lnTo>
                      <a:pt x="1768496" y="91930"/>
                    </a:lnTo>
                    <a:cubicBezTo>
                      <a:pt x="1769984" y="92322"/>
                      <a:pt x="1771451" y="92693"/>
                      <a:pt x="1772918" y="93127"/>
                    </a:cubicBezTo>
                    <a:lnTo>
                      <a:pt x="1777216" y="94675"/>
                    </a:lnTo>
                    <a:cubicBezTo>
                      <a:pt x="1788665" y="98784"/>
                      <a:pt x="1799555" y="104647"/>
                      <a:pt x="1808979" y="112326"/>
                    </a:cubicBezTo>
                    <a:cubicBezTo>
                      <a:pt x="1827908" y="127500"/>
                      <a:pt x="1842105" y="148846"/>
                      <a:pt x="1847767" y="172608"/>
                    </a:cubicBezTo>
                    <a:lnTo>
                      <a:pt x="1848883" y="177026"/>
                    </a:lnTo>
                    <a:lnTo>
                      <a:pt x="1849627" y="181526"/>
                    </a:lnTo>
                    <a:lnTo>
                      <a:pt x="1850288" y="186048"/>
                    </a:lnTo>
                    <a:lnTo>
                      <a:pt x="1850619" y="188298"/>
                    </a:lnTo>
                    <a:lnTo>
                      <a:pt x="1850743" y="190569"/>
                    </a:lnTo>
                    <a:lnTo>
                      <a:pt x="1851197" y="199652"/>
                    </a:lnTo>
                    <a:lnTo>
                      <a:pt x="1851197" y="1108296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54" name="Freeform 89">
                <a:extLst>
                  <a:ext uri="{FF2B5EF4-FFF2-40B4-BE49-F238E27FC236}">
                    <a16:creationId xmlns:a16="http://schemas.microsoft.com/office/drawing/2014/main" id="{90761638-7E4F-CEDF-5BC6-D6FD12C4C5AB}"/>
                  </a:ext>
                </a:extLst>
              </p:cNvPr>
              <p:cNvSpPr/>
              <p:nvPr/>
            </p:nvSpPr>
            <p:spPr>
              <a:xfrm>
                <a:off x="3128533" y="3074729"/>
                <a:ext cx="379637" cy="1050966"/>
              </a:xfrm>
              <a:custGeom>
                <a:avLst/>
                <a:gdLst>
                  <a:gd name="connsiteX0" fmla="*/ 379328 w 379637"/>
                  <a:gd name="connsiteY0" fmla="*/ 65236 h 1050966"/>
                  <a:gd name="connsiteX1" fmla="*/ 379266 w 379637"/>
                  <a:gd name="connsiteY1" fmla="*/ 63771 h 1050966"/>
                  <a:gd name="connsiteX2" fmla="*/ 379039 w 379637"/>
                  <a:gd name="connsiteY2" fmla="*/ 62346 h 1050966"/>
                  <a:gd name="connsiteX3" fmla="*/ 378584 w 379637"/>
                  <a:gd name="connsiteY3" fmla="*/ 59477 h 1050966"/>
                  <a:gd name="connsiteX4" fmla="*/ 378171 w 379637"/>
                  <a:gd name="connsiteY4" fmla="*/ 56607 h 1050966"/>
                  <a:gd name="connsiteX5" fmla="*/ 377427 w 379637"/>
                  <a:gd name="connsiteY5" fmla="*/ 53820 h 1050966"/>
                  <a:gd name="connsiteX6" fmla="*/ 352732 w 379637"/>
                  <a:gd name="connsiteY6" fmla="*/ 15483 h 1050966"/>
                  <a:gd name="connsiteX7" fmla="*/ 332542 w 379637"/>
                  <a:gd name="connsiteY7" fmla="*/ 4253 h 1050966"/>
                  <a:gd name="connsiteX8" fmla="*/ 329835 w 379637"/>
                  <a:gd name="connsiteY8" fmla="*/ 3241 h 1050966"/>
                  <a:gd name="connsiteX9" fmla="*/ 327025 w 379637"/>
                  <a:gd name="connsiteY9" fmla="*/ 2539 h 1050966"/>
                  <a:gd name="connsiteX10" fmla="*/ 324214 w 379637"/>
                  <a:gd name="connsiteY10" fmla="*/ 1796 h 1050966"/>
                  <a:gd name="connsiteX11" fmla="*/ 322809 w 379637"/>
                  <a:gd name="connsiteY11" fmla="*/ 1424 h 1050966"/>
                  <a:gd name="connsiteX12" fmla="*/ 321362 w 379637"/>
                  <a:gd name="connsiteY12" fmla="*/ 1239 h 1050966"/>
                  <a:gd name="connsiteX13" fmla="*/ 315638 w 379637"/>
                  <a:gd name="connsiteY13" fmla="*/ 351 h 1050966"/>
                  <a:gd name="connsiteX14" fmla="*/ 309811 w 379637"/>
                  <a:gd name="connsiteY14" fmla="*/ 83 h 1050966"/>
                  <a:gd name="connsiteX15" fmla="*/ 304582 w 379637"/>
                  <a:gd name="connsiteY15" fmla="*/ 83 h 1050966"/>
                  <a:gd name="connsiteX16" fmla="*/ 263252 w 379637"/>
                  <a:gd name="connsiteY16" fmla="*/ 41 h 1050966"/>
                  <a:gd name="connsiteX17" fmla="*/ 122895 w 379637"/>
                  <a:gd name="connsiteY17" fmla="*/ 0 h 1050966"/>
                  <a:gd name="connsiteX18" fmla="*/ 71109 w 379637"/>
                  <a:gd name="connsiteY18" fmla="*/ 0 h 1050966"/>
                  <a:gd name="connsiteX19" fmla="*/ 27919 w 379637"/>
                  <a:gd name="connsiteY19" fmla="*/ 14719 h 1050966"/>
                  <a:gd name="connsiteX20" fmla="*/ 12006 w 379637"/>
                  <a:gd name="connsiteY20" fmla="*/ 31545 h 1050966"/>
                  <a:gd name="connsiteX21" fmla="*/ 2542 w 379637"/>
                  <a:gd name="connsiteY21" fmla="*/ 52581 h 1050966"/>
                  <a:gd name="connsiteX22" fmla="*/ 1798 w 379637"/>
                  <a:gd name="connsiteY22" fmla="*/ 55389 h 1050966"/>
                  <a:gd name="connsiteX23" fmla="*/ 1447 w 379637"/>
                  <a:gd name="connsiteY23" fmla="*/ 56772 h 1050966"/>
                  <a:gd name="connsiteX24" fmla="*/ 1240 w 379637"/>
                  <a:gd name="connsiteY24" fmla="*/ 58217 h 1050966"/>
                  <a:gd name="connsiteX25" fmla="*/ 372 w 379637"/>
                  <a:gd name="connsiteY25" fmla="*/ 63956 h 1050966"/>
                  <a:gd name="connsiteX26" fmla="*/ 83 w 379637"/>
                  <a:gd name="connsiteY26" fmla="*/ 69778 h 1050966"/>
                  <a:gd name="connsiteX27" fmla="*/ 0 w 379637"/>
                  <a:gd name="connsiteY27" fmla="*/ 71285 h 1050966"/>
                  <a:gd name="connsiteX28" fmla="*/ 0 w 379637"/>
                  <a:gd name="connsiteY28" fmla="*/ 979929 h 1050966"/>
                  <a:gd name="connsiteX29" fmla="*/ 310 w 379637"/>
                  <a:gd name="connsiteY29" fmla="*/ 985751 h 1050966"/>
                  <a:gd name="connsiteX30" fmla="*/ 372 w 379637"/>
                  <a:gd name="connsiteY30" fmla="*/ 987196 h 1050966"/>
                  <a:gd name="connsiteX31" fmla="*/ 599 w 379637"/>
                  <a:gd name="connsiteY31" fmla="*/ 988641 h 1050966"/>
                  <a:gd name="connsiteX32" fmla="*/ 1054 w 379637"/>
                  <a:gd name="connsiteY32" fmla="*/ 991490 h 1050966"/>
                  <a:gd name="connsiteX33" fmla="*/ 1467 w 379637"/>
                  <a:gd name="connsiteY33" fmla="*/ 994359 h 1050966"/>
                  <a:gd name="connsiteX34" fmla="*/ 2211 w 379637"/>
                  <a:gd name="connsiteY34" fmla="*/ 997167 h 1050966"/>
                  <a:gd name="connsiteX35" fmla="*/ 26885 w 379637"/>
                  <a:gd name="connsiteY35" fmla="*/ 1035504 h 1050966"/>
                  <a:gd name="connsiteX36" fmla="*/ 47096 w 379637"/>
                  <a:gd name="connsiteY36" fmla="*/ 1046714 h 1050966"/>
                  <a:gd name="connsiteX37" fmla="*/ 49803 w 379637"/>
                  <a:gd name="connsiteY37" fmla="*/ 1047725 h 1050966"/>
                  <a:gd name="connsiteX38" fmla="*/ 52613 w 379637"/>
                  <a:gd name="connsiteY38" fmla="*/ 1048448 h 1050966"/>
                  <a:gd name="connsiteX39" fmla="*/ 55424 w 379637"/>
                  <a:gd name="connsiteY39" fmla="*/ 1049170 h 1050966"/>
                  <a:gd name="connsiteX40" fmla="*/ 56829 w 379637"/>
                  <a:gd name="connsiteY40" fmla="*/ 1049542 h 1050966"/>
                  <a:gd name="connsiteX41" fmla="*/ 58255 w 379637"/>
                  <a:gd name="connsiteY41" fmla="*/ 1049748 h 1050966"/>
                  <a:gd name="connsiteX42" fmla="*/ 64000 w 379637"/>
                  <a:gd name="connsiteY42" fmla="*/ 1050616 h 1050966"/>
                  <a:gd name="connsiteX43" fmla="*/ 69827 w 379637"/>
                  <a:gd name="connsiteY43" fmla="*/ 1050905 h 1050966"/>
                  <a:gd name="connsiteX44" fmla="*/ 122895 w 379637"/>
                  <a:gd name="connsiteY44" fmla="*/ 1050905 h 1050966"/>
                  <a:gd name="connsiteX45" fmla="*/ 263252 w 379637"/>
                  <a:gd name="connsiteY45" fmla="*/ 1050966 h 1050966"/>
                  <a:gd name="connsiteX46" fmla="*/ 308529 w 379637"/>
                  <a:gd name="connsiteY46" fmla="*/ 1050966 h 1050966"/>
                  <a:gd name="connsiteX47" fmla="*/ 331344 w 379637"/>
                  <a:gd name="connsiteY47" fmla="*/ 1047168 h 1050966"/>
                  <a:gd name="connsiteX48" fmla="*/ 351719 w 379637"/>
                  <a:gd name="connsiteY48" fmla="*/ 1036268 h 1050966"/>
                  <a:gd name="connsiteX49" fmla="*/ 367611 w 379637"/>
                  <a:gd name="connsiteY49" fmla="*/ 1019442 h 1050966"/>
                  <a:gd name="connsiteX50" fmla="*/ 377096 w 379637"/>
                  <a:gd name="connsiteY50" fmla="*/ 998406 h 1050966"/>
                  <a:gd name="connsiteX51" fmla="*/ 377819 w 379637"/>
                  <a:gd name="connsiteY51" fmla="*/ 995598 h 1050966"/>
                  <a:gd name="connsiteX52" fmla="*/ 378191 w 379637"/>
                  <a:gd name="connsiteY52" fmla="*/ 994194 h 1050966"/>
                  <a:gd name="connsiteX53" fmla="*/ 378398 w 379637"/>
                  <a:gd name="connsiteY53" fmla="*/ 992770 h 1050966"/>
                  <a:gd name="connsiteX54" fmla="*/ 379266 w 379637"/>
                  <a:gd name="connsiteY54" fmla="*/ 987031 h 1050966"/>
                  <a:gd name="connsiteX55" fmla="*/ 379555 w 379637"/>
                  <a:gd name="connsiteY55" fmla="*/ 981209 h 1050966"/>
                  <a:gd name="connsiteX56" fmla="*/ 379638 w 379637"/>
                  <a:gd name="connsiteY56" fmla="*/ 979702 h 1050966"/>
                  <a:gd name="connsiteX57" fmla="*/ 379638 w 379637"/>
                  <a:gd name="connsiteY57" fmla="*/ 71058 h 1050966"/>
                  <a:gd name="connsiteX58" fmla="*/ 379328 w 379637"/>
                  <a:gd name="connsiteY58" fmla="*/ 65236 h 1050966"/>
                  <a:gd name="connsiteX59" fmla="*/ 337605 w 379637"/>
                  <a:gd name="connsiteY59" fmla="*/ 979702 h 1050966"/>
                  <a:gd name="connsiteX60" fmla="*/ 337564 w 379637"/>
                  <a:gd name="connsiteY60" fmla="*/ 980177 h 1050966"/>
                  <a:gd name="connsiteX61" fmla="*/ 337523 w 379637"/>
                  <a:gd name="connsiteY61" fmla="*/ 980486 h 1050966"/>
                  <a:gd name="connsiteX62" fmla="*/ 337440 w 379637"/>
                  <a:gd name="connsiteY62" fmla="*/ 982902 h 1050966"/>
                  <a:gd name="connsiteX63" fmla="*/ 337047 w 379637"/>
                  <a:gd name="connsiteY63" fmla="*/ 985235 h 1050966"/>
                  <a:gd name="connsiteX64" fmla="*/ 337006 w 379637"/>
                  <a:gd name="connsiteY64" fmla="*/ 985833 h 1050966"/>
                  <a:gd name="connsiteX65" fmla="*/ 336820 w 379637"/>
                  <a:gd name="connsiteY65" fmla="*/ 986391 h 1050966"/>
                  <a:gd name="connsiteX66" fmla="*/ 336510 w 379637"/>
                  <a:gd name="connsiteY66" fmla="*/ 987505 h 1050966"/>
                  <a:gd name="connsiteX67" fmla="*/ 332708 w 379637"/>
                  <a:gd name="connsiteY67" fmla="*/ 996052 h 1050966"/>
                  <a:gd name="connsiteX68" fmla="*/ 326115 w 379637"/>
                  <a:gd name="connsiteY68" fmla="*/ 1002948 h 1050966"/>
                  <a:gd name="connsiteX69" fmla="*/ 317849 w 379637"/>
                  <a:gd name="connsiteY69" fmla="*/ 1007407 h 1050966"/>
                  <a:gd name="connsiteX70" fmla="*/ 308529 w 379637"/>
                  <a:gd name="connsiteY70" fmla="*/ 1008996 h 1050966"/>
                  <a:gd name="connsiteX71" fmla="*/ 304582 w 379637"/>
                  <a:gd name="connsiteY71" fmla="*/ 1008996 h 1050966"/>
                  <a:gd name="connsiteX72" fmla="*/ 263252 w 379637"/>
                  <a:gd name="connsiteY72" fmla="*/ 1008955 h 1050966"/>
                  <a:gd name="connsiteX73" fmla="*/ 122895 w 379637"/>
                  <a:gd name="connsiteY73" fmla="*/ 1008955 h 1050966"/>
                  <a:gd name="connsiteX74" fmla="*/ 81565 w 379637"/>
                  <a:gd name="connsiteY74" fmla="*/ 1008914 h 1050966"/>
                  <a:gd name="connsiteX75" fmla="*/ 70571 w 379637"/>
                  <a:gd name="connsiteY75" fmla="*/ 1008914 h 1050966"/>
                  <a:gd name="connsiteX76" fmla="*/ 68133 w 379637"/>
                  <a:gd name="connsiteY76" fmla="*/ 1008831 h 1050966"/>
                  <a:gd name="connsiteX77" fmla="*/ 65798 w 379637"/>
                  <a:gd name="connsiteY77" fmla="*/ 1008439 h 1050966"/>
                  <a:gd name="connsiteX78" fmla="*/ 65219 w 379637"/>
                  <a:gd name="connsiteY78" fmla="*/ 1008398 h 1050966"/>
                  <a:gd name="connsiteX79" fmla="*/ 64661 w 379637"/>
                  <a:gd name="connsiteY79" fmla="*/ 1008212 h 1050966"/>
                  <a:gd name="connsiteX80" fmla="*/ 63524 w 379637"/>
                  <a:gd name="connsiteY80" fmla="*/ 1007902 h 1050966"/>
                  <a:gd name="connsiteX81" fmla="*/ 62388 w 379637"/>
                  <a:gd name="connsiteY81" fmla="*/ 1007675 h 1050966"/>
                  <a:gd name="connsiteX82" fmla="*/ 61313 w 379637"/>
                  <a:gd name="connsiteY82" fmla="*/ 1007200 h 1050966"/>
                  <a:gd name="connsiteX83" fmla="*/ 53089 w 379637"/>
                  <a:gd name="connsiteY83" fmla="*/ 1002659 h 1050966"/>
                  <a:gd name="connsiteX84" fmla="*/ 43004 w 379637"/>
                  <a:gd name="connsiteY84" fmla="*/ 987010 h 1050966"/>
                  <a:gd name="connsiteX85" fmla="*/ 42632 w 379637"/>
                  <a:gd name="connsiteY85" fmla="*/ 985895 h 1050966"/>
                  <a:gd name="connsiteX86" fmla="*/ 42529 w 379637"/>
                  <a:gd name="connsiteY86" fmla="*/ 984718 h 1050966"/>
                  <a:gd name="connsiteX87" fmla="*/ 42322 w 379637"/>
                  <a:gd name="connsiteY87" fmla="*/ 983562 h 1050966"/>
                  <a:gd name="connsiteX88" fmla="*/ 42198 w 379637"/>
                  <a:gd name="connsiteY88" fmla="*/ 982984 h 1050966"/>
                  <a:gd name="connsiteX89" fmla="*/ 42198 w 379637"/>
                  <a:gd name="connsiteY89" fmla="*/ 982365 h 1050966"/>
                  <a:gd name="connsiteX90" fmla="*/ 42033 w 379637"/>
                  <a:gd name="connsiteY90" fmla="*/ 979929 h 1050966"/>
                  <a:gd name="connsiteX91" fmla="*/ 42033 w 379637"/>
                  <a:gd name="connsiteY91" fmla="*/ 71285 h 1050966"/>
                  <a:gd name="connsiteX92" fmla="*/ 42074 w 379637"/>
                  <a:gd name="connsiteY92" fmla="*/ 70810 h 1050966"/>
                  <a:gd name="connsiteX93" fmla="*/ 42115 w 379637"/>
                  <a:gd name="connsiteY93" fmla="*/ 70501 h 1050966"/>
                  <a:gd name="connsiteX94" fmla="*/ 42198 w 379637"/>
                  <a:gd name="connsiteY94" fmla="*/ 68085 h 1050966"/>
                  <a:gd name="connsiteX95" fmla="*/ 42591 w 379637"/>
                  <a:gd name="connsiteY95" fmla="*/ 65752 h 1050966"/>
                  <a:gd name="connsiteX96" fmla="*/ 42632 w 379637"/>
                  <a:gd name="connsiteY96" fmla="*/ 65154 h 1050966"/>
                  <a:gd name="connsiteX97" fmla="*/ 42818 w 379637"/>
                  <a:gd name="connsiteY97" fmla="*/ 64596 h 1050966"/>
                  <a:gd name="connsiteX98" fmla="*/ 43128 w 379637"/>
                  <a:gd name="connsiteY98" fmla="*/ 63461 h 1050966"/>
                  <a:gd name="connsiteX99" fmla="*/ 46930 w 379637"/>
                  <a:gd name="connsiteY99" fmla="*/ 54935 h 1050966"/>
                  <a:gd name="connsiteX100" fmla="*/ 53523 w 379637"/>
                  <a:gd name="connsiteY100" fmla="*/ 48019 h 1050966"/>
                  <a:gd name="connsiteX101" fmla="*/ 61789 w 379637"/>
                  <a:gd name="connsiteY101" fmla="*/ 43580 h 1050966"/>
                  <a:gd name="connsiteX102" fmla="*/ 71109 w 379637"/>
                  <a:gd name="connsiteY102" fmla="*/ 41991 h 1050966"/>
                  <a:gd name="connsiteX103" fmla="*/ 122895 w 379637"/>
                  <a:gd name="connsiteY103" fmla="*/ 41991 h 1050966"/>
                  <a:gd name="connsiteX104" fmla="*/ 263252 w 379637"/>
                  <a:gd name="connsiteY104" fmla="*/ 42053 h 1050966"/>
                  <a:gd name="connsiteX105" fmla="*/ 309046 w 379637"/>
                  <a:gd name="connsiteY105" fmla="*/ 42053 h 1050966"/>
                  <a:gd name="connsiteX106" fmla="*/ 309087 w 379637"/>
                  <a:gd name="connsiteY106" fmla="*/ 40009 h 1050966"/>
                  <a:gd name="connsiteX107" fmla="*/ 309087 w 379637"/>
                  <a:gd name="connsiteY107" fmla="*/ 40009 h 1050966"/>
                  <a:gd name="connsiteX108" fmla="*/ 309046 w 379637"/>
                  <a:gd name="connsiteY108" fmla="*/ 42053 h 1050966"/>
                  <a:gd name="connsiteX109" fmla="*/ 311464 w 379637"/>
                  <a:gd name="connsiteY109" fmla="*/ 42135 h 1050966"/>
                  <a:gd name="connsiteX110" fmla="*/ 313799 w 379637"/>
                  <a:gd name="connsiteY110" fmla="*/ 42548 h 1050966"/>
                  <a:gd name="connsiteX111" fmla="*/ 314398 w 379637"/>
                  <a:gd name="connsiteY111" fmla="*/ 42548 h 1050966"/>
                  <a:gd name="connsiteX112" fmla="*/ 314956 w 379637"/>
                  <a:gd name="connsiteY112" fmla="*/ 42775 h 1050966"/>
                  <a:gd name="connsiteX113" fmla="*/ 316093 w 379637"/>
                  <a:gd name="connsiteY113" fmla="*/ 43085 h 1050966"/>
                  <a:gd name="connsiteX114" fmla="*/ 317229 w 379637"/>
                  <a:gd name="connsiteY114" fmla="*/ 43312 h 1050966"/>
                  <a:gd name="connsiteX115" fmla="*/ 318304 w 379637"/>
                  <a:gd name="connsiteY115" fmla="*/ 43787 h 1050966"/>
                  <a:gd name="connsiteX116" fmla="*/ 326529 w 379637"/>
                  <a:gd name="connsiteY116" fmla="*/ 48329 h 1050966"/>
                  <a:gd name="connsiteX117" fmla="*/ 336613 w 379637"/>
                  <a:gd name="connsiteY117" fmla="*/ 63956 h 1050966"/>
                  <a:gd name="connsiteX118" fmla="*/ 336965 w 379637"/>
                  <a:gd name="connsiteY118" fmla="*/ 65071 h 1050966"/>
                  <a:gd name="connsiteX119" fmla="*/ 337089 w 379637"/>
                  <a:gd name="connsiteY119" fmla="*/ 66269 h 1050966"/>
                  <a:gd name="connsiteX120" fmla="*/ 337295 w 379637"/>
                  <a:gd name="connsiteY120" fmla="*/ 67425 h 1050966"/>
                  <a:gd name="connsiteX121" fmla="*/ 337419 w 379637"/>
                  <a:gd name="connsiteY121" fmla="*/ 68003 h 1050966"/>
                  <a:gd name="connsiteX122" fmla="*/ 337419 w 379637"/>
                  <a:gd name="connsiteY122" fmla="*/ 68622 h 1050966"/>
                  <a:gd name="connsiteX123" fmla="*/ 337584 w 379637"/>
                  <a:gd name="connsiteY123" fmla="*/ 71058 h 1050966"/>
                  <a:gd name="connsiteX124" fmla="*/ 337584 w 379637"/>
                  <a:gd name="connsiteY124" fmla="*/ 979702 h 1050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</a:cxnLst>
                <a:rect l="l" t="t" r="r" b="b"/>
                <a:pathLst>
                  <a:path w="379637" h="1050966">
                    <a:moveTo>
                      <a:pt x="379328" y="65236"/>
                    </a:moveTo>
                    <a:lnTo>
                      <a:pt x="379266" y="63771"/>
                    </a:lnTo>
                    <a:lnTo>
                      <a:pt x="379039" y="62346"/>
                    </a:lnTo>
                    <a:lnTo>
                      <a:pt x="378584" y="59477"/>
                    </a:lnTo>
                    <a:lnTo>
                      <a:pt x="378171" y="56607"/>
                    </a:lnTo>
                    <a:lnTo>
                      <a:pt x="377427" y="53820"/>
                    </a:lnTo>
                    <a:cubicBezTo>
                      <a:pt x="373914" y="38750"/>
                      <a:pt x="364780" y="25207"/>
                      <a:pt x="352732" y="15483"/>
                    </a:cubicBezTo>
                    <a:cubicBezTo>
                      <a:pt x="346739" y="10529"/>
                      <a:pt x="339796" y="6875"/>
                      <a:pt x="332542" y="4253"/>
                    </a:cubicBezTo>
                    <a:lnTo>
                      <a:pt x="329835" y="3241"/>
                    </a:lnTo>
                    <a:cubicBezTo>
                      <a:pt x="328905" y="2973"/>
                      <a:pt x="327955" y="2787"/>
                      <a:pt x="327025" y="2539"/>
                    </a:cubicBezTo>
                    <a:lnTo>
                      <a:pt x="324214" y="1796"/>
                    </a:lnTo>
                    <a:lnTo>
                      <a:pt x="322809" y="1424"/>
                    </a:lnTo>
                    <a:lnTo>
                      <a:pt x="321362" y="1239"/>
                    </a:lnTo>
                    <a:lnTo>
                      <a:pt x="315638" y="351"/>
                    </a:lnTo>
                    <a:lnTo>
                      <a:pt x="309811" y="83"/>
                    </a:lnTo>
                    <a:lnTo>
                      <a:pt x="304582" y="83"/>
                    </a:lnTo>
                    <a:lnTo>
                      <a:pt x="263252" y="41"/>
                    </a:lnTo>
                    <a:lnTo>
                      <a:pt x="122895" y="0"/>
                    </a:lnTo>
                    <a:lnTo>
                      <a:pt x="71109" y="0"/>
                    </a:lnTo>
                    <a:cubicBezTo>
                      <a:pt x="55589" y="248"/>
                      <a:pt x="40152" y="5037"/>
                      <a:pt x="27919" y="14719"/>
                    </a:cubicBezTo>
                    <a:cubicBezTo>
                      <a:pt x="21781" y="19447"/>
                      <a:pt x="16408" y="25145"/>
                      <a:pt x="12006" y="31545"/>
                    </a:cubicBezTo>
                    <a:cubicBezTo>
                      <a:pt x="7708" y="37986"/>
                      <a:pt x="4567" y="45149"/>
                      <a:pt x="2542" y="52581"/>
                    </a:cubicBezTo>
                    <a:lnTo>
                      <a:pt x="1798" y="55389"/>
                    </a:lnTo>
                    <a:cubicBezTo>
                      <a:pt x="1695" y="55843"/>
                      <a:pt x="1550" y="56318"/>
                      <a:pt x="1447" y="56772"/>
                    </a:cubicBezTo>
                    <a:lnTo>
                      <a:pt x="1240" y="58217"/>
                    </a:lnTo>
                    <a:lnTo>
                      <a:pt x="372" y="63956"/>
                    </a:lnTo>
                    <a:lnTo>
                      <a:pt x="83" y="69778"/>
                    </a:lnTo>
                    <a:cubicBezTo>
                      <a:pt x="62" y="70274"/>
                      <a:pt x="21" y="70687"/>
                      <a:pt x="0" y="71285"/>
                    </a:cubicBezTo>
                    <a:lnTo>
                      <a:pt x="0" y="979929"/>
                    </a:lnTo>
                    <a:lnTo>
                      <a:pt x="310" y="985751"/>
                    </a:lnTo>
                    <a:lnTo>
                      <a:pt x="372" y="987196"/>
                    </a:lnTo>
                    <a:lnTo>
                      <a:pt x="599" y="988641"/>
                    </a:lnTo>
                    <a:lnTo>
                      <a:pt x="1054" y="991490"/>
                    </a:lnTo>
                    <a:lnTo>
                      <a:pt x="1467" y="994359"/>
                    </a:lnTo>
                    <a:lnTo>
                      <a:pt x="2211" y="997167"/>
                    </a:lnTo>
                    <a:cubicBezTo>
                      <a:pt x="5724" y="1012238"/>
                      <a:pt x="14858" y="1025780"/>
                      <a:pt x="26885" y="1035504"/>
                    </a:cubicBezTo>
                    <a:cubicBezTo>
                      <a:pt x="32878" y="1040438"/>
                      <a:pt x="39842" y="1044113"/>
                      <a:pt x="47096" y="1046714"/>
                    </a:cubicBezTo>
                    <a:lnTo>
                      <a:pt x="49803" y="1047725"/>
                    </a:lnTo>
                    <a:cubicBezTo>
                      <a:pt x="50733" y="1047994"/>
                      <a:pt x="51683" y="1048200"/>
                      <a:pt x="52613" y="1048448"/>
                    </a:cubicBezTo>
                    <a:lnTo>
                      <a:pt x="55424" y="1049170"/>
                    </a:lnTo>
                    <a:lnTo>
                      <a:pt x="56829" y="1049542"/>
                    </a:lnTo>
                    <a:lnTo>
                      <a:pt x="58255" y="1049748"/>
                    </a:lnTo>
                    <a:lnTo>
                      <a:pt x="64000" y="1050616"/>
                    </a:lnTo>
                    <a:lnTo>
                      <a:pt x="69827" y="1050905"/>
                    </a:lnTo>
                    <a:lnTo>
                      <a:pt x="122895" y="1050905"/>
                    </a:lnTo>
                    <a:lnTo>
                      <a:pt x="263252" y="1050966"/>
                    </a:lnTo>
                    <a:lnTo>
                      <a:pt x="308529" y="1050966"/>
                    </a:lnTo>
                    <a:cubicBezTo>
                      <a:pt x="316279" y="1050863"/>
                      <a:pt x="324008" y="1049604"/>
                      <a:pt x="331344" y="1047168"/>
                    </a:cubicBezTo>
                    <a:cubicBezTo>
                      <a:pt x="338680" y="1044732"/>
                      <a:pt x="345603" y="1041098"/>
                      <a:pt x="351719" y="1036268"/>
                    </a:cubicBezTo>
                    <a:cubicBezTo>
                      <a:pt x="357836" y="1031540"/>
                      <a:pt x="363230" y="1025842"/>
                      <a:pt x="367611" y="1019442"/>
                    </a:cubicBezTo>
                    <a:cubicBezTo>
                      <a:pt x="371909" y="1012981"/>
                      <a:pt x="375071" y="1005838"/>
                      <a:pt x="377096" y="998406"/>
                    </a:cubicBezTo>
                    <a:lnTo>
                      <a:pt x="377819" y="995598"/>
                    </a:lnTo>
                    <a:cubicBezTo>
                      <a:pt x="377943" y="995123"/>
                      <a:pt x="378088" y="994669"/>
                      <a:pt x="378191" y="994194"/>
                    </a:cubicBezTo>
                    <a:lnTo>
                      <a:pt x="378398" y="992770"/>
                    </a:lnTo>
                    <a:lnTo>
                      <a:pt x="379266" y="987031"/>
                    </a:lnTo>
                    <a:lnTo>
                      <a:pt x="379555" y="981209"/>
                    </a:lnTo>
                    <a:cubicBezTo>
                      <a:pt x="379576" y="980693"/>
                      <a:pt x="379617" y="980301"/>
                      <a:pt x="379638" y="979702"/>
                    </a:cubicBezTo>
                    <a:lnTo>
                      <a:pt x="379638" y="71058"/>
                    </a:lnTo>
                    <a:lnTo>
                      <a:pt x="379328" y="65236"/>
                    </a:lnTo>
                    <a:close/>
                    <a:moveTo>
                      <a:pt x="337605" y="979702"/>
                    </a:moveTo>
                    <a:cubicBezTo>
                      <a:pt x="337605" y="980115"/>
                      <a:pt x="337584" y="980012"/>
                      <a:pt x="337564" y="980177"/>
                    </a:cubicBezTo>
                    <a:lnTo>
                      <a:pt x="337523" y="980486"/>
                    </a:lnTo>
                    <a:cubicBezTo>
                      <a:pt x="337440" y="981291"/>
                      <a:pt x="337399" y="982097"/>
                      <a:pt x="337440" y="982902"/>
                    </a:cubicBezTo>
                    <a:cubicBezTo>
                      <a:pt x="337295" y="983686"/>
                      <a:pt x="337109" y="984450"/>
                      <a:pt x="337047" y="985235"/>
                    </a:cubicBezTo>
                    <a:lnTo>
                      <a:pt x="337006" y="985833"/>
                    </a:lnTo>
                    <a:cubicBezTo>
                      <a:pt x="336965" y="986019"/>
                      <a:pt x="336882" y="986205"/>
                      <a:pt x="336820" y="986391"/>
                    </a:cubicBezTo>
                    <a:cubicBezTo>
                      <a:pt x="336696" y="986762"/>
                      <a:pt x="336593" y="987134"/>
                      <a:pt x="336510" y="987505"/>
                    </a:cubicBezTo>
                    <a:cubicBezTo>
                      <a:pt x="335683" y="990499"/>
                      <a:pt x="334464" y="993389"/>
                      <a:pt x="332708" y="996052"/>
                    </a:cubicBezTo>
                    <a:cubicBezTo>
                      <a:pt x="330868" y="998653"/>
                      <a:pt x="328637" y="1001007"/>
                      <a:pt x="326115" y="1002948"/>
                    </a:cubicBezTo>
                    <a:cubicBezTo>
                      <a:pt x="323615" y="1004909"/>
                      <a:pt x="320846" y="1006519"/>
                      <a:pt x="317849" y="1007407"/>
                    </a:cubicBezTo>
                    <a:cubicBezTo>
                      <a:pt x="314894" y="1008336"/>
                      <a:pt x="311815" y="1008852"/>
                      <a:pt x="308529" y="1008996"/>
                    </a:cubicBezTo>
                    <a:lnTo>
                      <a:pt x="304582" y="1008996"/>
                    </a:lnTo>
                    <a:lnTo>
                      <a:pt x="263252" y="1008955"/>
                    </a:lnTo>
                    <a:lnTo>
                      <a:pt x="122895" y="1008955"/>
                    </a:lnTo>
                    <a:lnTo>
                      <a:pt x="81565" y="1008914"/>
                    </a:lnTo>
                    <a:lnTo>
                      <a:pt x="70571" y="1008914"/>
                    </a:lnTo>
                    <a:cubicBezTo>
                      <a:pt x="69765" y="1008831"/>
                      <a:pt x="68959" y="1008790"/>
                      <a:pt x="68133" y="1008831"/>
                    </a:cubicBezTo>
                    <a:cubicBezTo>
                      <a:pt x="67368" y="1008687"/>
                      <a:pt x="66604" y="1008501"/>
                      <a:pt x="65798" y="1008439"/>
                    </a:cubicBezTo>
                    <a:lnTo>
                      <a:pt x="65219" y="1008398"/>
                    </a:lnTo>
                    <a:lnTo>
                      <a:pt x="64661" y="1008212"/>
                    </a:lnTo>
                    <a:cubicBezTo>
                      <a:pt x="64289" y="1008088"/>
                      <a:pt x="63917" y="1007985"/>
                      <a:pt x="63524" y="1007902"/>
                    </a:cubicBezTo>
                    <a:lnTo>
                      <a:pt x="62388" y="1007675"/>
                    </a:lnTo>
                    <a:cubicBezTo>
                      <a:pt x="62037" y="1007489"/>
                      <a:pt x="61665" y="1007345"/>
                      <a:pt x="61313" y="1007200"/>
                    </a:cubicBezTo>
                    <a:cubicBezTo>
                      <a:pt x="58399" y="1006147"/>
                      <a:pt x="55506" y="1004764"/>
                      <a:pt x="53089" y="1002659"/>
                    </a:cubicBezTo>
                    <a:cubicBezTo>
                      <a:pt x="48170" y="998591"/>
                      <a:pt x="44285" y="993100"/>
                      <a:pt x="43004" y="987010"/>
                    </a:cubicBezTo>
                    <a:cubicBezTo>
                      <a:pt x="42901" y="986638"/>
                      <a:pt x="42777" y="986267"/>
                      <a:pt x="42632" y="985895"/>
                    </a:cubicBezTo>
                    <a:cubicBezTo>
                      <a:pt x="42632" y="985503"/>
                      <a:pt x="42591" y="985111"/>
                      <a:pt x="42529" y="984718"/>
                    </a:cubicBezTo>
                    <a:cubicBezTo>
                      <a:pt x="42487" y="984326"/>
                      <a:pt x="42405" y="983955"/>
                      <a:pt x="42322" y="983562"/>
                    </a:cubicBezTo>
                    <a:lnTo>
                      <a:pt x="42198" y="982984"/>
                    </a:lnTo>
                    <a:lnTo>
                      <a:pt x="42198" y="982365"/>
                    </a:lnTo>
                    <a:cubicBezTo>
                      <a:pt x="42219" y="981539"/>
                      <a:pt x="42157" y="980775"/>
                      <a:pt x="42033" y="979929"/>
                    </a:cubicBezTo>
                    <a:lnTo>
                      <a:pt x="42033" y="71285"/>
                    </a:lnTo>
                    <a:cubicBezTo>
                      <a:pt x="42033" y="70872"/>
                      <a:pt x="42053" y="70976"/>
                      <a:pt x="42074" y="70810"/>
                    </a:cubicBezTo>
                    <a:lnTo>
                      <a:pt x="42115" y="70501"/>
                    </a:lnTo>
                    <a:cubicBezTo>
                      <a:pt x="42198" y="69696"/>
                      <a:pt x="42239" y="68890"/>
                      <a:pt x="42198" y="68085"/>
                    </a:cubicBezTo>
                    <a:cubicBezTo>
                      <a:pt x="42343" y="67301"/>
                      <a:pt x="42529" y="66537"/>
                      <a:pt x="42591" y="65752"/>
                    </a:cubicBezTo>
                    <a:lnTo>
                      <a:pt x="42632" y="65154"/>
                    </a:lnTo>
                    <a:cubicBezTo>
                      <a:pt x="42673" y="64968"/>
                      <a:pt x="42756" y="64782"/>
                      <a:pt x="42818" y="64596"/>
                    </a:cubicBezTo>
                    <a:cubicBezTo>
                      <a:pt x="42942" y="64225"/>
                      <a:pt x="43045" y="63853"/>
                      <a:pt x="43128" y="63461"/>
                    </a:cubicBezTo>
                    <a:cubicBezTo>
                      <a:pt x="43955" y="60488"/>
                      <a:pt x="45174" y="57598"/>
                      <a:pt x="46930" y="54935"/>
                    </a:cubicBezTo>
                    <a:cubicBezTo>
                      <a:pt x="48770" y="52334"/>
                      <a:pt x="51001" y="49980"/>
                      <a:pt x="53523" y="48019"/>
                    </a:cubicBezTo>
                    <a:cubicBezTo>
                      <a:pt x="56023" y="46058"/>
                      <a:pt x="58792" y="44468"/>
                      <a:pt x="61789" y="43580"/>
                    </a:cubicBezTo>
                    <a:cubicBezTo>
                      <a:pt x="64744" y="42631"/>
                      <a:pt x="67823" y="42115"/>
                      <a:pt x="71109" y="41991"/>
                    </a:cubicBezTo>
                    <a:lnTo>
                      <a:pt x="122895" y="41991"/>
                    </a:lnTo>
                    <a:lnTo>
                      <a:pt x="263252" y="42053"/>
                    </a:lnTo>
                    <a:lnTo>
                      <a:pt x="309046" y="42053"/>
                    </a:lnTo>
                    <a:lnTo>
                      <a:pt x="309087" y="40009"/>
                    </a:lnTo>
                    <a:lnTo>
                      <a:pt x="309087" y="40009"/>
                    </a:lnTo>
                    <a:lnTo>
                      <a:pt x="309046" y="42053"/>
                    </a:lnTo>
                    <a:cubicBezTo>
                      <a:pt x="309852" y="42156"/>
                      <a:pt x="310658" y="42177"/>
                      <a:pt x="311464" y="42135"/>
                    </a:cubicBezTo>
                    <a:cubicBezTo>
                      <a:pt x="312249" y="42300"/>
                      <a:pt x="313014" y="42486"/>
                      <a:pt x="313799" y="42548"/>
                    </a:cubicBezTo>
                    <a:lnTo>
                      <a:pt x="314398" y="42548"/>
                    </a:lnTo>
                    <a:lnTo>
                      <a:pt x="314956" y="42775"/>
                    </a:lnTo>
                    <a:cubicBezTo>
                      <a:pt x="315328" y="42878"/>
                      <a:pt x="315700" y="43002"/>
                      <a:pt x="316093" y="43085"/>
                    </a:cubicBezTo>
                    <a:lnTo>
                      <a:pt x="317229" y="43312"/>
                    </a:lnTo>
                    <a:cubicBezTo>
                      <a:pt x="317581" y="43477"/>
                      <a:pt x="317953" y="43642"/>
                      <a:pt x="318304" y="43787"/>
                    </a:cubicBezTo>
                    <a:cubicBezTo>
                      <a:pt x="321218" y="44840"/>
                      <a:pt x="324111" y="46223"/>
                      <a:pt x="326529" y="48329"/>
                    </a:cubicBezTo>
                    <a:cubicBezTo>
                      <a:pt x="331447" y="52396"/>
                      <a:pt x="335332" y="57887"/>
                      <a:pt x="336613" y="63956"/>
                    </a:cubicBezTo>
                    <a:cubicBezTo>
                      <a:pt x="336717" y="64349"/>
                      <a:pt x="336841" y="64720"/>
                      <a:pt x="336965" y="65071"/>
                    </a:cubicBezTo>
                    <a:cubicBezTo>
                      <a:pt x="337006" y="65463"/>
                      <a:pt x="337027" y="65876"/>
                      <a:pt x="337089" y="66269"/>
                    </a:cubicBezTo>
                    <a:cubicBezTo>
                      <a:pt x="337130" y="66640"/>
                      <a:pt x="337213" y="67032"/>
                      <a:pt x="337295" y="67425"/>
                    </a:cubicBezTo>
                    <a:lnTo>
                      <a:pt x="337419" y="68003"/>
                    </a:lnTo>
                    <a:lnTo>
                      <a:pt x="337419" y="68622"/>
                    </a:lnTo>
                    <a:cubicBezTo>
                      <a:pt x="337399" y="69427"/>
                      <a:pt x="337461" y="70212"/>
                      <a:pt x="337584" y="71058"/>
                    </a:cubicBezTo>
                    <a:lnTo>
                      <a:pt x="337584" y="979702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55" name="Freeform 90">
                <a:extLst>
                  <a:ext uri="{FF2B5EF4-FFF2-40B4-BE49-F238E27FC236}">
                    <a16:creationId xmlns:a16="http://schemas.microsoft.com/office/drawing/2014/main" id="{BFF70E93-CBDB-CE30-AC98-90033F7356F4}"/>
                  </a:ext>
                </a:extLst>
              </p:cNvPr>
              <p:cNvSpPr/>
              <p:nvPr/>
            </p:nvSpPr>
            <p:spPr>
              <a:xfrm>
                <a:off x="3802070" y="2867170"/>
                <a:ext cx="379658" cy="1051028"/>
              </a:xfrm>
              <a:custGeom>
                <a:avLst/>
                <a:gdLst>
                  <a:gd name="connsiteX0" fmla="*/ 379287 w 379658"/>
                  <a:gd name="connsiteY0" fmla="*/ 63791 h 1051028"/>
                  <a:gd name="connsiteX1" fmla="*/ 379059 w 379658"/>
                  <a:gd name="connsiteY1" fmla="*/ 62367 h 1051028"/>
                  <a:gd name="connsiteX2" fmla="*/ 378605 w 379658"/>
                  <a:gd name="connsiteY2" fmla="*/ 59497 h 1051028"/>
                  <a:gd name="connsiteX3" fmla="*/ 378191 w 379658"/>
                  <a:gd name="connsiteY3" fmla="*/ 56628 h 1051028"/>
                  <a:gd name="connsiteX4" fmla="*/ 377447 w 379658"/>
                  <a:gd name="connsiteY4" fmla="*/ 53820 h 1051028"/>
                  <a:gd name="connsiteX5" fmla="*/ 352773 w 379658"/>
                  <a:gd name="connsiteY5" fmla="*/ 15483 h 1051028"/>
                  <a:gd name="connsiteX6" fmla="*/ 332584 w 379658"/>
                  <a:gd name="connsiteY6" fmla="*/ 4273 h 1051028"/>
                  <a:gd name="connsiteX7" fmla="*/ 329876 w 379658"/>
                  <a:gd name="connsiteY7" fmla="*/ 3262 h 1051028"/>
                  <a:gd name="connsiteX8" fmla="*/ 327066 w 379658"/>
                  <a:gd name="connsiteY8" fmla="*/ 2539 h 1051028"/>
                  <a:gd name="connsiteX9" fmla="*/ 324256 w 379658"/>
                  <a:gd name="connsiteY9" fmla="*/ 1817 h 1051028"/>
                  <a:gd name="connsiteX10" fmla="*/ 322850 w 379658"/>
                  <a:gd name="connsiteY10" fmla="*/ 1445 h 1051028"/>
                  <a:gd name="connsiteX11" fmla="*/ 321404 w 379658"/>
                  <a:gd name="connsiteY11" fmla="*/ 1239 h 1051028"/>
                  <a:gd name="connsiteX12" fmla="*/ 315659 w 379658"/>
                  <a:gd name="connsiteY12" fmla="*/ 372 h 1051028"/>
                  <a:gd name="connsiteX13" fmla="*/ 309831 w 379658"/>
                  <a:gd name="connsiteY13" fmla="*/ 83 h 1051028"/>
                  <a:gd name="connsiteX14" fmla="*/ 71129 w 379658"/>
                  <a:gd name="connsiteY14" fmla="*/ 0 h 1051028"/>
                  <a:gd name="connsiteX15" fmla="*/ 27939 w 379658"/>
                  <a:gd name="connsiteY15" fmla="*/ 14719 h 1051028"/>
                  <a:gd name="connsiteX16" fmla="*/ 12027 w 379658"/>
                  <a:gd name="connsiteY16" fmla="*/ 31545 h 1051028"/>
                  <a:gd name="connsiteX17" fmla="*/ 2542 w 379658"/>
                  <a:gd name="connsiteY17" fmla="*/ 52581 h 1051028"/>
                  <a:gd name="connsiteX18" fmla="*/ 1819 w 379658"/>
                  <a:gd name="connsiteY18" fmla="*/ 55389 h 1051028"/>
                  <a:gd name="connsiteX19" fmla="*/ 1447 w 379658"/>
                  <a:gd name="connsiteY19" fmla="*/ 56793 h 1051028"/>
                  <a:gd name="connsiteX20" fmla="*/ 1240 w 379658"/>
                  <a:gd name="connsiteY20" fmla="*/ 58238 h 1051028"/>
                  <a:gd name="connsiteX21" fmla="*/ 372 w 379658"/>
                  <a:gd name="connsiteY21" fmla="*/ 63977 h 1051028"/>
                  <a:gd name="connsiteX22" fmla="*/ 83 w 379658"/>
                  <a:gd name="connsiteY22" fmla="*/ 69799 h 1051028"/>
                  <a:gd name="connsiteX23" fmla="*/ 0 w 379658"/>
                  <a:gd name="connsiteY23" fmla="*/ 71306 h 1051028"/>
                  <a:gd name="connsiteX24" fmla="*/ 0 w 379658"/>
                  <a:gd name="connsiteY24" fmla="*/ 979950 h 1051028"/>
                  <a:gd name="connsiteX25" fmla="*/ 310 w 379658"/>
                  <a:gd name="connsiteY25" fmla="*/ 985771 h 1051028"/>
                  <a:gd name="connsiteX26" fmla="*/ 372 w 379658"/>
                  <a:gd name="connsiteY26" fmla="*/ 987237 h 1051028"/>
                  <a:gd name="connsiteX27" fmla="*/ 599 w 379658"/>
                  <a:gd name="connsiteY27" fmla="*/ 988662 h 1051028"/>
                  <a:gd name="connsiteX28" fmla="*/ 1054 w 379658"/>
                  <a:gd name="connsiteY28" fmla="*/ 991531 h 1051028"/>
                  <a:gd name="connsiteX29" fmla="*/ 1467 w 379658"/>
                  <a:gd name="connsiteY29" fmla="*/ 994401 h 1051028"/>
                  <a:gd name="connsiteX30" fmla="*/ 2211 w 379658"/>
                  <a:gd name="connsiteY30" fmla="*/ 997208 h 1051028"/>
                  <a:gd name="connsiteX31" fmla="*/ 26885 w 379658"/>
                  <a:gd name="connsiteY31" fmla="*/ 1035545 h 1051028"/>
                  <a:gd name="connsiteX32" fmla="*/ 47075 w 379658"/>
                  <a:gd name="connsiteY32" fmla="*/ 1046755 h 1051028"/>
                  <a:gd name="connsiteX33" fmla="*/ 49782 w 379658"/>
                  <a:gd name="connsiteY33" fmla="*/ 1047767 h 1051028"/>
                  <a:gd name="connsiteX34" fmla="*/ 52593 w 379658"/>
                  <a:gd name="connsiteY34" fmla="*/ 1048489 h 1051028"/>
                  <a:gd name="connsiteX35" fmla="*/ 55403 w 379658"/>
                  <a:gd name="connsiteY35" fmla="*/ 1049212 h 1051028"/>
                  <a:gd name="connsiteX36" fmla="*/ 56808 w 379658"/>
                  <a:gd name="connsiteY36" fmla="*/ 1049583 h 1051028"/>
                  <a:gd name="connsiteX37" fmla="*/ 58255 w 379658"/>
                  <a:gd name="connsiteY37" fmla="*/ 1049790 h 1051028"/>
                  <a:gd name="connsiteX38" fmla="*/ 64000 w 379658"/>
                  <a:gd name="connsiteY38" fmla="*/ 1050657 h 1051028"/>
                  <a:gd name="connsiteX39" fmla="*/ 69827 w 379658"/>
                  <a:gd name="connsiteY39" fmla="*/ 1050946 h 1051028"/>
                  <a:gd name="connsiteX40" fmla="*/ 308529 w 379658"/>
                  <a:gd name="connsiteY40" fmla="*/ 1051028 h 1051028"/>
                  <a:gd name="connsiteX41" fmla="*/ 351719 w 379658"/>
                  <a:gd name="connsiteY41" fmla="*/ 1036309 h 1051028"/>
                  <a:gd name="connsiteX42" fmla="*/ 367632 w 379658"/>
                  <a:gd name="connsiteY42" fmla="*/ 1019484 h 1051028"/>
                  <a:gd name="connsiteX43" fmla="*/ 377117 w 379658"/>
                  <a:gd name="connsiteY43" fmla="*/ 998447 h 1051028"/>
                  <a:gd name="connsiteX44" fmla="*/ 377840 w 379658"/>
                  <a:gd name="connsiteY44" fmla="*/ 995639 h 1051028"/>
                  <a:gd name="connsiteX45" fmla="*/ 378212 w 379658"/>
                  <a:gd name="connsiteY45" fmla="*/ 994236 h 1051028"/>
                  <a:gd name="connsiteX46" fmla="*/ 378419 w 379658"/>
                  <a:gd name="connsiteY46" fmla="*/ 992790 h 1051028"/>
                  <a:gd name="connsiteX47" fmla="*/ 379287 w 379658"/>
                  <a:gd name="connsiteY47" fmla="*/ 987051 h 1051028"/>
                  <a:gd name="connsiteX48" fmla="*/ 379576 w 379658"/>
                  <a:gd name="connsiteY48" fmla="*/ 981230 h 1051028"/>
                  <a:gd name="connsiteX49" fmla="*/ 379659 w 379658"/>
                  <a:gd name="connsiteY49" fmla="*/ 979723 h 1051028"/>
                  <a:gd name="connsiteX50" fmla="*/ 379659 w 379658"/>
                  <a:gd name="connsiteY50" fmla="*/ 71058 h 1051028"/>
                  <a:gd name="connsiteX51" fmla="*/ 379349 w 379658"/>
                  <a:gd name="connsiteY51" fmla="*/ 65236 h 1051028"/>
                  <a:gd name="connsiteX52" fmla="*/ 379287 w 379658"/>
                  <a:gd name="connsiteY52" fmla="*/ 63771 h 1051028"/>
                  <a:gd name="connsiteX53" fmla="*/ 337626 w 379658"/>
                  <a:gd name="connsiteY53" fmla="*/ 406902 h 1051028"/>
                  <a:gd name="connsiteX54" fmla="*/ 337626 w 379658"/>
                  <a:gd name="connsiteY54" fmla="*/ 979702 h 1051028"/>
                  <a:gd name="connsiteX55" fmla="*/ 337584 w 379658"/>
                  <a:gd name="connsiteY55" fmla="*/ 980177 h 1051028"/>
                  <a:gd name="connsiteX56" fmla="*/ 337543 w 379658"/>
                  <a:gd name="connsiteY56" fmla="*/ 980486 h 1051028"/>
                  <a:gd name="connsiteX57" fmla="*/ 337461 w 379658"/>
                  <a:gd name="connsiteY57" fmla="*/ 982922 h 1051028"/>
                  <a:gd name="connsiteX58" fmla="*/ 337068 w 379658"/>
                  <a:gd name="connsiteY58" fmla="*/ 985255 h 1051028"/>
                  <a:gd name="connsiteX59" fmla="*/ 337027 w 379658"/>
                  <a:gd name="connsiteY59" fmla="*/ 985854 h 1051028"/>
                  <a:gd name="connsiteX60" fmla="*/ 336841 w 379658"/>
                  <a:gd name="connsiteY60" fmla="*/ 986411 h 1051028"/>
                  <a:gd name="connsiteX61" fmla="*/ 336531 w 379658"/>
                  <a:gd name="connsiteY61" fmla="*/ 987526 h 1051028"/>
                  <a:gd name="connsiteX62" fmla="*/ 332728 w 379658"/>
                  <a:gd name="connsiteY62" fmla="*/ 996073 h 1051028"/>
                  <a:gd name="connsiteX63" fmla="*/ 326136 w 379658"/>
                  <a:gd name="connsiteY63" fmla="*/ 1002968 h 1051028"/>
                  <a:gd name="connsiteX64" fmla="*/ 317870 w 379658"/>
                  <a:gd name="connsiteY64" fmla="*/ 1007407 h 1051028"/>
                  <a:gd name="connsiteX65" fmla="*/ 308550 w 379658"/>
                  <a:gd name="connsiteY65" fmla="*/ 1008996 h 1051028"/>
                  <a:gd name="connsiteX66" fmla="*/ 70592 w 379658"/>
                  <a:gd name="connsiteY66" fmla="*/ 1008914 h 1051028"/>
                  <a:gd name="connsiteX67" fmla="*/ 68153 w 379658"/>
                  <a:gd name="connsiteY67" fmla="*/ 1008831 h 1051028"/>
                  <a:gd name="connsiteX68" fmla="*/ 65818 w 379658"/>
                  <a:gd name="connsiteY68" fmla="*/ 1008439 h 1051028"/>
                  <a:gd name="connsiteX69" fmla="*/ 65219 w 379658"/>
                  <a:gd name="connsiteY69" fmla="*/ 1008398 h 1051028"/>
                  <a:gd name="connsiteX70" fmla="*/ 64661 w 379658"/>
                  <a:gd name="connsiteY70" fmla="*/ 1008212 h 1051028"/>
                  <a:gd name="connsiteX71" fmla="*/ 63545 w 379658"/>
                  <a:gd name="connsiteY71" fmla="*/ 1007902 h 1051028"/>
                  <a:gd name="connsiteX72" fmla="*/ 62388 w 379658"/>
                  <a:gd name="connsiteY72" fmla="*/ 1007675 h 1051028"/>
                  <a:gd name="connsiteX73" fmla="*/ 61313 w 379658"/>
                  <a:gd name="connsiteY73" fmla="*/ 1007200 h 1051028"/>
                  <a:gd name="connsiteX74" fmla="*/ 53089 w 379658"/>
                  <a:gd name="connsiteY74" fmla="*/ 1002658 h 1051028"/>
                  <a:gd name="connsiteX75" fmla="*/ 43004 w 379658"/>
                  <a:gd name="connsiteY75" fmla="*/ 987010 h 1051028"/>
                  <a:gd name="connsiteX76" fmla="*/ 42653 w 379658"/>
                  <a:gd name="connsiteY76" fmla="*/ 985895 h 1051028"/>
                  <a:gd name="connsiteX77" fmla="*/ 42549 w 379658"/>
                  <a:gd name="connsiteY77" fmla="*/ 984719 h 1051028"/>
                  <a:gd name="connsiteX78" fmla="*/ 42343 w 379658"/>
                  <a:gd name="connsiteY78" fmla="*/ 983562 h 1051028"/>
                  <a:gd name="connsiteX79" fmla="*/ 42198 w 379658"/>
                  <a:gd name="connsiteY79" fmla="*/ 982984 h 1051028"/>
                  <a:gd name="connsiteX80" fmla="*/ 42198 w 379658"/>
                  <a:gd name="connsiteY80" fmla="*/ 982365 h 1051028"/>
                  <a:gd name="connsiteX81" fmla="*/ 42053 w 379658"/>
                  <a:gd name="connsiteY81" fmla="*/ 979929 h 1051028"/>
                  <a:gd name="connsiteX82" fmla="*/ 42053 w 379658"/>
                  <a:gd name="connsiteY82" fmla="*/ 71285 h 1051028"/>
                  <a:gd name="connsiteX83" fmla="*/ 42095 w 379658"/>
                  <a:gd name="connsiteY83" fmla="*/ 70810 h 1051028"/>
                  <a:gd name="connsiteX84" fmla="*/ 42136 w 379658"/>
                  <a:gd name="connsiteY84" fmla="*/ 70501 h 1051028"/>
                  <a:gd name="connsiteX85" fmla="*/ 42219 w 379658"/>
                  <a:gd name="connsiteY85" fmla="*/ 68065 h 1051028"/>
                  <a:gd name="connsiteX86" fmla="*/ 42611 w 379658"/>
                  <a:gd name="connsiteY86" fmla="*/ 65732 h 1051028"/>
                  <a:gd name="connsiteX87" fmla="*/ 42653 w 379658"/>
                  <a:gd name="connsiteY87" fmla="*/ 65133 h 1051028"/>
                  <a:gd name="connsiteX88" fmla="*/ 42839 w 379658"/>
                  <a:gd name="connsiteY88" fmla="*/ 64576 h 1051028"/>
                  <a:gd name="connsiteX89" fmla="*/ 43149 w 379658"/>
                  <a:gd name="connsiteY89" fmla="*/ 63461 h 1051028"/>
                  <a:gd name="connsiteX90" fmla="*/ 46951 w 379658"/>
                  <a:gd name="connsiteY90" fmla="*/ 54914 h 1051028"/>
                  <a:gd name="connsiteX91" fmla="*/ 53543 w 379658"/>
                  <a:gd name="connsiteY91" fmla="*/ 48019 h 1051028"/>
                  <a:gd name="connsiteX92" fmla="*/ 61809 w 379658"/>
                  <a:gd name="connsiteY92" fmla="*/ 43580 h 1051028"/>
                  <a:gd name="connsiteX93" fmla="*/ 71129 w 379658"/>
                  <a:gd name="connsiteY93" fmla="*/ 41991 h 1051028"/>
                  <a:gd name="connsiteX94" fmla="*/ 309087 w 379658"/>
                  <a:gd name="connsiteY94" fmla="*/ 42073 h 1051028"/>
                  <a:gd name="connsiteX95" fmla="*/ 311526 w 379658"/>
                  <a:gd name="connsiteY95" fmla="*/ 42156 h 1051028"/>
                  <a:gd name="connsiteX96" fmla="*/ 313861 w 379658"/>
                  <a:gd name="connsiteY96" fmla="*/ 42548 h 1051028"/>
                  <a:gd name="connsiteX97" fmla="*/ 314460 w 379658"/>
                  <a:gd name="connsiteY97" fmla="*/ 42589 h 1051028"/>
                  <a:gd name="connsiteX98" fmla="*/ 315018 w 379658"/>
                  <a:gd name="connsiteY98" fmla="*/ 42775 h 1051028"/>
                  <a:gd name="connsiteX99" fmla="*/ 316134 w 379658"/>
                  <a:gd name="connsiteY99" fmla="*/ 43085 h 1051028"/>
                  <a:gd name="connsiteX100" fmla="*/ 317291 w 379658"/>
                  <a:gd name="connsiteY100" fmla="*/ 43312 h 1051028"/>
                  <a:gd name="connsiteX101" fmla="*/ 318366 w 379658"/>
                  <a:gd name="connsiteY101" fmla="*/ 43787 h 1051028"/>
                  <a:gd name="connsiteX102" fmla="*/ 326591 w 379658"/>
                  <a:gd name="connsiteY102" fmla="*/ 48329 h 1051028"/>
                  <a:gd name="connsiteX103" fmla="*/ 336675 w 379658"/>
                  <a:gd name="connsiteY103" fmla="*/ 63977 h 1051028"/>
                  <a:gd name="connsiteX104" fmla="*/ 337027 w 379658"/>
                  <a:gd name="connsiteY104" fmla="*/ 65092 h 1051028"/>
                  <a:gd name="connsiteX105" fmla="*/ 337130 w 379658"/>
                  <a:gd name="connsiteY105" fmla="*/ 66269 h 1051028"/>
                  <a:gd name="connsiteX106" fmla="*/ 337337 w 379658"/>
                  <a:gd name="connsiteY106" fmla="*/ 67425 h 1051028"/>
                  <a:gd name="connsiteX107" fmla="*/ 337481 w 379658"/>
                  <a:gd name="connsiteY107" fmla="*/ 68003 h 1051028"/>
                  <a:gd name="connsiteX108" fmla="*/ 337481 w 379658"/>
                  <a:gd name="connsiteY108" fmla="*/ 68622 h 1051028"/>
                  <a:gd name="connsiteX109" fmla="*/ 337626 w 379658"/>
                  <a:gd name="connsiteY109" fmla="*/ 71058 h 1051028"/>
                  <a:gd name="connsiteX110" fmla="*/ 337626 w 379658"/>
                  <a:gd name="connsiteY110" fmla="*/ 406902 h 1051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</a:cxnLst>
                <a:rect l="l" t="t" r="r" b="b"/>
                <a:pathLst>
                  <a:path w="379658" h="1051028">
                    <a:moveTo>
                      <a:pt x="379287" y="63791"/>
                    </a:moveTo>
                    <a:lnTo>
                      <a:pt x="379059" y="62367"/>
                    </a:lnTo>
                    <a:lnTo>
                      <a:pt x="378605" y="59497"/>
                    </a:lnTo>
                    <a:lnTo>
                      <a:pt x="378191" y="56628"/>
                    </a:lnTo>
                    <a:lnTo>
                      <a:pt x="377447" y="53820"/>
                    </a:lnTo>
                    <a:cubicBezTo>
                      <a:pt x="373934" y="38750"/>
                      <a:pt x="364800" y="25207"/>
                      <a:pt x="352773" y="15483"/>
                    </a:cubicBezTo>
                    <a:cubicBezTo>
                      <a:pt x="346780" y="10549"/>
                      <a:pt x="339816" y="6875"/>
                      <a:pt x="332584" y="4273"/>
                    </a:cubicBezTo>
                    <a:lnTo>
                      <a:pt x="329876" y="3262"/>
                    </a:lnTo>
                    <a:cubicBezTo>
                      <a:pt x="328947" y="2993"/>
                      <a:pt x="327996" y="2787"/>
                      <a:pt x="327066" y="2539"/>
                    </a:cubicBezTo>
                    <a:lnTo>
                      <a:pt x="324256" y="1817"/>
                    </a:lnTo>
                    <a:lnTo>
                      <a:pt x="322850" y="1445"/>
                    </a:lnTo>
                    <a:lnTo>
                      <a:pt x="321404" y="1239"/>
                    </a:lnTo>
                    <a:lnTo>
                      <a:pt x="315659" y="372"/>
                    </a:lnTo>
                    <a:lnTo>
                      <a:pt x="309831" y="83"/>
                    </a:lnTo>
                    <a:lnTo>
                      <a:pt x="71129" y="0"/>
                    </a:lnTo>
                    <a:cubicBezTo>
                      <a:pt x="55610" y="248"/>
                      <a:pt x="40152" y="5037"/>
                      <a:pt x="27939" y="14719"/>
                    </a:cubicBezTo>
                    <a:cubicBezTo>
                      <a:pt x="21802" y="19447"/>
                      <a:pt x="16408" y="25145"/>
                      <a:pt x="12027" y="31545"/>
                    </a:cubicBezTo>
                    <a:cubicBezTo>
                      <a:pt x="7729" y="38006"/>
                      <a:pt x="4567" y="45149"/>
                      <a:pt x="2542" y="52581"/>
                    </a:cubicBezTo>
                    <a:lnTo>
                      <a:pt x="1819" y="55389"/>
                    </a:lnTo>
                    <a:cubicBezTo>
                      <a:pt x="1695" y="55864"/>
                      <a:pt x="1550" y="56318"/>
                      <a:pt x="1447" y="56793"/>
                    </a:cubicBezTo>
                    <a:lnTo>
                      <a:pt x="1240" y="58238"/>
                    </a:lnTo>
                    <a:lnTo>
                      <a:pt x="372" y="63977"/>
                    </a:lnTo>
                    <a:lnTo>
                      <a:pt x="83" y="69799"/>
                    </a:lnTo>
                    <a:cubicBezTo>
                      <a:pt x="62" y="70315"/>
                      <a:pt x="21" y="70707"/>
                      <a:pt x="0" y="71306"/>
                    </a:cubicBezTo>
                    <a:lnTo>
                      <a:pt x="0" y="979950"/>
                    </a:lnTo>
                    <a:lnTo>
                      <a:pt x="310" y="985771"/>
                    </a:lnTo>
                    <a:lnTo>
                      <a:pt x="372" y="987237"/>
                    </a:lnTo>
                    <a:lnTo>
                      <a:pt x="599" y="988662"/>
                    </a:lnTo>
                    <a:lnTo>
                      <a:pt x="1054" y="991531"/>
                    </a:lnTo>
                    <a:lnTo>
                      <a:pt x="1467" y="994401"/>
                    </a:lnTo>
                    <a:lnTo>
                      <a:pt x="2211" y="997208"/>
                    </a:lnTo>
                    <a:cubicBezTo>
                      <a:pt x="5724" y="1012279"/>
                      <a:pt x="14858" y="1025822"/>
                      <a:pt x="26885" y="1035545"/>
                    </a:cubicBezTo>
                    <a:cubicBezTo>
                      <a:pt x="32878" y="1040479"/>
                      <a:pt x="39842" y="1044154"/>
                      <a:pt x="47075" y="1046755"/>
                    </a:cubicBezTo>
                    <a:lnTo>
                      <a:pt x="49782" y="1047767"/>
                    </a:lnTo>
                    <a:cubicBezTo>
                      <a:pt x="50712" y="1048035"/>
                      <a:pt x="51663" y="1048241"/>
                      <a:pt x="52593" y="1048489"/>
                    </a:cubicBezTo>
                    <a:lnTo>
                      <a:pt x="55403" y="1049212"/>
                    </a:lnTo>
                    <a:lnTo>
                      <a:pt x="56808" y="1049583"/>
                    </a:lnTo>
                    <a:lnTo>
                      <a:pt x="58255" y="1049790"/>
                    </a:lnTo>
                    <a:lnTo>
                      <a:pt x="64000" y="1050657"/>
                    </a:lnTo>
                    <a:lnTo>
                      <a:pt x="69827" y="1050946"/>
                    </a:lnTo>
                    <a:lnTo>
                      <a:pt x="308529" y="1051028"/>
                    </a:lnTo>
                    <a:cubicBezTo>
                      <a:pt x="324049" y="1050781"/>
                      <a:pt x="339506" y="1045991"/>
                      <a:pt x="351719" y="1036309"/>
                    </a:cubicBezTo>
                    <a:cubicBezTo>
                      <a:pt x="357857" y="1031581"/>
                      <a:pt x="363251" y="1025883"/>
                      <a:pt x="367632" y="1019484"/>
                    </a:cubicBezTo>
                    <a:cubicBezTo>
                      <a:pt x="371930" y="1013022"/>
                      <a:pt x="375092" y="1005879"/>
                      <a:pt x="377117" y="998447"/>
                    </a:cubicBezTo>
                    <a:lnTo>
                      <a:pt x="377840" y="995639"/>
                    </a:lnTo>
                    <a:cubicBezTo>
                      <a:pt x="377964" y="995165"/>
                      <a:pt x="378109" y="994710"/>
                      <a:pt x="378212" y="994236"/>
                    </a:cubicBezTo>
                    <a:lnTo>
                      <a:pt x="378419" y="992790"/>
                    </a:lnTo>
                    <a:lnTo>
                      <a:pt x="379287" y="987051"/>
                    </a:lnTo>
                    <a:lnTo>
                      <a:pt x="379576" y="981230"/>
                    </a:lnTo>
                    <a:cubicBezTo>
                      <a:pt x="379597" y="980714"/>
                      <a:pt x="379638" y="980321"/>
                      <a:pt x="379659" y="979723"/>
                    </a:cubicBezTo>
                    <a:lnTo>
                      <a:pt x="379659" y="71058"/>
                    </a:lnTo>
                    <a:lnTo>
                      <a:pt x="379349" y="65236"/>
                    </a:lnTo>
                    <a:lnTo>
                      <a:pt x="379287" y="63771"/>
                    </a:lnTo>
                    <a:close/>
                    <a:moveTo>
                      <a:pt x="337626" y="406902"/>
                    </a:moveTo>
                    <a:lnTo>
                      <a:pt x="337626" y="979702"/>
                    </a:lnTo>
                    <a:cubicBezTo>
                      <a:pt x="337626" y="980115"/>
                      <a:pt x="337605" y="980012"/>
                      <a:pt x="337584" y="980177"/>
                    </a:cubicBezTo>
                    <a:lnTo>
                      <a:pt x="337543" y="980486"/>
                    </a:lnTo>
                    <a:cubicBezTo>
                      <a:pt x="337440" y="981292"/>
                      <a:pt x="337419" y="982097"/>
                      <a:pt x="337461" y="982922"/>
                    </a:cubicBezTo>
                    <a:cubicBezTo>
                      <a:pt x="337295" y="983707"/>
                      <a:pt x="337130" y="984471"/>
                      <a:pt x="337068" y="985255"/>
                    </a:cubicBezTo>
                    <a:lnTo>
                      <a:pt x="337027" y="985854"/>
                    </a:lnTo>
                    <a:cubicBezTo>
                      <a:pt x="336985" y="986040"/>
                      <a:pt x="336903" y="986226"/>
                      <a:pt x="336841" y="986411"/>
                    </a:cubicBezTo>
                    <a:cubicBezTo>
                      <a:pt x="336717" y="986783"/>
                      <a:pt x="336613" y="987155"/>
                      <a:pt x="336531" y="987526"/>
                    </a:cubicBezTo>
                    <a:cubicBezTo>
                      <a:pt x="335704" y="990520"/>
                      <a:pt x="334485" y="993410"/>
                      <a:pt x="332728" y="996073"/>
                    </a:cubicBezTo>
                    <a:cubicBezTo>
                      <a:pt x="330889" y="998674"/>
                      <a:pt x="328657" y="1001028"/>
                      <a:pt x="326136" y="1002968"/>
                    </a:cubicBezTo>
                    <a:cubicBezTo>
                      <a:pt x="323636" y="1004929"/>
                      <a:pt x="320846" y="1006540"/>
                      <a:pt x="317870" y="1007407"/>
                    </a:cubicBezTo>
                    <a:cubicBezTo>
                      <a:pt x="314915" y="1008356"/>
                      <a:pt x="311836" y="1008872"/>
                      <a:pt x="308550" y="1008996"/>
                    </a:cubicBezTo>
                    <a:lnTo>
                      <a:pt x="70592" y="1008914"/>
                    </a:lnTo>
                    <a:cubicBezTo>
                      <a:pt x="69786" y="1008811"/>
                      <a:pt x="68980" y="1008790"/>
                      <a:pt x="68153" y="1008831"/>
                    </a:cubicBezTo>
                    <a:cubicBezTo>
                      <a:pt x="67368" y="1008666"/>
                      <a:pt x="66603" y="1008501"/>
                      <a:pt x="65818" y="1008439"/>
                    </a:cubicBezTo>
                    <a:lnTo>
                      <a:pt x="65219" y="1008398"/>
                    </a:lnTo>
                    <a:lnTo>
                      <a:pt x="64661" y="1008212"/>
                    </a:lnTo>
                    <a:cubicBezTo>
                      <a:pt x="64289" y="1008088"/>
                      <a:pt x="63917" y="1007985"/>
                      <a:pt x="63545" y="1007902"/>
                    </a:cubicBezTo>
                    <a:lnTo>
                      <a:pt x="62388" y="1007675"/>
                    </a:lnTo>
                    <a:cubicBezTo>
                      <a:pt x="62037" y="1007510"/>
                      <a:pt x="61685" y="1007345"/>
                      <a:pt x="61313" y="1007200"/>
                    </a:cubicBezTo>
                    <a:cubicBezTo>
                      <a:pt x="58399" y="1006147"/>
                      <a:pt x="55506" y="1004764"/>
                      <a:pt x="53089" y="1002658"/>
                    </a:cubicBezTo>
                    <a:cubicBezTo>
                      <a:pt x="48191" y="998592"/>
                      <a:pt x="44306" y="993100"/>
                      <a:pt x="43004" y="987010"/>
                    </a:cubicBezTo>
                    <a:cubicBezTo>
                      <a:pt x="42901" y="986638"/>
                      <a:pt x="42777" y="986267"/>
                      <a:pt x="42653" y="985895"/>
                    </a:cubicBezTo>
                    <a:cubicBezTo>
                      <a:pt x="42611" y="985503"/>
                      <a:pt x="42591" y="985111"/>
                      <a:pt x="42549" y="984719"/>
                    </a:cubicBezTo>
                    <a:cubicBezTo>
                      <a:pt x="42508" y="984326"/>
                      <a:pt x="42425" y="983934"/>
                      <a:pt x="42343" y="983562"/>
                    </a:cubicBezTo>
                    <a:lnTo>
                      <a:pt x="42198" y="982984"/>
                    </a:lnTo>
                    <a:lnTo>
                      <a:pt x="42198" y="982365"/>
                    </a:lnTo>
                    <a:cubicBezTo>
                      <a:pt x="42219" y="981539"/>
                      <a:pt x="42177" y="980775"/>
                      <a:pt x="42053" y="979929"/>
                    </a:cubicBezTo>
                    <a:lnTo>
                      <a:pt x="42053" y="71285"/>
                    </a:lnTo>
                    <a:cubicBezTo>
                      <a:pt x="42053" y="70872"/>
                      <a:pt x="42074" y="70976"/>
                      <a:pt x="42095" y="70810"/>
                    </a:cubicBezTo>
                    <a:lnTo>
                      <a:pt x="42136" y="70501"/>
                    </a:lnTo>
                    <a:cubicBezTo>
                      <a:pt x="42239" y="69696"/>
                      <a:pt x="42260" y="68890"/>
                      <a:pt x="42219" y="68065"/>
                    </a:cubicBezTo>
                    <a:cubicBezTo>
                      <a:pt x="42384" y="67280"/>
                      <a:pt x="42549" y="66516"/>
                      <a:pt x="42611" y="65732"/>
                    </a:cubicBezTo>
                    <a:lnTo>
                      <a:pt x="42653" y="65133"/>
                    </a:lnTo>
                    <a:cubicBezTo>
                      <a:pt x="42694" y="64947"/>
                      <a:pt x="42777" y="64762"/>
                      <a:pt x="42839" y="64576"/>
                    </a:cubicBezTo>
                    <a:cubicBezTo>
                      <a:pt x="42963" y="64204"/>
                      <a:pt x="43066" y="63833"/>
                      <a:pt x="43149" y="63461"/>
                    </a:cubicBezTo>
                    <a:cubicBezTo>
                      <a:pt x="43975" y="60468"/>
                      <a:pt x="45194" y="57577"/>
                      <a:pt x="46951" y="54914"/>
                    </a:cubicBezTo>
                    <a:cubicBezTo>
                      <a:pt x="48790" y="52313"/>
                      <a:pt x="51022" y="49960"/>
                      <a:pt x="53543" y="48019"/>
                    </a:cubicBezTo>
                    <a:cubicBezTo>
                      <a:pt x="56044" y="46058"/>
                      <a:pt x="58834" y="44447"/>
                      <a:pt x="61809" y="43580"/>
                    </a:cubicBezTo>
                    <a:cubicBezTo>
                      <a:pt x="64764" y="42631"/>
                      <a:pt x="67843" y="42115"/>
                      <a:pt x="71129" y="41991"/>
                    </a:cubicBezTo>
                    <a:lnTo>
                      <a:pt x="309087" y="42073"/>
                    </a:lnTo>
                    <a:cubicBezTo>
                      <a:pt x="309893" y="42177"/>
                      <a:pt x="310699" y="42197"/>
                      <a:pt x="311526" y="42156"/>
                    </a:cubicBezTo>
                    <a:cubicBezTo>
                      <a:pt x="312311" y="42321"/>
                      <a:pt x="313076" y="42486"/>
                      <a:pt x="313861" y="42548"/>
                    </a:cubicBezTo>
                    <a:lnTo>
                      <a:pt x="314460" y="42589"/>
                    </a:lnTo>
                    <a:lnTo>
                      <a:pt x="315018" y="42775"/>
                    </a:lnTo>
                    <a:cubicBezTo>
                      <a:pt x="315390" y="42899"/>
                      <a:pt x="315762" y="43002"/>
                      <a:pt x="316134" y="43085"/>
                    </a:cubicBezTo>
                    <a:lnTo>
                      <a:pt x="317291" y="43312"/>
                    </a:lnTo>
                    <a:cubicBezTo>
                      <a:pt x="317643" y="43477"/>
                      <a:pt x="317994" y="43642"/>
                      <a:pt x="318366" y="43787"/>
                    </a:cubicBezTo>
                    <a:cubicBezTo>
                      <a:pt x="321280" y="44840"/>
                      <a:pt x="324173" y="46223"/>
                      <a:pt x="326591" y="48329"/>
                    </a:cubicBezTo>
                    <a:cubicBezTo>
                      <a:pt x="331488" y="52396"/>
                      <a:pt x="335373" y="57887"/>
                      <a:pt x="336675" y="63977"/>
                    </a:cubicBezTo>
                    <a:cubicBezTo>
                      <a:pt x="336779" y="64349"/>
                      <a:pt x="336903" y="64720"/>
                      <a:pt x="337027" y="65092"/>
                    </a:cubicBezTo>
                    <a:cubicBezTo>
                      <a:pt x="337068" y="65484"/>
                      <a:pt x="337089" y="65876"/>
                      <a:pt x="337130" y="66269"/>
                    </a:cubicBezTo>
                    <a:cubicBezTo>
                      <a:pt x="337171" y="66661"/>
                      <a:pt x="337254" y="67053"/>
                      <a:pt x="337337" y="67425"/>
                    </a:cubicBezTo>
                    <a:lnTo>
                      <a:pt x="337481" y="68003"/>
                    </a:lnTo>
                    <a:lnTo>
                      <a:pt x="337481" y="68622"/>
                    </a:lnTo>
                    <a:cubicBezTo>
                      <a:pt x="337461" y="69448"/>
                      <a:pt x="337502" y="70212"/>
                      <a:pt x="337626" y="71058"/>
                    </a:cubicBezTo>
                    <a:lnTo>
                      <a:pt x="337626" y="406902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</p:grpSp>
        <p:grpSp>
          <p:nvGrpSpPr>
            <p:cNvPr id="366" name="Group 365">
              <a:extLst>
                <a:ext uri="{FF2B5EF4-FFF2-40B4-BE49-F238E27FC236}">
                  <a16:creationId xmlns:a16="http://schemas.microsoft.com/office/drawing/2014/main" id="{41A7F9BB-F961-F9E3-C3CC-0400F270F045}"/>
                </a:ext>
              </a:extLst>
            </p:cNvPr>
            <p:cNvGrpSpPr/>
            <p:nvPr/>
          </p:nvGrpSpPr>
          <p:grpSpPr>
            <a:xfrm>
              <a:off x="1356166" y="5563739"/>
              <a:ext cx="101025" cy="213634"/>
              <a:chOff x="2832302" y="2692142"/>
              <a:chExt cx="980246" cy="2072879"/>
            </a:xfrm>
            <a:solidFill>
              <a:schemeClr val="accent5"/>
            </a:solidFill>
          </p:grpSpPr>
          <p:sp>
            <p:nvSpPr>
              <p:cNvPr id="367" name="Freeform 4">
                <a:extLst>
                  <a:ext uri="{FF2B5EF4-FFF2-40B4-BE49-F238E27FC236}">
                    <a16:creationId xmlns:a16="http://schemas.microsoft.com/office/drawing/2014/main" id="{E3A58E73-63CE-8A79-6BCA-717AD404EBC5}"/>
                  </a:ext>
                </a:extLst>
              </p:cNvPr>
              <p:cNvSpPr/>
              <p:nvPr/>
            </p:nvSpPr>
            <p:spPr>
              <a:xfrm>
                <a:off x="2832302" y="2822959"/>
                <a:ext cx="980246" cy="1942062"/>
              </a:xfrm>
              <a:custGeom>
                <a:avLst/>
                <a:gdLst>
                  <a:gd name="connsiteX0" fmla="*/ 980247 w 980246"/>
                  <a:gd name="connsiteY0" fmla="*/ 179010 h 1942062"/>
                  <a:gd name="connsiteX1" fmla="*/ 979768 w 980246"/>
                  <a:gd name="connsiteY1" fmla="*/ 168136 h 1942062"/>
                  <a:gd name="connsiteX2" fmla="*/ 979310 w 980246"/>
                  <a:gd name="connsiteY2" fmla="*/ 162700 h 1942062"/>
                  <a:gd name="connsiteX3" fmla="*/ 978632 w 980246"/>
                  <a:gd name="connsiteY3" fmla="*/ 157283 h 1942062"/>
                  <a:gd name="connsiteX4" fmla="*/ 967589 w 980246"/>
                  <a:gd name="connsiteY4" fmla="*/ 114965 h 1942062"/>
                  <a:gd name="connsiteX5" fmla="*/ 958360 w 980246"/>
                  <a:gd name="connsiteY5" fmla="*/ 95111 h 1942062"/>
                  <a:gd name="connsiteX6" fmla="*/ 946758 w 980246"/>
                  <a:gd name="connsiteY6" fmla="*/ 76570 h 1942062"/>
                  <a:gd name="connsiteX7" fmla="*/ 933084 w 980246"/>
                  <a:gd name="connsiteY7" fmla="*/ 59544 h 1942062"/>
                  <a:gd name="connsiteX8" fmla="*/ 917436 w 980246"/>
                  <a:gd name="connsiteY8" fmla="*/ 44329 h 1942062"/>
                  <a:gd name="connsiteX9" fmla="*/ 900114 w 980246"/>
                  <a:gd name="connsiteY9" fmla="*/ 31026 h 1942062"/>
                  <a:gd name="connsiteX10" fmla="*/ 881257 w 980246"/>
                  <a:gd name="connsiteY10" fmla="*/ 19934 h 1942062"/>
                  <a:gd name="connsiteX11" fmla="*/ 840174 w 980246"/>
                  <a:gd name="connsiteY11" fmla="*/ 4839 h 1942062"/>
                  <a:gd name="connsiteX12" fmla="*/ 834832 w 980246"/>
                  <a:gd name="connsiteY12" fmla="*/ 3624 h 1942062"/>
                  <a:gd name="connsiteX13" fmla="*/ 829430 w 980246"/>
                  <a:gd name="connsiteY13" fmla="*/ 2649 h 1942062"/>
                  <a:gd name="connsiteX14" fmla="*/ 818586 w 980246"/>
                  <a:gd name="connsiteY14" fmla="*/ 1115 h 1942062"/>
                  <a:gd name="connsiteX15" fmla="*/ 807703 w 980246"/>
                  <a:gd name="connsiteY15" fmla="*/ 219 h 1942062"/>
                  <a:gd name="connsiteX16" fmla="*/ 802261 w 980246"/>
                  <a:gd name="connsiteY16" fmla="*/ 60 h 1942062"/>
                  <a:gd name="connsiteX17" fmla="*/ 799530 w 980246"/>
                  <a:gd name="connsiteY17" fmla="*/ 0 h 1942062"/>
                  <a:gd name="connsiteX18" fmla="*/ 181813 w 980246"/>
                  <a:gd name="connsiteY18" fmla="*/ 0 h 1942062"/>
                  <a:gd name="connsiteX19" fmla="*/ 138498 w 980246"/>
                  <a:gd name="connsiteY19" fmla="*/ 5218 h 1942062"/>
                  <a:gd name="connsiteX20" fmla="*/ 97554 w 980246"/>
                  <a:gd name="connsiteY20" fmla="*/ 20671 h 1942062"/>
                  <a:gd name="connsiteX21" fmla="*/ 32571 w 980246"/>
                  <a:gd name="connsiteY21" fmla="*/ 77905 h 1942062"/>
                  <a:gd name="connsiteX22" fmla="*/ 1435 w 980246"/>
                  <a:gd name="connsiteY22" fmla="*/ 158896 h 1942062"/>
                  <a:gd name="connsiteX23" fmla="*/ 0 w 980246"/>
                  <a:gd name="connsiteY23" fmla="*/ 180643 h 1942062"/>
                  <a:gd name="connsiteX24" fmla="*/ 0 w 980246"/>
                  <a:gd name="connsiteY24" fmla="*/ 1760365 h 1942062"/>
                  <a:gd name="connsiteX25" fmla="*/ 40 w 980246"/>
                  <a:gd name="connsiteY25" fmla="*/ 1763053 h 1942062"/>
                  <a:gd name="connsiteX26" fmla="*/ 518 w 980246"/>
                  <a:gd name="connsiteY26" fmla="*/ 1773926 h 1942062"/>
                  <a:gd name="connsiteX27" fmla="*/ 977 w 980246"/>
                  <a:gd name="connsiteY27" fmla="*/ 1779363 h 1942062"/>
                  <a:gd name="connsiteX28" fmla="*/ 1654 w 980246"/>
                  <a:gd name="connsiteY28" fmla="*/ 1784780 h 1942062"/>
                  <a:gd name="connsiteX29" fmla="*/ 12698 w 980246"/>
                  <a:gd name="connsiteY29" fmla="*/ 1827098 h 1942062"/>
                  <a:gd name="connsiteX30" fmla="*/ 21927 w 980246"/>
                  <a:gd name="connsiteY30" fmla="*/ 1846952 h 1942062"/>
                  <a:gd name="connsiteX31" fmla="*/ 33528 w 980246"/>
                  <a:gd name="connsiteY31" fmla="*/ 1865492 h 1942062"/>
                  <a:gd name="connsiteX32" fmla="*/ 47202 w 980246"/>
                  <a:gd name="connsiteY32" fmla="*/ 1882519 h 1942062"/>
                  <a:gd name="connsiteX33" fmla="*/ 62850 w 980246"/>
                  <a:gd name="connsiteY33" fmla="*/ 1897734 h 1942062"/>
                  <a:gd name="connsiteX34" fmla="*/ 80172 w 980246"/>
                  <a:gd name="connsiteY34" fmla="*/ 1911036 h 1942062"/>
                  <a:gd name="connsiteX35" fmla="*/ 99029 w 980246"/>
                  <a:gd name="connsiteY35" fmla="*/ 1922129 h 1942062"/>
                  <a:gd name="connsiteX36" fmla="*/ 140112 w 980246"/>
                  <a:gd name="connsiteY36" fmla="*/ 1937224 h 1942062"/>
                  <a:gd name="connsiteX37" fmla="*/ 145454 w 980246"/>
                  <a:gd name="connsiteY37" fmla="*/ 1938438 h 1942062"/>
                  <a:gd name="connsiteX38" fmla="*/ 150856 w 980246"/>
                  <a:gd name="connsiteY38" fmla="*/ 1939414 h 1942062"/>
                  <a:gd name="connsiteX39" fmla="*/ 161700 w 980246"/>
                  <a:gd name="connsiteY39" fmla="*/ 1940948 h 1942062"/>
                  <a:gd name="connsiteX40" fmla="*/ 172584 w 980246"/>
                  <a:gd name="connsiteY40" fmla="*/ 1941844 h 1942062"/>
                  <a:gd name="connsiteX41" fmla="*/ 178026 w 980246"/>
                  <a:gd name="connsiteY41" fmla="*/ 1942003 h 1942062"/>
                  <a:gd name="connsiteX42" fmla="*/ 180756 w 980246"/>
                  <a:gd name="connsiteY42" fmla="*/ 1942063 h 1942062"/>
                  <a:gd name="connsiteX43" fmla="*/ 798434 w 980246"/>
                  <a:gd name="connsiteY43" fmla="*/ 1942063 h 1942062"/>
                  <a:gd name="connsiteX44" fmla="*/ 841749 w 980246"/>
                  <a:gd name="connsiteY44" fmla="*/ 1936845 h 1942062"/>
                  <a:gd name="connsiteX45" fmla="*/ 882692 w 980246"/>
                  <a:gd name="connsiteY45" fmla="*/ 1921392 h 1942062"/>
                  <a:gd name="connsiteX46" fmla="*/ 947675 w 980246"/>
                  <a:gd name="connsiteY46" fmla="*/ 1864158 h 1942062"/>
                  <a:gd name="connsiteX47" fmla="*/ 978811 w 980246"/>
                  <a:gd name="connsiteY47" fmla="*/ 1783167 h 1942062"/>
                  <a:gd name="connsiteX48" fmla="*/ 980247 w 980246"/>
                  <a:gd name="connsiteY48" fmla="*/ 1761420 h 1942062"/>
                  <a:gd name="connsiteX49" fmla="*/ 980247 w 980246"/>
                  <a:gd name="connsiteY49" fmla="*/ 181698 h 1942062"/>
                  <a:gd name="connsiteX50" fmla="*/ 980207 w 980246"/>
                  <a:gd name="connsiteY50" fmla="*/ 179010 h 1942062"/>
                  <a:gd name="connsiteX51" fmla="*/ 939762 w 980246"/>
                  <a:gd name="connsiteY51" fmla="*/ 545911 h 1942062"/>
                  <a:gd name="connsiteX52" fmla="*/ 939762 w 980246"/>
                  <a:gd name="connsiteY52" fmla="*/ 1761221 h 1942062"/>
                  <a:gd name="connsiteX53" fmla="*/ 938626 w 980246"/>
                  <a:gd name="connsiteY53" fmla="*/ 1778148 h 1942062"/>
                  <a:gd name="connsiteX54" fmla="*/ 914446 w 980246"/>
                  <a:gd name="connsiteY54" fmla="*/ 1841018 h 1942062"/>
                  <a:gd name="connsiteX55" fmla="*/ 863915 w 980246"/>
                  <a:gd name="connsiteY55" fmla="*/ 1885526 h 1942062"/>
                  <a:gd name="connsiteX56" fmla="*/ 798454 w 980246"/>
                  <a:gd name="connsiteY56" fmla="*/ 1901597 h 1942062"/>
                  <a:gd name="connsiteX57" fmla="*/ 182909 w 980246"/>
                  <a:gd name="connsiteY57" fmla="*/ 1901597 h 1942062"/>
                  <a:gd name="connsiteX58" fmla="*/ 178843 w 980246"/>
                  <a:gd name="connsiteY58" fmla="*/ 1901537 h 1942062"/>
                  <a:gd name="connsiteX59" fmla="*/ 174597 w 980246"/>
                  <a:gd name="connsiteY59" fmla="*/ 1901418 h 1942062"/>
                  <a:gd name="connsiteX60" fmla="*/ 166125 w 980246"/>
                  <a:gd name="connsiteY60" fmla="*/ 1900721 h 1942062"/>
                  <a:gd name="connsiteX61" fmla="*/ 157713 w 980246"/>
                  <a:gd name="connsiteY61" fmla="*/ 1899526 h 1942062"/>
                  <a:gd name="connsiteX62" fmla="*/ 153527 w 980246"/>
                  <a:gd name="connsiteY62" fmla="*/ 1898769 h 1942062"/>
                  <a:gd name="connsiteX63" fmla="*/ 149381 w 980246"/>
                  <a:gd name="connsiteY63" fmla="*/ 1897833 h 1942062"/>
                  <a:gd name="connsiteX64" fmla="*/ 117488 w 980246"/>
                  <a:gd name="connsiteY64" fmla="*/ 1886124 h 1942062"/>
                  <a:gd name="connsiteX65" fmla="*/ 102837 w 980246"/>
                  <a:gd name="connsiteY65" fmla="*/ 1877521 h 1942062"/>
                  <a:gd name="connsiteX66" fmla="*/ 89362 w 980246"/>
                  <a:gd name="connsiteY66" fmla="*/ 1867165 h 1942062"/>
                  <a:gd name="connsiteX67" fmla="*/ 77182 w 980246"/>
                  <a:gd name="connsiteY67" fmla="*/ 1855336 h 1942062"/>
                  <a:gd name="connsiteX68" fmla="*/ 66558 w 980246"/>
                  <a:gd name="connsiteY68" fmla="*/ 1842093 h 1942062"/>
                  <a:gd name="connsiteX69" fmla="*/ 57528 w 980246"/>
                  <a:gd name="connsiteY69" fmla="*/ 1827695 h 1942062"/>
                  <a:gd name="connsiteX70" fmla="*/ 50372 w 980246"/>
                  <a:gd name="connsiteY70" fmla="*/ 1812281 h 1942062"/>
                  <a:gd name="connsiteX71" fmla="*/ 41800 w 980246"/>
                  <a:gd name="connsiteY71" fmla="*/ 1779443 h 1942062"/>
                  <a:gd name="connsiteX72" fmla="*/ 41262 w 980246"/>
                  <a:gd name="connsiteY72" fmla="*/ 1775221 h 1942062"/>
                  <a:gd name="connsiteX73" fmla="*/ 40923 w 980246"/>
                  <a:gd name="connsiteY73" fmla="*/ 1770999 h 1942062"/>
                  <a:gd name="connsiteX74" fmla="*/ 40545 w 980246"/>
                  <a:gd name="connsiteY74" fmla="*/ 1762535 h 1942062"/>
                  <a:gd name="connsiteX75" fmla="*/ 40505 w 980246"/>
                  <a:gd name="connsiteY75" fmla="*/ 1760424 h 1942062"/>
                  <a:gd name="connsiteX76" fmla="*/ 40505 w 980246"/>
                  <a:gd name="connsiteY76" fmla="*/ 180862 h 1942062"/>
                  <a:gd name="connsiteX77" fmla="*/ 41641 w 980246"/>
                  <a:gd name="connsiteY77" fmla="*/ 163935 h 1942062"/>
                  <a:gd name="connsiteX78" fmla="*/ 65820 w 980246"/>
                  <a:gd name="connsiteY78" fmla="*/ 101065 h 1942062"/>
                  <a:gd name="connsiteX79" fmla="*/ 116351 w 980246"/>
                  <a:gd name="connsiteY79" fmla="*/ 56557 h 1942062"/>
                  <a:gd name="connsiteX80" fmla="*/ 181813 w 980246"/>
                  <a:gd name="connsiteY80" fmla="*/ 40486 h 1942062"/>
                  <a:gd name="connsiteX81" fmla="*/ 797337 w 980246"/>
                  <a:gd name="connsiteY81" fmla="*/ 40486 h 1942062"/>
                  <a:gd name="connsiteX82" fmla="*/ 801404 w 980246"/>
                  <a:gd name="connsiteY82" fmla="*/ 40546 h 1942062"/>
                  <a:gd name="connsiteX83" fmla="*/ 805650 w 980246"/>
                  <a:gd name="connsiteY83" fmla="*/ 40665 h 1942062"/>
                  <a:gd name="connsiteX84" fmla="*/ 814121 w 980246"/>
                  <a:gd name="connsiteY84" fmla="*/ 41362 h 1942062"/>
                  <a:gd name="connsiteX85" fmla="*/ 822533 w 980246"/>
                  <a:gd name="connsiteY85" fmla="*/ 42557 h 1942062"/>
                  <a:gd name="connsiteX86" fmla="*/ 826719 w 980246"/>
                  <a:gd name="connsiteY86" fmla="*/ 43314 h 1942062"/>
                  <a:gd name="connsiteX87" fmla="*/ 830865 w 980246"/>
                  <a:gd name="connsiteY87" fmla="*/ 44250 h 1942062"/>
                  <a:gd name="connsiteX88" fmla="*/ 862759 w 980246"/>
                  <a:gd name="connsiteY88" fmla="*/ 55959 h 1942062"/>
                  <a:gd name="connsiteX89" fmla="*/ 877410 w 980246"/>
                  <a:gd name="connsiteY89" fmla="*/ 64562 h 1942062"/>
                  <a:gd name="connsiteX90" fmla="*/ 890885 w 980246"/>
                  <a:gd name="connsiteY90" fmla="*/ 74918 h 1942062"/>
                  <a:gd name="connsiteX91" fmla="*/ 903064 w 980246"/>
                  <a:gd name="connsiteY91" fmla="*/ 86747 h 1942062"/>
                  <a:gd name="connsiteX92" fmla="*/ 913689 w 980246"/>
                  <a:gd name="connsiteY92" fmla="*/ 99990 h 1942062"/>
                  <a:gd name="connsiteX93" fmla="*/ 922719 w 980246"/>
                  <a:gd name="connsiteY93" fmla="*/ 114388 h 1942062"/>
                  <a:gd name="connsiteX94" fmla="*/ 929875 w 980246"/>
                  <a:gd name="connsiteY94" fmla="*/ 129801 h 1942062"/>
                  <a:gd name="connsiteX95" fmla="*/ 938446 w 980246"/>
                  <a:gd name="connsiteY95" fmla="*/ 162640 h 1942062"/>
                  <a:gd name="connsiteX96" fmla="*/ 938984 w 980246"/>
                  <a:gd name="connsiteY96" fmla="*/ 166862 h 1942062"/>
                  <a:gd name="connsiteX97" fmla="*/ 939323 w 980246"/>
                  <a:gd name="connsiteY97" fmla="*/ 171084 h 1942062"/>
                  <a:gd name="connsiteX98" fmla="*/ 939702 w 980246"/>
                  <a:gd name="connsiteY98" fmla="*/ 179547 h 1942062"/>
                  <a:gd name="connsiteX99" fmla="*/ 939742 w 980246"/>
                  <a:gd name="connsiteY99" fmla="*/ 181658 h 1942062"/>
                  <a:gd name="connsiteX100" fmla="*/ 939742 w 980246"/>
                  <a:gd name="connsiteY100" fmla="*/ 545851 h 1942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</a:cxnLst>
                <a:rect l="l" t="t" r="r" b="b"/>
                <a:pathLst>
                  <a:path w="980246" h="1942062">
                    <a:moveTo>
                      <a:pt x="980247" y="179010"/>
                    </a:moveTo>
                    <a:cubicBezTo>
                      <a:pt x="980167" y="175385"/>
                      <a:pt x="980087" y="171761"/>
                      <a:pt x="979768" y="168136"/>
                    </a:cubicBezTo>
                    <a:cubicBezTo>
                      <a:pt x="979629" y="166324"/>
                      <a:pt x="979509" y="164512"/>
                      <a:pt x="979310" y="162700"/>
                    </a:cubicBezTo>
                    <a:lnTo>
                      <a:pt x="978632" y="157283"/>
                    </a:lnTo>
                    <a:cubicBezTo>
                      <a:pt x="976738" y="142825"/>
                      <a:pt x="972991" y="128567"/>
                      <a:pt x="967589" y="114965"/>
                    </a:cubicBezTo>
                    <a:cubicBezTo>
                      <a:pt x="964958" y="108135"/>
                      <a:pt x="961768" y="101563"/>
                      <a:pt x="958360" y="95111"/>
                    </a:cubicBezTo>
                    <a:cubicBezTo>
                      <a:pt x="954812" y="88738"/>
                      <a:pt x="951024" y="82485"/>
                      <a:pt x="946758" y="76570"/>
                    </a:cubicBezTo>
                    <a:cubicBezTo>
                      <a:pt x="942592" y="70596"/>
                      <a:pt x="937928" y="64980"/>
                      <a:pt x="933084" y="59544"/>
                    </a:cubicBezTo>
                    <a:cubicBezTo>
                      <a:pt x="928121" y="54207"/>
                      <a:pt x="922978" y="49049"/>
                      <a:pt x="917436" y="44329"/>
                    </a:cubicBezTo>
                    <a:cubicBezTo>
                      <a:pt x="911975" y="39510"/>
                      <a:pt x="906114" y="35169"/>
                      <a:pt x="900114" y="31026"/>
                    </a:cubicBezTo>
                    <a:cubicBezTo>
                      <a:pt x="894015" y="27024"/>
                      <a:pt x="887795" y="23200"/>
                      <a:pt x="881257" y="19934"/>
                    </a:cubicBezTo>
                    <a:cubicBezTo>
                      <a:pt x="868261" y="13263"/>
                      <a:pt x="854427" y="8145"/>
                      <a:pt x="840174" y="4839"/>
                    </a:cubicBezTo>
                    <a:lnTo>
                      <a:pt x="834832" y="3624"/>
                    </a:lnTo>
                    <a:lnTo>
                      <a:pt x="829430" y="2649"/>
                    </a:lnTo>
                    <a:cubicBezTo>
                      <a:pt x="825842" y="1952"/>
                      <a:pt x="822214" y="1573"/>
                      <a:pt x="818586" y="1115"/>
                    </a:cubicBezTo>
                    <a:cubicBezTo>
                      <a:pt x="814959" y="697"/>
                      <a:pt x="811331" y="478"/>
                      <a:pt x="807703" y="219"/>
                    </a:cubicBezTo>
                    <a:lnTo>
                      <a:pt x="802261" y="60"/>
                    </a:lnTo>
                    <a:lnTo>
                      <a:pt x="799530" y="0"/>
                    </a:lnTo>
                    <a:lnTo>
                      <a:pt x="181813" y="0"/>
                    </a:lnTo>
                    <a:cubicBezTo>
                      <a:pt x="167321" y="0"/>
                      <a:pt x="152710" y="1752"/>
                      <a:pt x="138498" y="5218"/>
                    </a:cubicBezTo>
                    <a:cubicBezTo>
                      <a:pt x="124265" y="8623"/>
                      <a:pt x="110511" y="13940"/>
                      <a:pt x="97554" y="20671"/>
                    </a:cubicBezTo>
                    <a:cubicBezTo>
                      <a:pt x="71641" y="34193"/>
                      <a:pt x="49216" y="53988"/>
                      <a:pt x="32571" y="77905"/>
                    </a:cubicBezTo>
                    <a:cubicBezTo>
                      <a:pt x="15887" y="101782"/>
                      <a:pt x="4983" y="129921"/>
                      <a:pt x="1435" y="158896"/>
                    </a:cubicBezTo>
                    <a:cubicBezTo>
                      <a:pt x="478" y="166125"/>
                      <a:pt x="100" y="173394"/>
                      <a:pt x="0" y="180643"/>
                    </a:cubicBezTo>
                    <a:lnTo>
                      <a:pt x="0" y="1760365"/>
                    </a:lnTo>
                    <a:lnTo>
                      <a:pt x="40" y="1763053"/>
                    </a:lnTo>
                    <a:cubicBezTo>
                      <a:pt x="120" y="1766678"/>
                      <a:pt x="199" y="1770302"/>
                      <a:pt x="518" y="1773926"/>
                    </a:cubicBezTo>
                    <a:cubicBezTo>
                      <a:pt x="658" y="1775739"/>
                      <a:pt x="777" y="1777551"/>
                      <a:pt x="977" y="1779363"/>
                    </a:cubicBezTo>
                    <a:lnTo>
                      <a:pt x="1654" y="1784780"/>
                    </a:lnTo>
                    <a:cubicBezTo>
                      <a:pt x="3548" y="1799237"/>
                      <a:pt x="7296" y="1813496"/>
                      <a:pt x="12698" y="1827098"/>
                    </a:cubicBezTo>
                    <a:cubicBezTo>
                      <a:pt x="15329" y="1833928"/>
                      <a:pt x="18518" y="1840500"/>
                      <a:pt x="21927" y="1846952"/>
                    </a:cubicBezTo>
                    <a:cubicBezTo>
                      <a:pt x="25475" y="1853325"/>
                      <a:pt x="29262" y="1859578"/>
                      <a:pt x="33528" y="1865492"/>
                    </a:cubicBezTo>
                    <a:cubicBezTo>
                      <a:pt x="37694" y="1871467"/>
                      <a:pt x="42359" y="1877083"/>
                      <a:pt x="47202" y="1882519"/>
                    </a:cubicBezTo>
                    <a:cubicBezTo>
                      <a:pt x="52166" y="1887856"/>
                      <a:pt x="57309" y="1893014"/>
                      <a:pt x="62850" y="1897734"/>
                    </a:cubicBezTo>
                    <a:cubicBezTo>
                      <a:pt x="68312" y="1902553"/>
                      <a:pt x="74172" y="1906894"/>
                      <a:pt x="80172" y="1911036"/>
                    </a:cubicBezTo>
                    <a:cubicBezTo>
                      <a:pt x="86272" y="1915039"/>
                      <a:pt x="92491" y="1918863"/>
                      <a:pt x="99029" y="1922129"/>
                    </a:cubicBezTo>
                    <a:cubicBezTo>
                      <a:pt x="112026" y="1928800"/>
                      <a:pt x="125860" y="1933918"/>
                      <a:pt x="140112" y="1937224"/>
                    </a:cubicBezTo>
                    <a:lnTo>
                      <a:pt x="145454" y="1938438"/>
                    </a:lnTo>
                    <a:lnTo>
                      <a:pt x="150856" y="1939414"/>
                    </a:lnTo>
                    <a:cubicBezTo>
                      <a:pt x="154444" y="1940111"/>
                      <a:pt x="158072" y="1940490"/>
                      <a:pt x="161700" y="1940948"/>
                    </a:cubicBezTo>
                    <a:cubicBezTo>
                      <a:pt x="165328" y="1941366"/>
                      <a:pt x="168956" y="1941585"/>
                      <a:pt x="172584" y="1941844"/>
                    </a:cubicBezTo>
                    <a:lnTo>
                      <a:pt x="178026" y="1942003"/>
                    </a:lnTo>
                    <a:lnTo>
                      <a:pt x="180756" y="1942063"/>
                    </a:lnTo>
                    <a:lnTo>
                      <a:pt x="798434" y="1942063"/>
                    </a:lnTo>
                    <a:cubicBezTo>
                      <a:pt x="812925" y="1942063"/>
                      <a:pt x="827537" y="1940310"/>
                      <a:pt x="841749" y="1936845"/>
                    </a:cubicBezTo>
                    <a:cubicBezTo>
                      <a:pt x="855982" y="1933440"/>
                      <a:pt x="869736" y="1928123"/>
                      <a:pt x="882692" y="1921392"/>
                    </a:cubicBezTo>
                    <a:cubicBezTo>
                      <a:pt x="908606" y="1907870"/>
                      <a:pt x="931031" y="1888075"/>
                      <a:pt x="947675" y="1864158"/>
                    </a:cubicBezTo>
                    <a:cubicBezTo>
                      <a:pt x="964360" y="1840281"/>
                      <a:pt x="975263" y="1812142"/>
                      <a:pt x="978811" y="1783167"/>
                    </a:cubicBezTo>
                    <a:cubicBezTo>
                      <a:pt x="979768" y="1775938"/>
                      <a:pt x="980147" y="1768669"/>
                      <a:pt x="980247" y="1761420"/>
                    </a:cubicBezTo>
                    <a:lnTo>
                      <a:pt x="980247" y="181698"/>
                    </a:lnTo>
                    <a:lnTo>
                      <a:pt x="980207" y="179010"/>
                    </a:lnTo>
                    <a:close/>
                    <a:moveTo>
                      <a:pt x="939762" y="545911"/>
                    </a:moveTo>
                    <a:lnTo>
                      <a:pt x="939762" y="1761221"/>
                    </a:lnTo>
                    <a:cubicBezTo>
                      <a:pt x="939662" y="1766877"/>
                      <a:pt x="939383" y="1772532"/>
                      <a:pt x="938626" y="1778148"/>
                    </a:cubicBezTo>
                    <a:cubicBezTo>
                      <a:pt x="935875" y="1800651"/>
                      <a:pt x="927423" y="1822458"/>
                      <a:pt x="914446" y="1841018"/>
                    </a:cubicBezTo>
                    <a:cubicBezTo>
                      <a:pt x="901510" y="1859618"/>
                      <a:pt x="884028" y="1875031"/>
                      <a:pt x="863915" y="1885526"/>
                    </a:cubicBezTo>
                    <a:cubicBezTo>
                      <a:pt x="843842" y="1896121"/>
                      <a:pt x="821078" y="1901557"/>
                      <a:pt x="798454" y="1901597"/>
                    </a:cubicBezTo>
                    <a:lnTo>
                      <a:pt x="182909" y="1901597"/>
                    </a:lnTo>
                    <a:cubicBezTo>
                      <a:pt x="181773" y="1901597"/>
                      <a:pt x="180218" y="1901557"/>
                      <a:pt x="178843" y="1901537"/>
                    </a:cubicBezTo>
                    <a:lnTo>
                      <a:pt x="174597" y="1901418"/>
                    </a:lnTo>
                    <a:cubicBezTo>
                      <a:pt x="171766" y="1901199"/>
                      <a:pt x="168936" y="1901059"/>
                      <a:pt x="166125" y="1900721"/>
                    </a:cubicBezTo>
                    <a:cubicBezTo>
                      <a:pt x="163315" y="1900342"/>
                      <a:pt x="160484" y="1900064"/>
                      <a:pt x="157713" y="1899526"/>
                    </a:cubicBezTo>
                    <a:lnTo>
                      <a:pt x="153527" y="1898769"/>
                    </a:lnTo>
                    <a:lnTo>
                      <a:pt x="149381" y="1897833"/>
                    </a:lnTo>
                    <a:cubicBezTo>
                      <a:pt x="138318" y="1895284"/>
                      <a:pt x="127594" y="1891321"/>
                      <a:pt x="117488" y="1886124"/>
                    </a:cubicBezTo>
                    <a:cubicBezTo>
                      <a:pt x="112405" y="1883594"/>
                      <a:pt x="107581" y="1880607"/>
                      <a:pt x="102837" y="1877521"/>
                    </a:cubicBezTo>
                    <a:cubicBezTo>
                      <a:pt x="98192" y="1874275"/>
                      <a:pt x="93607" y="1870929"/>
                      <a:pt x="89362" y="1867165"/>
                    </a:cubicBezTo>
                    <a:cubicBezTo>
                      <a:pt x="85036" y="1863501"/>
                      <a:pt x="81049" y="1859458"/>
                      <a:pt x="77182" y="1855336"/>
                    </a:cubicBezTo>
                    <a:cubicBezTo>
                      <a:pt x="73435" y="1851094"/>
                      <a:pt x="69787" y="1846753"/>
                      <a:pt x="66558" y="1842093"/>
                    </a:cubicBezTo>
                    <a:cubicBezTo>
                      <a:pt x="63229" y="1837513"/>
                      <a:pt x="60319" y="1832634"/>
                      <a:pt x="57528" y="1827695"/>
                    </a:cubicBezTo>
                    <a:cubicBezTo>
                      <a:pt x="54897" y="1822677"/>
                      <a:pt x="52385" y="1817579"/>
                      <a:pt x="50372" y="1812281"/>
                    </a:cubicBezTo>
                    <a:cubicBezTo>
                      <a:pt x="46186" y="1801747"/>
                      <a:pt x="43275" y="1790674"/>
                      <a:pt x="41800" y="1779443"/>
                    </a:cubicBezTo>
                    <a:lnTo>
                      <a:pt x="41262" y="1775221"/>
                    </a:lnTo>
                    <a:cubicBezTo>
                      <a:pt x="41123" y="1773807"/>
                      <a:pt x="41023" y="1772393"/>
                      <a:pt x="40923" y="1770999"/>
                    </a:cubicBezTo>
                    <a:cubicBezTo>
                      <a:pt x="40664" y="1768171"/>
                      <a:pt x="40604" y="1765343"/>
                      <a:pt x="40545" y="1762535"/>
                    </a:cubicBezTo>
                    <a:lnTo>
                      <a:pt x="40505" y="1760424"/>
                    </a:lnTo>
                    <a:lnTo>
                      <a:pt x="40505" y="180862"/>
                    </a:lnTo>
                    <a:cubicBezTo>
                      <a:pt x="40604" y="175206"/>
                      <a:pt x="40883" y="169550"/>
                      <a:pt x="41641" y="163935"/>
                    </a:cubicBezTo>
                    <a:cubicBezTo>
                      <a:pt x="44392" y="141431"/>
                      <a:pt x="52844" y="119625"/>
                      <a:pt x="65820" y="101065"/>
                    </a:cubicBezTo>
                    <a:cubicBezTo>
                      <a:pt x="78757" y="82465"/>
                      <a:pt x="96239" y="67051"/>
                      <a:pt x="116351" y="56557"/>
                    </a:cubicBezTo>
                    <a:cubicBezTo>
                      <a:pt x="136424" y="45962"/>
                      <a:pt x="159188" y="40526"/>
                      <a:pt x="181813" y="40486"/>
                    </a:cubicBezTo>
                    <a:lnTo>
                      <a:pt x="797337" y="40486"/>
                    </a:lnTo>
                    <a:cubicBezTo>
                      <a:pt x="798474" y="40486"/>
                      <a:pt x="800028" y="40526"/>
                      <a:pt x="801404" y="40546"/>
                    </a:cubicBezTo>
                    <a:lnTo>
                      <a:pt x="805650" y="40665"/>
                    </a:lnTo>
                    <a:cubicBezTo>
                      <a:pt x="808480" y="40884"/>
                      <a:pt x="811311" y="41023"/>
                      <a:pt x="814121" y="41362"/>
                    </a:cubicBezTo>
                    <a:cubicBezTo>
                      <a:pt x="816932" y="41740"/>
                      <a:pt x="819763" y="42019"/>
                      <a:pt x="822533" y="42557"/>
                    </a:cubicBezTo>
                    <a:lnTo>
                      <a:pt x="826719" y="43314"/>
                    </a:lnTo>
                    <a:lnTo>
                      <a:pt x="830865" y="44250"/>
                    </a:lnTo>
                    <a:cubicBezTo>
                      <a:pt x="841929" y="46799"/>
                      <a:pt x="852653" y="50762"/>
                      <a:pt x="862759" y="55959"/>
                    </a:cubicBezTo>
                    <a:cubicBezTo>
                      <a:pt x="867842" y="58488"/>
                      <a:pt x="872666" y="61475"/>
                      <a:pt x="877410" y="64562"/>
                    </a:cubicBezTo>
                    <a:cubicBezTo>
                      <a:pt x="882055" y="67808"/>
                      <a:pt x="886639" y="71154"/>
                      <a:pt x="890885" y="74918"/>
                    </a:cubicBezTo>
                    <a:cubicBezTo>
                      <a:pt x="895211" y="78582"/>
                      <a:pt x="899197" y="82624"/>
                      <a:pt x="903064" y="86747"/>
                    </a:cubicBezTo>
                    <a:cubicBezTo>
                      <a:pt x="906812" y="90988"/>
                      <a:pt x="910460" y="95330"/>
                      <a:pt x="913689" y="99990"/>
                    </a:cubicBezTo>
                    <a:cubicBezTo>
                      <a:pt x="917018" y="104570"/>
                      <a:pt x="919928" y="109449"/>
                      <a:pt x="922719" y="114388"/>
                    </a:cubicBezTo>
                    <a:cubicBezTo>
                      <a:pt x="925350" y="119406"/>
                      <a:pt x="927862" y="124504"/>
                      <a:pt x="929875" y="129801"/>
                    </a:cubicBezTo>
                    <a:cubicBezTo>
                      <a:pt x="934061" y="140336"/>
                      <a:pt x="936971" y="151408"/>
                      <a:pt x="938446" y="162640"/>
                    </a:cubicBezTo>
                    <a:lnTo>
                      <a:pt x="938984" y="166862"/>
                    </a:lnTo>
                    <a:cubicBezTo>
                      <a:pt x="939124" y="168276"/>
                      <a:pt x="939224" y="169690"/>
                      <a:pt x="939323" y="171084"/>
                    </a:cubicBezTo>
                    <a:cubicBezTo>
                      <a:pt x="939582" y="173912"/>
                      <a:pt x="939642" y="176739"/>
                      <a:pt x="939702" y="179547"/>
                    </a:cubicBezTo>
                    <a:lnTo>
                      <a:pt x="939742" y="181658"/>
                    </a:lnTo>
                    <a:lnTo>
                      <a:pt x="939742" y="545851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68" name="Freeform 5">
                <a:extLst>
                  <a:ext uri="{FF2B5EF4-FFF2-40B4-BE49-F238E27FC236}">
                    <a16:creationId xmlns:a16="http://schemas.microsoft.com/office/drawing/2014/main" id="{4A96C9C9-E10B-4239-1D89-2D8E46BEF8B9}"/>
                  </a:ext>
                </a:extLst>
              </p:cNvPr>
              <p:cNvSpPr/>
              <p:nvPr/>
            </p:nvSpPr>
            <p:spPr>
              <a:xfrm>
                <a:off x="2912016" y="2902552"/>
                <a:ext cx="820819" cy="1782895"/>
              </a:xfrm>
              <a:custGeom>
                <a:avLst/>
                <a:gdLst>
                  <a:gd name="connsiteX0" fmla="*/ 820520 w 820819"/>
                  <a:gd name="connsiteY0" fmla="*/ 94418 h 1782895"/>
                  <a:gd name="connsiteX1" fmla="*/ 820281 w 820819"/>
                  <a:gd name="connsiteY1" fmla="*/ 91351 h 1782895"/>
                  <a:gd name="connsiteX2" fmla="*/ 819882 w 820819"/>
                  <a:gd name="connsiteY2" fmla="*/ 88304 h 1782895"/>
                  <a:gd name="connsiteX3" fmla="*/ 813703 w 820819"/>
                  <a:gd name="connsiteY3" fmla="*/ 64626 h 1782895"/>
                  <a:gd name="connsiteX4" fmla="*/ 808540 w 820819"/>
                  <a:gd name="connsiteY4" fmla="*/ 53494 h 1782895"/>
                  <a:gd name="connsiteX5" fmla="*/ 802002 w 820819"/>
                  <a:gd name="connsiteY5" fmla="*/ 43099 h 1782895"/>
                  <a:gd name="connsiteX6" fmla="*/ 794327 w 820819"/>
                  <a:gd name="connsiteY6" fmla="*/ 33500 h 1782895"/>
                  <a:gd name="connsiteX7" fmla="*/ 785497 w 820819"/>
                  <a:gd name="connsiteY7" fmla="*/ 24937 h 1782895"/>
                  <a:gd name="connsiteX8" fmla="*/ 775750 w 820819"/>
                  <a:gd name="connsiteY8" fmla="*/ 17429 h 1782895"/>
                  <a:gd name="connsiteX9" fmla="*/ 765145 w 820819"/>
                  <a:gd name="connsiteY9" fmla="*/ 11216 h 1782895"/>
                  <a:gd name="connsiteX10" fmla="*/ 742162 w 820819"/>
                  <a:gd name="connsiteY10" fmla="*/ 2772 h 1782895"/>
                  <a:gd name="connsiteX11" fmla="*/ 739172 w 820819"/>
                  <a:gd name="connsiteY11" fmla="*/ 2075 h 1782895"/>
                  <a:gd name="connsiteX12" fmla="*/ 736142 w 820819"/>
                  <a:gd name="connsiteY12" fmla="*/ 1537 h 1782895"/>
                  <a:gd name="connsiteX13" fmla="*/ 730062 w 820819"/>
                  <a:gd name="connsiteY13" fmla="*/ 661 h 1782895"/>
                  <a:gd name="connsiteX14" fmla="*/ 723923 w 820819"/>
                  <a:gd name="connsiteY14" fmla="*/ 143 h 1782895"/>
                  <a:gd name="connsiteX15" fmla="*/ 720833 w 820819"/>
                  <a:gd name="connsiteY15" fmla="*/ 64 h 1782895"/>
                  <a:gd name="connsiteX16" fmla="*/ 717584 w 820819"/>
                  <a:gd name="connsiteY16" fmla="*/ 4 h 1782895"/>
                  <a:gd name="connsiteX17" fmla="*/ 102099 w 820819"/>
                  <a:gd name="connsiteY17" fmla="*/ 4 h 1782895"/>
                  <a:gd name="connsiteX18" fmla="*/ 54817 w 820819"/>
                  <a:gd name="connsiteY18" fmla="*/ 11614 h 1782895"/>
                  <a:gd name="connsiteX19" fmla="*/ 18259 w 820819"/>
                  <a:gd name="connsiteY19" fmla="*/ 43815 h 1782895"/>
                  <a:gd name="connsiteX20" fmla="*/ 817 w 820819"/>
                  <a:gd name="connsiteY20" fmla="*/ 89180 h 1782895"/>
                  <a:gd name="connsiteX21" fmla="*/ 0 w 820819"/>
                  <a:gd name="connsiteY21" fmla="*/ 101447 h 1782895"/>
                  <a:gd name="connsiteX22" fmla="*/ 0 w 820819"/>
                  <a:gd name="connsiteY22" fmla="*/ 1682325 h 1782895"/>
                  <a:gd name="connsiteX23" fmla="*/ 299 w 820819"/>
                  <a:gd name="connsiteY23" fmla="*/ 1688478 h 1782895"/>
                  <a:gd name="connsiteX24" fmla="*/ 538 w 820819"/>
                  <a:gd name="connsiteY24" fmla="*/ 1691545 h 1782895"/>
                  <a:gd name="connsiteX25" fmla="*/ 937 w 820819"/>
                  <a:gd name="connsiteY25" fmla="*/ 1694592 h 1782895"/>
                  <a:gd name="connsiteX26" fmla="*/ 7116 w 820819"/>
                  <a:gd name="connsiteY26" fmla="*/ 1718270 h 1782895"/>
                  <a:gd name="connsiteX27" fmla="*/ 12279 w 820819"/>
                  <a:gd name="connsiteY27" fmla="*/ 1729402 h 1782895"/>
                  <a:gd name="connsiteX28" fmla="*/ 18817 w 820819"/>
                  <a:gd name="connsiteY28" fmla="*/ 1739797 h 1782895"/>
                  <a:gd name="connsiteX29" fmla="*/ 26492 w 820819"/>
                  <a:gd name="connsiteY29" fmla="*/ 1749396 h 1782895"/>
                  <a:gd name="connsiteX30" fmla="*/ 35322 w 820819"/>
                  <a:gd name="connsiteY30" fmla="*/ 1757959 h 1782895"/>
                  <a:gd name="connsiteX31" fmla="*/ 45069 w 820819"/>
                  <a:gd name="connsiteY31" fmla="*/ 1765467 h 1782895"/>
                  <a:gd name="connsiteX32" fmla="*/ 55674 w 820819"/>
                  <a:gd name="connsiteY32" fmla="*/ 1771680 h 1782895"/>
                  <a:gd name="connsiteX33" fmla="*/ 78657 w 820819"/>
                  <a:gd name="connsiteY33" fmla="*/ 1780124 h 1782895"/>
                  <a:gd name="connsiteX34" fmla="*/ 81647 w 820819"/>
                  <a:gd name="connsiteY34" fmla="*/ 1780821 h 1782895"/>
                  <a:gd name="connsiteX35" fmla="*/ 84677 w 820819"/>
                  <a:gd name="connsiteY35" fmla="*/ 1781358 h 1782895"/>
                  <a:gd name="connsiteX36" fmla="*/ 90757 w 820819"/>
                  <a:gd name="connsiteY36" fmla="*/ 1782235 h 1782895"/>
                  <a:gd name="connsiteX37" fmla="*/ 96896 w 820819"/>
                  <a:gd name="connsiteY37" fmla="*/ 1782752 h 1782895"/>
                  <a:gd name="connsiteX38" fmla="*/ 99986 w 820819"/>
                  <a:gd name="connsiteY38" fmla="*/ 1782832 h 1782895"/>
                  <a:gd name="connsiteX39" fmla="*/ 103235 w 820819"/>
                  <a:gd name="connsiteY39" fmla="*/ 1782892 h 1782895"/>
                  <a:gd name="connsiteX40" fmla="*/ 718720 w 820819"/>
                  <a:gd name="connsiteY40" fmla="*/ 1782892 h 1782895"/>
                  <a:gd name="connsiteX41" fmla="*/ 766002 w 820819"/>
                  <a:gd name="connsiteY41" fmla="*/ 1771282 h 1782895"/>
                  <a:gd name="connsiteX42" fmla="*/ 802560 w 820819"/>
                  <a:gd name="connsiteY42" fmla="*/ 1739080 h 1782895"/>
                  <a:gd name="connsiteX43" fmla="*/ 820002 w 820819"/>
                  <a:gd name="connsiteY43" fmla="*/ 1693716 h 1782895"/>
                  <a:gd name="connsiteX44" fmla="*/ 820819 w 820819"/>
                  <a:gd name="connsiteY44" fmla="*/ 1681448 h 1782895"/>
                  <a:gd name="connsiteX45" fmla="*/ 820819 w 820819"/>
                  <a:gd name="connsiteY45" fmla="*/ 100571 h 1782895"/>
                  <a:gd name="connsiteX46" fmla="*/ 820520 w 820819"/>
                  <a:gd name="connsiteY46" fmla="*/ 94418 h 1782895"/>
                  <a:gd name="connsiteX47" fmla="*/ 780294 w 820819"/>
                  <a:gd name="connsiteY47" fmla="*/ 466317 h 1782895"/>
                  <a:gd name="connsiteX48" fmla="*/ 780294 w 820819"/>
                  <a:gd name="connsiteY48" fmla="*/ 1681170 h 1782895"/>
                  <a:gd name="connsiteX49" fmla="*/ 779776 w 820819"/>
                  <a:gd name="connsiteY49" fmla="*/ 1688617 h 1782895"/>
                  <a:gd name="connsiteX50" fmla="*/ 769291 w 820819"/>
                  <a:gd name="connsiteY50" fmla="*/ 1715880 h 1782895"/>
                  <a:gd name="connsiteX51" fmla="*/ 747185 w 820819"/>
                  <a:gd name="connsiteY51" fmla="*/ 1735356 h 1782895"/>
                  <a:gd name="connsiteX52" fmla="*/ 718700 w 820819"/>
                  <a:gd name="connsiteY52" fmla="*/ 1742326 h 1782895"/>
                  <a:gd name="connsiteX53" fmla="*/ 103195 w 820819"/>
                  <a:gd name="connsiteY53" fmla="*/ 1742326 h 1782895"/>
                  <a:gd name="connsiteX54" fmla="*/ 98890 w 820819"/>
                  <a:gd name="connsiteY54" fmla="*/ 1742247 h 1782895"/>
                  <a:gd name="connsiteX55" fmla="*/ 95182 w 820819"/>
                  <a:gd name="connsiteY55" fmla="*/ 1741928 h 1782895"/>
                  <a:gd name="connsiteX56" fmla="*/ 91514 w 820819"/>
                  <a:gd name="connsiteY56" fmla="*/ 1741390 h 1782895"/>
                  <a:gd name="connsiteX57" fmla="*/ 89700 w 820819"/>
                  <a:gd name="connsiteY57" fmla="*/ 1741092 h 1782895"/>
                  <a:gd name="connsiteX58" fmla="*/ 87906 w 820819"/>
                  <a:gd name="connsiteY58" fmla="*/ 1740673 h 1782895"/>
                  <a:gd name="connsiteX59" fmla="*/ 74113 w 820819"/>
                  <a:gd name="connsiteY59" fmla="*/ 1735615 h 1782895"/>
                  <a:gd name="connsiteX60" fmla="*/ 67714 w 820819"/>
                  <a:gd name="connsiteY60" fmla="*/ 1731891 h 1782895"/>
                  <a:gd name="connsiteX61" fmla="*/ 61834 w 820819"/>
                  <a:gd name="connsiteY61" fmla="*/ 1727351 h 1782895"/>
                  <a:gd name="connsiteX62" fmla="*/ 56471 w 820819"/>
                  <a:gd name="connsiteY62" fmla="*/ 1722173 h 1782895"/>
                  <a:gd name="connsiteX63" fmla="*/ 51827 w 820819"/>
                  <a:gd name="connsiteY63" fmla="*/ 1716358 h 1782895"/>
                  <a:gd name="connsiteX64" fmla="*/ 47880 w 820819"/>
                  <a:gd name="connsiteY64" fmla="*/ 1710085 h 1782895"/>
                  <a:gd name="connsiteX65" fmla="*/ 44790 w 820819"/>
                  <a:gd name="connsiteY65" fmla="*/ 1703394 h 1782895"/>
                  <a:gd name="connsiteX66" fmla="*/ 41083 w 820819"/>
                  <a:gd name="connsiteY66" fmla="*/ 1689175 h 1782895"/>
                  <a:gd name="connsiteX67" fmla="*/ 40844 w 820819"/>
                  <a:gd name="connsiteY67" fmla="*/ 1687343 h 1782895"/>
                  <a:gd name="connsiteX68" fmla="*/ 40704 w 820819"/>
                  <a:gd name="connsiteY68" fmla="*/ 1685491 h 1782895"/>
                  <a:gd name="connsiteX69" fmla="*/ 40525 w 820819"/>
                  <a:gd name="connsiteY69" fmla="*/ 1681747 h 1782895"/>
                  <a:gd name="connsiteX70" fmla="*/ 40485 w 820819"/>
                  <a:gd name="connsiteY70" fmla="*/ 1680791 h 1782895"/>
                  <a:gd name="connsiteX71" fmla="*/ 40485 w 820819"/>
                  <a:gd name="connsiteY71" fmla="*/ 101706 h 1782895"/>
                  <a:gd name="connsiteX72" fmla="*/ 41003 w 820819"/>
                  <a:gd name="connsiteY72" fmla="*/ 94258 h 1782895"/>
                  <a:gd name="connsiteX73" fmla="*/ 51488 w 820819"/>
                  <a:gd name="connsiteY73" fmla="*/ 66996 h 1782895"/>
                  <a:gd name="connsiteX74" fmla="*/ 73594 w 820819"/>
                  <a:gd name="connsiteY74" fmla="*/ 47520 h 1782895"/>
                  <a:gd name="connsiteX75" fmla="*/ 102079 w 820819"/>
                  <a:gd name="connsiteY75" fmla="*/ 40550 h 1782895"/>
                  <a:gd name="connsiteX76" fmla="*/ 717624 w 820819"/>
                  <a:gd name="connsiteY76" fmla="*/ 40550 h 1782895"/>
                  <a:gd name="connsiteX77" fmla="*/ 721929 w 820819"/>
                  <a:gd name="connsiteY77" fmla="*/ 40629 h 1782895"/>
                  <a:gd name="connsiteX78" fmla="*/ 725637 w 820819"/>
                  <a:gd name="connsiteY78" fmla="*/ 40948 h 1782895"/>
                  <a:gd name="connsiteX79" fmla="*/ 729305 w 820819"/>
                  <a:gd name="connsiteY79" fmla="*/ 41485 h 1782895"/>
                  <a:gd name="connsiteX80" fmla="*/ 731119 w 820819"/>
                  <a:gd name="connsiteY80" fmla="*/ 41784 h 1782895"/>
                  <a:gd name="connsiteX81" fmla="*/ 732913 w 820819"/>
                  <a:gd name="connsiteY81" fmla="*/ 42202 h 1782895"/>
                  <a:gd name="connsiteX82" fmla="*/ 746706 w 820819"/>
                  <a:gd name="connsiteY82" fmla="*/ 47261 h 1782895"/>
                  <a:gd name="connsiteX83" fmla="*/ 753105 w 820819"/>
                  <a:gd name="connsiteY83" fmla="*/ 50985 h 1782895"/>
                  <a:gd name="connsiteX84" fmla="*/ 758985 w 820819"/>
                  <a:gd name="connsiteY84" fmla="*/ 55525 h 1782895"/>
                  <a:gd name="connsiteX85" fmla="*/ 764348 w 820819"/>
                  <a:gd name="connsiteY85" fmla="*/ 60703 h 1782895"/>
                  <a:gd name="connsiteX86" fmla="*/ 768992 w 820819"/>
                  <a:gd name="connsiteY86" fmla="*/ 66518 h 1782895"/>
                  <a:gd name="connsiteX87" fmla="*/ 772939 w 820819"/>
                  <a:gd name="connsiteY87" fmla="*/ 72791 h 1782895"/>
                  <a:gd name="connsiteX88" fmla="*/ 776029 w 820819"/>
                  <a:gd name="connsiteY88" fmla="*/ 79482 h 1782895"/>
                  <a:gd name="connsiteX89" fmla="*/ 779736 w 820819"/>
                  <a:gd name="connsiteY89" fmla="*/ 93701 h 1782895"/>
                  <a:gd name="connsiteX90" fmla="*/ 779975 w 820819"/>
                  <a:gd name="connsiteY90" fmla="*/ 95533 h 1782895"/>
                  <a:gd name="connsiteX91" fmla="*/ 780115 w 820819"/>
                  <a:gd name="connsiteY91" fmla="*/ 97385 h 1782895"/>
                  <a:gd name="connsiteX92" fmla="*/ 780294 w 820819"/>
                  <a:gd name="connsiteY92" fmla="*/ 101129 h 1782895"/>
                  <a:gd name="connsiteX93" fmla="*/ 780334 w 820819"/>
                  <a:gd name="connsiteY93" fmla="*/ 102085 h 1782895"/>
                  <a:gd name="connsiteX94" fmla="*/ 780334 w 820819"/>
                  <a:gd name="connsiteY94" fmla="*/ 466277 h 1782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820819" h="1782895">
                    <a:moveTo>
                      <a:pt x="820520" y="94418"/>
                    </a:moveTo>
                    <a:lnTo>
                      <a:pt x="820281" y="91351"/>
                    </a:lnTo>
                    <a:lnTo>
                      <a:pt x="819882" y="88304"/>
                    </a:lnTo>
                    <a:cubicBezTo>
                      <a:pt x="818826" y="80179"/>
                      <a:pt x="816733" y="72213"/>
                      <a:pt x="813703" y="64626"/>
                    </a:cubicBezTo>
                    <a:cubicBezTo>
                      <a:pt x="812248" y="60802"/>
                      <a:pt x="810414" y="57138"/>
                      <a:pt x="808540" y="53494"/>
                    </a:cubicBezTo>
                    <a:cubicBezTo>
                      <a:pt x="806507" y="49929"/>
                      <a:pt x="804434" y="46404"/>
                      <a:pt x="802002" y="43099"/>
                    </a:cubicBezTo>
                    <a:cubicBezTo>
                      <a:pt x="799670" y="39713"/>
                      <a:pt x="797019" y="36587"/>
                      <a:pt x="794327" y="33500"/>
                    </a:cubicBezTo>
                    <a:cubicBezTo>
                      <a:pt x="791517" y="30533"/>
                      <a:pt x="788646" y="27565"/>
                      <a:pt x="785497" y="24937"/>
                    </a:cubicBezTo>
                    <a:cubicBezTo>
                      <a:pt x="782427" y="22208"/>
                      <a:pt x="779098" y="19799"/>
                      <a:pt x="775750" y="17429"/>
                    </a:cubicBezTo>
                    <a:cubicBezTo>
                      <a:pt x="772301" y="15219"/>
                      <a:pt x="768833" y="13028"/>
                      <a:pt x="765145" y="11216"/>
                    </a:cubicBezTo>
                    <a:cubicBezTo>
                      <a:pt x="757869" y="7472"/>
                      <a:pt x="750135" y="4604"/>
                      <a:pt x="742162" y="2772"/>
                    </a:cubicBezTo>
                    <a:lnTo>
                      <a:pt x="739172" y="2075"/>
                    </a:lnTo>
                    <a:lnTo>
                      <a:pt x="736142" y="1537"/>
                    </a:lnTo>
                    <a:cubicBezTo>
                      <a:pt x="734128" y="1119"/>
                      <a:pt x="732095" y="960"/>
                      <a:pt x="730062" y="661"/>
                    </a:cubicBezTo>
                    <a:cubicBezTo>
                      <a:pt x="728029" y="402"/>
                      <a:pt x="725976" y="343"/>
                      <a:pt x="723923" y="143"/>
                    </a:cubicBezTo>
                    <a:lnTo>
                      <a:pt x="720833" y="64"/>
                    </a:lnTo>
                    <a:cubicBezTo>
                      <a:pt x="719756" y="44"/>
                      <a:pt x="718879" y="-16"/>
                      <a:pt x="717584" y="4"/>
                    </a:cubicBezTo>
                    <a:lnTo>
                      <a:pt x="102099" y="4"/>
                    </a:lnTo>
                    <a:cubicBezTo>
                      <a:pt x="85654" y="64"/>
                      <a:pt x="69328" y="3947"/>
                      <a:pt x="54817" y="11614"/>
                    </a:cubicBezTo>
                    <a:cubicBezTo>
                      <a:pt x="40285" y="19181"/>
                      <a:pt x="27628" y="30353"/>
                      <a:pt x="18259" y="43815"/>
                    </a:cubicBezTo>
                    <a:cubicBezTo>
                      <a:pt x="8870" y="57258"/>
                      <a:pt x="2791" y="72930"/>
                      <a:pt x="817" y="89180"/>
                    </a:cubicBezTo>
                    <a:cubicBezTo>
                      <a:pt x="259" y="93243"/>
                      <a:pt x="80" y="97345"/>
                      <a:pt x="0" y="101447"/>
                    </a:cubicBezTo>
                    <a:lnTo>
                      <a:pt x="0" y="1682325"/>
                    </a:lnTo>
                    <a:cubicBezTo>
                      <a:pt x="80" y="1684376"/>
                      <a:pt x="100" y="1686427"/>
                      <a:pt x="299" y="1688478"/>
                    </a:cubicBezTo>
                    <a:lnTo>
                      <a:pt x="538" y="1691545"/>
                    </a:lnTo>
                    <a:lnTo>
                      <a:pt x="937" y="1694592"/>
                    </a:lnTo>
                    <a:cubicBezTo>
                      <a:pt x="1993" y="1702717"/>
                      <a:pt x="4086" y="1710683"/>
                      <a:pt x="7116" y="1718270"/>
                    </a:cubicBezTo>
                    <a:cubicBezTo>
                      <a:pt x="8571" y="1722093"/>
                      <a:pt x="10405" y="1725758"/>
                      <a:pt x="12279" y="1729402"/>
                    </a:cubicBezTo>
                    <a:cubicBezTo>
                      <a:pt x="14312" y="1732967"/>
                      <a:pt x="16385" y="1736492"/>
                      <a:pt x="18817" y="1739797"/>
                    </a:cubicBezTo>
                    <a:cubicBezTo>
                      <a:pt x="21149" y="1743183"/>
                      <a:pt x="23801" y="1746309"/>
                      <a:pt x="26492" y="1749396"/>
                    </a:cubicBezTo>
                    <a:cubicBezTo>
                      <a:pt x="29302" y="1752363"/>
                      <a:pt x="32173" y="1755330"/>
                      <a:pt x="35322" y="1757959"/>
                    </a:cubicBezTo>
                    <a:cubicBezTo>
                      <a:pt x="38392" y="1760687"/>
                      <a:pt x="41721" y="1763097"/>
                      <a:pt x="45069" y="1765467"/>
                    </a:cubicBezTo>
                    <a:cubicBezTo>
                      <a:pt x="48518" y="1767677"/>
                      <a:pt x="51986" y="1769868"/>
                      <a:pt x="55674" y="1771680"/>
                    </a:cubicBezTo>
                    <a:cubicBezTo>
                      <a:pt x="62950" y="1775424"/>
                      <a:pt x="70684" y="1778292"/>
                      <a:pt x="78657" y="1780124"/>
                    </a:cubicBezTo>
                    <a:lnTo>
                      <a:pt x="81647" y="1780821"/>
                    </a:lnTo>
                    <a:lnTo>
                      <a:pt x="84677" y="1781358"/>
                    </a:lnTo>
                    <a:cubicBezTo>
                      <a:pt x="86691" y="1781777"/>
                      <a:pt x="88724" y="1781936"/>
                      <a:pt x="90757" y="1782235"/>
                    </a:cubicBezTo>
                    <a:cubicBezTo>
                      <a:pt x="92790" y="1782494"/>
                      <a:pt x="94843" y="1782553"/>
                      <a:pt x="96896" y="1782752"/>
                    </a:cubicBezTo>
                    <a:lnTo>
                      <a:pt x="99986" y="1782832"/>
                    </a:lnTo>
                    <a:cubicBezTo>
                      <a:pt x="101063" y="1782852"/>
                      <a:pt x="101940" y="1782912"/>
                      <a:pt x="103235" y="1782892"/>
                    </a:cubicBezTo>
                    <a:lnTo>
                      <a:pt x="718720" y="1782892"/>
                    </a:lnTo>
                    <a:cubicBezTo>
                      <a:pt x="735165" y="1782832"/>
                      <a:pt x="751491" y="1778949"/>
                      <a:pt x="766002" y="1771282"/>
                    </a:cubicBezTo>
                    <a:cubicBezTo>
                      <a:pt x="780534" y="1763714"/>
                      <a:pt x="793191" y="1752542"/>
                      <a:pt x="802560" y="1739080"/>
                    </a:cubicBezTo>
                    <a:cubicBezTo>
                      <a:pt x="811949" y="1725638"/>
                      <a:pt x="818028" y="1709966"/>
                      <a:pt x="820002" y="1693716"/>
                    </a:cubicBezTo>
                    <a:cubicBezTo>
                      <a:pt x="820560" y="1689653"/>
                      <a:pt x="820739" y="1685551"/>
                      <a:pt x="820819" y="1681448"/>
                    </a:cubicBezTo>
                    <a:lnTo>
                      <a:pt x="820819" y="100571"/>
                    </a:lnTo>
                    <a:cubicBezTo>
                      <a:pt x="820739" y="98520"/>
                      <a:pt x="820719" y="96469"/>
                      <a:pt x="820520" y="94418"/>
                    </a:cubicBezTo>
                    <a:close/>
                    <a:moveTo>
                      <a:pt x="780294" y="466317"/>
                    </a:moveTo>
                    <a:lnTo>
                      <a:pt x="780294" y="1681170"/>
                    </a:lnTo>
                    <a:cubicBezTo>
                      <a:pt x="780215" y="1683679"/>
                      <a:pt x="780135" y="1686188"/>
                      <a:pt x="779776" y="1688617"/>
                    </a:cubicBezTo>
                    <a:cubicBezTo>
                      <a:pt x="778580" y="1698415"/>
                      <a:pt x="774952" y="1707755"/>
                      <a:pt x="769291" y="1715880"/>
                    </a:cubicBezTo>
                    <a:cubicBezTo>
                      <a:pt x="763650" y="1724005"/>
                      <a:pt x="755936" y="1730816"/>
                      <a:pt x="747185" y="1735356"/>
                    </a:cubicBezTo>
                    <a:cubicBezTo>
                      <a:pt x="738454" y="1739957"/>
                      <a:pt x="728766" y="1742267"/>
                      <a:pt x="718700" y="1742326"/>
                    </a:cubicBezTo>
                    <a:lnTo>
                      <a:pt x="103195" y="1742326"/>
                    </a:lnTo>
                    <a:lnTo>
                      <a:pt x="98890" y="1742247"/>
                    </a:lnTo>
                    <a:cubicBezTo>
                      <a:pt x="97654" y="1742107"/>
                      <a:pt x="96398" y="1742087"/>
                      <a:pt x="95182" y="1741928"/>
                    </a:cubicBezTo>
                    <a:cubicBezTo>
                      <a:pt x="93966" y="1741729"/>
                      <a:pt x="92710" y="1741669"/>
                      <a:pt x="91514" y="1741390"/>
                    </a:cubicBezTo>
                    <a:lnTo>
                      <a:pt x="89700" y="1741092"/>
                    </a:lnTo>
                    <a:lnTo>
                      <a:pt x="87906" y="1740673"/>
                    </a:lnTo>
                    <a:cubicBezTo>
                      <a:pt x="83122" y="1739598"/>
                      <a:pt x="78498" y="1737866"/>
                      <a:pt x="74113" y="1735615"/>
                    </a:cubicBezTo>
                    <a:cubicBezTo>
                      <a:pt x="71900" y="1734540"/>
                      <a:pt x="69807" y="1733186"/>
                      <a:pt x="67714" y="1731891"/>
                    </a:cubicBezTo>
                    <a:cubicBezTo>
                      <a:pt x="65701" y="1730438"/>
                      <a:pt x="63667" y="1729024"/>
                      <a:pt x="61834" y="1727351"/>
                    </a:cubicBezTo>
                    <a:cubicBezTo>
                      <a:pt x="59920" y="1725778"/>
                      <a:pt x="58206" y="1723946"/>
                      <a:pt x="56471" y="1722173"/>
                    </a:cubicBezTo>
                    <a:cubicBezTo>
                      <a:pt x="54857" y="1720281"/>
                      <a:pt x="53222" y="1718409"/>
                      <a:pt x="51827" y="1716358"/>
                    </a:cubicBezTo>
                    <a:cubicBezTo>
                      <a:pt x="50332" y="1714367"/>
                      <a:pt x="49116" y="1712216"/>
                      <a:pt x="47880" y="1710085"/>
                    </a:cubicBezTo>
                    <a:cubicBezTo>
                      <a:pt x="46784" y="1707875"/>
                      <a:pt x="45628" y="1705704"/>
                      <a:pt x="44790" y="1703394"/>
                    </a:cubicBezTo>
                    <a:cubicBezTo>
                      <a:pt x="42976" y="1698834"/>
                      <a:pt x="41701" y="1694094"/>
                      <a:pt x="41083" y="1689175"/>
                    </a:cubicBezTo>
                    <a:lnTo>
                      <a:pt x="40844" y="1687343"/>
                    </a:lnTo>
                    <a:lnTo>
                      <a:pt x="40704" y="1685491"/>
                    </a:lnTo>
                    <a:cubicBezTo>
                      <a:pt x="40565" y="1684256"/>
                      <a:pt x="40565" y="1683002"/>
                      <a:pt x="40525" y="1681747"/>
                    </a:cubicBezTo>
                    <a:lnTo>
                      <a:pt x="40485" y="1680791"/>
                    </a:lnTo>
                    <a:lnTo>
                      <a:pt x="40485" y="101706"/>
                    </a:lnTo>
                    <a:cubicBezTo>
                      <a:pt x="40565" y="99197"/>
                      <a:pt x="40644" y="96688"/>
                      <a:pt x="41003" y="94258"/>
                    </a:cubicBezTo>
                    <a:cubicBezTo>
                      <a:pt x="42199" y="84461"/>
                      <a:pt x="45827" y="75121"/>
                      <a:pt x="51488" y="66996"/>
                    </a:cubicBezTo>
                    <a:cubicBezTo>
                      <a:pt x="57129" y="58871"/>
                      <a:pt x="64843" y="52060"/>
                      <a:pt x="73594" y="47520"/>
                    </a:cubicBezTo>
                    <a:cubicBezTo>
                      <a:pt x="82325" y="42919"/>
                      <a:pt x="92013" y="40609"/>
                      <a:pt x="102079" y="40550"/>
                    </a:cubicBezTo>
                    <a:lnTo>
                      <a:pt x="717624" y="40550"/>
                    </a:lnTo>
                    <a:lnTo>
                      <a:pt x="721929" y="40629"/>
                    </a:lnTo>
                    <a:cubicBezTo>
                      <a:pt x="723165" y="40769"/>
                      <a:pt x="724421" y="40788"/>
                      <a:pt x="725637" y="40948"/>
                    </a:cubicBezTo>
                    <a:cubicBezTo>
                      <a:pt x="726853" y="41147"/>
                      <a:pt x="728109" y="41207"/>
                      <a:pt x="729305" y="41485"/>
                    </a:cubicBezTo>
                    <a:lnTo>
                      <a:pt x="731119" y="41784"/>
                    </a:lnTo>
                    <a:lnTo>
                      <a:pt x="732913" y="42202"/>
                    </a:lnTo>
                    <a:cubicBezTo>
                      <a:pt x="737697" y="43278"/>
                      <a:pt x="742321" y="45010"/>
                      <a:pt x="746706" y="47261"/>
                    </a:cubicBezTo>
                    <a:cubicBezTo>
                      <a:pt x="748919" y="48336"/>
                      <a:pt x="750992" y="49690"/>
                      <a:pt x="753105" y="50985"/>
                    </a:cubicBezTo>
                    <a:cubicBezTo>
                      <a:pt x="755118" y="52438"/>
                      <a:pt x="757152" y="53852"/>
                      <a:pt x="758985" y="55525"/>
                    </a:cubicBezTo>
                    <a:cubicBezTo>
                      <a:pt x="760899" y="57098"/>
                      <a:pt x="762613" y="58930"/>
                      <a:pt x="764348" y="60703"/>
                    </a:cubicBezTo>
                    <a:cubicBezTo>
                      <a:pt x="765962" y="62595"/>
                      <a:pt x="767597" y="64467"/>
                      <a:pt x="768992" y="66518"/>
                    </a:cubicBezTo>
                    <a:cubicBezTo>
                      <a:pt x="770487" y="68509"/>
                      <a:pt x="771703" y="70660"/>
                      <a:pt x="772939" y="72791"/>
                    </a:cubicBezTo>
                    <a:cubicBezTo>
                      <a:pt x="774035" y="75001"/>
                      <a:pt x="775191" y="77172"/>
                      <a:pt x="776029" y="79482"/>
                    </a:cubicBezTo>
                    <a:cubicBezTo>
                      <a:pt x="777843" y="84042"/>
                      <a:pt x="779118" y="88782"/>
                      <a:pt x="779736" y="93701"/>
                    </a:cubicBezTo>
                    <a:lnTo>
                      <a:pt x="779975" y="95533"/>
                    </a:lnTo>
                    <a:lnTo>
                      <a:pt x="780115" y="97385"/>
                    </a:lnTo>
                    <a:cubicBezTo>
                      <a:pt x="780254" y="98620"/>
                      <a:pt x="780254" y="99874"/>
                      <a:pt x="780294" y="101129"/>
                    </a:cubicBezTo>
                    <a:lnTo>
                      <a:pt x="780334" y="102085"/>
                    </a:lnTo>
                    <a:lnTo>
                      <a:pt x="780334" y="466277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69" name="Freeform 6">
                <a:extLst>
                  <a:ext uri="{FF2B5EF4-FFF2-40B4-BE49-F238E27FC236}">
                    <a16:creationId xmlns:a16="http://schemas.microsoft.com/office/drawing/2014/main" id="{A6E10E56-DD57-C1B7-8DA9-9630B55049AD}"/>
                  </a:ext>
                </a:extLst>
              </p:cNvPr>
              <p:cNvSpPr/>
              <p:nvPr/>
            </p:nvSpPr>
            <p:spPr>
              <a:xfrm>
                <a:off x="3148210" y="3385450"/>
                <a:ext cx="343646" cy="734474"/>
              </a:xfrm>
              <a:custGeom>
                <a:avLst/>
                <a:gdLst>
                  <a:gd name="connsiteX0" fmla="*/ 328241 w 343646"/>
                  <a:gd name="connsiteY0" fmla="*/ 270822 h 734474"/>
                  <a:gd name="connsiteX1" fmla="*/ 235411 w 343646"/>
                  <a:gd name="connsiteY1" fmla="*/ 262060 h 734474"/>
                  <a:gd name="connsiteX2" fmla="*/ 220301 w 343646"/>
                  <a:gd name="connsiteY2" fmla="*/ 232846 h 734474"/>
                  <a:gd name="connsiteX3" fmla="*/ 239537 w 343646"/>
                  <a:gd name="connsiteY3" fmla="*/ 29541 h 734474"/>
                  <a:gd name="connsiteX4" fmla="*/ 233119 w 343646"/>
                  <a:gd name="connsiteY4" fmla="*/ 4767 h 734474"/>
                  <a:gd name="connsiteX5" fmla="*/ 207923 w 343646"/>
                  <a:gd name="connsiteY5" fmla="*/ 12116 h 734474"/>
                  <a:gd name="connsiteX6" fmla="*/ 4123 w 343646"/>
                  <a:gd name="connsiteY6" fmla="*/ 420339 h 734474"/>
                  <a:gd name="connsiteX7" fmla="*/ 176 w 343646"/>
                  <a:gd name="connsiteY7" fmla="*/ 434578 h 734474"/>
                  <a:gd name="connsiteX8" fmla="*/ 15406 w 343646"/>
                  <a:gd name="connsiteY8" fmla="*/ 463652 h 734474"/>
                  <a:gd name="connsiteX9" fmla="*/ 108236 w 343646"/>
                  <a:gd name="connsiteY9" fmla="*/ 472415 h 734474"/>
                  <a:gd name="connsiteX10" fmla="*/ 123345 w 343646"/>
                  <a:gd name="connsiteY10" fmla="*/ 501629 h 734474"/>
                  <a:gd name="connsiteX11" fmla="*/ 104109 w 343646"/>
                  <a:gd name="connsiteY11" fmla="*/ 704934 h 734474"/>
                  <a:gd name="connsiteX12" fmla="*/ 110528 w 343646"/>
                  <a:gd name="connsiteY12" fmla="*/ 729708 h 734474"/>
                  <a:gd name="connsiteX13" fmla="*/ 135724 w 343646"/>
                  <a:gd name="connsiteY13" fmla="*/ 722359 h 734474"/>
                  <a:gd name="connsiteX14" fmla="*/ 339523 w 343646"/>
                  <a:gd name="connsiteY14" fmla="*/ 314136 h 734474"/>
                  <a:gd name="connsiteX15" fmla="*/ 343470 w 343646"/>
                  <a:gd name="connsiteY15" fmla="*/ 299897 h 734474"/>
                  <a:gd name="connsiteX16" fmla="*/ 328241 w 343646"/>
                  <a:gd name="connsiteY16" fmla="*/ 270822 h 734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43646" h="734474">
                    <a:moveTo>
                      <a:pt x="328241" y="270822"/>
                    </a:moveTo>
                    <a:lnTo>
                      <a:pt x="235411" y="262060"/>
                    </a:lnTo>
                    <a:cubicBezTo>
                      <a:pt x="225624" y="261144"/>
                      <a:pt x="218866" y="248060"/>
                      <a:pt x="220301" y="232846"/>
                    </a:cubicBezTo>
                    <a:lnTo>
                      <a:pt x="239537" y="29541"/>
                    </a:lnTo>
                    <a:cubicBezTo>
                      <a:pt x="240534" y="19723"/>
                      <a:pt x="238082" y="10283"/>
                      <a:pt x="233119" y="4767"/>
                    </a:cubicBezTo>
                    <a:cubicBezTo>
                      <a:pt x="225444" y="-3796"/>
                      <a:pt x="214162" y="-510"/>
                      <a:pt x="207923" y="12116"/>
                    </a:cubicBezTo>
                    <a:lnTo>
                      <a:pt x="4123" y="420339"/>
                    </a:lnTo>
                    <a:cubicBezTo>
                      <a:pt x="2010" y="424541"/>
                      <a:pt x="635" y="429479"/>
                      <a:pt x="176" y="434578"/>
                    </a:cubicBezTo>
                    <a:cubicBezTo>
                      <a:pt x="-1199" y="449792"/>
                      <a:pt x="5618" y="462816"/>
                      <a:pt x="15406" y="463652"/>
                    </a:cubicBezTo>
                    <a:lnTo>
                      <a:pt x="108236" y="472415"/>
                    </a:lnTo>
                    <a:cubicBezTo>
                      <a:pt x="118023" y="473331"/>
                      <a:pt x="124780" y="486415"/>
                      <a:pt x="123345" y="501629"/>
                    </a:cubicBezTo>
                    <a:lnTo>
                      <a:pt x="104109" y="704934"/>
                    </a:lnTo>
                    <a:cubicBezTo>
                      <a:pt x="103113" y="714752"/>
                      <a:pt x="105564" y="724191"/>
                      <a:pt x="110528" y="729708"/>
                    </a:cubicBezTo>
                    <a:cubicBezTo>
                      <a:pt x="118202" y="738271"/>
                      <a:pt x="129485" y="734985"/>
                      <a:pt x="135724" y="722359"/>
                    </a:cubicBezTo>
                    <a:lnTo>
                      <a:pt x="339523" y="314136"/>
                    </a:lnTo>
                    <a:cubicBezTo>
                      <a:pt x="341636" y="309934"/>
                      <a:pt x="343012" y="304995"/>
                      <a:pt x="343470" y="299897"/>
                    </a:cubicBezTo>
                    <a:cubicBezTo>
                      <a:pt x="344845" y="284683"/>
                      <a:pt x="338028" y="271659"/>
                      <a:pt x="328241" y="270822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370" name="Freeform 7">
                <a:extLst>
                  <a:ext uri="{FF2B5EF4-FFF2-40B4-BE49-F238E27FC236}">
                    <a16:creationId xmlns:a16="http://schemas.microsoft.com/office/drawing/2014/main" id="{7F8EF89D-1ED6-756F-5C67-58C26718289F}"/>
                  </a:ext>
                </a:extLst>
              </p:cNvPr>
              <p:cNvSpPr/>
              <p:nvPr/>
            </p:nvSpPr>
            <p:spPr>
              <a:xfrm>
                <a:off x="3060779" y="2692142"/>
                <a:ext cx="523870" cy="87224"/>
              </a:xfrm>
              <a:custGeom>
                <a:avLst/>
                <a:gdLst>
                  <a:gd name="connsiteX0" fmla="*/ 523871 w 523870"/>
                  <a:gd name="connsiteY0" fmla="*/ 55103 h 87224"/>
                  <a:gd name="connsiteX1" fmla="*/ 468715 w 523870"/>
                  <a:gd name="connsiteY1" fmla="*/ 0 h 87224"/>
                  <a:gd name="connsiteX2" fmla="*/ 57329 w 523870"/>
                  <a:gd name="connsiteY2" fmla="*/ 0 h 87224"/>
                  <a:gd name="connsiteX3" fmla="*/ 0 w 523870"/>
                  <a:gd name="connsiteY3" fmla="*/ 57274 h 87224"/>
                  <a:gd name="connsiteX4" fmla="*/ 0 w 523870"/>
                  <a:gd name="connsiteY4" fmla="*/ 87225 h 87224"/>
                  <a:gd name="connsiteX5" fmla="*/ 523871 w 523870"/>
                  <a:gd name="connsiteY5" fmla="*/ 87225 h 87224"/>
                  <a:gd name="connsiteX6" fmla="*/ 523871 w 523870"/>
                  <a:gd name="connsiteY6" fmla="*/ 55103 h 87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3870" h="87224">
                    <a:moveTo>
                      <a:pt x="523871" y="55103"/>
                    </a:moveTo>
                    <a:cubicBezTo>
                      <a:pt x="523871" y="24674"/>
                      <a:pt x="499173" y="0"/>
                      <a:pt x="468715" y="0"/>
                    </a:cubicBezTo>
                    <a:lnTo>
                      <a:pt x="57329" y="0"/>
                    </a:lnTo>
                    <a:cubicBezTo>
                      <a:pt x="25674" y="0"/>
                      <a:pt x="0" y="25650"/>
                      <a:pt x="0" y="57274"/>
                    </a:cubicBezTo>
                    <a:lnTo>
                      <a:pt x="0" y="87225"/>
                    </a:lnTo>
                    <a:lnTo>
                      <a:pt x="523871" y="87225"/>
                    </a:lnTo>
                    <a:lnTo>
                      <a:pt x="523871" y="55103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</p:grpSp>
      </p:grpSp>
      <p:sp>
        <p:nvSpPr>
          <p:cNvPr id="470" name="TextBox 469">
            <a:extLst>
              <a:ext uri="{FF2B5EF4-FFF2-40B4-BE49-F238E27FC236}">
                <a16:creationId xmlns:a16="http://schemas.microsoft.com/office/drawing/2014/main" id="{2C3277EE-FFBF-8A24-13A1-A3E30F998AB0}"/>
              </a:ext>
            </a:extLst>
          </p:cNvPr>
          <p:cNvSpPr txBox="1"/>
          <p:nvPr/>
        </p:nvSpPr>
        <p:spPr>
          <a:xfrm>
            <a:off x="9090192" y="5281208"/>
            <a:ext cx="1349373" cy="28828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743407">
              <a:lnSpc>
                <a:spcPct val="96000"/>
              </a:lnSpc>
              <a:defRPr/>
            </a:pPr>
            <a:r>
              <a:rPr lang="en-US" sz="976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Low-power</a:t>
            </a:r>
            <a:br>
              <a:rPr lang="en-US" sz="976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</a:br>
            <a:r>
              <a:rPr lang="en-US" sz="976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wakeup receiver</a:t>
            </a:r>
          </a:p>
        </p:txBody>
      </p:sp>
      <p:grpSp>
        <p:nvGrpSpPr>
          <p:cNvPr id="471" name="Group 470">
            <a:extLst>
              <a:ext uri="{FF2B5EF4-FFF2-40B4-BE49-F238E27FC236}">
                <a16:creationId xmlns:a16="http://schemas.microsoft.com/office/drawing/2014/main" id="{17BE7532-F5CA-0CBC-4FB6-FD8AAFEE4951}"/>
              </a:ext>
            </a:extLst>
          </p:cNvPr>
          <p:cNvGrpSpPr/>
          <p:nvPr/>
        </p:nvGrpSpPr>
        <p:grpSpPr>
          <a:xfrm>
            <a:off x="9431552" y="4626529"/>
            <a:ext cx="666654" cy="594465"/>
            <a:chOff x="3605008" y="5298566"/>
            <a:chExt cx="544007" cy="485099"/>
          </a:xfrm>
          <a:solidFill>
            <a:schemeClr val="accent5"/>
          </a:solidFill>
        </p:grpSpPr>
        <p:sp>
          <p:nvSpPr>
            <p:cNvPr id="472" name="Freeform 4">
              <a:extLst>
                <a:ext uri="{FF2B5EF4-FFF2-40B4-BE49-F238E27FC236}">
                  <a16:creationId xmlns:a16="http://schemas.microsoft.com/office/drawing/2014/main" id="{6FC70483-57BC-852D-798C-46445F2EAF57}"/>
                </a:ext>
              </a:extLst>
            </p:cNvPr>
            <p:cNvSpPr/>
            <p:nvPr/>
          </p:nvSpPr>
          <p:spPr>
            <a:xfrm>
              <a:off x="3963678" y="5321803"/>
              <a:ext cx="145019" cy="237743"/>
            </a:xfrm>
            <a:custGeom>
              <a:avLst/>
              <a:gdLst>
                <a:gd name="connsiteX0" fmla="*/ 538399 w 548497"/>
                <a:gd name="connsiteY0" fmla="*/ 379008 h 899206"/>
                <a:gd name="connsiteX1" fmla="*/ 536115 w 548497"/>
                <a:gd name="connsiteY1" fmla="*/ 371033 h 899206"/>
                <a:gd name="connsiteX2" fmla="*/ 533458 w 548497"/>
                <a:gd name="connsiteY2" fmla="*/ 363196 h 899206"/>
                <a:gd name="connsiteX3" fmla="*/ 530643 w 548497"/>
                <a:gd name="connsiteY3" fmla="*/ 355398 h 899206"/>
                <a:gd name="connsiteX4" fmla="*/ 524284 w 548497"/>
                <a:gd name="connsiteY4" fmla="*/ 340077 h 899206"/>
                <a:gd name="connsiteX5" fmla="*/ 520820 w 548497"/>
                <a:gd name="connsiteY5" fmla="*/ 332555 h 899206"/>
                <a:gd name="connsiteX6" fmla="*/ 517040 w 548497"/>
                <a:gd name="connsiteY6" fmla="*/ 325171 h 899206"/>
                <a:gd name="connsiteX7" fmla="*/ 432018 w 548497"/>
                <a:gd name="connsiteY7" fmla="*/ 228386 h 899206"/>
                <a:gd name="connsiteX8" fmla="*/ 416388 w 548497"/>
                <a:gd name="connsiteY8" fmla="*/ 120947 h 899206"/>
                <a:gd name="connsiteX9" fmla="*/ 412136 w 548497"/>
                <a:gd name="connsiteY9" fmla="*/ 91724 h 899206"/>
                <a:gd name="connsiteX10" fmla="*/ 410010 w 548497"/>
                <a:gd name="connsiteY10" fmla="*/ 77113 h 899206"/>
                <a:gd name="connsiteX11" fmla="*/ 409754 w 548497"/>
                <a:gd name="connsiteY11" fmla="*/ 75301 h 899206"/>
                <a:gd name="connsiteX12" fmla="*/ 409400 w 548497"/>
                <a:gd name="connsiteY12" fmla="*/ 73135 h 899206"/>
                <a:gd name="connsiteX13" fmla="*/ 408218 w 548497"/>
                <a:gd name="connsiteY13" fmla="*/ 67484 h 899206"/>
                <a:gd name="connsiteX14" fmla="*/ 406722 w 548497"/>
                <a:gd name="connsiteY14" fmla="*/ 62049 h 899206"/>
                <a:gd name="connsiteX15" fmla="*/ 404911 w 548497"/>
                <a:gd name="connsiteY15" fmla="*/ 56732 h 899206"/>
                <a:gd name="connsiteX16" fmla="*/ 394399 w 548497"/>
                <a:gd name="connsiteY16" fmla="*/ 36981 h 899206"/>
                <a:gd name="connsiteX17" fmla="*/ 379241 w 548497"/>
                <a:gd name="connsiteY17" fmla="*/ 20558 h 899206"/>
                <a:gd name="connsiteX18" fmla="*/ 360442 w 548497"/>
                <a:gd name="connsiteY18" fmla="*/ 8487 h 899206"/>
                <a:gd name="connsiteX19" fmla="*/ 339162 w 548497"/>
                <a:gd name="connsiteY19" fmla="*/ 1556 h 899206"/>
                <a:gd name="connsiteX20" fmla="*/ 333610 w 548497"/>
                <a:gd name="connsiteY20" fmla="*/ 709 h 899206"/>
                <a:gd name="connsiteX21" fmla="*/ 330835 w 548497"/>
                <a:gd name="connsiteY21" fmla="*/ 374 h 899206"/>
                <a:gd name="connsiteX22" fmla="*/ 328039 w 548497"/>
                <a:gd name="connsiteY22" fmla="*/ 217 h 899206"/>
                <a:gd name="connsiteX23" fmla="*/ 322567 w 548497"/>
                <a:gd name="connsiteY23" fmla="*/ 0 h 899206"/>
                <a:gd name="connsiteX24" fmla="*/ 228608 w 548497"/>
                <a:gd name="connsiteY24" fmla="*/ 0 h 899206"/>
                <a:gd name="connsiteX25" fmla="*/ 225950 w 548497"/>
                <a:gd name="connsiteY25" fmla="*/ 79 h 899206"/>
                <a:gd name="connsiteX26" fmla="*/ 220360 w 548497"/>
                <a:gd name="connsiteY26" fmla="*/ 354 h 899206"/>
                <a:gd name="connsiteX27" fmla="*/ 209316 w 548497"/>
                <a:gd name="connsiteY27" fmla="*/ 2127 h 899206"/>
                <a:gd name="connsiteX28" fmla="*/ 198528 w 548497"/>
                <a:gd name="connsiteY28" fmla="*/ 5218 h 899206"/>
                <a:gd name="connsiteX29" fmla="*/ 188272 w 548497"/>
                <a:gd name="connsiteY29" fmla="*/ 9728 h 899206"/>
                <a:gd name="connsiteX30" fmla="*/ 178646 w 548497"/>
                <a:gd name="connsiteY30" fmla="*/ 15438 h 899206"/>
                <a:gd name="connsiteX31" fmla="*/ 169866 w 548497"/>
                <a:gd name="connsiteY31" fmla="*/ 22370 h 899206"/>
                <a:gd name="connsiteX32" fmla="*/ 161992 w 548497"/>
                <a:gd name="connsiteY32" fmla="*/ 30306 h 899206"/>
                <a:gd name="connsiteX33" fmla="*/ 155220 w 548497"/>
                <a:gd name="connsiteY33" fmla="*/ 39246 h 899206"/>
                <a:gd name="connsiteX34" fmla="*/ 149590 w 548497"/>
                <a:gd name="connsiteY34" fmla="*/ 48934 h 899206"/>
                <a:gd name="connsiteX35" fmla="*/ 147287 w 548497"/>
                <a:gd name="connsiteY35" fmla="*/ 54034 h 899206"/>
                <a:gd name="connsiteX36" fmla="*/ 146204 w 548497"/>
                <a:gd name="connsiteY36" fmla="*/ 56634 h 899206"/>
                <a:gd name="connsiteX37" fmla="*/ 145279 w 548497"/>
                <a:gd name="connsiteY37" fmla="*/ 59292 h 899206"/>
                <a:gd name="connsiteX38" fmla="*/ 143606 w 548497"/>
                <a:gd name="connsiteY38" fmla="*/ 64668 h 899206"/>
                <a:gd name="connsiteX39" fmla="*/ 142267 w 548497"/>
                <a:gd name="connsiteY39" fmla="*/ 70319 h 899206"/>
                <a:gd name="connsiteX40" fmla="*/ 141952 w 548497"/>
                <a:gd name="connsiteY40" fmla="*/ 71737 h 899206"/>
                <a:gd name="connsiteX41" fmla="*/ 141795 w 548497"/>
                <a:gd name="connsiteY41" fmla="*/ 72663 h 899206"/>
                <a:gd name="connsiteX42" fmla="*/ 141499 w 548497"/>
                <a:gd name="connsiteY42" fmla="*/ 74494 h 899206"/>
                <a:gd name="connsiteX43" fmla="*/ 140889 w 548497"/>
                <a:gd name="connsiteY43" fmla="*/ 78117 h 899206"/>
                <a:gd name="connsiteX44" fmla="*/ 138409 w 548497"/>
                <a:gd name="connsiteY44" fmla="*/ 92670 h 899206"/>
                <a:gd name="connsiteX45" fmla="*/ 133468 w 548497"/>
                <a:gd name="connsiteY45" fmla="*/ 121813 h 899206"/>
                <a:gd name="connsiteX46" fmla="*/ 115200 w 548497"/>
                <a:gd name="connsiteY46" fmla="*/ 229213 h 899206"/>
                <a:gd name="connsiteX47" fmla="*/ 90908 w 548497"/>
                <a:gd name="connsiteY47" fmla="*/ 248688 h 899206"/>
                <a:gd name="connsiteX48" fmla="*/ 68998 w 548497"/>
                <a:gd name="connsiteY48" fmla="*/ 270782 h 899206"/>
                <a:gd name="connsiteX49" fmla="*/ 31418 w 548497"/>
                <a:gd name="connsiteY49" fmla="*/ 325171 h 899206"/>
                <a:gd name="connsiteX50" fmla="*/ 7953 w 548497"/>
                <a:gd name="connsiteY50" fmla="*/ 387023 h 899206"/>
                <a:gd name="connsiteX51" fmla="*/ 0 w 548497"/>
                <a:gd name="connsiteY51" fmla="*/ 452655 h 899206"/>
                <a:gd name="connsiteX52" fmla="*/ 7953 w 548497"/>
                <a:gd name="connsiteY52" fmla="*/ 518288 h 899206"/>
                <a:gd name="connsiteX53" fmla="*/ 68998 w 548497"/>
                <a:gd name="connsiteY53" fmla="*/ 634549 h 899206"/>
                <a:gd name="connsiteX54" fmla="*/ 116223 w 548497"/>
                <a:gd name="connsiteY54" fmla="*/ 676807 h 899206"/>
                <a:gd name="connsiteX55" fmla="*/ 116243 w 548497"/>
                <a:gd name="connsiteY55" fmla="*/ 676827 h 899206"/>
                <a:gd name="connsiteX56" fmla="*/ 130417 w 548497"/>
                <a:gd name="connsiteY56" fmla="*/ 776034 h 899206"/>
                <a:gd name="connsiteX57" fmla="*/ 134629 w 548497"/>
                <a:gd name="connsiteY57" fmla="*/ 805552 h 899206"/>
                <a:gd name="connsiteX58" fmla="*/ 136716 w 548497"/>
                <a:gd name="connsiteY58" fmla="*/ 820301 h 899206"/>
                <a:gd name="connsiteX59" fmla="*/ 137247 w 548497"/>
                <a:gd name="connsiteY59" fmla="*/ 823984 h 899206"/>
                <a:gd name="connsiteX60" fmla="*/ 137365 w 548497"/>
                <a:gd name="connsiteY60" fmla="*/ 824909 h 899206"/>
                <a:gd name="connsiteX61" fmla="*/ 137621 w 548497"/>
                <a:gd name="connsiteY61" fmla="*/ 826229 h 899206"/>
                <a:gd name="connsiteX62" fmla="*/ 138173 w 548497"/>
                <a:gd name="connsiteY62" fmla="*/ 829104 h 899206"/>
                <a:gd name="connsiteX63" fmla="*/ 141165 w 548497"/>
                <a:gd name="connsiteY63" fmla="*/ 840131 h 899206"/>
                <a:gd name="connsiteX64" fmla="*/ 151263 w 548497"/>
                <a:gd name="connsiteY64" fmla="*/ 860355 h 899206"/>
                <a:gd name="connsiteX65" fmla="*/ 166146 w 548497"/>
                <a:gd name="connsiteY65" fmla="*/ 877290 h 899206"/>
                <a:gd name="connsiteX66" fmla="*/ 206166 w 548497"/>
                <a:gd name="connsiteY66" fmla="*/ 897296 h 899206"/>
                <a:gd name="connsiteX67" fmla="*/ 211737 w 548497"/>
                <a:gd name="connsiteY67" fmla="*/ 898281 h 899206"/>
                <a:gd name="connsiteX68" fmla="*/ 217348 w 548497"/>
                <a:gd name="connsiteY68" fmla="*/ 898911 h 899206"/>
                <a:gd name="connsiteX69" fmla="*/ 222997 w 548497"/>
                <a:gd name="connsiteY69" fmla="*/ 899167 h 899206"/>
                <a:gd name="connsiteX70" fmla="*/ 224336 w 548497"/>
                <a:gd name="connsiteY70" fmla="*/ 899206 h 899206"/>
                <a:gd name="connsiteX71" fmla="*/ 319397 w 548497"/>
                <a:gd name="connsiteY71" fmla="*/ 899206 h 899206"/>
                <a:gd name="connsiteX72" fmla="*/ 320815 w 548497"/>
                <a:gd name="connsiteY72" fmla="*/ 899128 h 899206"/>
                <a:gd name="connsiteX73" fmla="*/ 326445 w 548497"/>
                <a:gd name="connsiteY73" fmla="*/ 898872 h 899206"/>
                <a:gd name="connsiteX74" fmla="*/ 337626 w 548497"/>
                <a:gd name="connsiteY74" fmla="*/ 897100 h 899206"/>
                <a:gd name="connsiteX75" fmla="*/ 348512 w 548497"/>
                <a:gd name="connsiteY75" fmla="*/ 893988 h 899206"/>
                <a:gd name="connsiteX76" fmla="*/ 358847 w 548497"/>
                <a:gd name="connsiteY76" fmla="*/ 889420 h 899206"/>
                <a:gd name="connsiteX77" fmla="*/ 368572 w 548497"/>
                <a:gd name="connsiteY77" fmla="*/ 883650 h 899206"/>
                <a:gd name="connsiteX78" fmla="*/ 377411 w 548497"/>
                <a:gd name="connsiteY78" fmla="*/ 876600 h 899206"/>
                <a:gd name="connsiteX79" fmla="*/ 385324 w 548497"/>
                <a:gd name="connsiteY79" fmla="*/ 868586 h 899206"/>
                <a:gd name="connsiteX80" fmla="*/ 392096 w 548497"/>
                <a:gd name="connsiteY80" fmla="*/ 859508 h 899206"/>
                <a:gd name="connsiteX81" fmla="*/ 397726 w 548497"/>
                <a:gd name="connsiteY81" fmla="*/ 849682 h 899206"/>
                <a:gd name="connsiteX82" fmla="*/ 401959 w 548497"/>
                <a:gd name="connsiteY82" fmla="*/ 839186 h 899206"/>
                <a:gd name="connsiteX83" fmla="*/ 404931 w 548497"/>
                <a:gd name="connsiteY83" fmla="*/ 827981 h 899206"/>
                <a:gd name="connsiteX84" fmla="*/ 405069 w 548497"/>
                <a:gd name="connsiteY84" fmla="*/ 827331 h 899206"/>
                <a:gd name="connsiteX85" fmla="*/ 405148 w 548497"/>
                <a:gd name="connsiteY85" fmla="*/ 826879 h 899206"/>
                <a:gd name="connsiteX86" fmla="*/ 405305 w 548497"/>
                <a:gd name="connsiteY86" fmla="*/ 825933 h 899206"/>
                <a:gd name="connsiteX87" fmla="*/ 405600 w 548497"/>
                <a:gd name="connsiteY87" fmla="*/ 824102 h 899206"/>
                <a:gd name="connsiteX88" fmla="*/ 406211 w 548497"/>
                <a:gd name="connsiteY88" fmla="*/ 820439 h 899206"/>
                <a:gd name="connsiteX89" fmla="*/ 408691 w 548497"/>
                <a:gd name="connsiteY89" fmla="*/ 805749 h 899206"/>
                <a:gd name="connsiteX90" fmla="*/ 413612 w 548497"/>
                <a:gd name="connsiteY90" fmla="*/ 776349 h 899206"/>
                <a:gd name="connsiteX91" fmla="*/ 430050 w 548497"/>
                <a:gd name="connsiteY91" fmla="*/ 678383 h 899206"/>
                <a:gd name="connsiteX92" fmla="*/ 479480 w 548497"/>
                <a:gd name="connsiteY92" fmla="*/ 634549 h 899206"/>
                <a:gd name="connsiteX93" fmla="*/ 517079 w 548497"/>
                <a:gd name="connsiteY93" fmla="*/ 580160 h 899206"/>
                <a:gd name="connsiteX94" fmla="*/ 520859 w 548497"/>
                <a:gd name="connsiteY94" fmla="*/ 572775 h 899206"/>
                <a:gd name="connsiteX95" fmla="*/ 524324 w 548497"/>
                <a:gd name="connsiteY95" fmla="*/ 565253 h 899206"/>
                <a:gd name="connsiteX96" fmla="*/ 530682 w 548497"/>
                <a:gd name="connsiteY96" fmla="*/ 549953 h 899206"/>
                <a:gd name="connsiteX97" fmla="*/ 533497 w 548497"/>
                <a:gd name="connsiteY97" fmla="*/ 542155 h 899206"/>
                <a:gd name="connsiteX98" fmla="*/ 536155 w 548497"/>
                <a:gd name="connsiteY98" fmla="*/ 534298 h 899206"/>
                <a:gd name="connsiteX99" fmla="*/ 538438 w 548497"/>
                <a:gd name="connsiteY99" fmla="*/ 526342 h 899206"/>
                <a:gd name="connsiteX100" fmla="*/ 540544 w 548497"/>
                <a:gd name="connsiteY100" fmla="*/ 518328 h 899206"/>
                <a:gd name="connsiteX101" fmla="*/ 548497 w 548497"/>
                <a:gd name="connsiteY101" fmla="*/ 452695 h 899206"/>
                <a:gd name="connsiteX102" fmla="*/ 540544 w 548497"/>
                <a:gd name="connsiteY102" fmla="*/ 387062 h 899206"/>
                <a:gd name="connsiteX103" fmla="*/ 538438 w 548497"/>
                <a:gd name="connsiteY103" fmla="*/ 379048 h 899206"/>
                <a:gd name="connsiteX104" fmla="*/ 153449 w 548497"/>
                <a:gd name="connsiteY104" fmla="*/ 125338 h 899206"/>
                <a:gd name="connsiteX105" fmla="*/ 158390 w 548497"/>
                <a:gd name="connsiteY105" fmla="*/ 96234 h 899206"/>
                <a:gd name="connsiteX106" fmla="*/ 160870 w 548497"/>
                <a:gd name="connsiteY106" fmla="*/ 81701 h 899206"/>
                <a:gd name="connsiteX107" fmla="*/ 161480 w 548497"/>
                <a:gd name="connsiteY107" fmla="*/ 78078 h 899206"/>
                <a:gd name="connsiteX108" fmla="*/ 161776 w 548497"/>
                <a:gd name="connsiteY108" fmla="*/ 76266 h 899206"/>
                <a:gd name="connsiteX109" fmla="*/ 161933 w 548497"/>
                <a:gd name="connsiteY109" fmla="*/ 75341 h 899206"/>
                <a:gd name="connsiteX110" fmla="*/ 162169 w 548497"/>
                <a:gd name="connsiteY110" fmla="*/ 74258 h 899206"/>
                <a:gd name="connsiteX111" fmla="*/ 163193 w 548497"/>
                <a:gd name="connsiteY111" fmla="*/ 70004 h 899206"/>
                <a:gd name="connsiteX112" fmla="*/ 164492 w 548497"/>
                <a:gd name="connsiteY112" fmla="*/ 65889 h 899206"/>
                <a:gd name="connsiteX113" fmla="*/ 165161 w 548497"/>
                <a:gd name="connsiteY113" fmla="*/ 63841 h 899206"/>
                <a:gd name="connsiteX114" fmla="*/ 166008 w 548497"/>
                <a:gd name="connsiteY114" fmla="*/ 61872 h 899206"/>
                <a:gd name="connsiteX115" fmla="*/ 167760 w 548497"/>
                <a:gd name="connsiteY115" fmla="*/ 57914 h 899206"/>
                <a:gd name="connsiteX116" fmla="*/ 172110 w 548497"/>
                <a:gd name="connsiteY116" fmla="*/ 50470 h 899206"/>
                <a:gd name="connsiteX117" fmla="*/ 177288 w 548497"/>
                <a:gd name="connsiteY117" fmla="*/ 43598 h 899206"/>
                <a:gd name="connsiteX118" fmla="*/ 183351 w 548497"/>
                <a:gd name="connsiteY118" fmla="*/ 37493 h 899206"/>
                <a:gd name="connsiteX119" fmla="*/ 190123 w 548497"/>
                <a:gd name="connsiteY119" fmla="*/ 32137 h 899206"/>
                <a:gd name="connsiteX120" fmla="*/ 197524 w 548497"/>
                <a:gd name="connsiteY120" fmla="*/ 27746 h 899206"/>
                <a:gd name="connsiteX121" fmla="*/ 205399 w 548497"/>
                <a:gd name="connsiteY121" fmla="*/ 24280 h 899206"/>
                <a:gd name="connsiteX122" fmla="*/ 213706 w 548497"/>
                <a:gd name="connsiteY122" fmla="*/ 21917 h 899206"/>
                <a:gd name="connsiteX123" fmla="*/ 222210 w 548497"/>
                <a:gd name="connsiteY123" fmla="*/ 20539 h 899206"/>
                <a:gd name="connsiteX124" fmla="*/ 226521 w 548497"/>
                <a:gd name="connsiteY124" fmla="*/ 20342 h 899206"/>
                <a:gd name="connsiteX125" fmla="*/ 228608 w 548497"/>
                <a:gd name="connsiteY125" fmla="*/ 20263 h 899206"/>
                <a:gd name="connsiteX126" fmla="*/ 322567 w 548497"/>
                <a:gd name="connsiteY126" fmla="*/ 20263 h 899206"/>
                <a:gd name="connsiteX127" fmla="*/ 326819 w 548497"/>
                <a:gd name="connsiteY127" fmla="*/ 20440 h 899206"/>
                <a:gd name="connsiteX128" fmla="*/ 328965 w 548497"/>
                <a:gd name="connsiteY128" fmla="*/ 20539 h 899206"/>
                <a:gd name="connsiteX129" fmla="*/ 331091 w 548497"/>
                <a:gd name="connsiteY129" fmla="*/ 20814 h 899206"/>
                <a:gd name="connsiteX130" fmla="*/ 335362 w 548497"/>
                <a:gd name="connsiteY130" fmla="*/ 21444 h 899206"/>
                <a:gd name="connsiteX131" fmla="*/ 351721 w 548497"/>
                <a:gd name="connsiteY131" fmla="*/ 26781 h 899206"/>
                <a:gd name="connsiteX132" fmla="*/ 366190 w 548497"/>
                <a:gd name="connsiteY132" fmla="*/ 36075 h 899206"/>
                <a:gd name="connsiteX133" fmla="*/ 377844 w 548497"/>
                <a:gd name="connsiteY133" fmla="*/ 48698 h 899206"/>
                <a:gd name="connsiteX134" fmla="*/ 385915 w 548497"/>
                <a:gd name="connsiteY134" fmla="*/ 63861 h 899206"/>
                <a:gd name="connsiteX135" fmla="*/ 387312 w 548497"/>
                <a:gd name="connsiteY135" fmla="*/ 67956 h 899206"/>
                <a:gd name="connsiteX136" fmla="*/ 388474 w 548497"/>
                <a:gd name="connsiteY136" fmla="*/ 72131 h 899206"/>
                <a:gd name="connsiteX137" fmla="*/ 389360 w 548497"/>
                <a:gd name="connsiteY137" fmla="*/ 76385 h 899206"/>
                <a:gd name="connsiteX138" fmla="*/ 389675 w 548497"/>
                <a:gd name="connsiteY138" fmla="*/ 78314 h 899206"/>
                <a:gd name="connsiteX139" fmla="*/ 389950 w 548497"/>
                <a:gd name="connsiteY139" fmla="*/ 80146 h 899206"/>
                <a:gd name="connsiteX140" fmla="*/ 392057 w 548497"/>
                <a:gd name="connsiteY140" fmla="*/ 94737 h 899206"/>
                <a:gd name="connsiteX141" fmla="*/ 396328 w 548497"/>
                <a:gd name="connsiteY141" fmla="*/ 123940 h 899206"/>
                <a:gd name="connsiteX142" fmla="*/ 409439 w 548497"/>
                <a:gd name="connsiteY142" fmla="*/ 213951 h 899206"/>
                <a:gd name="connsiteX143" fmla="*/ 388041 w 548497"/>
                <a:gd name="connsiteY143" fmla="*/ 203042 h 899206"/>
                <a:gd name="connsiteX144" fmla="*/ 376958 w 548497"/>
                <a:gd name="connsiteY144" fmla="*/ 126874 h 899206"/>
                <a:gd name="connsiteX145" fmla="*/ 372706 w 548497"/>
                <a:gd name="connsiteY145" fmla="*/ 97711 h 899206"/>
                <a:gd name="connsiteX146" fmla="*/ 370580 w 548497"/>
                <a:gd name="connsiteY146" fmla="*/ 83119 h 899206"/>
                <a:gd name="connsiteX147" fmla="*/ 370324 w 548497"/>
                <a:gd name="connsiteY147" fmla="*/ 81307 h 899206"/>
                <a:gd name="connsiteX148" fmla="*/ 370048 w 548497"/>
                <a:gd name="connsiteY148" fmla="*/ 79594 h 899206"/>
                <a:gd name="connsiteX149" fmla="*/ 369418 w 548497"/>
                <a:gd name="connsiteY149" fmla="*/ 76660 h 899206"/>
                <a:gd name="connsiteX150" fmla="*/ 368592 w 548497"/>
                <a:gd name="connsiteY150" fmla="*/ 73726 h 899206"/>
                <a:gd name="connsiteX151" fmla="*/ 367607 w 548497"/>
                <a:gd name="connsiteY151" fmla="*/ 70831 h 899206"/>
                <a:gd name="connsiteX152" fmla="*/ 361879 w 548497"/>
                <a:gd name="connsiteY152" fmla="*/ 60080 h 899206"/>
                <a:gd name="connsiteX153" fmla="*/ 353591 w 548497"/>
                <a:gd name="connsiteY153" fmla="*/ 51100 h 899206"/>
                <a:gd name="connsiteX154" fmla="*/ 343315 w 548497"/>
                <a:gd name="connsiteY154" fmla="*/ 44503 h 899206"/>
                <a:gd name="connsiteX155" fmla="*/ 331721 w 548497"/>
                <a:gd name="connsiteY155" fmla="*/ 40723 h 899206"/>
                <a:gd name="connsiteX156" fmla="*/ 328689 w 548497"/>
                <a:gd name="connsiteY156" fmla="*/ 40289 h 899206"/>
                <a:gd name="connsiteX157" fmla="*/ 327193 w 548497"/>
                <a:gd name="connsiteY157" fmla="*/ 40073 h 899206"/>
                <a:gd name="connsiteX158" fmla="*/ 325657 w 548497"/>
                <a:gd name="connsiteY158" fmla="*/ 40014 h 899206"/>
                <a:gd name="connsiteX159" fmla="*/ 322567 w 548497"/>
                <a:gd name="connsiteY159" fmla="*/ 39876 h 899206"/>
                <a:gd name="connsiteX160" fmla="*/ 228608 w 548497"/>
                <a:gd name="connsiteY160" fmla="*/ 39876 h 899206"/>
                <a:gd name="connsiteX161" fmla="*/ 227033 w 548497"/>
                <a:gd name="connsiteY161" fmla="*/ 39935 h 899206"/>
                <a:gd name="connsiteX162" fmla="*/ 223982 w 548497"/>
                <a:gd name="connsiteY162" fmla="*/ 40073 h 899206"/>
                <a:gd name="connsiteX163" fmla="*/ 217958 w 548497"/>
                <a:gd name="connsiteY163" fmla="*/ 41077 h 899206"/>
                <a:gd name="connsiteX164" fmla="*/ 212072 w 548497"/>
                <a:gd name="connsiteY164" fmla="*/ 42731 h 899206"/>
                <a:gd name="connsiteX165" fmla="*/ 206481 w 548497"/>
                <a:gd name="connsiteY165" fmla="*/ 45212 h 899206"/>
                <a:gd name="connsiteX166" fmla="*/ 201206 w 548497"/>
                <a:gd name="connsiteY166" fmla="*/ 48304 h 899206"/>
                <a:gd name="connsiteX167" fmla="*/ 196422 w 548497"/>
                <a:gd name="connsiteY167" fmla="*/ 52124 h 899206"/>
                <a:gd name="connsiteX168" fmla="*/ 192091 w 548497"/>
                <a:gd name="connsiteY168" fmla="*/ 56456 h 899206"/>
                <a:gd name="connsiteX169" fmla="*/ 188430 w 548497"/>
                <a:gd name="connsiteY169" fmla="*/ 61340 h 899206"/>
                <a:gd name="connsiteX170" fmla="*/ 185359 w 548497"/>
                <a:gd name="connsiteY170" fmla="*/ 66617 h 899206"/>
                <a:gd name="connsiteX171" fmla="*/ 184119 w 548497"/>
                <a:gd name="connsiteY171" fmla="*/ 69414 h 899206"/>
                <a:gd name="connsiteX172" fmla="*/ 183508 w 548497"/>
                <a:gd name="connsiteY172" fmla="*/ 70812 h 899206"/>
                <a:gd name="connsiteX173" fmla="*/ 183056 w 548497"/>
                <a:gd name="connsiteY173" fmla="*/ 72269 h 899206"/>
                <a:gd name="connsiteX174" fmla="*/ 182111 w 548497"/>
                <a:gd name="connsiteY174" fmla="*/ 75183 h 899206"/>
                <a:gd name="connsiteX175" fmla="*/ 181422 w 548497"/>
                <a:gd name="connsiteY175" fmla="*/ 78098 h 899206"/>
                <a:gd name="connsiteX176" fmla="*/ 181245 w 548497"/>
                <a:gd name="connsiteY176" fmla="*/ 78807 h 899206"/>
                <a:gd name="connsiteX177" fmla="*/ 181107 w 548497"/>
                <a:gd name="connsiteY177" fmla="*/ 79732 h 899206"/>
                <a:gd name="connsiteX178" fmla="*/ 180792 w 548497"/>
                <a:gd name="connsiteY178" fmla="*/ 81544 h 899206"/>
                <a:gd name="connsiteX179" fmla="*/ 180181 w 548497"/>
                <a:gd name="connsiteY179" fmla="*/ 85167 h 899206"/>
                <a:gd name="connsiteX180" fmla="*/ 177701 w 548497"/>
                <a:gd name="connsiteY180" fmla="*/ 99680 h 899206"/>
                <a:gd name="connsiteX181" fmla="*/ 172780 w 548497"/>
                <a:gd name="connsiteY181" fmla="*/ 128725 h 899206"/>
                <a:gd name="connsiteX182" fmla="*/ 160142 w 548497"/>
                <a:gd name="connsiteY182" fmla="*/ 203180 h 899206"/>
                <a:gd name="connsiteX183" fmla="*/ 138330 w 548497"/>
                <a:gd name="connsiteY183" fmla="*/ 214424 h 899206"/>
                <a:gd name="connsiteX184" fmla="*/ 153468 w 548497"/>
                <a:gd name="connsiteY184" fmla="*/ 125319 h 899206"/>
                <a:gd name="connsiteX185" fmla="*/ 366269 w 548497"/>
                <a:gd name="connsiteY185" fmla="*/ 194240 h 899206"/>
                <a:gd name="connsiteX186" fmla="*/ 307252 w 548497"/>
                <a:gd name="connsiteY186" fmla="*/ 180377 h 899206"/>
                <a:gd name="connsiteX187" fmla="*/ 290775 w 548497"/>
                <a:gd name="connsiteY187" fmla="*/ 178861 h 899206"/>
                <a:gd name="connsiteX188" fmla="*/ 274239 w 548497"/>
                <a:gd name="connsiteY188" fmla="*/ 178349 h 899206"/>
                <a:gd name="connsiteX189" fmla="*/ 257703 w 548497"/>
                <a:gd name="connsiteY189" fmla="*/ 178861 h 899206"/>
                <a:gd name="connsiteX190" fmla="*/ 241226 w 548497"/>
                <a:gd name="connsiteY190" fmla="*/ 180377 h 899206"/>
                <a:gd name="connsiteX191" fmla="*/ 232998 w 548497"/>
                <a:gd name="connsiteY191" fmla="*/ 181440 h 899206"/>
                <a:gd name="connsiteX192" fmla="*/ 224848 w 548497"/>
                <a:gd name="connsiteY192" fmla="*/ 182858 h 899206"/>
                <a:gd name="connsiteX193" fmla="*/ 208627 w 548497"/>
                <a:gd name="connsiteY193" fmla="*/ 186304 h 899206"/>
                <a:gd name="connsiteX194" fmla="*/ 200615 w 548497"/>
                <a:gd name="connsiteY194" fmla="*/ 188411 h 899206"/>
                <a:gd name="connsiteX195" fmla="*/ 192662 w 548497"/>
                <a:gd name="connsiteY195" fmla="*/ 190695 h 899206"/>
                <a:gd name="connsiteX196" fmla="*/ 184808 w 548497"/>
                <a:gd name="connsiteY196" fmla="*/ 193354 h 899206"/>
                <a:gd name="connsiteX197" fmla="*/ 182209 w 548497"/>
                <a:gd name="connsiteY197" fmla="*/ 194240 h 899206"/>
                <a:gd name="connsiteX198" fmla="*/ 192741 w 548497"/>
                <a:gd name="connsiteY198" fmla="*/ 132309 h 899206"/>
                <a:gd name="connsiteX199" fmla="*/ 197682 w 548497"/>
                <a:gd name="connsiteY199" fmla="*/ 103303 h 899206"/>
                <a:gd name="connsiteX200" fmla="*/ 200143 w 548497"/>
                <a:gd name="connsiteY200" fmla="*/ 88771 h 899206"/>
                <a:gd name="connsiteX201" fmla="*/ 200753 w 548497"/>
                <a:gd name="connsiteY201" fmla="*/ 85167 h 899206"/>
                <a:gd name="connsiteX202" fmla="*/ 201048 w 548497"/>
                <a:gd name="connsiteY202" fmla="*/ 83355 h 899206"/>
                <a:gd name="connsiteX203" fmla="*/ 201206 w 548497"/>
                <a:gd name="connsiteY203" fmla="*/ 82450 h 899206"/>
                <a:gd name="connsiteX204" fmla="*/ 201324 w 548497"/>
                <a:gd name="connsiteY204" fmla="*/ 82075 h 899206"/>
                <a:gd name="connsiteX205" fmla="*/ 201678 w 548497"/>
                <a:gd name="connsiteY205" fmla="*/ 80559 h 899206"/>
                <a:gd name="connsiteX206" fmla="*/ 202210 w 548497"/>
                <a:gd name="connsiteY206" fmla="*/ 78905 h 899206"/>
                <a:gd name="connsiteX207" fmla="*/ 202465 w 548497"/>
                <a:gd name="connsiteY207" fmla="*/ 78058 h 899206"/>
                <a:gd name="connsiteX208" fmla="*/ 202820 w 548497"/>
                <a:gd name="connsiteY208" fmla="*/ 77251 h 899206"/>
                <a:gd name="connsiteX209" fmla="*/ 203509 w 548497"/>
                <a:gd name="connsiteY209" fmla="*/ 75636 h 899206"/>
                <a:gd name="connsiteX210" fmla="*/ 205300 w 548497"/>
                <a:gd name="connsiteY210" fmla="*/ 72604 h 899206"/>
                <a:gd name="connsiteX211" fmla="*/ 207387 w 548497"/>
                <a:gd name="connsiteY211" fmla="*/ 69788 h 899206"/>
                <a:gd name="connsiteX212" fmla="*/ 209907 w 548497"/>
                <a:gd name="connsiteY212" fmla="*/ 67287 h 899206"/>
                <a:gd name="connsiteX213" fmla="*/ 212663 w 548497"/>
                <a:gd name="connsiteY213" fmla="*/ 65081 h 899206"/>
                <a:gd name="connsiteX214" fmla="*/ 215733 w 548497"/>
                <a:gd name="connsiteY214" fmla="*/ 63309 h 899206"/>
                <a:gd name="connsiteX215" fmla="*/ 218923 w 548497"/>
                <a:gd name="connsiteY215" fmla="*/ 61872 h 899206"/>
                <a:gd name="connsiteX216" fmla="*/ 222308 w 548497"/>
                <a:gd name="connsiteY216" fmla="*/ 60926 h 899206"/>
                <a:gd name="connsiteX217" fmla="*/ 225773 w 548497"/>
                <a:gd name="connsiteY217" fmla="*/ 60336 h 899206"/>
                <a:gd name="connsiteX218" fmla="*/ 227545 w 548497"/>
                <a:gd name="connsiteY218" fmla="*/ 60277 h 899206"/>
                <a:gd name="connsiteX219" fmla="*/ 227978 w 548497"/>
                <a:gd name="connsiteY219" fmla="*/ 60237 h 899206"/>
                <a:gd name="connsiteX220" fmla="*/ 228549 w 548497"/>
                <a:gd name="connsiteY220" fmla="*/ 60218 h 899206"/>
                <a:gd name="connsiteX221" fmla="*/ 322508 w 548497"/>
                <a:gd name="connsiteY221" fmla="*/ 60218 h 899206"/>
                <a:gd name="connsiteX222" fmla="*/ 324378 w 548497"/>
                <a:gd name="connsiteY222" fmla="*/ 60316 h 899206"/>
                <a:gd name="connsiteX223" fmla="*/ 325283 w 548497"/>
                <a:gd name="connsiteY223" fmla="*/ 60316 h 899206"/>
                <a:gd name="connsiteX224" fmla="*/ 326169 w 548497"/>
                <a:gd name="connsiteY224" fmla="*/ 60474 h 899206"/>
                <a:gd name="connsiteX225" fmla="*/ 327902 w 548497"/>
                <a:gd name="connsiteY225" fmla="*/ 60710 h 899206"/>
                <a:gd name="connsiteX226" fmla="*/ 348571 w 548497"/>
                <a:gd name="connsiteY226" fmla="*/ 78078 h 899206"/>
                <a:gd name="connsiteX227" fmla="*/ 349123 w 548497"/>
                <a:gd name="connsiteY227" fmla="*/ 79752 h 899206"/>
                <a:gd name="connsiteX228" fmla="*/ 349595 w 548497"/>
                <a:gd name="connsiteY228" fmla="*/ 81406 h 899206"/>
                <a:gd name="connsiteX229" fmla="*/ 349930 w 548497"/>
                <a:gd name="connsiteY229" fmla="*/ 82981 h 899206"/>
                <a:gd name="connsiteX230" fmla="*/ 350186 w 548497"/>
                <a:gd name="connsiteY230" fmla="*/ 84438 h 899206"/>
                <a:gd name="connsiteX231" fmla="*/ 350442 w 548497"/>
                <a:gd name="connsiteY231" fmla="*/ 86270 h 899206"/>
                <a:gd name="connsiteX232" fmla="*/ 352548 w 548497"/>
                <a:gd name="connsiteY232" fmla="*/ 100822 h 899206"/>
                <a:gd name="connsiteX233" fmla="*/ 356800 w 548497"/>
                <a:gd name="connsiteY233" fmla="*/ 129966 h 899206"/>
                <a:gd name="connsiteX234" fmla="*/ 366170 w 548497"/>
                <a:gd name="connsiteY234" fmla="*/ 194260 h 899206"/>
                <a:gd name="connsiteX235" fmla="*/ 393592 w 548497"/>
                <a:gd name="connsiteY235" fmla="*/ 772844 h 899206"/>
                <a:gd name="connsiteX236" fmla="*/ 388671 w 548497"/>
                <a:gd name="connsiteY236" fmla="*/ 802205 h 899206"/>
                <a:gd name="connsiteX237" fmla="*/ 386210 w 548497"/>
                <a:gd name="connsiteY237" fmla="*/ 816895 h 899206"/>
                <a:gd name="connsiteX238" fmla="*/ 384930 w 548497"/>
                <a:gd name="connsiteY238" fmla="*/ 824299 h 899206"/>
                <a:gd name="connsiteX239" fmla="*/ 382647 w 548497"/>
                <a:gd name="connsiteY239" fmla="*/ 832786 h 899206"/>
                <a:gd name="connsiteX240" fmla="*/ 379419 w 548497"/>
                <a:gd name="connsiteY240" fmla="*/ 840840 h 899206"/>
                <a:gd name="connsiteX241" fmla="*/ 375088 w 548497"/>
                <a:gd name="connsiteY241" fmla="*/ 848382 h 899206"/>
                <a:gd name="connsiteX242" fmla="*/ 369910 w 548497"/>
                <a:gd name="connsiteY242" fmla="*/ 855373 h 899206"/>
                <a:gd name="connsiteX243" fmla="*/ 363808 w 548497"/>
                <a:gd name="connsiteY243" fmla="*/ 861536 h 899206"/>
                <a:gd name="connsiteX244" fmla="*/ 356997 w 548497"/>
                <a:gd name="connsiteY244" fmla="*/ 866971 h 899206"/>
                <a:gd name="connsiteX245" fmla="*/ 349536 w 548497"/>
                <a:gd name="connsiteY245" fmla="*/ 871402 h 899206"/>
                <a:gd name="connsiteX246" fmla="*/ 341583 w 548497"/>
                <a:gd name="connsiteY246" fmla="*/ 874907 h 899206"/>
                <a:gd name="connsiteX247" fmla="*/ 333217 w 548497"/>
                <a:gd name="connsiteY247" fmla="*/ 877309 h 899206"/>
                <a:gd name="connsiteX248" fmla="*/ 324614 w 548497"/>
                <a:gd name="connsiteY248" fmla="*/ 878688 h 899206"/>
                <a:gd name="connsiteX249" fmla="*/ 316327 w 548497"/>
                <a:gd name="connsiteY249" fmla="*/ 878944 h 899206"/>
                <a:gd name="connsiteX250" fmla="*/ 225242 w 548497"/>
                <a:gd name="connsiteY250" fmla="*/ 878944 h 899206"/>
                <a:gd name="connsiteX251" fmla="*/ 223253 w 548497"/>
                <a:gd name="connsiteY251" fmla="*/ 878904 h 899206"/>
                <a:gd name="connsiteX252" fmla="*/ 218903 w 548497"/>
                <a:gd name="connsiteY252" fmla="*/ 878707 h 899206"/>
                <a:gd name="connsiteX253" fmla="*/ 214592 w 548497"/>
                <a:gd name="connsiteY253" fmla="*/ 878215 h 899206"/>
                <a:gd name="connsiteX254" fmla="*/ 210300 w 548497"/>
                <a:gd name="connsiteY254" fmla="*/ 877486 h 899206"/>
                <a:gd name="connsiteX255" fmla="*/ 179532 w 548497"/>
                <a:gd name="connsiteY255" fmla="*/ 862087 h 899206"/>
                <a:gd name="connsiteX256" fmla="*/ 168075 w 548497"/>
                <a:gd name="connsiteY256" fmla="*/ 849051 h 899206"/>
                <a:gd name="connsiteX257" fmla="*/ 160319 w 548497"/>
                <a:gd name="connsiteY257" fmla="*/ 833534 h 899206"/>
                <a:gd name="connsiteX258" fmla="*/ 156756 w 548497"/>
                <a:gd name="connsiteY258" fmla="*/ 817289 h 899206"/>
                <a:gd name="connsiteX259" fmla="*/ 154649 w 548497"/>
                <a:gd name="connsiteY259" fmla="*/ 802539 h 899206"/>
                <a:gd name="connsiteX260" fmla="*/ 150437 w 548497"/>
                <a:gd name="connsiteY260" fmla="*/ 773081 h 899206"/>
                <a:gd name="connsiteX261" fmla="*/ 138743 w 548497"/>
                <a:gd name="connsiteY261" fmla="*/ 691182 h 899206"/>
                <a:gd name="connsiteX262" fmla="*/ 160122 w 548497"/>
                <a:gd name="connsiteY262" fmla="*/ 702151 h 899206"/>
                <a:gd name="connsiteX263" fmla="*/ 169847 w 548497"/>
                <a:gd name="connsiteY263" fmla="*/ 770166 h 899206"/>
                <a:gd name="connsiteX264" fmla="*/ 174040 w 548497"/>
                <a:gd name="connsiteY264" fmla="*/ 799605 h 899206"/>
                <a:gd name="connsiteX265" fmla="*/ 176146 w 548497"/>
                <a:gd name="connsiteY265" fmla="*/ 814335 h 899206"/>
                <a:gd name="connsiteX266" fmla="*/ 177268 w 548497"/>
                <a:gd name="connsiteY266" fmla="*/ 821207 h 899206"/>
                <a:gd name="connsiteX267" fmla="*/ 178863 w 548497"/>
                <a:gd name="connsiteY267" fmla="*/ 827115 h 899206"/>
                <a:gd name="connsiteX268" fmla="*/ 184374 w 548497"/>
                <a:gd name="connsiteY268" fmla="*/ 838103 h 899206"/>
                <a:gd name="connsiteX269" fmla="*/ 192505 w 548497"/>
                <a:gd name="connsiteY269" fmla="*/ 847358 h 899206"/>
                <a:gd name="connsiteX270" fmla="*/ 214336 w 548497"/>
                <a:gd name="connsiteY270" fmla="*/ 858287 h 899206"/>
                <a:gd name="connsiteX271" fmla="*/ 217367 w 548497"/>
                <a:gd name="connsiteY271" fmla="*/ 858799 h 899206"/>
                <a:gd name="connsiteX272" fmla="*/ 220419 w 548497"/>
                <a:gd name="connsiteY272" fmla="*/ 859153 h 899206"/>
                <a:gd name="connsiteX273" fmla="*/ 223509 w 548497"/>
                <a:gd name="connsiteY273" fmla="*/ 859291 h 899206"/>
                <a:gd name="connsiteX274" fmla="*/ 225242 w 548497"/>
                <a:gd name="connsiteY274" fmla="*/ 859331 h 899206"/>
                <a:gd name="connsiteX275" fmla="*/ 316327 w 548497"/>
                <a:gd name="connsiteY275" fmla="*/ 859331 h 899206"/>
                <a:gd name="connsiteX276" fmla="*/ 322862 w 548497"/>
                <a:gd name="connsiteY276" fmla="*/ 859134 h 899206"/>
                <a:gd name="connsiteX277" fmla="*/ 328965 w 548497"/>
                <a:gd name="connsiteY277" fmla="*/ 858149 h 899206"/>
                <a:gd name="connsiteX278" fmla="*/ 334890 w 548497"/>
                <a:gd name="connsiteY278" fmla="*/ 856475 h 899206"/>
                <a:gd name="connsiteX279" fmla="*/ 340520 w 548497"/>
                <a:gd name="connsiteY279" fmla="*/ 853955 h 899206"/>
                <a:gd name="connsiteX280" fmla="*/ 345855 w 548497"/>
                <a:gd name="connsiteY280" fmla="*/ 850824 h 899206"/>
                <a:gd name="connsiteX281" fmla="*/ 350658 w 548497"/>
                <a:gd name="connsiteY281" fmla="*/ 846964 h 899206"/>
                <a:gd name="connsiteX282" fmla="*/ 355008 w 548497"/>
                <a:gd name="connsiteY282" fmla="*/ 842573 h 899206"/>
                <a:gd name="connsiteX283" fmla="*/ 358670 w 548497"/>
                <a:gd name="connsiteY283" fmla="*/ 837630 h 899206"/>
                <a:gd name="connsiteX284" fmla="*/ 361761 w 548497"/>
                <a:gd name="connsiteY284" fmla="*/ 832274 h 899206"/>
                <a:gd name="connsiteX285" fmla="*/ 364044 w 548497"/>
                <a:gd name="connsiteY285" fmla="*/ 826544 h 899206"/>
                <a:gd name="connsiteX286" fmla="*/ 365639 w 548497"/>
                <a:gd name="connsiteY286" fmla="*/ 820676 h 899206"/>
                <a:gd name="connsiteX287" fmla="*/ 366879 w 548497"/>
                <a:gd name="connsiteY287" fmla="*/ 813429 h 899206"/>
                <a:gd name="connsiteX288" fmla="*/ 369359 w 548497"/>
                <a:gd name="connsiteY288" fmla="*/ 798759 h 899206"/>
                <a:gd name="connsiteX289" fmla="*/ 374261 w 548497"/>
                <a:gd name="connsiteY289" fmla="*/ 769438 h 899206"/>
                <a:gd name="connsiteX290" fmla="*/ 385324 w 548497"/>
                <a:gd name="connsiteY290" fmla="*/ 703450 h 899206"/>
                <a:gd name="connsiteX291" fmla="*/ 407037 w 548497"/>
                <a:gd name="connsiteY291" fmla="*/ 692639 h 899206"/>
                <a:gd name="connsiteX292" fmla="*/ 393572 w 548497"/>
                <a:gd name="connsiteY292" fmla="*/ 772844 h 899206"/>
                <a:gd name="connsiteX293" fmla="*/ 181914 w 548497"/>
                <a:gd name="connsiteY293" fmla="*/ 711012 h 899206"/>
                <a:gd name="connsiteX294" fmla="*/ 184788 w 548497"/>
                <a:gd name="connsiteY294" fmla="*/ 711997 h 899206"/>
                <a:gd name="connsiteX295" fmla="*/ 192642 w 548497"/>
                <a:gd name="connsiteY295" fmla="*/ 714655 h 899206"/>
                <a:gd name="connsiteX296" fmla="*/ 200595 w 548497"/>
                <a:gd name="connsiteY296" fmla="*/ 716939 h 899206"/>
                <a:gd name="connsiteX297" fmla="*/ 208607 w 548497"/>
                <a:gd name="connsiteY297" fmla="*/ 719046 h 899206"/>
                <a:gd name="connsiteX298" fmla="*/ 224828 w 548497"/>
                <a:gd name="connsiteY298" fmla="*/ 722492 h 899206"/>
                <a:gd name="connsiteX299" fmla="*/ 232978 w 548497"/>
                <a:gd name="connsiteY299" fmla="*/ 723910 h 899206"/>
                <a:gd name="connsiteX300" fmla="*/ 241207 w 548497"/>
                <a:gd name="connsiteY300" fmla="*/ 724973 h 899206"/>
                <a:gd name="connsiteX301" fmla="*/ 257683 w 548497"/>
                <a:gd name="connsiteY301" fmla="*/ 726470 h 899206"/>
                <a:gd name="connsiteX302" fmla="*/ 274219 w 548497"/>
                <a:gd name="connsiteY302" fmla="*/ 727002 h 899206"/>
                <a:gd name="connsiteX303" fmla="*/ 290755 w 548497"/>
                <a:gd name="connsiteY303" fmla="*/ 726470 h 899206"/>
                <a:gd name="connsiteX304" fmla="*/ 307232 w 548497"/>
                <a:gd name="connsiteY304" fmla="*/ 724973 h 899206"/>
                <a:gd name="connsiteX305" fmla="*/ 363336 w 548497"/>
                <a:gd name="connsiteY305" fmla="*/ 712115 h 899206"/>
                <a:gd name="connsiteX306" fmla="*/ 354300 w 548497"/>
                <a:gd name="connsiteY306" fmla="*/ 765952 h 899206"/>
                <a:gd name="connsiteX307" fmla="*/ 349378 w 548497"/>
                <a:gd name="connsiteY307" fmla="*/ 795234 h 899206"/>
                <a:gd name="connsiteX308" fmla="*/ 346918 w 548497"/>
                <a:gd name="connsiteY308" fmla="*/ 809884 h 899206"/>
                <a:gd name="connsiteX309" fmla="*/ 346308 w 548497"/>
                <a:gd name="connsiteY309" fmla="*/ 813527 h 899206"/>
                <a:gd name="connsiteX310" fmla="*/ 346012 w 548497"/>
                <a:gd name="connsiteY310" fmla="*/ 815359 h 899206"/>
                <a:gd name="connsiteX311" fmla="*/ 345855 w 548497"/>
                <a:gd name="connsiteY311" fmla="*/ 816284 h 899206"/>
                <a:gd name="connsiteX312" fmla="*/ 345776 w 548497"/>
                <a:gd name="connsiteY312" fmla="*/ 816737 h 899206"/>
                <a:gd name="connsiteX313" fmla="*/ 345717 w 548497"/>
                <a:gd name="connsiteY313" fmla="*/ 816974 h 899206"/>
                <a:gd name="connsiteX314" fmla="*/ 344811 w 548497"/>
                <a:gd name="connsiteY314" fmla="*/ 820124 h 899206"/>
                <a:gd name="connsiteX315" fmla="*/ 343532 w 548497"/>
                <a:gd name="connsiteY315" fmla="*/ 823413 h 899206"/>
                <a:gd name="connsiteX316" fmla="*/ 341740 w 548497"/>
                <a:gd name="connsiteY316" fmla="*/ 826485 h 899206"/>
                <a:gd name="connsiteX317" fmla="*/ 339654 w 548497"/>
                <a:gd name="connsiteY317" fmla="*/ 829360 h 899206"/>
                <a:gd name="connsiteX318" fmla="*/ 337114 w 548497"/>
                <a:gd name="connsiteY318" fmla="*/ 831880 h 899206"/>
                <a:gd name="connsiteX319" fmla="*/ 334339 w 548497"/>
                <a:gd name="connsiteY319" fmla="*/ 834125 h 899206"/>
                <a:gd name="connsiteX320" fmla="*/ 331248 w 548497"/>
                <a:gd name="connsiteY320" fmla="*/ 835917 h 899206"/>
                <a:gd name="connsiteX321" fmla="*/ 328020 w 548497"/>
                <a:gd name="connsiteY321" fmla="*/ 837374 h 899206"/>
                <a:gd name="connsiteX322" fmla="*/ 324614 w 548497"/>
                <a:gd name="connsiteY322" fmla="*/ 838339 h 899206"/>
                <a:gd name="connsiteX323" fmla="*/ 321110 w 548497"/>
                <a:gd name="connsiteY323" fmla="*/ 838930 h 899206"/>
                <a:gd name="connsiteX324" fmla="*/ 319338 w 548497"/>
                <a:gd name="connsiteY324" fmla="*/ 838969 h 899206"/>
                <a:gd name="connsiteX325" fmla="*/ 318886 w 548497"/>
                <a:gd name="connsiteY325" fmla="*/ 839009 h 899206"/>
                <a:gd name="connsiteX326" fmla="*/ 318669 w 548497"/>
                <a:gd name="connsiteY326" fmla="*/ 839009 h 899206"/>
                <a:gd name="connsiteX327" fmla="*/ 224356 w 548497"/>
                <a:gd name="connsiteY327" fmla="*/ 839028 h 899206"/>
                <a:gd name="connsiteX328" fmla="*/ 223844 w 548497"/>
                <a:gd name="connsiteY328" fmla="*/ 838989 h 899206"/>
                <a:gd name="connsiteX329" fmla="*/ 222053 w 548497"/>
                <a:gd name="connsiteY329" fmla="*/ 838910 h 899206"/>
                <a:gd name="connsiteX330" fmla="*/ 220301 w 548497"/>
                <a:gd name="connsiteY330" fmla="*/ 838694 h 899206"/>
                <a:gd name="connsiteX331" fmla="*/ 218549 w 548497"/>
                <a:gd name="connsiteY331" fmla="*/ 838398 h 899206"/>
                <a:gd name="connsiteX332" fmla="*/ 205970 w 548497"/>
                <a:gd name="connsiteY332" fmla="*/ 832117 h 899206"/>
                <a:gd name="connsiteX333" fmla="*/ 201284 w 548497"/>
                <a:gd name="connsiteY333" fmla="*/ 826760 h 899206"/>
                <a:gd name="connsiteX334" fmla="*/ 198115 w 548497"/>
                <a:gd name="connsiteY334" fmla="*/ 820439 h 899206"/>
                <a:gd name="connsiteX335" fmla="*/ 197229 w 548497"/>
                <a:gd name="connsiteY335" fmla="*/ 817131 h 899206"/>
                <a:gd name="connsiteX336" fmla="*/ 197032 w 548497"/>
                <a:gd name="connsiteY336" fmla="*/ 816343 h 899206"/>
                <a:gd name="connsiteX337" fmla="*/ 196934 w 548497"/>
                <a:gd name="connsiteY337" fmla="*/ 815851 h 899206"/>
                <a:gd name="connsiteX338" fmla="*/ 196796 w 548497"/>
                <a:gd name="connsiteY338" fmla="*/ 814926 h 899206"/>
                <a:gd name="connsiteX339" fmla="*/ 196284 w 548497"/>
                <a:gd name="connsiteY339" fmla="*/ 811263 h 899206"/>
                <a:gd name="connsiteX340" fmla="*/ 194198 w 548497"/>
                <a:gd name="connsiteY340" fmla="*/ 796553 h 899206"/>
                <a:gd name="connsiteX341" fmla="*/ 189985 w 548497"/>
                <a:gd name="connsiteY341" fmla="*/ 767153 h 899206"/>
                <a:gd name="connsiteX342" fmla="*/ 181993 w 548497"/>
                <a:gd name="connsiteY342" fmla="*/ 711012 h 899206"/>
                <a:gd name="connsiteX343" fmla="*/ 520820 w 548497"/>
                <a:gd name="connsiteY343" fmla="*/ 513444 h 899206"/>
                <a:gd name="connsiteX344" fmla="*/ 518851 w 548497"/>
                <a:gd name="connsiteY344" fmla="*/ 520868 h 899206"/>
                <a:gd name="connsiteX345" fmla="*/ 516764 w 548497"/>
                <a:gd name="connsiteY345" fmla="*/ 528252 h 899206"/>
                <a:gd name="connsiteX346" fmla="*/ 514304 w 548497"/>
                <a:gd name="connsiteY346" fmla="*/ 535519 h 899206"/>
                <a:gd name="connsiteX347" fmla="*/ 511705 w 548497"/>
                <a:gd name="connsiteY347" fmla="*/ 542745 h 899206"/>
                <a:gd name="connsiteX348" fmla="*/ 505800 w 548497"/>
                <a:gd name="connsiteY348" fmla="*/ 556924 h 899206"/>
                <a:gd name="connsiteX349" fmla="*/ 502591 w 548497"/>
                <a:gd name="connsiteY349" fmla="*/ 563914 h 899206"/>
                <a:gd name="connsiteX350" fmla="*/ 499106 w 548497"/>
                <a:gd name="connsiteY350" fmla="*/ 570747 h 899206"/>
                <a:gd name="connsiteX351" fmla="*/ 424597 w 548497"/>
                <a:gd name="connsiteY351" fmla="*/ 657371 h 899206"/>
                <a:gd name="connsiteX352" fmla="*/ 411467 w 548497"/>
                <a:gd name="connsiteY352" fmla="*/ 666410 h 899206"/>
                <a:gd name="connsiteX353" fmla="*/ 389458 w 548497"/>
                <a:gd name="connsiteY353" fmla="*/ 679052 h 899206"/>
                <a:gd name="connsiteX354" fmla="*/ 367214 w 548497"/>
                <a:gd name="connsiteY354" fmla="*/ 689075 h 899206"/>
                <a:gd name="connsiteX355" fmla="*/ 304830 w 548497"/>
                <a:gd name="connsiteY355" fmla="*/ 704829 h 899206"/>
                <a:gd name="connsiteX356" fmla="*/ 289554 w 548497"/>
                <a:gd name="connsiteY356" fmla="*/ 706227 h 899206"/>
                <a:gd name="connsiteX357" fmla="*/ 274239 w 548497"/>
                <a:gd name="connsiteY357" fmla="*/ 706719 h 899206"/>
                <a:gd name="connsiteX358" fmla="*/ 258923 w 548497"/>
                <a:gd name="connsiteY358" fmla="*/ 706227 h 899206"/>
                <a:gd name="connsiteX359" fmla="*/ 243648 w 548497"/>
                <a:gd name="connsiteY359" fmla="*/ 704829 h 899206"/>
                <a:gd name="connsiteX360" fmla="*/ 236049 w 548497"/>
                <a:gd name="connsiteY360" fmla="*/ 703844 h 899206"/>
                <a:gd name="connsiteX361" fmla="*/ 228490 w 548497"/>
                <a:gd name="connsiteY361" fmla="*/ 702525 h 899206"/>
                <a:gd name="connsiteX362" fmla="*/ 213489 w 548497"/>
                <a:gd name="connsiteY362" fmla="*/ 699354 h 899206"/>
                <a:gd name="connsiteX363" fmla="*/ 206068 w 548497"/>
                <a:gd name="connsiteY363" fmla="*/ 697385 h 899206"/>
                <a:gd name="connsiteX364" fmla="*/ 198686 w 548497"/>
                <a:gd name="connsiteY364" fmla="*/ 695298 h 899206"/>
                <a:gd name="connsiteX365" fmla="*/ 191402 w 548497"/>
                <a:gd name="connsiteY365" fmla="*/ 692836 h 899206"/>
                <a:gd name="connsiteX366" fmla="*/ 184178 w 548497"/>
                <a:gd name="connsiteY366" fmla="*/ 690237 h 899206"/>
                <a:gd name="connsiteX367" fmla="*/ 178626 w 548497"/>
                <a:gd name="connsiteY367" fmla="*/ 688071 h 899206"/>
                <a:gd name="connsiteX368" fmla="*/ 156677 w 548497"/>
                <a:gd name="connsiteY368" fmla="*/ 677890 h 899206"/>
                <a:gd name="connsiteX369" fmla="*/ 135043 w 548497"/>
                <a:gd name="connsiteY369" fmla="*/ 665130 h 899206"/>
                <a:gd name="connsiteX370" fmla="*/ 122995 w 548497"/>
                <a:gd name="connsiteY370" fmla="*/ 656702 h 899206"/>
                <a:gd name="connsiteX371" fmla="*/ 84175 w 548497"/>
                <a:gd name="connsiteY371" fmla="*/ 621099 h 899206"/>
                <a:gd name="connsiteX372" fmla="*/ 49371 w 548497"/>
                <a:gd name="connsiteY372" fmla="*/ 570708 h 899206"/>
                <a:gd name="connsiteX373" fmla="*/ 27638 w 548497"/>
                <a:gd name="connsiteY373" fmla="*/ 513464 h 899206"/>
                <a:gd name="connsiteX374" fmla="*/ 20276 w 548497"/>
                <a:gd name="connsiteY374" fmla="*/ 452675 h 899206"/>
                <a:gd name="connsiteX375" fmla="*/ 27638 w 548497"/>
                <a:gd name="connsiteY375" fmla="*/ 391867 h 899206"/>
                <a:gd name="connsiteX376" fmla="*/ 84175 w 548497"/>
                <a:gd name="connsiteY376" fmla="*/ 284251 h 899206"/>
                <a:gd name="connsiteX377" fmla="*/ 107247 w 548497"/>
                <a:gd name="connsiteY377" fmla="*/ 261350 h 899206"/>
                <a:gd name="connsiteX378" fmla="*/ 133035 w 548497"/>
                <a:gd name="connsiteY378" fmla="*/ 241579 h 899206"/>
                <a:gd name="connsiteX379" fmla="*/ 133645 w 548497"/>
                <a:gd name="connsiteY379" fmla="*/ 241677 h 899206"/>
                <a:gd name="connsiteX380" fmla="*/ 133743 w 548497"/>
                <a:gd name="connsiteY380" fmla="*/ 241087 h 899206"/>
                <a:gd name="connsiteX381" fmla="*/ 155870 w 548497"/>
                <a:gd name="connsiteY381" fmla="*/ 227913 h 899206"/>
                <a:gd name="connsiteX382" fmla="*/ 178213 w 548497"/>
                <a:gd name="connsiteY382" fmla="*/ 217476 h 899206"/>
                <a:gd name="connsiteX383" fmla="*/ 184138 w 548497"/>
                <a:gd name="connsiteY383" fmla="*/ 215133 h 899206"/>
                <a:gd name="connsiteX384" fmla="*/ 191363 w 548497"/>
                <a:gd name="connsiteY384" fmla="*/ 212534 h 899206"/>
                <a:gd name="connsiteX385" fmla="*/ 198646 w 548497"/>
                <a:gd name="connsiteY385" fmla="*/ 210072 h 899206"/>
                <a:gd name="connsiteX386" fmla="*/ 206029 w 548497"/>
                <a:gd name="connsiteY386" fmla="*/ 207985 h 899206"/>
                <a:gd name="connsiteX387" fmla="*/ 213450 w 548497"/>
                <a:gd name="connsiteY387" fmla="*/ 206016 h 899206"/>
                <a:gd name="connsiteX388" fmla="*/ 228450 w 548497"/>
                <a:gd name="connsiteY388" fmla="*/ 202845 h 899206"/>
                <a:gd name="connsiteX389" fmla="*/ 236010 w 548497"/>
                <a:gd name="connsiteY389" fmla="*/ 201506 h 899206"/>
                <a:gd name="connsiteX390" fmla="*/ 243608 w 548497"/>
                <a:gd name="connsiteY390" fmla="*/ 200541 h 899206"/>
                <a:gd name="connsiteX391" fmla="*/ 258884 w 548497"/>
                <a:gd name="connsiteY391" fmla="*/ 199143 h 899206"/>
                <a:gd name="connsiteX392" fmla="*/ 274199 w 548497"/>
                <a:gd name="connsiteY392" fmla="*/ 198651 h 899206"/>
                <a:gd name="connsiteX393" fmla="*/ 289515 w 548497"/>
                <a:gd name="connsiteY393" fmla="*/ 199143 h 899206"/>
                <a:gd name="connsiteX394" fmla="*/ 304791 w 548497"/>
                <a:gd name="connsiteY394" fmla="*/ 200541 h 899206"/>
                <a:gd name="connsiteX395" fmla="*/ 369536 w 548497"/>
                <a:gd name="connsiteY395" fmla="*/ 217240 h 899206"/>
                <a:gd name="connsiteX396" fmla="*/ 391525 w 548497"/>
                <a:gd name="connsiteY396" fmla="*/ 227401 h 899206"/>
                <a:gd name="connsiteX397" fmla="*/ 413199 w 548497"/>
                <a:gd name="connsiteY397" fmla="*/ 240102 h 899206"/>
                <a:gd name="connsiteX398" fmla="*/ 413297 w 548497"/>
                <a:gd name="connsiteY398" fmla="*/ 240752 h 899206"/>
                <a:gd name="connsiteX399" fmla="*/ 414006 w 548497"/>
                <a:gd name="connsiteY399" fmla="*/ 240634 h 899206"/>
                <a:gd name="connsiteX400" fmla="*/ 414026 w 548497"/>
                <a:gd name="connsiteY400" fmla="*/ 240654 h 899206"/>
                <a:gd name="connsiteX401" fmla="*/ 418435 w 548497"/>
                <a:gd name="connsiteY401" fmla="*/ 243627 h 899206"/>
                <a:gd name="connsiteX402" fmla="*/ 499047 w 548497"/>
                <a:gd name="connsiteY402" fmla="*/ 334623 h 899206"/>
                <a:gd name="connsiteX403" fmla="*/ 502532 w 548497"/>
                <a:gd name="connsiteY403" fmla="*/ 341456 h 899206"/>
                <a:gd name="connsiteX404" fmla="*/ 505740 w 548497"/>
                <a:gd name="connsiteY404" fmla="*/ 348427 h 899206"/>
                <a:gd name="connsiteX405" fmla="*/ 511646 w 548497"/>
                <a:gd name="connsiteY405" fmla="*/ 362605 h 899206"/>
                <a:gd name="connsiteX406" fmla="*/ 514245 w 548497"/>
                <a:gd name="connsiteY406" fmla="*/ 369832 h 899206"/>
                <a:gd name="connsiteX407" fmla="*/ 516705 w 548497"/>
                <a:gd name="connsiteY407" fmla="*/ 377118 h 899206"/>
                <a:gd name="connsiteX408" fmla="*/ 518792 w 548497"/>
                <a:gd name="connsiteY408" fmla="*/ 384502 h 899206"/>
                <a:gd name="connsiteX409" fmla="*/ 520761 w 548497"/>
                <a:gd name="connsiteY409" fmla="*/ 391906 h 899206"/>
                <a:gd name="connsiteX410" fmla="*/ 528123 w 548497"/>
                <a:gd name="connsiteY410" fmla="*/ 452715 h 899206"/>
                <a:gd name="connsiteX411" fmla="*/ 520761 w 548497"/>
                <a:gd name="connsiteY411" fmla="*/ 513503 h 899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</a:cxnLst>
              <a:rect l="l" t="t" r="r" b="b"/>
              <a:pathLst>
                <a:path w="548497" h="899206">
                  <a:moveTo>
                    <a:pt x="538399" y="379008"/>
                  </a:moveTo>
                  <a:lnTo>
                    <a:pt x="536115" y="371033"/>
                  </a:lnTo>
                  <a:lnTo>
                    <a:pt x="533458" y="363196"/>
                  </a:lnTo>
                  <a:cubicBezTo>
                    <a:pt x="532572" y="360557"/>
                    <a:pt x="531706" y="357938"/>
                    <a:pt x="530643" y="355398"/>
                  </a:cubicBezTo>
                  <a:cubicBezTo>
                    <a:pt x="528635" y="350258"/>
                    <a:pt x="526646" y="345079"/>
                    <a:pt x="524284" y="340077"/>
                  </a:cubicBezTo>
                  <a:cubicBezTo>
                    <a:pt x="523123" y="337577"/>
                    <a:pt x="522040" y="335036"/>
                    <a:pt x="520820" y="332555"/>
                  </a:cubicBezTo>
                  <a:lnTo>
                    <a:pt x="517040" y="325171"/>
                  </a:lnTo>
                  <a:cubicBezTo>
                    <a:pt x="496882" y="286752"/>
                    <a:pt x="467472" y="253355"/>
                    <a:pt x="432018" y="228386"/>
                  </a:cubicBezTo>
                  <a:lnTo>
                    <a:pt x="416388" y="120947"/>
                  </a:lnTo>
                  <a:lnTo>
                    <a:pt x="412136" y="91724"/>
                  </a:lnTo>
                  <a:lnTo>
                    <a:pt x="410010" y="77113"/>
                  </a:lnTo>
                  <a:lnTo>
                    <a:pt x="409754" y="75301"/>
                  </a:lnTo>
                  <a:cubicBezTo>
                    <a:pt x="409655" y="74671"/>
                    <a:pt x="409616" y="74199"/>
                    <a:pt x="409400" y="73135"/>
                  </a:cubicBezTo>
                  <a:cubicBezTo>
                    <a:pt x="409026" y="71265"/>
                    <a:pt x="408632" y="69355"/>
                    <a:pt x="408218" y="67484"/>
                  </a:cubicBezTo>
                  <a:cubicBezTo>
                    <a:pt x="407864" y="65593"/>
                    <a:pt x="407234" y="63880"/>
                    <a:pt x="406722" y="62049"/>
                  </a:cubicBezTo>
                  <a:cubicBezTo>
                    <a:pt x="406171" y="60257"/>
                    <a:pt x="405640" y="58465"/>
                    <a:pt x="404911" y="56732"/>
                  </a:cubicBezTo>
                  <a:cubicBezTo>
                    <a:pt x="402333" y="49682"/>
                    <a:pt x="398632" y="43125"/>
                    <a:pt x="394399" y="36981"/>
                  </a:cubicBezTo>
                  <a:cubicBezTo>
                    <a:pt x="390068" y="30877"/>
                    <a:pt x="384911" y="25422"/>
                    <a:pt x="379241" y="20558"/>
                  </a:cubicBezTo>
                  <a:cubicBezTo>
                    <a:pt x="373513" y="15773"/>
                    <a:pt x="367174" y="11776"/>
                    <a:pt x="360442" y="8487"/>
                  </a:cubicBezTo>
                  <a:cubicBezTo>
                    <a:pt x="353650" y="5356"/>
                    <a:pt x="346504" y="2973"/>
                    <a:pt x="339162" y="1556"/>
                  </a:cubicBezTo>
                  <a:cubicBezTo>
                    <a:pt x="337331" y="1201"/>
                    <a:pt x="335480" y="985"/>
                    <a:pt x="333610" y="709"/>
                  </a:cubicBezTo>
                  <a:lnTo>
                    <a:pt x="330835" y="374"/>
                  </a:lnTo>
                  <a:lnTo>
                    <a:pt x="328039" y="217"/>
                  </a:lnTo>
                  <a:cubicBezTo>
                    <a:pt x="326228" y="118"/>
                    <a:pt x="324201" y="39"/>
                    <a:pt x="322567" y="0"/>
                  </a:cubicBezTo>
                  <a:lnTo>
                    <a:pt x="228608" y="0"/>
                  </a:lnTo>
                  <a:lnTo>
                    <a:pt x="225950" y="79"/>
                  </a:lnTo>
                  <a:cubicBezTo>
                    <a:pt x="224100" y="158"/>
                    <a:pt x="222210" y="236"/>
                    <a:pt x="220360" y="354"/>
                  </a:cubicBezTo>
                  <a:cubicBezTo>
                    <a:pt x="216659" y="827"/>
                    <a:pt x="212938" y="1241"/>
                    <a:pt x="209316" y="2127"/>
                  </a:cubicBezTo>
                  <a:cubicBezTo>
                    <a:pt x="205635" y="2855"/>
                    <a:pt x="202072" y="4037"/>
                    <a:pt x="198528" y="5218"/>
                  </a:cubicBezTo>
                  <a:cubicBezTo>
                    <a:pt x="195064" y="6597"/>
                    <a:pt x="191540" y="7936"/>
                    <a:pt x="188272" y="9728"/>
                  </a:cubicBezTo>
                  <a:cubicBezTo>
                    <a:pt x="184906" y="11362"/>
                    <a:pt x="181776" y="13371"/>
                    <a:pt x="178646" y="15438"/>
                  </a:cubicBezTo>
                  <a:cubicBezTo>
                    <a:pt x="175634" y="17624"/>
                    <a:pt x="172583" y="19810"/>
                    <a:pt x="169866" y="22370"/>
                  </a:cubicBezTo>
                  <a:cubicBezTo>
                    <a:pt x="167032" y="24812"/>
                    <a:pt x="164492" y="27549"/>
                    <a:pt x="161992" y="30306"/>
                  </a:cubicBezTo>
                  <a:cubicBezTo>
                    <a:pt x="159630" y="33200"/>
                    <a:pt x="157228" y="36075"/>
                    <a:pt x="155220" y="39246"/>
                  </a:cubicBezTo>
                  <a:cubicBezTo>
                    <a:pt x="153094" y="42318"/>
                    <a:pt x="151323" y="45626"/>
                    <a:pt x="149590" y="48934"/>
                  </a:cubicBezTo>
                  <a:cubicBezTo>
                    <a:pt x="148744" y="50588"/>
                    <a:pt x="148035" y="52321"/>
                    <a:pt x="147287" y="54034"/>
                  </a:cubicBezTo>
                  <a:lnTo>
                    <a:pt x="146204" y="56634"/>
                  </a:lnTo>
                  <a:lnTo>
                    <a:pt x="145279" y="59292"/>
                  </a:lnTo>
                  <a:cubicBezTo>
                    <a:pt x="144708" y="61084"/>
                    <a:pt x="144078" y="62797"/>
                    <a:pt x="143606" y="64668"/>
                  </a:cubicBezTo>
                  <a:cubicBezTo>
                    <a:pt x="143133" y="66539"/>
                    <a:pt x="142681" y="68449"/>
                    <a:pt x="142267" y="70319"/>
                  </a:cubicBezTo>
                  <a:lnTo>
                    <a:pt x="141952" y="71737"/>
                  </a:lnTo>
                  <a:lnTo>
                    <a:pt x="141795" y="72663"/>
                  </a:lnTo>
                  <a:lnTo>
                    <a:pt x="141499" y="74494"/>
                  </a:lnTo>
                  <a:lnTo>
                    <a:pt x="140889" y="78117"/>
                  </a:lnTo>
                  <a:lnTo>
                    <a:pt x="138409" y="92670"/>
                  </a:lnTo>
                  <a:lnTo>
                    <a:pt x="133468" y="121813"/>
                  </a:lnTo>
                  <a:lnTo>
                    <a:pt x="115200" y="229213"/>
                  </a:lnTo>
                  <a:cubicBezTo>
                    <a:pt x="106735" y="235238"/>
                    <a:pt x="98624" y="241737"/>
                    <a:pt x="90908" y="248688"/>
                  </a:cubicBezTo>
                  <a:cubicBezTo>
                    <a:pt x="83191" y="255639"/>
                    <a:pt x="75888" y="263004"/>
                    <a:pt x="68998" y="270782"/>
                  </a:cubicBezTo>
                  <a:cubicBezTo>
                    <a:pt x="54332" y="287284"/>
                    <a:pt x="41714" y="305597"/>
                    <a:pt x="31418" y="325171"/>
                  </a:cubicBezTo>
                  <a:cubicBezTo>
                    <a:pt x="21142" y="344725"/>
                    <a:pt x="13209" y="365539"/>
                    <a:pt x="7953" y="387023"/>
                  </a:cubicBezTo>
                  <a:cubicBezTo>
                    <a:pt x="2717" y="408506"/>
                    <a:pt x="59" y="430601"/>
                    <a:pt x="0" y="452655"/>
                  </a:cubicBezTo>
                  <a:cubicBezTo>
                    <a:pt x="59" y="474710"/>
                    <a:pt x="2736" y="496805"/>
                    <a:pt x="7953" y="518288"/>
                  </a:cubicBezTo>
                  <a:cubicBezTo>
                    <a:pt x="18465" y="561275"/>
                    <a:pt x="39666" y="601526"/>
                    <a:pt x="68998" y="634549"/>
                  </a:cubicBezTo>
                  <a:cubicBezTo>
                    <a:pt x="83014" y="650401"/>
                    <a:pt x="98900" y="664598"/>
                    <a:pt x="116223" y="676807"/>
                  </a:cubicBezTo>
                  <a:cubicBezTo>
                    <a:pt x="116223" y="676807"/>
                    <a:pt x="116243" y="676807"/>
                    <a:pt x="116243" y="676827"/>
                  </a:cubicBezTo>
                  <a:lnTo>
                    <a:pt x="130417" y="776034"/>
                  </a:lnTo>
                  <a:lnTo>
                    <a:pt x="134629" y="805552"/>
                  </a:lnTo>
                  <a:lnTo>
                    <a:pt x="136716" y="820301"/>
                  </a:lnTo>
                  <a:lnTo>
                    <a:pt x="137247" y="823984"/>
                  </a:lnTo>
                  <a:lnTo>
                    <a:pt x="137365" y="824909"/>
                  </a:lnTo>
                  <a:cubicBezTo>
                    <a:pt x="137405" y="825165"/>
                    <a:pt x="137543" y="825815"/>
                    <a:pt x="137621" y="826229"/>
                  </a:cubicBezTo>
                  <a:lnTo>
                    <a:pt x="138173" y="829104"/>
                  </a:lnTo>
                  <a:cubicBezTo>
                    <a:pt x="138881" y="833003"/>
                    <a:pt x="140023" y="836547"/>
                    <a:pt x="141165" y="840131"/>
                  </a:cubicBezTo>
                  <a:cubicBezTo>
                    <a:pt x="143744" y="847240"/>
                    <a:pt x="147011" y="854093"/>
                    <a:pt x="151263" y="860355"/>
                  </a:cubicBezTo>
                  <a:cubicBezTo>
                    <a:pt x="155555" y="866557"/>
                    <a:pt x="160457" y="872347"/>
                    <a:pt x="166146" y="877290"/>
                  </a:cubicBezTo>
                  <a:cubicBezTo>
                    <a:pt x="177465" y="887234"/>
                    <a:pt x="191363" y="894244"/>
                    <a:pt x="206166" y="897296"/>
                  </a:cubicBezTo>
                  <a:cubicBezTo>
                    <a:pt x="207997" y="897749"/>
                    <a:pt x="209848" y="898005"/>
                    <a:pt x="211737" y="898281"/>
                  </a:cubicBezTo>
                  <a:cubicBezTo>
                    <a:pt x="213608" y="898498"/>
                    <a:pt x="215478" y="898832"/>
                    <a:pt x="217348" y="898911"/>
                  </a:cubicBezTo>
                  <a:lnTo>
                    <a:pt x="222997" y="899167"/>
                  </a:lnTo>
                  <a:lnTo>
                    <a:pt x="224336" y="899206"/>
                  </a:lnTo>
                  <a:lnTo>
                    <a:pt x="319397" y="899206"/>
                  </a:lnTo>
                  <a:cubicBezTo>
                    <a:pt x="319397" y="899206"/>
                    <a:pt x="320815" y="899128"/>
                    <a:pt x="320815" y="899128"/>
                  </a:cubicBezTo>
                  <a:lnTo>
                    <a:pt x="326445" y="898872"/>
                  </a:lnTo>
                  <a:cubicBezTo>
                    <a:pt x="330205" y="898399"/>
                    <a:pt x="333945" y="898005"/>
                    <a:pt x="337626" y="897100"/>
                  </a:cubicBezTo>
                  <a:cubicBezTo>
                    <a:pt x="341327" y="896371"/>
                    <a:pt x="344930" y="895170"/>
                    <a:pt x="348512" y="893988"/>
                  </a:cubicBezTo>
                  <a:cubicBezTo>
                    <a:pt x="351997" y="892590"/>
                    <a:pt x="355560" y="891231"/>
                    <a:pt x="358847" y="889420"/>
                  </a:cubicBezTo>
                  <a:cubicBezTo>
                    <a:pt x="362233" y="887766"/>
                    <a:pt x="365402" y="885718"/>
                    <a:pt x="368572" y="883650"/>
                  </a:cubicBezTo>
                  <a:cubicBezTo>
                    <a:pt x="371603" y="881405"/>
                    <a:pt x="374655" y="879200"/>
                    <a:pt x="377411" y="876600"/>
                  </a:cubicBezTo>
                  <a:cubicBezTo>
                    <a:pt x="380265" y="874139"/>
                    <a:pt x="382785" y="871343"/>
                    <a:pt x="385324" y="868586"/>
                  </a:cubicBezTo>
                  <a:cubicBezTo>
                    <a:pt x="387687" y="865632"/>
                    <a:pt x="390088" y="862718"/>
                    <a:pt x="392096" y="859508"/>
                  </a:cubicBezTo>
                  <a:cubicBezTo>
                    <a:pt x="394242" y="856416"/>
                    <a:pt x="395974" y="853049"/>
                    <a:pt x="397726" y="849682"/>
                  </a:cubicBezTo>
                  <a:cubicBezTo>
                    <a:pt x="399262" y="846236"/>
                    <a:pt x="400856" y="842789"/>
                    <a:pt x="401959" y="839186"/>
                  </a:cubicBezTo>
                  <a:cubicBezTo>
                    <a:pt x="403218" y="835700"/>
                    <a:pt x="404085" y="831821"/>
                    <a:pt x="404931" y="827981"/>
                  </a:cubicBezTo>
                  <a:lnTo>
                    <a:pt x="405069" y="827331"/>
                  </a:lnTo>
                  <a:lnTo>
                    <a:pt x="405148" y="826879"/>
                  </a:lnTo>
                  <a:lnTo>
                    <a:pt x="405305" y="825933"/>
                  </a:lnTo>
                  <a:lnTo>
                    <a:pt x="405600" y="824102"/>
                  </a:lnTo>
                  <a:lnTo>
                    <a:pt x="406211" y="820439"/>
                  </a:lnTo>
                  <a:lnTo>
                    <a:pt x="408691" y="805749"/>
                  </a:lnTo>
                  <a:lnTo>
                    <a:pt x="413612" y="776349"/>
                  </a:lnTo>
                  <a:lnTo>
                    <a:pt x="430050" y="678383"/>
                  </a:lnTo>
                  <a:cubicBezTo>
                    <a:pt x="448219" y="665839"/>
                    <a:pt x="464834" y="651070"/>
                    <a:pt x="479480" y="634549"/>
                  </a:cubicBezTo>
                  <a:cubicBezTo>
                    <a:pt x="494146" y="618027"/>
                    <a:pt x="506804" y="599753"/>
                    <a:pt x="517079" y="580160"/>
                  </a:cubicBezTo>
                  <a:lnTo>
                    <a:pt x="520859" y="572775"/>
                  </a:lnTo>
                  <a:cubicBezTo>
                    <a:pt x="522099" y="570314"/>
                    <a:pt x="523182" y="567774"/>
                    <a:pt x="524324" y="565253"/>
                  </a:cubicBezTo>
                  <a:cubicBezTo>
                    <a:pt x="526706" y="560271"/>
                    <a:pt x="528674" y="555092"/>
                    <a:pt x="530682" y="549953"/>
                  </a:cubicBezTo>
                  <a:cubicBezTo>
                    <a:pt x="531745" y="547393"/>
                    <a:pt x="532611" y="544774"/>
                    <a:pt x="533497" y="542155"/>
                  </a:cubicBezTo>
                  <a:lnTo>
                    <a:pt x="536155" y="534298"/>
                  </a:lnTo>
                  <a:lnTo>
                    <a:pt x="538438" y="526342"/>
                  </a:lnTo>
                  <a:cubicBezTo>
                    <a:pt x="539206" y="523664"/>
                    <a:pt x="539974" y="521006"/>
                    <a:pt x="540544" y="518328"/>
                  </a:cubicBezTo>
                  <a:cubicBezTo>
                    <a:pt x="545781" y="496844"/>
                    <a:pt x="548438" y="474750"/>
                    <a:pt x="548497" y="452695"/>
                  </a:cubicBezTo>
                  <a:cubicBezTo>
                    <a:pt x="548438" y="430640"/>
                    <a:pt x="545761" y="408546"/>
                    <a:pt x="540544" y="387062"/>
                  </a:cubicBezTo>
                  <a:cubicBezTo>
                    <a:pt x="539974" y="384345"/>
                    <a:pt x="539186" y="381686"/>
                    <a:pt x="538438" y="379048"/>
                  </a:cubicBezTo>
                  <a:close/>
                  <a:moveTo>
                    <a:pt x="153449" y="125338"/>
                  </a:moveTo>
                  <a:lnTo>
                    <a:pt x="158390" y="96234"/>
                  </a:lnTo>
                  <a:lnTo>
                    <a:pt x="160870" y="81701"/>
                  </a:lnTo>
                  <a:lnTo>
                    <a:pt x="161480" y="78078"/>
                  </a:lnTo>
                  <a:lnTo>
                    <a:pt x="161776" y="76266"/>
                  </a:lnTo>
                  <a:lnTo>
                    <a:pt x="161933" y="75341"/>
                  </a:lnTo>
                  <a:lnTo>
                    <a:pt x="162169" y="74258"/>
                  </a:lnTo>
                  <a:lnTo>
                    <a:pt x="163193" y="70004"/>
                  </a:lnTo>
                  <a:cubicBezTo>
                    <a:pt x="163528" y="68587"/>
                    <a:pt x="164059" y="67267"/>
                    <a:pt x="164492" y="65889"/>
                  </a:cubicBezTo>
                  <a:lnTo>
                    <a:pt x="165161" y="63841"/>
                  </a:lnTo>
                  <a:lnTo>
                    <a:pt x="166008" y="61872"/>
                  </a:lnTo>
                  <a:cubicBezTo>
                    <a:pt x="166599" y="60552"/>
                    <a:pt x="167130" y="59213"/>
                    <a:pt x="167760" y="57914"/>
                  </a:cubicBezTo>
                  <a:cubicBezTo>
                    <a:pt x="169118" y="55373"/>
                    <a:pt x="170457" y="52833"/>
                    <a:pt x="172110" y="50470"/>
                  </a:cubicBezTo>
                  <a:cubicBezTo>
                    <a:pt x="173626" y="48009"/>
                    <a:pt x="175496" y="45843"/>
                    <a:pt x="177288" y="43598"/>
                  </a:cubicBezTo>
                  <a:cubicBezTo>
                    <a:pt x="179237" y="41491"/>
                    <a:pt x="181166" y="39344"/>
                    <a:pt x="183351" y="37493"/>
                  </a:cubicBezTo>
                  <a:cubicBezTo>
                    <a:pt x="185418" y="35504"/>
                    <a:pt x="187800" y="33870"/>
                    <a:pt x="190123" y="32137"/>
                  </a:cubicBezTo>
                  <a:cubicBezTo>
                    <a:pt x="192544" y="30581"/>
                    <a:pt x="194926" y="29006"/>
                    <a:pt x="197524" y="27746"/>
                  </a:cubicBezTo>
                  <a:cubicBezTo>
                    <a:pt x="200044" y="26348"/>
                    <a:pt x="202761" y="25363"/>
                    <a:pt x="205399" y="24280"/>
                  </a:cubicBezTo>
                  <a:cubicBezTo>
                    <a:pt x="208155" y="23394"/>
                    <a:pt x="210871" y="22468"/>
                    <a:pt x="213706" y="21917"/>
                  </a:cubicBezTo>
                  <a:cubicBezTo>
                    <a:pt x="216501" y="21208"/>
                    <a:pt x="219356" y="20932"/>
                    <a:pt x="222210" y="20539"/>
                  </a:cubicBezTo>
                  <a:lnTo>
                    <a:pt x="226521" y="20342"/>
                  </a:lnTo>
                  <a:lnTo>
                    <a:pt x="228608" y="20263"/>
                  </a:lnTo>
                  <a:lnTo>
                    <a:pt x="322567" y="20263"/>
                  </a:lnTo>
                  <a:lnTo>
                    <a:pt x="326819" y="20440"/>
                  </a:lnTo>
                  <a:lnTo>
                    <a:pt x="328965" y="20539"/>
                  </a:lnTo>
                  <a:lnTo>
                    <a:pt x="331091" y="20814"/>
                  </a:lnTo>
                  <a:cubicBezTo>
                    <a:pt x="332508" y="21031"/>
                    <a:pt x="333945" y="21169"/>
                    <a:pt x="335362" y="21444"/>
                  </a:cubicBezTo>
                  <a:cubicBezTo>
                    <a:pt x="341012" y="22547"/>
                    <a:pt x="346485" y="24359"/>
                    <a:pt x="351721" y="26781"/>
                  </a:cubicBezTo>
                  <a:cubicBezTo>
                    <a:pt x="356859" y="29321"/>
                    <a:pt x="361780" y="32393"/>
                    <a:pt x="366190" y="36075"/>
                  </a:cubicBezTo>
                  <a:cubicBezTo>
                    <a:pt x="370521" y="39837"/>
                    <a:pt x="374537" y="43991"/>
                    <a:pt x="377844" y="48698"/>
                  </a:cubicBezTo>
                  <a:cubicBezTo>
                    <a:pt x="381092" y="53424"/>
                    <a:pt x="383966" y="58465"/>
                    <a:pt x="385915" y="63861"/>
                  </a:cubicBezTo>
                  <a:cubicBezTo>
                    <a:pt x="386505" y="65180"/>
                    <a:pt x="386879" y="66578"/>
                    <a:pt x="387312" y="67956"/>
                  </a:cubicBezTo>
                  <a:cubicBezTo>
                    <a:pt x="387687" y="69335"/>
                    <a:pt x="388218" y="70674"/>
                    <a:pt x="388474" y="72131"/>
                  </a:cubicBezTo>
                  <a:lnTo>
                    <a:pt x="389360" y="76385"/>
                  </a:lnTo>
                  <a:cubicBezTo>
                    <a:pt x="389537" y="77152"/>
                    <a:pt x="389596" y="77704"/>
                    <a:pt x="389675" y="78314"/>
                  </a:cubicBezTo>
                  <a:lnTo>
                    <a:pt x="389950" y="80146"/>
                  </a:lnTo>
                  <a:lnTo>
                    <a:pt x="392057" y="94737"/>
                  </a:lnTo>
                  <a:lnTo>
                    <a:pt x="396328" y="123940"/>
                  </a:lnTo>
                  <a:lnTo>
                    <a:pt x="409439" y="213951"/>
                  </a:lnTo>
                  <a:cubicBezTo>
                    <a:pt x="402470" y="209993"/>
                    <a:pt x="395325" y="206350"/>
                    <a:pt x="388041" y="203042"/>
                  </a:cubicBezTo>
                  <a:lnTo>
                    <a:pt x="376958" y="126874"/>
                  </a:lnTo>
                  <a:lnTo>
                    <a:pt x="372706" y="97711"/>
                  </a:lnTo>
                  <a:lnTo>
                    <a:pt x="370580" y="83119"/>
                  </a:lnTo>
                  <a:lnTo>
                    <a:pt x="370324" y="81307"/>
                  </a:lnTo>
                  <a:cubicBezTo>
                    <a:pt x="370225" y="80717"/>
                    <a:pt x="370147" y="80027"/>
                    <a:pt x="370048" y="79594"/>
                  </a:cubicBezTo>
                  <a:lnTo>
                    <a:pt x="369418" y="76660"/>
                  </a:lnTo>
                  <a:cubicBezTo>
                    <a:pt x="369280" y="75656"/>
                    <a:pt x="368867" y="74711"/>
                    <a:pt x="368592" y="73726"/>
                  </a:cubicBezTo>
                  <a:cubicBezTo>
                    <a:pt x="368296" y="72742"/>
                    <a:pt x="368060" y="71757"/>
                    <a:pt x="367607" y="70831"/>
                  </a:cubicBezTo>
                  <a:cubicBezTo>
                    <a:pt x="366249" y="66972"/>
                    <a:pt x="364162" y="63447"/>
                    <a:pt x="361879" y="60080"/>
                  </a:cubicBezTo>
                  <a:cubicBezTo>
                    <a:pt x="359517" y="56732"/>
                    <a:pt x="356682" y="53798"/>
                    <a:pt x="353591" y="51100"/>
                  </a:cubicBezTo>
                  <a:cubicBezTo>
                    <a:pt x="350461" y="48481"/>
                    <a:pt x="346977" y="46335"/>
                    <a:pt x="343315" y="44503"/>
                  </a:cubicBezTo>
                  <a:cubicBezTo>
                    <a:pt x="339615" y="42810"/>
                    <a:pt x="335736" y="41530"/>
                    <a:pt x="331721" y="40723"/>
                  </a:cubicBezTo>
                  <a:cubicBezTo>
                    <a:pt x="330717" y="40526"/>
                    <a:pt x="329713" y="40447"/>
                    <a:pt x="328689" y="40289"/>
                  </a:cubicBezTo>
                  <a:lnTo>
                    <a:pt x="327193" y="40073"/>
                  </a:lnTo>
                  <a:lnTo>
                    <a:pt x="325657" y="40014"/>
                  </a:lnTo>
                  <a:lnTo>
                    <a:pt x="322567" y="39876"/>
                  </a:lnTo>
                  <a:lnTo>
                    <a:pt x="228608" y="39876"/>
                  </a:lnTo>
                  <a:cubicBezTo>
                    <a:pt x="228017" y="39876"/>
                    <a:pt x="227564" y="39935"/>
                    <a:pt x="227033" y="39935"/>
                  </a:cubicBezTo>
                  <a:lnTo>
                    <a:pt x="223982" y="40073"/>
                  </a:lnTo>
                  <a:cubicBezTo>
                    <a:pt x="221974" y="40388"/>
                    <a:pt x="219907" y="40526"/>
                    <a:pt x="217958" y="41077"/>
                  </a:cubicBezTo>
                  <a:cubicBezTo>
                    <a:pt x="215950" y="41432"/>
                    <a:pt x="214021" y="42140"/>
                    <a:pt x="212072" y="42731"/>
                  </a:cubicBezTo>
                  <a:cubicBezTo>
                    <a:pt x="210202" y="43539"/>
                    <a:pt x="208253" y="44188"/>
                    <a:pt x="206481" y="45212"/>
                  </a:cubicBezTo>
                  <a:cubicBezTo>
                    <a:pt x="204631" y="46099"/>
                    <a:pt x="202958" y="47221"/>
                    <a:pt x="201206" y="48304"/>
                  </a:cubicBezTo>
                  <a:cubicBezTo>
                    <a:pt x="199591" y="49564"/>
                    <a:pt x="197879" y="50687"/>
                    <a:pt x="196422" y="52124"/>
                  </a:cubicBezTo>
                  <a:cubicBezTo>
                    <a:pt x="194847" y="53444"/>
                    <a:pt x="193509" y="54980"/>
                    <a:pt x="192091" y="56456"/>
                  </a:cubicBezTo>
                  <a:cubicBezTo>
                    <a:pt x="190851" y="58071"/>
                    <a:pt x="189473" y="59587"/>
                    <a:pt x="188430" y="61340"/>
                  </a:cubicBezTo>
                  <a:cubicBezTo>
                    <a:pt x="187229" y="62994"/>
                    <a:pt x="186343" y="64825"/>
                    <a:pt x="185359" y="66617"/>
                  </a:cubicBezTo>
                  <a:cubicBezTo>
                    <a:pt x="184906" y="67543"/>
                    <a:pt x="184532" y="68488"/>
                    <a:pt x="184119" y="69414"/>
                  </a:cubicBezTo>
                  <a:lnTo>
                    <a:pt x="183508" y="70812"/>
                  </a:lnTo>
                  <a:lnTo>
                    <a:pt x="183056" y="72269"/>
                  </a:lnTo>
                  <a:cubicBezTo>
                    <a:pt x="182760" y="73254"/>
                    <a:pt x="182367" y="74199"/>
                    <a:pt x="182111" y="75183"/>
                  </a:cubicBezTo>
                  <a:lnTo>
                    <a:pt x="181422" y="78098"/>
                  </a:lnTo>
                  <a:lnTo>
                    <a:pt x="181245" y="78807"/>
                  </a:lnTo>
                  <a:lnTo>
                    <a:pt x="181107" y="79732"/>
                  </a:lnTo>
                  <a:lnTo>
                    <a:pt x="180792" y="81544"/>
                  </a:lnTo>
                  <a:lnTo>
                    <a:pt x="180181" y="85167"/>
                  </a:lnTo>
                  <a:lnTo>
                    <a:pt x="177701" y="99680"/>
                  </a:lnTo>
                  <a:lnTo>
                    <a:pt x="172780" y="128725"/>
                  </a:lnTo>
                  <a:lnTo>
                    <a:pt x="160142" y="203180"/>
                  </a:lnTo>
                  <a:cubicBezTo>
                    <a:pt x="152701" y="206587"/>
                    <a:pt x="145417" y="210348"/>
                    <a:pt x="138330" y="214424"/>
                  </a:cubicBezTo>
                  <a:lnTo>
                    <a:pt x="153468" y="125319"/>
                  </a:lnTo>
                  <a:close/>
                  <a:moveTo>
                    <a:pt x="366269" y="194240"/>
                  </a:moveTo>
                  <a:cubicBezTo>
                    <a:pt x="347193" y="187427"/>
                    <a:pt x="327370" y="182740"/>
                    <a:pt x="307252" y="180377"/>
                  </a:cubicBezTo>
                  <a:cubicBezTo>
                    <a:pt x="301779" y="179570"/>
                    <a:pt x="296267" y="179314"/>
                    <a:pt x="290775" y="178861"/>
                  </a:cubicBezTo>
                  <a:cubicBezTo>
                    <a:pt x="285263" y="178487"/>
                    <a:pt x="279751" y="178506"/>
                    <a:pt x="274239" y="178349"/>
                  </a:cubicBezTo>
                  <a:cubicBezTo>
                    <a:pt x="268727" y="178506"/>
                    <a:pt x="263215" y="178487"/>
                    <a:pt x="257703" y="178861"/>
                  </a:cubicBezTo>
                  <a:cubicBezTo>
                    <a:pt x="252211" y="179314"/>
                    <a:pt x="246699" y="179570"/>
                    <a:pt x="241226" y="180377"/>
                  </a:cubicBezTo>
                  <a:lnTo>
                    <a:pt x="232998" y="181440"/>
                  </a:lnTo>
                  <a:cubicBezTo>
                    <a:pt x="230261" y="181854"/>
                    <a:pt x="227545" y="182385"/>
                    <a:pt x="224848" y="182858"/>
                  </a:cubicBezTo>
                  <a:cubicBezTo>
                    <a:pt x="219375" y="183744"/>
                    <a:pt x="214021" y="185044"/>
                    <a:pt x="208627" y="186304"/>
                  </a:cubicBezTo>
                  <a:cubicBezTo>
                    <a:pt x="205910" y="186856"/>
                    <a:pt x="203273" y="187663"/>
                    <a:pt x="200615" y="188411"/>
                  </a:cubicBezTo>
                  <a:lnTo>
                    <a:pt x="192662" y="190695"/>
                  </a:lnTo>
                  <a:lnTo>
                    <a:pt x="184808" y="193354"/>
                  </a:lnTo>
                  <a:cubicBezTo>
                    <a:pt x="183922" y="193630"/>
                    <a:pt x="183075" y="193925"/>
                    <a:pt x="182209" y="194240"/>
                  </a:cubicBezTo>
                  <a:lnTo>
                    <a:pt x="192741" y="132309"/>
                  </a:lnTo>
                  <a:lnTo>
                    <a:pt x="197682" y="103303"/>
                  </a:lnTo>
                  <a:lnTo>
                    <a:pt x="200143" y="88771"/>
                  </a:lnTo>
                  <a:lnTo>
                    <a:pt x="200753" y="85167"/>
                  </a:lnTo>
                  <a:lnTo>
                    <a:pt x="201048" y="83355"/>
                  </a:lnTo>
                  <a:lnTo>
                    <a:pt x="201206" y="82450"/>
                  </a:lnTo>
                  <a:lnTo>
                    <a:pt x="201324" y="82075"/>
                  </a:lnTo>
                  <a:cubicBezTo>
                    <a:pt x="201461" y="81583"/>
                    <a:pt x="201580" y="81051"/>
                    <a:pt x="201678" y="80559"/>
                  </a:cubicBezTo>
                  <a:cubicBezTo>
                    <a:pt x="201796" y="80047"/>
                    <a:pt x="202052" y="79456"/>
                    <a:pt x="202210" y="78905"/>
                  </a:cubicBezTo>
                  <a:lnTo>
                    <a:pt x="202465" y="78058"/>
                  </a:lnTo>
                  <a:lnTo>
                    <a:pt x="202820" y="77251"/>
                  </a:lnTo>
                  <a:cubicBezTo>
                    <a:pt x="203076" y="76719"/>
                    <a:pt x="203253" y="76148"/>
                    <a:pt x="203509" y="75636"/>
                  </a:cubicBezTo>
                  <a:cubicBezTo>
                    <a:pt x="204099" y="74612"/>
                    <a:pt x="204592" y="73549"/>
                    <a:pt x="205300" y="72604"/>
                  </a:cubicBezTo>
                  <a:cubicBezTo>
                    <a:pt x="205851" y="71560"/>
                    <a:pt x="206718" y="70753"/>
                    <a:pt x="207387" y="69788"/>
                  </a:cubicBezTo>
                  <a:cubicBezTo>
                    <a:pt x="208233" y="68941"/>
                    <a:pt x="208962" y="68035"/>
                    <a:pt x="209907" y="67287"/>
                  </a:cubicBezTo>
                  <a:cubicBezTo>
                    <a:pt x="210733" y="66420"/>
                    <a:pt x="211757" y="65830"/>
                    <a:pt x="212663" y="65081"/>
                  </a:cubicBezTo>
                  <a:cubicBezTo>
                    <a:pt x="213706" y="64491"/>
                    <a:pt x="214631" y="63762"/>
                    <a:pt x="215733" y="63309"/>
                  </a:cubicBezTo>
                  <a:cubicBezTo>
                    <a:pt x="216737" y="62679"/>
                    <a:pt x="217860" y="62364"/>
                    <a:pt x="218923" y="61872"/>
                  </a:cubicBezTo>
                  <a:cubicBezTo>
                    <a:pt x="220064" y="61576"/>
                    <a:pt x="221167" y="61084"/>
                    <a:pt x="222308" y="60926"/>
                  </a:cubicBezTo>
                  <a:cubicBezTo>
                    <a:pt x="223431" y="60572"/>
                    <a:pt x="224631" y="60572"/>
                    <a:pt x="225773" y="60336"/>
                  </a:cubicBezTo>
                  <a:cubicBezTo>
                    <a:pt x="226364" y="60316"/>
                    <a:pt x="226954" y="60316"/>
                    <a:pt x="227545" y="60277"/>
                  </a:cubicBezTo>
                  <a:lnTo>
                    <a:pt x="227978" y="60237"/>
                  </a:lnTo>
                  <a:cubicBezTo>
                    <a:pt x="228175" y="60237"/>
                    <a:pt x="228175" y="60218"/>
                    <a:pt x="228549" y="60218"/>
                  </a:cubicBezTo>
                  <a:lnTo>
                    <a:pt x="322508" y="60218"/>
                  </a:lnTo>
                  <a:lnTo>
                    <a:pt x="324378" y="60316"/>
                  </a:lnTo>
                  <a:lnTo>
                    <a:pt x="325283" y="60316"/>
                  </a:lnTo>
                  <a:cubicBezTo>
                    <a:pt x="325283" y="60316"/>
                    <a:pt x="326169" y="60474"/>
                    <a:pt x="326169" y="60474"/>
                  </a:cubicBezTo>
                  <a:cubicBezTo>
                    <a:pt x="326740" y="60572"/>
                    <a:pt x="327331" y="60592"/>
                    <a:pt x="327902" y="60710"/>
                  </a:cubicBezTo>
                  <a:cubicBezTo>
                    <a:pt x="337134" y="62325"/>
                    <a:pt x="345382" y="69295"/>
                    <a:pt x="348571" y="78078"/>
                  </a:cubicBezTo>
                  <a:cubicBezTo>
                    <a:pt x="348847" y="78590"/>
                    <a:pt x="348945" y="79200"/>
                    <a:pt x="349123" y="79752"/>
                  </a:cubicBezTo>
                  <a:cubicBezTo>
                    <a:pt x="349260" y="80303"/>
                    <a:pt x="349575" y="80894"/>
                    <a:pt x="349595" y="81406"/>
                  </a:cubicBezTo>
                  <a:cubicBezTo>
                    <a:pt x="349693" y="81938"/>
                    <a:pt x="349792" y="82469"/>
                    <a:pt x="349930" y="82981"/>
                  </a:cubicBezTo>
                  <a:cubicBezTo>
                    <a:pt x="349989" y="83080"/>
                    <a:pt x="350087" y="83867"/>
                    <a:pt x="350186" y="84438"/>
                  </a:cubicBezTo>
                  <a:lnTo>
                    <a:pt x="350442" y="86270"/>
                  </a:lnTo>
                  <a:lnTo>
                    <a:pt x="352548" y="100822"/>
                  </a:lnTo>
                  <a:lnTo>
                    <a:pt x="356800" y="129966"/>
                  </a:lnTo>
                  <a:lnTo>
                    <a:pt x="366170" y="194260"/>
                  </a:lnTo>
                  <a:close/>
                  <a:moveTo>
                    <a:pt x="393592" y="772844"/>
                  </a:moveTo>
                  <a:lnTo>
                    <a:pt x="388671" y="802205"/>
                  </a:lnTo>
                  <a:lnTo>
                    <a:pt x="386210" y="816895"/>
                  </a:lnTo>
                  <a:cubicBezTo>
                    <a:pt x="385797" y="819376"/>
                    <a:pt x="385423" y="821700"/>
                    <a:pt x="384930" y="824299"/>
                  </a:cubicBezTo>
                  <a:cubicBezTo>
                    <a:pt x="384281" y="827154"/>
                    <a:pt x="383651" y="830069"/>
                    <a:pt x="382647" y="832786"/>
                  </a:cubicBezTo>
                  <a:cubicBezTo>
                    <a:pt x="381820" y="835582"/>
                    <a:pt x="380560" y="838201"/>
                    <a:pt x="379419" y="840840"/>
                  </a:cubicBezTo>
                  <a:cubicBezTo>
                    <a:pt x="378041" y="843400"/>
                    <a:pt x="376761" y="845999"/>
                    <a:pt x="375088" y="848382"/>
                  </a:cubicBezTo>
                  <a:cubicBezTo>
                    <a:pt x="373572" y="850863"/>
                    <a:pt x="371702" y="853088"/>
                    <a:pt x="369910" y="855373"/>
                  </a:cubicBezTo>
                  <a:cubicBezTo>
                    <a:pt x="367922" y="857480"/>
                    <a:pt x="366013" y="859685"/>
                    <a:pt x="363808" y="861536"/>
                  </a:cubicBezTo>
                  <a:cubicBezTo>
                    <a:pt x="361702" y="863545"/>
                    <a:pt x="359320" y="865218"/>
                    <a:pt x="356997" y="866971"/>
                  </a:cubicBezTo>
                  <a:cubicBezTo>
                    <a:pt x="354556" y="868527"/>
                    <a:pt x="352154" y="870141"/>
                    <a:pt x="349536" y="871402"/>
                  </a:cubicBezTo>
                  <a:cubicBezTo>
                    <a:pt x="346997" y="872819"/>
                    <a:pt x="344241" y="873843"/>
                    <a:pt x="341583" y="874907"/>
                  </a:cubicBezTo>
                  <a:cubicBezTo>
                    <a:pt x="338827" y="875813"/>
                    <a:pt x="336071" y="876738"/>
                    <a:pt x="333217" y="877309"/>
                  </a:cubicBezTo>
                  <a:cubicBezTo>
                    <a:pt x="330402" y="878018"/>
                    <a:pt x="327488" y="878294"/>
                    <a:pt x="324614" y="878688"/>
                  </a:cubicBezTo>
                  <a:cubicBezTo>
                    <a:pt x="321799" y="878806"/>
                    <a:pt x="318610" y="879003"/>
                    <a:pt x="316327" y="878944"/>
                  </a:cubicBezTo>
                  <a:lnTo>
                    <a:pt x="225242" y="878944"/>
                  </a:lnTo>
                  <a:cubicBezTo>
                    <a:pt x="224631" y="878944"/>
                    <a:pt x="224001" y="878944"/>
                    <a:pt x="223253" y="878904"/>
                  </a:cubicBezTo>
                  <a:lnTo>
                    <a:pt x="218903" y="878707"/>
                  </a:lnTo>
                  <a:cubicBezTo>
                    <a:pt x="217466" y="878668"/>
                    <a:pt x="216029" y="878373"/>
                    <a:pt x="214592" y="878215"/>
                  </a:cubicBezTo>
                  <a:cubicBezTo>
                    <a:pt x="213155" y="878038"/>
                    <a:pt x="211718" y="877841"/>
                    <a:pt x="210300" y="877486"/>
                  </a:cubicBezTo>
                  <a:cubicBezTo>
                    <a:pt x="198922" y="875123"/>
                    <a:pt x="188233" y="869728"/>
                    <a:pt x="179532" y="862087"/>
                  </a:cubicBezTo>
                  <a:cubicBezTo>
                    <a:pt x="175142" y="858287"/>
                    <a:pt x="171402" y="853817"/>
                    <a:pt x="168075" y="849051"/>
                  </a:cubicBezTo>
                  <a:cubicBezTo>
                    <a:pt x="164807" y="844266"/>
                    <a:pt x="162307" y="838969"/>
                    <a:pt x="160319" y="833534"/>
                  </a:cubicBezTo>
                  <a:cubicBezTo>
                    <a:pt x="158468" y="828178"/>
                    <a:pt x="157287" y="821778"/>
                    <a:pt x="156756" y="817289"/>
                  </a:cubicBezTo>
                  <a:lnTo>
                    <a:pt x="154649" y="802539"/>
                  </a:lnTo>
                  <a:lnTo>
                    <a:pt x="150437" y="773081"/>
                  </a:lnTo>
                  <a:lnTo>
                    <a:pt x="138743" y="691182"/>
                  </a:lnTo>
                  <a:cubicBezTo>
                    <a:pt x="145712" y="695160"/>
                    <a:pt x="152838" y="698823"/>
                    <a:pt x="160122" y="702151"/>
                  </a:cubicBezTo>
                  <a:lnTo>
                    <a:pt x="169847" y="770166"/>
                  </a:lnTo>
                  <a:lnTo>
                    <a:pt x="174040" y="799605"/>
                  </a:lnTo>
                  <a:lnTo>
                    <a:pt x="176146" y="814335"/>
                  </a:lnTo>
                  <a:cubicBezTo>
                    <a:pt x="176481" y="816757"/>
                    <a:pt x="176815" y="819415"/>
                    <a:pt x="177268" y="821207"/>
                  </a:cubicBezTo>
                  <a:cubicBezTo>
                    <a:pt x="177583" y="823176"/>
                    <a:pt x="178292" y="825146"/>
                    <a:pt x="178863" y="827115"/>
                  </a:cubicBezTo>
                  <a:cubicBezTo>
                    <a:pt x="180300" y="830974"/>
                    <a:pt x="182032" y="834716"/>
                    <a:pt x="184374" y="838103"/>
                  </a:cubicBezTo>
                  <a:cubicBezTo>
                    <a:pt x="186737" y="841470"/>
                    <a:pt x="189355" y="844680"/>
                    <a:pt x="192505" y="847358"/>
                  </a:cubicBezTo>
                  <a:cubicBezTo>
                    <a:pt x="198686" y="852793"/>
                    <a:pt x="206265" y="856633"/>
                    <a:pt x="214336" y="858287"/>
                  </a:cubicBezTo>
                  <a:cubicBezTo>
                    <a:pt x="215320" y="858563"/>
                    <a:pt x="216344" y="858661"/>
                    <a:pt x="217367" y="858799"/>
                  </a:cubicBezTo>
                  <a:cubicBezTo>
                    <a:pt x="218391" y="858897"/>
                    <a:pt x="219395" y="859134"/>
                    <a:pt x="220419" y="859153"/>
                  </a:cubicBezTo>
                  <a:lnTo>
                    <a:pt x="223509" y="859291"/>
                  </a:lnTo>
                  <a:cubicBezTo>
                    <a:pt x="223982" y="859331"/>
                    <a:pt x="224612" y="859331"/>
                    <a:pt x="225242" y="859331"/>
                  </a:cubicBezTo>
                  <a:lnTo>
                    <a:pt x="316327" y="859331"/>
                  </a:lnTo>
                  <a:cubicBezTo>
                    <a:pt x="319004" y="859370"/>
                    <a:pt x="320736" y="859193"/>
                    <a:pt x="322862" y="859134"/>
                  </a:cubicBezTo>
                  <a:cubicBezTo>
                    <a:pt x="324890" y="858819"/>
                    <a:pt x="326976" y="858700"/>
                    <a:pt x="328965" y="858149"/>
                  </a:cubicBezTo>
                  <a:cubicBezTo>
                    <a:pt x="330973" y="857795"/>
                    <a:pt x="332921" y="857066"/>
                    <a:pt x="334890" y="856475"/>
                  </a:cubicBezTo>
                  <a:cubicBezTo>
                    <a:pt x="336780" y="855648"/>
                    <a:pt x="338748" y="854998"/>
                    <a:pt x="340520" y="853955"/>
                  </a:cubicBezTo>
                  <a:cubicBezTo>
                    <a:pt x="342390" y="853088"/>
                    <a:pt x="344083" y="851907"/>
                    <a:pt x="345855" y="850824"/>
                  </a:cubicBezTo>
                  <a:cubicBezTo>
                    <a:pt x="347469" y="849563"/>
                    <a:pt x="349182" y="848402"/>
                    <a:pt x="350658" y="846964"/>
                  </a:cubicBezTo>
                  <a:cubicBezTo>
                    <a:pt x="352253" y="845645"/>
                    <a:pt x="353571" y="844050"/>
                    <a:pt x="355008" y="842573"/>
                  </a:cubicBezTo>
                  <a:cubicBezTo>
                    <a:pt x="356249" y="840938"/>
                    <a:pt x="357627" y="839402"/>
                    <a:pt x="358670" y="837630"/>
                  </a:cubicBezTo>
                  <a:cubicBezTo>
                    <a:pt x="359891" y="835956"/>
                    <a:pt x="360737" y="834086"/>
                    <a:pt x="361761" y="832274"/>
                  </a:cubicBezTo>
                  <a:cubicBezTo>
                    <a:pt x="362548" y="830384"/>
                    <a:pt x="363473" y="828533"/>
                    <a:pt x="364044" y="826544"/>
                  </a:cubicBezTo>
                  <a:cubicBezTo>
                    <a:pt x="364773" y="824614"/>
                    <a:pt x="365147" y="822625"/>
                    <a:pt x="365639" y="820676"/>
                  </a:cubicBezTo>
                  <a:cubicBezTo>
                    <a:pt x="366072" y="818372"/>
                    <a:pt x="366465" y="815851"/>
                    <a:pt x="366879" y="813429"/>
                  </a:cubicBezTo>
                  <a:lnTo>
                    <a:pt x="369359" y="798759"/>
                  </a:lnTo>
                  <a:lnTo>
                    <a:pt x="374261" y="769438"/>
                  </a:lnTo>
                  <a:lnTo>
                    <a:pt x="385324" y="703450"/>
                  </a:lnTo>
                  <a:cubicBezTo>
                    <a:pt x="392726" y="700181"/>
                    <a:pt x="399970" y="696558"/>
                    <a:pt x="407037" y="692639"/>
                  </a:cubicBezTo>
                  <a:lnTo>
                    <a:pt x="393572" y="772844"/>
                  </a:lnTo>
                  <a:close/>
                  <a:moveTo>
                    <a:pt x="181914" y="711012"/>
                  </a:moveTo>
                  <a:cubicBezTo>
                    <a:pt x="182878" y="711327"/>
                    <a:pt x="183823" y="711662"/>
                    <a:pt x="184788" y="711997"/>
                  </a:cubicBezTo>
                  <a:lnTo>
                    <a:pt x="192642" y="714655"/>
                  </a:lnTo>
                  <a:lnTo>
                    <a:pt x="200595" y="716939"/>
                  </a:lnTo>
                  <a:cubicBezTo>
                    <a:pt x="203273" y="717668"/>
                    <a:pt x="205910" y="718475"/>
                    <a:pt x="208607" y="719046"/>
                  </a:cubicBezTo>
                  <a:cubicBezTo>
                    <a:pt x="214001" y="720287"/>
                    <a:pt x="219356" y="721626"/>
                    <a:pt x="224828" y="722492"/>
                  </a:cubicBezTo>
                  <a:cubicBezTo>
                    <a:pt x="227545" y="722945"/>
                    <a:pt x="230261" y="723477"/>
                    <a:pt x="232978" y="723910"/>
                  </a:cubicBezTo>
                  <a:lnTo>
                    <a:pt x="241207" y="724973"/>
                  </a:lnTo>
                  <a:cubicBezTo>
                    <a:pt x="246679" y="725781"/>
                    <a:pt x="252191" y="726017"/>
                    <a:pt x="257683" y="726470"/>
                  </a:cubicBezTo>
                  <a:cubicBezTo>
                    <a:pt x="263195" y="726844"/>
                    <a:pt x="268707" y="726824"/>
                    <a:pt x="274219" y="727002"/>
                  </a:cubicBezTo>
                  <a:cubicBezTo>
                    <a:pt x="279731" y="726824"/>
                    <a:pt x="285243" y="726844"/>
                    <a:pt x="290755" y="726470"/>
                  </a:cubicBezTo>
                  <a:cubicBezTo>
                    <a:pt x="296247" y="726017"/>
                    <a:pt x="301759" y="725781"/>
                    <a:pt x="307232" y="724973"/>
                  </a:cubicBezTo>
                  <a:cubicBezTo>
                    <a:pt x="326327" y="722709"/>
                    <a:pt x="345146" y="718396"/>
                    <a:pt x="363336" y="712115"/>
                  </a:cubicBezTo>
                  <a:lnTo>
                    <a:pt x="354300" y="765952"/>
                  </a:lnTo>
                  <a:lnTo>
                    <a:pt x="349378" y="795234"/>
                  </a:lnTo>
                  <a:lnTo>
                    <a:pt x="346918" y="809884"/>
                  </a:lnTo>
                  <a:lnTo>
                    <a:pt x="346308" y="813527"/>
                  </a:lnTo>
                  <a:lnTo>
                    <a:pt x="346012" y="815359"/>
                  </a:lnTo>
                  <a:lnTo>
                    <a:pt x="345855" y="816284"/>
                  </a:lnTo>
                  <a:lnTo>
                    <a:pt x="345776" y="816737"/>
                  </a:lnTo>
                  <a:cubicBezTo>
                    <a:pt x="345756" y="816895"/>
                    <a:pt x="345737" y="816895"/>
                    <a:pt x="345717" y="816974"/>
                  </a:cubicBezTo>
                  <a:cubicBezTo>
                    <a:pt x="345402" y="817978"/>
                    <a:pt x="345304" y="818962"/>
                    <a:pt x="344811" y="820124"/>
                  </a:cubicBezTo>
                  <a:cubicBezTo>
                    <a:pt x="344536" y="821286"/>
                    <a:pt x="343906" y="822290"/>
                    <a:pt x="343532" y="823413"/>
                  </a:cubicBezTo>
                  <a:cubicBezTo>
                    <a:pt x="342902" y="824437"/>
                    <a:pt x="342469" y="825520"/>
                    <a:pt x="341740" y="826485"/>
                  </a:cubicBezTo>
                  <a:cubicBezTo>
                    <a:pt x="341170" y="827528"/>
                    <a:pt x="340323" y="828355"/>
                    <a:pt x="339654" y="829360"/>
                  </a:cubicBezTo>
                  <a:cubicBezTo>
                    <a:pt x="338768" y="830187"/>
                    <a:pt x="338059" y="831132"/>
                    <a:pt x="337114" y="831880"/>
                  </a:cubicBezTo>
                  <a:cubicBezTo>
                    <a:pt x="336268" y="832747"/>
                    <a:pt x="335244" y="833357"/>
                    <a:pt x="334339" y="834125"/>
                  </a:cubicBezTo>
                  <a:cubicBezTo>
                    <a:pt x="333295" y="834716"/>
                    <a:pt x="332351" y="835464"/>
                    <a:pt x="331248" y="835917"/>
                  </a:cubicBezTo>
                  <a:cubicBezTo>
                    <a:pt x="330244" y="836547"/>
                    <a:pt x="329102" y="836882"/>
                    <a:pt x="328020" y="837374"/>
                  </a:cubicBezTo>
                  <a:cubicBezTo>
                    <a:pt x="326878" y="837689"/>
                    <a:pt x="325776" y="838162"/>
                    <a:pt x="324614" y="838339"/>
                  </a:cubicBezTo>
                  <a:cubicBezTo>
                    <a:pt x="323472" y="838694"/>
                    <a:pt x="322271" y="838674"/>
                    <a:pt x="321110" y="838930"/>
                  </a:cubicBezTo>
                  <a:cubicBezTo>
                    <a:pt x="320520" y="838910"/>
                    <a:pt x="319909" y="838930"/>
                    <a:pt x="319338" y="838969"/>
                  </a:cubicBezTo>
                  <a:lnTo>
                    <a:pt x="318886" y="839009"/>
                  </a:lnTo>
                  <a:lnTo>
                    <a:pt x="318669" y="839009"/>
                  </a:lnTo>
                  <a:cubicBezTo>
                    <a:pt x="318669" y="839009"/>
                    <a:pt x="224356" y="839028"/>
                    <a:pt x="224356" y="839028"/>
                  </a:cubicBezTo>
                  <a:cubicBezTo>
                    <a:pt x="224080" y="839028"/>
                    <a:pt x="224021" y="839009"/>
                    <a:pt x="223844" y="838989"/>
                  </a:cubicBezTo>
                  <a:cubicBezTo>
                    <a:pt x="223253" y="838950"/>
                    <a:pt x="222643" y="838930"/>
                    <a:pt x="222053" y="838910"/>
                  </a:cubicBezTo>
                  <a:cubicBezTo>
                    <a:pt x="221462" y="838930"/>
                    <a:pt x="220871" y="838753"/>
                    <a:pt x="220301" y="838694"/>
                  </a:cubicBezTo>
                  <a:cubicBezTo>
                    <a:pt x="219710" y="838635"/>
                    <a:pt x="219100" y="838595"/>
                    <a:pt x="218549" y="838398"/>
                  </a:cubicBezTo>
                  <a:cubicBezTo>
                    <a:pt x="213922" y="837453"/>
                    <a:pt x="209572" y="835248"/>
                    <a:pt x="205970" y="832117"/>
                  </a:cubicBezTo>
                  <a:cubicBezTo>
                    <a:pt x="204139" y="830581"/>
                    <a:pt x="202662" y="828690"/>
                    <a:pt x="201284" y="826760"/>
                  </a:cubicBezTo>
                  <a:cubicBezTo>
                    <a:pt x="199926" y="824811"/>
                    <a:pt x="198962" y="822625"/>
                    <a:pt x="198115" y="820439"/>
                  </a:cubicBezTo>
                  <a:cubicBezTo>
                    <a:pt x="197820" y="819297"/>
                    <a:pt x="197347" y="818135"/>
                    <a:pt x="197229" y="817131"/>
                  </a:cubicBezTo>
                  <a:lnTo>
                    <a:pt x="197032" y="816343"/>
                  </a:lnTo>
                  <a:cubicBezTo>
                    <a:pt x="197013" y="816166"/>
                    <a:pt x="196973" y="816206"/>
                    <a:pt x="196934" y="815851"/>
                  </a:cubicBezTo>
                  <a:lnTo>
                    <a:pt x="196796" y="814926"/>
                  </a:lnTo>
                  <a:lnTo>
                    <a:pt x="196284" y="811263"/>
                  </a:lnTo>
                  <a:lnTo>
                    <a:pt x="194198" y="796553"/>
                  </a:lnTo>
                  <a:lnTo>
                    <a:pt x="189985" y="767153"/>
                  </a:lnTo>
                  <a:lnTo>
                    <a:pt x="181993" y="711012"/>
                  </a:lnTo>
                  <a:close/>
                  <a:moveTo>
                    <a:pt x="520820" y="513444"/>
                  </a:moveTo>
                  <a:cubicBezTo>
                    <a:pt x="520288" y="515965"/>
                    <a:pt x="519540" y="518406"/>
                    <a:pt x="518851" y="520868"/>
                  </a:cubicBezTo>
                  <a:lnTo>
                    <a:pt x="516764" y="528252"/>
                  </a:lnTo>
                  <a:lnTo>
                    <a:pt x="514304" y="535519"/>
                  </a:lnTo>
                  <a:cubicBezTo>
                    <a:pt x="513477" y="537960"/>
                    <a:pt x="512690" y="540382"/>
                    <a:pt x="511705" y="542745"/>
                  </a:cubicBezTo>
                  <a:cubicBezTo>
                    <a:pt x="509835" y="547511"/>
                    <a:pt x="507985" y="552296"/>
                    <a:pt x="505800" y="556924"/>
                  </a:cubicBezTo>
                  <a:cubicBezTo>
                    <a:pt x="504717" y="559267"/>
                    <a:pt x="503752" y="561610"/>
                    <a:pt x="502591" y="563914"/>
                  </a:cubicBezTo>
                  <a:lnTo>
                    <a:pt x="499106" y="570747"/>
                  </a:lnTo>
                  <a:cubicBezTo>
                    <a:pt x="481252" y="604794"/>
                    <a:pt x="455542" y="634608"/>
                    <a:pt x="424597" y="657371"/>
                  </a:cubicBezTo>
                  <a:lnTo>
                    <a:pt x="411467" y="666410"/>
                  </a:lnTo>
                  <a:cubicBezTo>
                    <a:pt x="404340" y="670998"/>
                    <a:pt x="396998" y="675212"/>
                    <a:pt x="389458" y="679052"/>
                  </a:cubicBezTo>
                  <a:cubicBezTo>
                    <a:pt x="382214" y="682735"/>
                    <a:pt x="374793" y="686102"/>
                    <a:pt x="367214" y="689075"/>
                  </a:cubicBezTo>
                  <a:cubicBezTo>
                    <a:pt x="347213" y="696972"/>
                    <a:pt x="326189" y="702308"/>
                    <a:pt x="304830" y="704829"/>
                  </a:cubicBezTo>
                  <a:cubicBezTo>
                    <a:pt x="299771" y="705597"/>
                    <a:pt x="294633" y="705794"/>
                    <a:pt x="289554" y="706227"/>
                  </a:cubicBezTo>
                  <a:cubicBezTo>
                    <a:pt x="284456" y="706581"/>
                    <a:pt x="279337" y="706542"/>
                    <a:pt x="274239" y="706719"/>
                  </a:cubicBezTo>
                  <a:cubicBezTo>
                    <a:pt x="269140" y="706542"/>
                    <a:pt x="264002" y="706581"/>
                    <a:pt x="258923" y="706227"/>
                  </a:cubicBezTo>
                  <a:cubicBezTo>
                    <a:pt x="253825" y="705794"/>
                    <a:pt x="248707" y="705597"/>
                    <a:pt x="243648" y="704829"/>
                  </a:cubicBezTo>
                  <a:lnTo>
                    <a:pt x="236049" y="703844"/>
                  </a:lnTo>
                  <a:cubicBezTo>
                    <a:pt x="233510" y="703450"/>
                    <a:pt x="231009" y="702958"/>
                    <a:pt x="228490" y="702525"/>
                  </a:cubicBezTo>
                  <a:cubicBezTo>
                    <a:pt x="223431" y="701717"/>
                    <a:pt x="218450" y="700496"/>
                    <a:pt x="213489" y="699354"/>
                  </a:cubicBezTo>
                  <a:cubicBezTo>
                    <a:pt x="210970" y="698823"/>
                    <a:pt x="208529" y="698074"/>
                    <a:pt x="206068" y="697385"/>
                  </a:cubicBezTo>
                  <a:lnTo>
                    <a:pt x="198686" y="695298"/>
                  </a:lnTo>
                  <a:lnTo>
                    <a:pt x="191402" y="692836"/>
                  </a:lnTo>
                  <a:cubicBezTo>
                    <a:pt x="188981" y="692009"/>
                    <a:pt x="186560" y="691222"/>
                    <a:pt x="184178" y="690237"/>
                  </a:cubicBezTo>
                  <a:cubicBezTo>
                    <a:pt x="182327" y="689548"/>
                    <a:pt x="180477" y="688800"/>
                    <a:pt x="178626" y="688071"/>
                  </a:cubicBezTo>
                  <a:cubicBezTo>
                    <a:pt x="171146" y="685038"/>
                    <a:pt x="163823" y="681632"/>
                    <a:pt x="156677" y="677890"/>
                  </a:cubicBezTo>
                  <a:cubicBezTo>
                    <a:pt x="149256" y="673991"/>
                    <a:pt x="142051" y="669758"/>
                    <a:pt x="135043" y="665130"/>
                  </a:cubicBezTo>
                  <a:lnTo>
                    <a:pt x="122995" y="656702"/>
                  </a:lnTo>
                  <a:cubicBezTo>
                    <a:pt x="108881" y="646226"/>
                    <a:pt x="95849" y="634273"/>
                    <a:pt x="84175" y="621099"/>
                  </a:cubicBezTo>
                  <a:cubicBezTo>
                    <a:pt x="70592" y="605799"/>
                    <a:pt x="58879" y="588824"/>
                    <a:pt x="49371" y="570708"/>
                  </a:cubicBezTo>
                  <a:cubicBezTo>
                    <a:pt x="39863" y="552611"/>
                    <a:pt x="32521" y="533353"/>
                    <a:pt x="27638" y="513464"/>
                  </a:cubicBezTo>
                  <a:cubicBezTo>
                    <a:pt x="22815" y="493595"/>
                    <a:pt x="20335" y="473135"/>
                    <a:pt x="20276" y="452675"/>
                  </a:cubicBezTo>
                  <a:cubicBezTo>
                    <a:pt x="20335" y="432215"/>
                    <a:pt x="22815" y="411775"/>
                    <a:pt x="27638" y="391867"/>
                  </a:cubicBezTo>
                  <a:cubicBezTo>
                    <a:pt x="37383" y="352089"/>
                    <a:pt x="57009" y="314833"/>
                    <a:pt x="84175" y="284251"/>
                  </a:cubicBezTo>
                  <a:cubicBezTo>
                    <a:pt x="91360" y="276138"/>
                    <a:pt x="99077" y="268458"/>
                    <a:pt x="107247" y="261350"/>
                  </a:cubicBezTo>
                  <a:cubicBezTo>
                    <a:pt x="115396" y="254201"/>
                    <a:pt x="124019" y="247605"/>
                    <a:pt x="133035" y="241579"/>
                  </a:cubicBezTo>
                  <a:lnTo>
                    <a:pt x="133645" y="241677"/>
                  </a:lnTo>
                  <a:lnTo>
                    <a:pt x="133743" y="241087"/>
                  </a:lnTo>
                  <a:cubicBezTo>
                    <a:pt x="140889" y="236321"/>
                    <a:pt x="148271" y="231930"/>
                    <a:pt x="155870" y="227913"/>
                  </a:cubicBezTo>
                  <a:cubicBezTo>
                    <a:pt x="163134" y="224053"/>
                    <a:pt x="170595" y="220568"/>
                    <a:pt x="178213" y="217476"/>
                  </a:cubicBezTo>
                  <a:cubicBezTo>
                    <a:pt x="180162" y="216669"/>
                    <a:pt x="182150" y="215901"/>
                    <a:pt x="184138" y="215133"/>
                  </a:cubicBezTo>
                  <a:cubicBezTo>
                    <a:pt x="186520" y="214148"/>
                    <a:pt x="188942" y="213361"/>
                    <a:pt x="191363" y="212534"/>
                  </a:cubicBezTo>
                  <a:lnTo>
                    <a:pt x="198646" y="210072"/>
                  </a:lnTo>
                  <a:lnTo>
                    <a:pt x="206029" y="207985"/>
                  </a:lnTo>
                  <a:cubicBezTo>
                    <a:pt x="208489" y="207296"/>
                    <a:pt x="210930" y="206528"/>
                    <a:pt x="213450" y="206016"/>
                  </a:cubicBezTo>
                  <a:cubicBezTo>
                    <a:pt x="218411" y="204874"/>
                    <a:pt x="223391" y="203633"/>
                    <a:pt x="228450" y="202845"/>
                  </a:cubicBezTo>
                  <a:cubicBezTo>
                    <a:pt x="230970" y="202412"/>
                    <a:pt x="233470" y="201900"/>
                    <a:pt x="236010" y="201506"/>
                  </a:cubicBezTo>
                  <a:lnTo>
                    <a:pt x="243608" y="200541"/>
                  </a:lnTo>
                  <a:cubicBezTo>
                    <a:pt x="248667" y="199773"/>
                    <a:pt x="253786" y="199557"/>
                    <a:pt x="258884" y="199143"/>
                  </a:cubicBezTo>
                  <a:cubicBezTo>
                    <a:pt x="263963" y="198789"/>
                    <a:pt x="269101" y="198808"/>
                    <a:pt x="274199" y="198651"/>
                  </a:cubicBezTo>
                  <a:cubicBezTo>
                    <a:pt x="279298" y="198808"/>
                    <a:pt x="284416" y="198789"/>
                    <a:pt x="289515" y="199143"/>
                  </a:cubicBezTo>
                  <a:cubicBezTo>
                    <a:pt x="294594" y="199557"/>
                    <a:pt x="299732" y="199773"/>
                    <a:pt x="304791" y="200541"/>
                  </a:cubicBezTo>
                  <a:cubicBezTo>
                    <a:pt x="326996" y="203160"/>
                    <a:pt x="348827" y="208832"/>
                    <a:pt x="369536" y="217240"/>
                  </a:cubicBezTo>
                  <a:cubicBezTo>
                    <a:pt x="377017" y="220273"/>
                    <a:pt x="384360" y="223660"/>
                    <a:pt x="391525" y="227401"/>
                  </a:cubicBezTo>
                  <a:cubicBezTo>
                    <a:pt x="398947" y="231280"/>
                    <a:pt x="406191" y="235494"/>
                    <a:pt x="413199" y="240102"/>
                  </a:cubicBezTo>
                  <a:lnTo>
                    <a:pt x="413297" y="240752"/>
                  </a:lnTo>
                  <a:lnTo>
                    <a:pt x="414006" y="240634"/>
                  </a:lnTo>
                  <a:cubicBezTo>
                    <a:pt x="414006" y="240634"/>
                    <a:pt x="414026" y="240654"/>
                    <a:pt x="414026" y="240654"/>
                  </a:cubicBezTo>
                  <a:cubicBezTo>
                    <a:pt x="415502" y="241638"/>
                    <a:pt x="416979" y="242603"/>
                    <a:pt x="418435" y="243627"/>
                  </a:cubicBezTo>
                  <a:cubicBezTo>
                    <a:pt x="452097" y="266903"/>
                    <a:pt x="480031" y="298370"/>
                    <a:pt x="499047" y="334623"/>
                  </a:cubicBezTo>
                  <a:lnTo>
                    <a:pt x="502532" y="341456"/>
                  </a:lnTo>
                  <a:cubicBezTo>
                    <a:pt x="503693" y="343740"/>
                    <a:pt x="504658" y="346103"/>
                    <a:pt x="505740" y="348427"/>
                  </a:cubicBezTo>
                  <a:cubicBezTo>
                    <a:pt x="507926" y="353054"/>
                    <a:pt x="509776" y="357839"/>
                    <a:pt x="511646" y="362605"/>
                  </a:cubicBezTo>
                  <a:cubicBezTo>
                    <a:pt x="512630" y="364988"/>
                    <a:pt x="513418" y="367410"/>
                    <a:pt x="514245" y="369832"/>
                  </a:cubicBezTo>
                  <a:lnTo>
                    <a:pt x="516705" y="377118"/>
                  </a:lnTo>
                  <a:lnTo>
                    <a:pt x="518792" y="384502"/>
                  </a:lnTo>
                  <a:cubicBezTo>
                    <a:pt x="519481" y="386964"/>
                    <a:pt x="520229" y="389405"/>
                    <a:pt x="520761" y="391906"/>
                  </a:cubicBezTo>
                  <a:cubicBezTo>
                    <a:pt x="525584" y="411795"/>
                    <a:pt x="528064" y="432255"/>
                    <a:pt x="528123" y="452715"/>
                  </a:cubicBezTo>
                  <a:cubicBezTo>
                    <a:pt x="528064" y="473174"/>
                    <a:pt x="525584" y="493614"/>
                    <a:pt x="520761" y="51350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473" name="Freeform 6">
              <a:extLst>
                <a:ext uri="{FF2B5EF4-FFF2-40B4-BE49-F238E27FC236}">
                  <a16:creationId xmlns:a16="http://schemas.microsoft.com/office/drawing/2014/main" id="{02B1DC8B-3CD2-5DD3-6E99-828730140458}"/>
                </a:ext>
              </a:extLst>
            </p:cNvPr>
            <p:cNvSpPr/>
            <p:nvPr/>
          </p:nvSpPr>
          <p:spPr>
            <a:xfrm>
              <a:off x="3974217" y="5379511"/>
              <a:ext cx="123929" cy="123969"/>
            </a:xfrm>
            <a:custGeom>
              <a:avLst/>
              <a:gdLst>
                <a:gd name="connsiteX0" fmla="*/ 460090 w 468731"/>
                <a:gd name="connsiteY0" fmla="*/ 171437 h 468881"/>
                <a:gd name="connsiteX1" fmla="*/ 458161 w 468731"/>
                <a:gd name="connsiteY1" fmla="*/ 164623 h 468881"/>
                <a:gd name="connsiteX2" fmla="*/ 455877 w 468731"/>
                <a:gd name="connsiteY2" fmla="*/ 157909 h 468881"/>
                <a:gd name="connsiteX3" fmla="*/ 453475 w 468731"/>
                <a:gd name="connsiteY3" fmla="*/ 151253 h 468881"/>
                <a:gd name="connsiteX4" fmla="*/ 448042 w 468731"/>
                <a:gd name="connsiteY4" fmla="*/ 138177 h 468881"/>
                <a:gd name="connsiteX5" fmla="*/ 445070 w 468731"/>
                <a:gd name="connsiteY5" fmla="*/ 131758 h 468881"/>
                <a:gd name="connsiteX6" fmla="*/ 441861 w 468731"/>
                <a:gd name="connsiteY6" fmla="*/ 125456 h 468881"/>
                <a:gd name="connsiteX7" fmla="*/ 367450 w 468731"/>
                <a:gd name="connsiteY7" fmla="*/ 41491 h 468881"/>
                <a:gd name="connsiteX8" fmla="*/ 343315 w 468731"/>
                <a:gd name="connsiteY8" fmla="*/ 26860 h 468881"/>
                <a:gd name="connsiteX9" fmla="*/ 333040 w 468731"/>
                <a:gd name="connsiteY9" fmla="*/ 21779 h 468881"/>
                <a:gd name="connsiteX10" fmla="*/ 262605 w 468731"/>
                <a:gd name="connsiteY10" fmla="*/ 1753 h 468881"/>
                <a:gd name="connsiteX11" fmla="*/ 248530 w 468731"/>
                <a:gd name="connsiteY11" fmla="*/ 453 h 468881"/>
                <a:gd name="connsiteX12" fmla="*/ 234356 w 468731"/>
                <a:gd name="connsiteY12" fmla="*/ 0 h 468881"/>
                <a:gd name="connsiteX13" fmla="*/ 220182 w 468731"/>
                <a:gd name="connsiteY13" fmla="*/ 453 h 468881"/>
                <a:gd name="connsiteX14" fmla="*/ 206107 w 468731"/>
                <a:gd name="connsiteY14" fmla="*/ 1753 h 468881"/>
                <a:gd name="connsiteX15" fmla="*/ 199060 w 468731"/>
                <a:gd name="connsiteY15" fmla="*/ 2639 h 468881"/>
                <a:gd name="connsiteX16" fmla="*/ 192091 w 468731"/>
                <a:gd name="connsiteY16" fmla="*/ 3879 h 468881"/>
                <a:gd name="connsiteX17" fmla="*/ 178252 w 468731"/>
                <a:gd name="connsiteY17" fmla="*/ 6813 h 468881"/>
                <a:gd name="connsiteX18" fmla="*/ 171402 w 468731"/>
                <a:gd name="connsiteY18" fmla="*/ 8625 h 468881"/>
                <a:gd name="connsiteX19" fmla="*/ 164591 w 468731"/>
                <a:gd name="connsiteY19" fmla="*/ 10535 h 468881"/>
                <a:gd name="connsiteX20" fmla="*/ 157897 w 468731"/>
                <a:gd name="connsiteY20" fmla="*/ 12819 h 468881"/>
                <a:gd name="connsiteX21" fmla="*/ 151244 w 468731"/>
                <a:gd name="connsiteY21" fmla="*/ 15222 h 468881"/>
                <a:gd name="connsiteX22" fmla="*/ 134432 w 468731"/>
                <a:gd name="connsiteY22" fmla="*/ 22390 h 468881"/>
                <a:gd name="connsiteX23" fmla="*/ 122680 w 468731"/>
                <a:gd name="connsiteY23" fmla="*/ 28356 h 468881"/>
                <a:gd name="connsiteX24" fmla="*/ 58978 w 468731"/>
                <a:gd name="connsiteY24" fmla="*/ 79023 h 468881"/>
                <a:gd name="connsiteX25" fmla="*/ 6811 w 468731"/>
                <a:gd name="connsiteY25" fmla="*/ 178329 h 468881"/>
                <a:gd name="connsiteX26" fmla="*/ 0 w 468731"/>
                <a:gd name="connsiteY26" fmla="*/ 234451 h 468881"/>
                <a:gd name="connsiteX27" fmla="*/ 6811 w 468731"/>
                <a:gd name="connsiteY27" fmla="*/ 290572 h 468881"/>
                <a:gd name="connsiteX28" fmla="*/ 58978 w 468731"/>
                <a:gd name="connsiteY28" fmla="*/ 389878 h 468881"/>
                <a:gd name="connsiteX29" fmla="*/ 113290 w 468731"/>
                <a:gd name="connsiteY29" fmla="*/ 435169 h 468881"/>
                <a:gd name="connsiteX30" fmla="*/ 135476 w 468731"/>
                <a:gd name="connsiteY30" fmla="*/ 446984 h 468881"/>
                <a:gd name="connsiteX31" fmla="*/ 151244 w 468731"/>
                <a:gd name="connsiteY31" fmla="*/ 453640 h 468881"/>
                <a:gd name="connsiteX32" fmla="*/ 157897 w 468731"/>
                <a:gd name="connsiteY32" fmla="*/ 456042 h 468881"/>
                <a:gd name="connsiteX33" fmla="*/ 164591 w 468731"/>
                <a:gd name="connsiteY33" fmla="*/ 458327 h 468881"/>
                <a:gd name="connsiteX34" fmla="*/ 171402 w 468731"/>
                <a:gd name="connsiteY34" fmla="*/ 460257 h 468881"/>
                <a:gd name="connsiteX35" fmla="*/ 178252 w 468731"/>
                <a:gd name="connsiteY35" fmla="*/ 462068 h 468881"/>
                <a:gd name="connsiteX36" fmla="*/ 192091 w 468731"/>
                <a:gd name="connsiteY36" fmla="*/ 465002 h 468881"/>
                <a:gd name="connsiteX37" fmla="*/ 199060 w 468731"/>
                <a:gd name="connsiteY37" fmla="*/ 466223 h 468881"/>
                <a:gd name="connsiteX38" fmla="*/ 206107 w 468731"/>
                <a:gd name="connsiteY38" fmla="*/ 467129 h 468881"/>
                <a:gd name="connsiteX39" fmla="*/ 220182 w 468731"/>
                <a:gd name="connsiteY39" fmla="*/ 468429 h 468881"/>
                <a:gd name="connsiteX40" fmla="*/ 234356 w 468731"/>
                <a:gd name="connsiteY40" fmla="*/ 468881 h 468881"/>
                <a:gd name="connsiteX41" fmla="*/ 248530 w 468731"/>
                <a:gd name="connsiteY41" fmla="*/ 468429 h 468881"/>
                <a:gd name="connsiteX42" fmla="*/ 262605 w 468731"/>
                <a:gd name="connsiteY42" fmla="*/ 467129 h 468881"/>
                <a:gd name="connsiteX43" fmla="*/ 297645 w 468731"/>
                <a:gd name="connsiteY43" fmla="*/ 460178 h 468881"/>
                <a:gd name="connsiteX44" fmla="*/ 331189 w 468731"/>
                <a:gd name="connsiteY44" fmla="*/ 447929 h 468881"/>
                <a:gd name="connsiteX45" fmla="*/ 353729 w 468731"/>
                <a:gd name="connsiteY45" fmla="*/ 436173 h 468881"/>
                <a:gd name="connsiteX46" fmla="*/ 367469 w 468731"/>
                <a:gd name="connsiteY46" fmla="*/ 427371 h 468881"/>
                <a:gd name="connsiteX47" fmla="*/ 409734 w 468731"/>
                <a:gd name="connsiteY47" fmla="*/ 389878 h 468881"/>
                <a:gd name="connsiteX48" fmla="*/ 441881 w 468731"/>
                <a:gd name="connsiteY48" fmla="*/ 343386 h 468881"/>
                <a:gd name="connsiteX49" fmla="*/ 445089 w 468731"/>
                <a:gd name="connsiteY49" fmla="*/ 337104 h 468881"/>
                <a:gd name="connsiteX50" fmla="*/ 448062 w 468731"/>
                <a:gd name="connsiteY50" fmla="*/ 330665 h 468881"/>
                <a:gd name="connsiteX51" fmla="*/ 453495 w 468731"/>
                <a:gd name="connsiteY51" fmla="*/ 317609 h 468881"/>
                <a:gd name="connsiteX52" fmla="*/ 455897 w 468731"/>
                <a:gd name="connsiteY52" fmla="*/ 310953 h 468881"/>
                <a:gd name="connsiteX53" fmla="*/ 458180 w 468731"/>
                <a:gd name="connsiteY53" fmla="*/ 304258 h 468881"/>
                <a:gd name="connsiteX54" fmla="*/ 460109 w 468731"/>
                <a:gd name="connsiteY54" fmla="*/ 297445 h 468881"/>
                <a:gd name="connsiteX55" fmla="*/ 461921 w 468731"/>
                <a:gd name="connsiteY55" fmla="*/ 290592 h 468881"/>
                <a:gd name="connsiteX56" fmla="*/ 468732 w 468731"/>
                <a:gd name="connsiteY56" fmla="*/ 234470 h 468881"/>
                <a:gd name="connsiteX57" fmla="*/ 461921 w 468731"/>
                <a:gd name="connsiteY57" fmla="*/ 178349 h 468881"/>
                <a:gd name="connsiteX58" fmla="*/ 460109 w 468731"/>
                <a:gd name="connsiteY58" fmla="*/ 171496 h 468881"/>
                <a:gd name="connsiteX59" fmla="*/ 442196 w 468731"/>
                <a:gd name="connsiteY59" fmla="*/ 285669 h 468881"/>
                <a:gd name="connsiteX60" fmla="*/ 440542 w 468731"/>
                <a:gd name="connsiteY60" fmla="*/ 291911 h 468881"/>
                <a:gd name="connsiteX61" fmla="*/ 438790 w 468731"/>
                <a:gd name="connsiteY61" fmla="*/ 298134 h 468881"/>
                <a:gd name="connsiteX62" fmla="*/ 436723 w 468731"/>
                <a:gd name="connsiteY62" fmla="*/ 304238 h 468881"/>
                <a:gd name="connsiteX63" fmla="*/ 434558 w 468731"/>
                <a:gd name="connsiteY63" fmla="*/ 310323 h 468881"/>
                <a:gd name="connsiteX64" fmla="*/ 429597 w 468731"/>
                <a:gd name="connsiteY64" fmla="*/ 322256 h 468881"/>
                <a:gd name="connsiteX65" fmla="*/ 426880 w 468731"/>
                <a:gd name="connsiteY65" fmla="*/ 328125 h 468881"/>
                <a:gd name="connsiteX66" fmla="*/ 423927 w 468731"/>
                <a:gd name="connsiteY66" fmla="*/ 333875 h 468881"/>
                <a:gd name="connsiteX67" fmla="*/ 355934 w 468731"/>
                <a:gd name="connsiteY67" fmla="*/ 410594 h 468881"/>
                <a:gd name="connsiteX68" fmla="*/ 260223 w 468731"/>
                <a:gd name="connsiteY68" fmla="*/ 446886 h 468881"/>
                <a:gd name="connsiteX69" fmla="*/ 247329 w 468731"/>
                <a:gd name="connsiteY69" fmla="*/ 448087 h 468881"/>
                <a:gd name="connsiteX70" fmla="*/ 234376 w 468731"/>
                <a:gd name="connsiteY70" fmla="*/ 448501 h 468881"/>
                <a:gd name="connsiteX71" fmla="*/ 221423 w 468731"/>
                <a:gd name="connsiteY71" fmla="*/ 448087 h 468881"/>
                <a:gd name="connsiteX72" fmla="*/ 208529 w 468731"/>
                <a:gd name="connsiteY72" fmla="*/ 446886 h 468881"/>
                <a:gd name="connsiteX73" fmla="*/ 202111 w 468731"/>
                <a:gd name="connsiteY73" fmla="*/ 446078 h 468881"/>
                <a:gd name="connsiteX74" fmla="*/ 195753 w 468731"/>
                <a:gd name="connsiteY74" fmla="*/ 444936 h 468881"/>
                <a:gd name="connsiteX75" fmla="*/ 183134 w 468731"/>
                <a:gd name="connsiteY75" fmla="*/ 442258 h 468881"/>
                <a:gd name="connsiteX76" fmla="*/ 176894 w 468731"/>
                <a:gd name="connsiteY76" fmla="*/ 440604 h 468881"/>
                <a:gd name="connsiteX77" fmla="*/ 170673 w 468731"/>
                <a:gd name="connsiteY77" fmla="*/ 438851 h 468881"/>
                <a:gd name="connsiteX78" fmla="*/ 164571 w 468731"/>
                <a:gd name="connsiteY78" fmla="*/ 436784 h 468881"/>
                <a:gd name="connsiteX79" fmla="*/ 158488 w 468731"/>
                <a:gd name="connsiteY79" fmla="*/ 434618 h 468881"/>
                <a:gd name="connsiteX80" fmla="*/ 112837 w 468731"/>
                <a:gd name="connsiteY80" fmla="*/ 410594 h 468881"/>
                <a:gd name="connsiteX81" fmla="*/ 74195 w 468731"/>
                <a:gd name="connsiteY81" fmla="*/ 376330 h 468881"/>
                <a:gd name="connsiteX82" fmla="*/ 26536 w 468731"/>
                <a:gd name="connsiteY82" fmla="*/ 285649 h 468881"/>
                <a:gd name="connsiteX83" fmla="*/ 20335 w 468731"/>
                <a:gd name="connsiteY83" fmla="*/ 234392 h 468881"/>
                <a:gd name="connsiteX84" fmla="*/ 26536 w 468731"/>
                <a:gd name="connsiteY84" fmla="*/ 183134 h 468881"/>
                <a:gd name="connsiteX85" fmla="*/ 74195 w 468731"/>
                <a:gd name="connsiteY85" fmla="*/ 92433 h 468881"/>
                <a:gd name="connsiteX86" fmla="*/ 158488 w 468731"/>
                <a:gd name="connsiteY86" fmla="*/ 34165 h 468881"/>
                <a:gd name="connsiteX87" fmla="*/ 164571 w 468731"/>
                <a:gd name="connsiteY87" fmla="*/ 31999 h 468881"/>
                <a:gd name="connsiteX88" fmla="*/ 170673 w 468731"/>
                <a:gd name="connsiteY88" fmla="*/ 29912 h 468881"/>
                <a:gd name="connsiteX89" fmla="*/ 176894 w 468731"/>
                <a:gd name="connsiteY89" fmla="*/ 28159 h 468881"/>
                <a:gd name="connsiteX90" fmla="*/ 183134 w 468731"/>
                <a:gd name="connsiteY90" fmla="*/ 26505 h 468881"/>
                <a:gd name="connsiteX91" fmla="*/ 195753 w 468731"/>
                <a:gd name="connsiteY91" fmla="*/ 23827 h 468881"/>
                <a:gd name="connsiteX92" fmla="*/ 202111 w 468731"/>
                <a:gd name="connsiteY92" fmla="*/ 22705 h 468881"/>
                <a:gd name="connsiteX93" fmla="*/ 208529 w 468731"/>
                <a:gd name="connsiteY93" fmla="*/ 21878 h 468881"/>
                <a:gd name="connsiteX94" fmla="*/ 221423 w 468731"/>
                <a:gd name="connsiteY94" fmla="*/ 20696 h 468881"/>
                <a:gd name="connsiteX95" fmla="*/ 234376 w 468731"/>
                <a:gd name="connsiteY95" fmla="*/ 20283 h 468881"/>
                <a:gd name="connsiteX96" fmla="*/ 247329 w 468731"/>
                <a:gd name="connsiteY96" fmla="*/ 20696 h 468881"/>
                <a:gd name="connsiteX97" fmla="*/ 260223 w 468731"/>
                <a:gd name="connsiteY97" fmla="*/ 21878 h 468881"/>
                <a:gd name="connsiteX98" fmla="*/ 310303 w 468731"/>
                <a:gd name="connsiteY98" fmla="*/ 34165 h 468881"/>
                <a:gd name="connsiteX99" fmla="*/ 355953 w 468731"/>
                <a:gd name="connsiteY99" fmla="*/ 58170 h 468881"/>
                <a:gd name="connsiteX100" fmla="*/ 423947 w 468731"/>
                <a:gd name="connsiteY100" fmla="*/ 134909 h 468881"/>
                <a:gd name="connsiteX101" fmla="*/ 426900 w 468731"/>
                <a:gd name="connsiteY101" fmla="*/ 140659 h 468881"/>
                <a:gd name="connsiteX102" fmla="*/ 429617 w 468731"/>
                <a:gd name="connsiteY102" fmla="*/ 146527 h 468881"/>
                <a:gd name="connsiteX103" fmla="*/ 434577 w 468731"/>
                <a:gd name="connsiteY103" fmla="*/ 158460 h 468881"/>
                <a:gd name="connsiteX104" fmla="*/ 436743 w 468731"/>
                <a:gd name="connsiteY104" fmla="*/ 164545 h 468881"/>
                <a:gd name="connsiteX105" fmla="*/ 438810 w 468731"/>
                <a:gd name="connsiteY105" fmla="*/ 170649 h 468881"/>
                <a:gd name="connsiteX106" fmla="*/ 440562 w 468731"/>
                <a:gd name="connsiteY106" fmla="*/ 176872 h 468881"/>
                <a:gd name="connsiteX107" fmla="*/ 442215 w 468731"/>
                <a:gd name="connsiteY107" fmla="*/ 183114 h 468881"/>
                <a:gd name="connsiteX108" fmla="*/ 448436 w 468731"/>
                <a:gd name="connsiteY108" fmla="*/ 234372 h 468881"/>
                <a:gd name="connsiteX109" fmla="*/ 442215 w 468731"/>
                <a:gd name="connsiteY109" fmla="*/ 285630 h 468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</a:cxnLst>
              <a:rect l="l" t="t" r="r" b="b"/>
              <a:pathLst>
                <a:path w="468731" h="468881">
                  <a:moveTo>
                    <a:pt x="460090" y="171437"/>
                  </a:moveTo>
                  <a:lnTo>
                    <a:pt x="458161" y="164623"/>
                  </a:lnTo>
                  <a:lnTo>
                    <a:pt x="455877" y="157909"/>
                  </a:lnTo>
                  <a:cubicBezTo>
                    <a:pt x="455129" y="155683"/>
                    <a:pt x="454401" y="153419"/>
                    <a:pt x="453475" y="151253"/>
                  </a:cubicBezTo>
                  <a:cubicBezTo>
                    <a:pt x="451763" y="146861"/>
                    <a:pt x="450090" y="142451"/>
                    <a:pt x="448042" y="138177"/>
                  </a:cubicBezTo>
                  <a:cubicBezTo>
                    <a:pt x="447038" y="136051"/>
                    <a:pt x="446153" y="133845"/>
                    <a:pt x="445070" y="131758"/>
                  </a:cubicBezTo>
                  <a:lnTo>
                    <a:pt x="441861" y="125456"/>
                  </a:lnTo>
                  <a:cubicBezTo>
                    <a:pt x="424321" y="92020"/>
                    <a:pt x="398514" y="62955"/>
                    <a:pt x="367450" y="41491"/>
                  </a:cubicBezTo>
                  <a:cubicBezTo>
                    <a:pt x="359713" y="36115"/>
                    <a:pt x="351623" y="31231"/>
                    <a:pt x="343315" y="26860"/>
                  </a:cubicBezTo>
                  <a:cubicBezTo>
                    <a:pt x="339929" y="25087"/>
                    <a:pt x="336504" y="23394"/>
                    <a:pt x="333040" y="21779"/>
                  </a:cubicBezTo>
                  <a:cubicBezTo>
                    <a:pt x="310815" y="11441"/>
                    <a:pt x="286975" y="4608"/>
                    <a:pt x="262605" y="1753"/>
                  </a:cubicBezTo>
                  <a:cubicBezTo>
                    <a:pt x="257939" y="1044"/>
                    <a:pt x="253215" y="847"/>
                    <a:pt x="248530" y="453"/>
                  </a:cubicBezTo>
                  <a:cubicBezTo>
                    <a:pt x="243825" y="118"/>
                    <a:pt x="239081" y="158"/>
                    <a:pt x="234356" y="0"/>
                  </a:cubicBezTo>
                  <a:cubicBezTo>
                    <a:pt x="229631" y="158"/>
                    <a:pt x="224907" y="118"/>
                    <a:pt x="220182" y="453"/>
                  </a:cubicBezTo>
                  <a:cubicBezTo>
                    <a:pt x="215497" y="847"/>
                    <a:pt x="210773" y="1024"/>
                    <a:pt x="206107" y="1753"/>
                  </a:cubicBezTo>
                  <a:lnTo>
                    <a:pt x="199060" y="2639"/>
                  </a:lnTo>
                  <a:lnTo>
                    <a:pt x="192091" y="3879"/>
                  </a:lnTo>
                  <a:cubicBezTo>
                    <a:pt x="187426" y="4588"/>
                    <a:pt x="182859" y="5750"/>
                    <a:pt x="178252" y="6813"/>
                  </a:cubicBezTo>
                  <a:cubicBezTo>
                    <a:pt x="175929" y="7286"/>
                    <a:pt x="173685" y="7995"/>
                    <a:pt x="171402" y="8625"/>
                  </a:cubicBezTo>
                  <a:lnTo>
                    <a:pt x="164591" y="10535"/>
                  </a:lnTo>
                  <a:lnTo>
                    <a:pt x="157897" y="12819"/>
                  </a:lnTo>
                  <a:cubicBezTo>
                    <a:pt x="155653" y="13587"/>
                    <a:pt x="153409" y="14316"/>
                    <a:pt x="151244" y="15222"/>
                  </a:cubicBezTo>
                  <a:cubicBezTo>
                    <a:pt x="145535" y="17368"/>
                    <a:pt x="139925" y="19771"/>
                    <a:pt x="134432" y="22390"/>
                  </a:cubicBezTo>
                  <a:cubicBezTo>
                    <a:pt x="130456" y="24241"/>
                    <a:pt x="126538" y="26249"/>
                    <a:pt x="122680" y="28356"/>
                  </a:cubicBezTo>
                  <a:cubicBezTo>
                    <a:pt x="98742" y="41372"/>
                    <a:pt x="77049" y="58583"/>
                    <a:pt x="58978" y="79023"/>
                  </a:cubicBezTo>
                  <a:cubicBezTo>
                    <a:pt x="33879" y="107261"/>
                    <a:pt x="15788" y="141643"/>
                    <a:pt x="6811" y="178329"/>
                  </a:cubicBezTo>
                  <a:cubicBezTo>
                    <a:pt x="2362" y="196662"/>
                    <a:pt x="59" y="215546"/>
                    <a:pt x="0" y="234451"/>
                  </a:cubicBezTo>
                  <a:cubicBezTo>
                    <a:pt x="59" y="253355"/>
                    <a:pt x="2362" y="272219"/>
                    <a:pt x="6811" y="290572"/>
                  </a:cubicBezTo>
                  <a:cubicBezTo>
                    <a:pt x="15788" y="327258"/>
                    <a:pt x="33879" y="361640"/>
                    <a:pt x="58978" y="389878"/>
                  </a:cubicBezTo>
                  <a:cubicBezTo>
                    <a:pt x="74667" y="407620"/>
                    <a:pt x="93053" y="422901"/>
                    <a:pt x="113290" y="435169"/>
                  </a:cubicBezTo>
                  <a:cubicBezTo>
                    <a:pt x="120475" y="439501"/>
                    <a:pt x="127877" y="443459"/>
                    <a:pt x="135476" y="446984"/>
                  </a:cubicBezTo>
                  <a:cubicBezTo>
                    <a:pt x="140633" y="449426"/>
                    <a:pt x="145909" y="451632"/>
                    <a:pt x="151244" y="453640"/>
                  </a:cubicBezTo>
                  <a:cubicBezTo>
                    <a:pt x="153409" y="454566"/>
                    <a:pt x="155673" y="455294"/>
                    <a:pt x="157897" y="456042"/>
                  </a:cubicBezTo>
                  <a:lnTo>
                    <a:pt x="164591" y="458327"/>
                  </a:lnTo>
                  <a:lnTo>
                    <a:pt x="171402" y="460257"/>
                  </a:lnTo>
                  <a:cubicBezTo>
                    <a:pt x="173685" y="460887"/>
                    <a:pt x="175929" y="461596"/>
                    <a:pt x="178252" y="462068"/>
                  </a:cubicBezTo>
                  <a:cubicBezTo>
                    <a:pt x="182859" y="463112"/>
                    <a:pt x="187426" y="464274"/>
                    <a:pt x="192091" y="465002"/>
                  </a:cubicBezTo>
                  <a:lnTo>
                    <a:pt x="199060" y="466223"/>
                  </a:lnTo>
                  <a:lnTo>
                    <a:pt x="206107" y="467129"/>
                  </a:lnTo>
                  <a:cubicBezTo>
                    <a:pt x="210773" y="467838"/>
                    <a:pt x="215497" y="468015"/>
                    <a:pt x="220182" y="468429"/>
                  </a:cubicBezTo>
                  <a:cubicBezTo>
                    <a:pt x="224887" y="468744"/>
                    <a:pt x="229612" y="468704"/>
                    <a:pt x="234356" y="468881"/>
                  </a:cubicBezTo>
                  <a:cubicBezTo>
                    <a:pt x="239061" y="468704"/>
                    <a:pt x="243805" y="468744"/>
                    <a:pt x="248530" y="468429"/>
                  </a:cubicBezTo>
                  <a:cubicBezTo>
                    <a:pt x="253215" y="468015"/>
                    <a:pt x="257939" y="467858"/>
                    <a:pt x="262605" y="467129"/>
                  </a:cubicBezTo>
                  <a:cubicBezTo>
                    <a:pt x="274436" y="465731"/>
                    <a:pt x="286168" y="463427"/>
                    <a:pt x="297645" y="460178"/>
                  </a:cubicBezTo>
                  <a:cubicBezTo>
                    <a:pt x="309122" y="456968"/>
                    <a:pt x="320323" y="452872"/>
                    <a:pt x="331189" y="447929"/>
                  </a:cubicBezTo>
                  <a:cubicBezTo>
                    <a:pt x="338906" y="444444"/>
                    <a:pt x="346426" y="440506"/>
                    <a:pt x="353729" y="436173"/>
                  </a:cubicBezTo>
                  <a:cubicBezTo>
                    <a:pt x="358414" y="433397"/>
                    <a:pt x="363001" y="430463"/>
                    <a:pt x="367469" y="427371"/>
                  </a:cubicBezTo>
                  <a:cubicBezTo>
                    <a:pt x="383001" y="416639"/>
                    <a:pt x="397214" y="403997"/>
                    <a:pt x="409734" y="389878"/>
                  </a:cubicBezTo>
                  <a:cubicBezTo>
                    <a:pt x="422254" y="375759"/>
                    <a:pt x="433121" y="360124"/>
                    <a:pt x="441881" y="343386"/>
                  </a:cubicBezTo>
                  <a:lnTo>
                    <a:pt x="445089" y="337104"/>
                  </a:lnTo>
                  <a:cubicBezTo>
                    <a:pt x="446172" y="334997"/>
                    <a:pt x="447058" y="332811"/>
                    <a:pt x="448062" y="330665"/>
                  </a:cubicBezTo>
                  <a:cubicBezTo>
                    <a:pt x="450090" y="326411"/>
                    <a:pt x="451783" y="322000"/>
                    <a:pt x="453495" y="317609"/>
                  </a:cubicBezTo>
                  <a:cubicBezTo>
                    <a:pt x="454420" y="315423"/>
                    <a:pt x="455149" y="313178"/>
                    <a:pt x="455897" y="310953"/>
                  </a:cubicBezTo>
                  <a:lnTo>
                    <a:pt x="458180" y="304258"/>
                  </a:lnTo>
                  <a:lnTo>
                    <a:pt x="460109" y="297445"/>
                  </a:lnTo>
                  <a:cubicBezTo>
                    <a:pt x="460739" y="295160"/>
                    <a:pt x="461448" y="292916"/>
                    <a:pt x="461921" y="290592"/>
                  </a:cubicBezTo>
                  <a:cubicBezTo>
                    <a:pt x="466369" y="272259"/>
                    <a:pt x="468673" y="253374"/>
                    <a:pt x="468732" y="234470"/>
                  </a:cubicBezTo>
                  <a:cubicBezTo>
                    <a:pt x="468673" y="215566"/>
                    <a:pt x="466369" y="196701"/>
                    <a:pt x="461921" y="178349"/>
                  </a:cubicBezTo>
                  <a:cubicBezTo>
                    <a:pt x="461448" y="176025"/>
                    <a:pt x="460739" y="173780"/>
                    <a:pt x="460109" y="171496"/>
                  </a:cubicBezTo>
                  <a:close/>
                  <a:moveTo>
                    <a:pt x="442196" y="285669"/>
                  </a:moveTo>
                  <a:cubicBezTo>
                    <a:pt x="441782" y="287776"/>
                    <a:pt x="441133" y="289844"/>
                    <a:pt x="440542" y="291911"/>
                  </a:cubicBezTo>
                  <a:lnTo>
                    <a:pt x="438790" y="298134"/>
                  </a:lnTo>
                  <a:lnTo>
                    <a:pt x="436723" y="304238"/>
                  </a:lnTo>
                  <a:cubicBezTo>
                    <a:pt x="436054" y="306267"/>
                    <a:pt x="435384" y="308334"/>
                    <a:pt x="434558" y="310323"/>
                  </a:cubicBezTo>
                  <a:cubicBezTo>
                    <a:pt x="432963" y="314340"/>
                    <a:pt x="431447" y="318357"/>
                    <a:pt x="429597" y="322256"/>
                  </a:cubicBezTo>
                  <a:cubicBezTo>
                    <a:pt x="428672" y="324186"/>
                    <a:pt x="427884" y="326214"/>
                    <a:pt x="426880" y="328125"/>
                  </a:cubicBezTo>
                  <a:lnTo>
                    <a:pt x="423927" y="333875"/>
                  </a:lnTo>
                  <a:cubicBezTo>
                    <a:pt x="407923" y="364417"/>
                    <a:pt x="384320" y="390981"/>
                    <a:pt x="355934" y="410594"/>
                  </a:cubicBezTo>
                  <a:cubicBezTo>
                    <a:pt x="327567" y="430246"/>
                    <a:pt x="294476" y="442888"/>
                    <a:pt x="260223" y="446886"/>
                  </a:cubicBezTo>
                  <a:cubicBezTo>
                    <a:pt x="255951" y="447555"/>
                    <a:pt x="251640" y="447693"/>
                    <a:pt x="247329" y="448087"/>
                  </a:cubicBezTo>
                  <a:cubicBezTo>
                    <a:pt x="243018" y="448382"/>
                    <a:pt x="238687" y="448323"/>
                    <a:pt x="234376" y="448501"/>
                  </a:cubicBezTo>
                  <a:cubicBezTo>
                    <a:pt x="230065" y="448323"/>
                    <a:pt x="225734" y="448382"/>
                    <a:pt x="221423" y="448087"/>
                  </a:cubicBezTo>
                  <a:cubicBezTo>
                    <a:pt x="217111" y="447693"/>
                    <a:pt x="212800" y="447575"/>
                    <a:pt x="208529" y="446886"/>
                  </a:cubicBezTo>
                  <a:lnTo>
                    <a:pt x="202111" y="446078"/>
                  </a:lnTo>
                  <a:lnTo>
                    <a:pt x="195753" y="444936"/>
                  </a:lnTo>
                  <a:cubicBezTo>
                    <a:pt x="191481" y="444306"/>
                    <a:pt x="187308" y="443223"/>
                    <a:pt x="183134" y="442258"/>
                  </a:cubicBezTo>
                  <a:cubicBezTo>
                    <a:pt x="181028" y="441845"/>
                    <a:pt x="178961" y="441195"/>
                    <a:pt x="176894" y="440604"/>
                  </a:cubicBezTo>
                  <a:lnTo>
                    <a:pt x="170673" y="438851"/>
                  </a:lnTo>
                  <a:lnTo>
                    <a:pt x="164571" y="436784"/>
                  </a:lnTo>
                  <a:cubicBezTo>
                    <a:pt x="162524" y="436114"/>
                    <a:pt x="160457" y="435445"/>
                    <a:pt x="158488" y="434618"/>
                  </a:cubicBezTo>
                  <a:cubicBezTo>
                    <a:pt x="142366" y="428513"/>
                    <a:pt x="127031" y="420400"/>
                    <a:pt x="112837" y="410594"/>
                  </a:cubicBezTo>
                  <a:cubicBezTo>
                    <a:pt x="98624" y="400768"/>
                    <a:pt x="85632" y="389268"/>
                    <a:pt x="74195" y="376330"/>
                  </a:cubicBezTo>
                  <a:cubicBezTo>
                    <a:pt x="51261" y="350534"/>
                    <a:pt x="34745" y="319125"/>
                    <a:pt x="26536" y="285649"/>
                  </a:cubicBezTo>
                  <a:cubicBezTo>
                    <a:pt x="22481" y="268911"/>
                    <a:pt x="20394" y="251681"/>
                    <a:pt x="20335" y="234392"/>
                  </a:cubicBezTo>
                  <a:cubicBezTo>
                    <a:pt x="20394" y="217082"/>
                    <a:pt x="22481" y="199872"/>
                    <a:pt x="26536" y="183134"/>
                  </a:cubicBezTo>
                  <a:cubicBezTo>
                    <a:pt x="34725" y="149658"/>
                    <a:pt x="51261" y="118249"/>
                    <a:pt x="74195" y="92433"/>
                  </a:cubicBezTo>
                  <a:cubicBezTo>
                    <a:pt x="97050" y="66578"/>
                    <a:pt x="126263" y="46374"/>
                    <a:pt x="158488" y="34165"/>
                  </a:cubicBezTo>
                  <a:cubicBezTo>
                    <a:pt x="160457" y="33319"/>
                    <a:pt x="162524" y="32669"/>
                    <a:pt x="164571" y="31999"/>
                  </a:cubicBezTo>
                  <a:lnTo>
                    <a:pt x="170673" y="29912"/>
                  </a:lnTo>
                  <a:lnTo>
                    <a:pt x="176894" y="28159"/>
                  </a:lnTo>
                  <a:cubicBezTo>
                    <a:pt x="178961" y="27588"/>
                    <a:pt x="181028" y="26938"/>
                    <a:pt x="183134" y="26505"/>
                  </a:cubicBezTo>
                  <a:cubicBezTo>
                    <a:pt x="187327" y="25560"/>
                    <a:pt x="191501" y="24497"/>
                    <a:pt x="195753" y="23827"/>
                  </a:cubicBezTo>
                  <a:lnTo>
                    <a:pt x="202111" y="22705"/>
                  </a:lnTo>
                  <a:lnTo>
                    <a:pt x="208529" y="21878"/>
                  </a:lnTo>
                  <a:cubicBezTo>
                    <a:pt x="212800" y="21228"/>
                    <a:pt x="217111" y="21070"/>
                    <a:pt x="221423" y="20696"/>
                  </a:cubicBezTo>
                  <a:cubicBezTo>
                    <a:pt x="225734" y="20401"/>
                    <a:pt x="230065" y="20440"/>
                    <a:pt x="234376" y="20283"/>
                  </a:cubicBezTo>
                  <a:cubicBezTo>
                    <a:pt x="238687" y="20440"/>
                    <a:pt x="243018" y="20401"/>
                    <a:pt x="247329" y="20696"/>
                  </a:cubicBezTo>
                  <a:cubicBezTo>
                    <a:pt x="251640" y="21070"/>
                    <a:pt x="255951" y="21208"/>
                    <a:pt x="260223" y="21878"/>
                  </a:cubicBezTo>
                  <a:cubicBezTo>
                    <a:pt x="277330" y="23886"/>
                    <a:pt x="294180" y="28061"/>
                    <a:pt x="310303" y="34165"/>
                  </a:cubicBezTo>
                  <a:cubicBezTo>
                    <a:pt x="326406" y="40289"/>
                    <a:pt x="341760" y="48363"/>
                    <a:pt x="355953" y="58170"/>
                  </a:cubicBezTo>
                  <a:cubicBezTo>
                    <a:pt x="384340" y="77783"/>
                    <a:pt x="407943" y="104367"/>
                    <a:pt x="423947" y="134909"/>
                  </a:cubicBezTo>
                  <a:lnTo>
                    <a:pt x="426900" y="140659"/>
                  </a:lnTo>
                  <a:cubicBezTo>
                    <a:pt x="427904" y="142569"/>
                    <a:pt x="428691" y="144577"/>
                    <a:pt x="429617" y="146527"/>
                  </a:cubicBezTo>
                  <a:cubicBezTo>
                    <a:pt x="431467" y="150426"/>
                    <a:pt x="432983" y="154443"/>
                    <a:pt x="434577" y="158460"/>
                  </a:cubicBezTo>
                  <a:cubicBezTo>
                    <a:pt x="435424" y="160429"/>
                    <a:pt x="436074" y="162497"/>
                    <a:pt x="436743" y="164545"/>
                  </a:cubicBezTo>
                  <a:lnTo>
                    <a:pt x="438810" y="170649"/>
                  </a:lnTo>
                  <a:lnTo>
                    <a:pt x="440562" y="176872"/>
                  </a:lnTo>
                  <a:cubicBezTo>
                    <a:pt x="441152" y="178939"/>
                    <a:pt x="441802" y="181007"/>
                    <a:pt x="442215" y="183114"/>
                  </a:cubicBezTo>
                  <a:cubicBezTo>
                    <a:pt x="446290" y="199852"/>
                    <a:pt x="448377" y="217082"/>
                    <a:pt x="448436" y="234372"/>
                  </a:cubicBezTo>
                  <a:cubicBezTo>
                    <a:pt x="448377" y="251681"/>
                    <a:pt x="446290" y="268892"/>
                    <a:pt x="442215" y="285630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474" name="Freeform 7">
              <a:extLst>
                <a:ext uri="{FF2B5EF4-FFF2-40B4-BE49-F238E27FC236}">
                  <a16:creationId xmlns:a16="http://schemas.microsoft.com/office/drawing/2014/main" id="{0309055B-52F2-7761-7CFC-6A9BA0FF79AA}"/>
                </a:ext>
              </a:extLst>
            </p:cNvPr>
            <p:cNvSpPr/>
            <p:nvPr/>
          </p:nvSpPr>
          <p:spPr>
            <a:xfrm>
              <a:off x="4092928" y="5334722"/>
              <a:ext cx="56087" cy="80077"/>
            </a:xfrm>
            <a:custGeom>
              <a:avLst/>
              <a:gdLst>
                <a:gd name="connsiteX0" fmla="*/ 174622 w 212135"/>
                <a:gd name="connsiteY0" fmla="*/ 103768 h 302871"/>
                <a:gd name="connsiteX1" fmla="*/ 11173 w 212135"/>
                <a:gd name="connsiteY1" fmla="*/ 90 h 302871"/>
                <a:gd name="connsiteX2" fmla="*/ 90 w 212135"/>
                <a:gd name="connsiteY2" fmla="*/ 8518 h 302871"/>
                <a:gd name="connsiteX3" fmla="*/ 8516 w 212135"/>
                <a:gd name="connsiteY3" fmla="*/ 19605 h 302871"/>
                <a:gd name="connsiteX4" fmla="*/ 158125 w 212135"/>
                <a:gd name="connsiteY4" fmla="*/ 114500 h 302871"/>
                <a:gd name="connsiteX5" fmla="*/ 183835 w 212135"/>
                <a:gd name="connsiteY5" fmla="*/ 290269 h 302871"/>
                <a:gd name="connsiteX6" fmla="*/ 190508 w 212135"/>
                <a:gd name="connsiteY6" fmla="*/ 302478 h 302871"/>
                <a:gd name="connsiteX7" fmla="*/ 193284 w 212135"/>
                <a:gd name="connsiteY7" fmla="*/ 302871 h 302871"/>
                <a:gd name="connsiteX8" fmla="*/ 202733 w 212135"/>
                <a:gd name="connsiteY8" fmla="*/ 295782 h 302871"/>
                <a:gd name="connsiteX9" fmla="*/ 174642 w 212135"/>
                <a:gd name="connsiteY9" fmla="*/ 103768 h 302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2135" h="302871">
                  <a:moveTo>
                    <a:pt x="174622" y="103768"/>
                  </a:moveTo>
                  <a:cubicBezTo>
                    <a:pt x="137790" y="47055"/>
                    <a:pt x="78222" y="9267"/>
                    <a:pt x="11173" y="90"/>
                  </a:cubicBezTo>
                  <a:cubicBezTo>
                    <a:pt x="5760" y="-638"/>
                    <a:pt x="819" y="3123"/>
                    <a:pt x="90" y="8518"/>
                  </a:cubicBezTo>
                  <a:cubicBezTo>
                    <a:pt x="-638" y="13914"/>
                    <a:pt x="3122" y="18876"/>
                    <a:pt x="8516" y="19605"/>
                  </a:cubicBezTo>
                  <a:cubicBezTo>
                    <a:pt x="69895" y="27994"/>
                    <a:pt x="124424" y="62592"/>
                    <a:pt x="158125" y="114500"/>
                  </a:cubicBezTo>
                  <a:cubicBezTo>
                    <a:pt x="191925" y="166565"/>
                    <a:pt x="201315" y="230622"/>
                    <a:pt x="183835" y="290269"/>
                  </a:cubicBezTo>
                  <a:cubicBezTo>
                    <a:pt x="182299" y="295487"/>
                    <a:pt x="185291" y="300961"/>
                    <a:pt x="190508" y="302478"/>
                  </a:cubicBezTo>
                  <a:cubicBezTo>
                    <a:pt x="191433" y="302753"/>
                    <a:pt x="192359" y="302871"/>
                    <a:pt x="193284" y="302871"/>
                  </a:cubicBezTo>
                  <a:cubicBezTo>
                    <a:pt x="197536" y="302871"/>
                    <a:pt x="201473" y="300075"/>
                    <a:pt x="202733" y="295782"/>
                  </a:cubicBezTo>
                  <a:cubicBezTo>
                    <a:pt x="221808" y="230622"/>
                    <a:pt x="211572" y="160638"/>
                    <a:pt x="174642" y="103768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475" name="Freeform 8">
              <a:extLst>
                <a:ext uri="{FF2B5EF4-FFF2-40B4-BE49-F238E27FC236}">
                  <a16:creationId xmlns:a16="http://schemas.microsoft.com/office/drawing/2014/main" id="{7D56897A-5B06-F706-C950-386FD9C03F75}"/>
                </a:ext>
              </a:extLst>
            </p:cNvPr>
            <p:cNvSpPr/>
            <p:nvPr/>
          </p:nvSpPr>
          <p:spPr>
            <a:xfrm>
              <a:off x="4090763" y="5350633"/>
              <a:ext cx="42215" cy="59658"/>
            </a:xfrm>
            <a:custGeom>
              <a:avLst/>
              <a:gdLst>
                <a:gd name="connsiteX0" fmla="*/ 11173 w 159669"/>
                <a:gd name="connsiteY0" fmla="*/ 90 h 225640"/>
                <a:gd name="connsiteX1" fmla="*/ 90 w 159669"/>
                <a:gd name="connsiteY1" fmla="*/ 8518 h 225640"/>
                <a:gd name="connsiteX2" fmla="*/ 8516 w 159669"/>
                <a:gd name="connsiteY2" fmla="*/ 19605 h 225640"/>
                <a:gd name="connsiteX3" fmla="*/ 115447 w 159669"/>
                <a:gd name="connsiteY3" fmla="*/ 87423 h 225640"/>
                <a:gd name="connsiteX4" fmla="*/ 133814 w 159669"/>
                <a:gd name="connsiteY4" fmla="*/ 213037 h 225640"/>
                <a:gd name="connsiteX5" fmla="*/ 140487 w 159669"/>
                <a:gd name="connsiteY5" fmla="*/ 225246 h 225640"/>
                <a:gd name="connsiteX6" fmla="*/ 143263 w 159669"/>
                <a:gd name="connsiteY6" fmla="*/ 225640 h 225640"/>
                <a:gd name="connsiteX7" fmla="*/ 152712 w 159669"/>
                <a:gd name="connsiteY7" fmla="*/ 218571 h 225640"/>
                <a:gd name="connsiteX8" fmla="*/ 131963 w 159669"/>
                <a:gd name="connsiteY8" fmla="*/ 76691 h 225640"/>
                <a:gd name="connsiteX9" fmla="*/ 11193 w 159669"/>
                <a:gd name="connsiteY9" fmla="*/ 90 h 225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9669" h="225640">
                  <a:moveTo>
                    <a:pt x="11173" y="90"/>
                  </a:moveTo>
                  <a:cubicBezTo>
                    <a:pt x="5779" y="-638"/>
                    <a:pt x="819" y="3123"/>
                    <a:pt x="90" y="8518"/>
                  </a:cubicBezTo>
                  <a:cubicBezTo>
                    <a:pt x="-638" y="13914"/>
                    <a:pt x="3122" y="18876"/>
                    <a:pt x="8516" y="19605"/>
                  </a:cubicBezTo>
                  <a:cubicBezTo>
                    <a:pt x="52375" y="25591"/>
                    <a:pt x="91352" y="50304"/>
                    <a:pt x="115447" y="87423"/>
                  </a:cubicBezTo>
                  <a:cubicBezTo>
                    <a:pt x="139621" y="124641"/>
                    <a:pt x="146314" y="170424"/>
                    <a:pt x="133814" y="213037"/>
                  </a:cubicBezTo>
                  <a:cubicBezTo>
                    <a:pt x="132279" y="218256"/>
                    <a:pt x="135271" y="223730"/>
                    <a:pt x="140487" y="225246"/>
                  </a:cubicBezTo>
                  <a:cubicBezTo>
                    <a:pt x="141413" y="225522"/>
                    <a:pt x="142338" y="225640"/>
                    <a:pt x="143263" y="225640"/>
                  </a:cubicBezTo>
                  <a:cubicBezTo>
                    <a:pt x="147515" y="225640"/>
                    <a:pt x="151452" y="222864"/>
                    <a:pt x="152712" y="218571"/>
                  </a:cubicBezTo>
                  <a:cubicBezTo>
                    <a:pt x="166827" y="170444"/>
                    <a:pt x="159248" y="118733"/>
                    <a:pt x="131963" y="76691"/>
                  </a:cubicBezTo>
                  <a:cubicBezTo>
                    <a:pt x="104758" y="34787"/>
                    <a:pt x="60722" y="6864"/>
                    <a:pt x="11193" y="90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476" name="Freeform 9">
              <a:extLst>
                <a:ext uri="{FF2B5EF4-FFF2-40B4-BE49-F238E27FC236}">
                  <a16:creationId xmlns:a16="http://schemas.microsoft.com/office/drawing/2014/main" id="{37E484B1-6C50-124F-5852-A2F0D0AE5429}"/>
                </a:ext>
              </a:extLst>
            </p:cNvPr>
            <p:cNvSpPr/>
            <p:nvPr/>
          </p:nvSpPr>
          <p:spPr>
            <a:xfrm>
              <a:off x="4088647" y="5366224"/>
              <a:ext cx="28277" cy="39652"/>
            </a:xfrm>
            <a:custGeom>
              <a:avLst/>
              <a:gdLst>
                <a:gd name="connsiteX0" fmla="*/ 11714 w 106952"/>
                <a:gd name="connsiteY0" fmla="*/ 178 h 149974"/>
                <a:gd name="connsiteX1" fmla="*/ 178 w 106952"/>
                <a:gd name="connsiteY1" fmla="*/ 7976 h 149974"/>
                <a:gd name="connsiteX2" fmla="*/ 7974 w 106952"/>
                <a:gd name="connsiteY2" fmla="*/ 19516 h 149974"/>
                <a:gd name="connsiteX3" fmla="*/ 71440 w 106952"/>
                <a:gd name="connsiteY3" fmla="*/ 62286 h 149974"/>
                <a:gd name="connsiteX4" fmla="*/ 84649 w 106952"/>
                <a:gd name="connsiteY4" fmla="*/ 137883 h 149974"/>
                <a:gd name="connsiteX5" fmla="*/ 91992 w 106952"/>
                <a:gd name="connsiteY5" fmla="*/ 149718 h 149974"/>
                <a:gd name="connsiteX6" fmla="*/ 94236 w 106952"/>
                <a:gd name="connsiteY6" fmla="*/ 149974 h 149974"/>
                <a:gd name="connsiteX7" fmla="*/ 103803 w 106952"/>
                <a:gd name="connsiteY7" fmla="*/ 142373 h 149974"/>
                <a:gd name="connsiteX8" fmla="*/ 87936 w 106952"/>
                <a:gd name="connsiteY8" fmla="*/ 51574 h 149974"/>
                <a:gd name="connsiteX9" fmla="*/ 11694 w 106952"/>
                <a:gd name="connsiteY9" fmla="*/ 198 h 149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6952" h="149974">
                  <a:moveTo>
                    <a:pt x="11714" y="178"/>
                  </a:moveTo>
                  <a:cubicBezTo>
                    <a:pt x="6379" y="-845"/>
                    <a:pt x="1222" y="2640"/>
                    <a:pt x="178" y="7976"/>
                  </a:cubicBezTo>
                  <a:cubicBezTo>
                    <a:pt x="-845" y="13313"/>
                    <a:pt x="2639" y="18472"/>
                    <a:pt x="7974" y="19516"/>
                  </a:cubicBezTo>
                  <a:cubicBezTo>
                    <a:pt x="34293" y="24596"/>
                    <a:pt x="56833" y="39798"/>
                    <a:pt x="71440" y="62286"/>
                  </a:cubicBezTo>
                  <a:cubicBezTo>
                    <a:pt x="86086" y="84834"/>
                    <a:pt x="90791" y="111693"/>
                    <a:pt x="84649" y="137883"/>
                  </a:cubicBezTo>
                  <a:cubicBezTo>
                    <a:pt x="83409" y="143180"/>
                    <a:pt x="86696" y="148477"/>
                    <a:pt x="91992" y="149718"/>
                  </a:cubicBezTo>
                  <a:cubicBezTo>
                    <a:pt x="92740" y="149895"/>
                    <a:pt x="93507" y="149974"/>
                    <a:pt x="94236" y="149974"/>
                  </a:cubicBezTo>
                  <a:cubicBezTo>
                    <a:pt x="98704" y="149974"/>
                    <a:pt x="102760" y="146902"/>
                    <a:pt x="103803" y="142373"/>
                  </a:cubicBezTo>
                  <a:cubicBezTo>
                    <a:pt x="111165" y="110906"/>
                    <a:pt x="105516" y="78670"/>
                    <a:pt x="87936" y="51574"/>
                  </a:cubicBezTo>
                  <a:cubicBezTo>
                    <a:pt x="70397" y="24557"/>
                    <a:pt x="43309" y="6322"/>
                    <a:pt x="11694" y="198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477" name="Freeform 19">
              <a:extLst>
                <a:ext uri="{FF2B5EF4-FFF2-40B4-BE49-F238E27FC236}">
                  <a16:creationId xmlns:a16="http://schemas.microsoft.com/office/drawing/2014/main" id="{86F8EAF2-B722-49A1-DC19-E2380D5025BE}"/>
                </a:ext>
              </a:extLst>
            </p:cNvPr>
            <p:cNvSpPr/>
            <p:nvPr/>
          </p:nvSpPr>
          <p:spPr>
            <a:xfrm>
              <a:off x="3930397" y="5661090"/>
              <a:ext cx="61444" cy="18458"/>
            </a:xfrm>
            <a:custGeom>
              <a:avLst/>
              <a:gdLst>
                <a:gd name="connsiteX0" fmla="*/ 215029 w 232397"/>
                <a:gd name="connsiteY0" fmla="*/ 66310 h 69814"/>
                <a:gd name="connsiteX1" fmla="*/ 222569 w 232397"/>
                <a:gd name="connsiteY1" fmla="*/ 69815 h 69814"/>
                <a:gd name="connsiteX2" fmla="*/ 228888 w 232397"/>
                <a:gd name="connsiteY2" fmla="*/ 67511 h 69814"/>
                <a:gd name="connsiteX3" fmla="*/ 230089 w 232397"/>
                <a:gd name="connsiteY3" fmla="*/ 53648 h 69814"/>
                <a:gd name="connsiteX4" fmla="*/ 116759 w 232397"/>
                <a:gd name="connsiteY4" fmla="*/ 7 h 69814"/>
                <a:gd name="connsiteX5" fmla="*/ 2465 w 232397"/>
                <a:gd name="connsiteY5" fmla="*/ 50852 h 69814"/>
                <a:gd name="connsiteX6" fmla="*/ 3331 w 232397"/>
                <a:gd name="connsiteY6" fmla="*/ 64754 h 69814"/>
                <a:gd name="connsiteX7" fmla="*/ 17229 w 232397"/>
                <a:gd name="connsiteY7" fmla="*/ 63888 h 69814"/>
                <a:gd name="connsiteX8" fmla="*/ 115066 w 232397"/>
                <a:gd name="connsiteY8" fmla="*/ 19699 h 69814"/>
                <a:gd name="connsiteX9" fmla="*/ 116543 w 232397"/>
                <a:gd name="connsiteY9" fmla="*/ 19699 h 69814"/>
                <a:gd name="connsiteX10" fmla="*/ 215010 w 232397"/>
                <a:gd name="connsiteY10" fmla="*/ 66310 h 69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2397" h="69814">
                  <a:moveTo>
                    <a:pt x="215029" y="66310"/>
                  </a:moveTo>
                  <a:cubicBezTo>
                    <a:pt x="216978" y="68633"/>
                    <a:pt x="219774" y="69815"/>
                    <a:pt x="222569" y="69815"/>
                  </a:cubicBezTo>
                  <a:cubicBezTo>
                    <a:pt x="224793" y="69815"/>
                    <a:pt x="227057" y="69067"/>
                    <a:pt x="228888" y="67511"/>
                  </a:cubicBezTo>
                  <a:cubicBezTo>
                    <a:pt x="233042" y="64006"/>
                    <a:pt x="233593" y="57803"/>
                    <a:pt x="230089" y="53648"/>
                  </a:cubicBezTo>
                  <a:cubicBezTo>
                    <a:pt x="201880" y="20054"/>
                    <a:pt x="160579" y="500"/>
                    <a:pt x="116759" y="7"/>
                  </a:cubicBezTo>
                  <a:cubicBezTo>
                    <a:pt x="73117" y="-426"/>
                    <a:pt x="31423" y="18045"/>
                    <a:pt x="2465" y="50852"/>
                  </a:cubicBezTo>
                  <a:cubicBezTo>
                    <a:pt x="-1137" y="54928"/>
                    <a:pt x="-743" y="61150"/>
                    <a:pt x="3331" y="64754"/>
                  </a:cubicBezTo>
                  <a:cubicBezTo>
                    <a:pt x="7406" y="68358"/>
                    <a:pt x="13627" y="67964"/>
                    <a:pt x="17229" y="63888"/>
                  </a:cubicBezTo>
                  <a:cubicBezTo>
                    <a:pt x="42053" y="35748"/>
                    <a:pt x="77644" y="19699"/>
                    <a:pt x="115066" y="19699"/>
                  </a:cubicBezTo>
                  <a:cubicBezTo>
                    <a:pt x="115559" y="19699"/>
                    <a:pt x="116051" y="19699"/>
                    <a:pt x="116543" y="19699"/>
                  </a:cubicBezTo>
                  <a:cubicBezTo>
                    <a:pt x="154615" y="20133"/>
                    <a:pt x="190501" y="37107"/>
                    <a:pt x="215010" y="66310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478" name="Freeform 20">
              <a:extLst>
                <a:ext uri="{FF2B5EF4-FFF2-40B4-BE49-F238E27FC236}">
                  <a16:creationId xmlns:a16="http://schemas.microsoft.com/office/drawing/2014/main" id="{74ED198C-2C14-2577-231B-E3E9D6239692}"/>
                </a:ext>
              </a:extLst>
            </p:cNvPr>
            <p:cNvSpPr/>
            <p:nvPr/>
          </p:nvSpPr>
          <p:spPr>
            <a:xfrm>
              <a:off x="3938069" y="5671211"/>
              <a:ext cx="46107" cy="14845"/>
            </a:xfrm>
            <a:custGeom>
              <a:avLst/>
              <a:gdLst>
                <a:gd name="connsiteX0" fmla="*/ 157016 w 174390"/>
                <a:gd name="connsiteY0" fmla="*/ 52622 h 56146"/>
                <a:gd name="connsiteX1" fmla="*/ 164556 w 174390"/>
                <a:gd name="connsiteY1" fmla="*/ 56147 h 56146"/>
                <a:gd name="connsiteX2" fmla="*/ 170875 w 174390"/>
                <a:gd name="connsiteY2" fmla="*/ 53843 h 56146"/>
                <a:gd name="connsiteX3" fmla="*/ 172076 w 174390"/>
                <a:gd name="connsiteY3" fmla="*/ 39980 h 56146"/>
                <a:gd name="connsiteX4" fmla="*/ 87625 w 174390"/>
                <a:gd name="connsiteY4" fmla="*/ 5 h 56146"/>
                <a:gd name="connsiteX5" fmla="*/ 2465 w 174390"/>
                <a:gd name="connsiteY5" fmla="*/ 37892 h 56146"/>
                <a:gd name="connsiteX6" fmla="*/ 3331 w 174390"/>
                <a:gd name="connsiteY6" fmla="*/ 51795 h 56146"/>
                <a:gd name="connsiteX7" fmla="*/ 17229 w 174390"/>
                <a:gd name="connsiteY7" fmla="*/ 50928 h 56146"/>
                <a:gd name="connsiteX8" fmla="*/ 86365 w 174390"/>
                <a:gd name="connsiteY8" fmla="*/ 19697 h 56146"/>
                <a:gd name="connsiteX9" fmla="*/ 87408 w 174390"/>
                <a:gd name="connsiteY9" fmla="*/ 19697 h 56146"/>
                <a:gd name="connsiteX10" fmla="*/ 156997 w 174390"/>
                <a:gd name="connsiteY10" fmla="*/ 52641 h 5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4390" h="56146">
                  <a:moveTo>
                    <a:pt x="157016" y="52622"/>
                  </a:moveTo>
                  <a:cubicBezTo>
                    <a:pt x="158965" y="54945"/>
                    <a:pt x="161760" y="56147"/>
                    <a:pt x="164556" y="56147"/>
                  </a:cubicBezTo>
                  <a:cubicBezTo>
                    <a:pt x="166780" y="56147"/>
                    <a:pt x="169044" y="55398"/>
                    <a:pt x="170875" y="53843"/>
                  </a:cubicBezTo>
                  <a:cubicBezTo>
                    <a:pt x="175048" y="50338"/>
                    <a:pt x="175580" y="44135"/>
                    <a:pt x="172076" y="39980"/>
                  </a:cubicBezTo>
                  <a:cubicBezTo>
                    <a:pt x="151071" y="14951"/>
                    <a:pt x="120283" y="379"/>
                    <a:pt x="87625" y="5"/>
                  </a:cubicBezTo>
                  <a:cubicBezTo>
                    <a:pt x="55085" y="-310"/>
                    <a:pt x="24021" y="13455"/>
                    <a:pt x="2465" y="37892"/>
                  </a:cubicBezTo>
                  <a:cubicBezTo>
                    <a:pt x="-1137" y="41969"/>
                    <a:pt x="-743" y="48191"/>
                    <a:pt x="3331" y="51795"/>
                  </a:cubicBezTo>
                  <a:cubicBezTo>
                    <a:pt x="7406" y="55398"/>
                    <a:pt x="13627" y="55004"/>
                    <a:pt x="17229" y="50928"/>
                  </a:cubicBezTo>
                  <a:cubicBezTo>
                    <a:pt x="34769" y="31040"/>
                    <a:pt x="59927" y="19697"/>
                    <a:pt x="86365" y="19697"/>
                  </a:cubicBezTo>
                  <a:cubicBezTo>
                    <a:pt x="86719" y="19697"/>
                    <a:pt x="87054" y="19697"/>
                    <a:pt x="87408" y="19697"/>
                  </a:cubicBezTo>
                  <a:cubicBezTo>
                    <a:pt x="114318" y="19993"/>
                    <a:pt x="139673" y="32004"/>
                    <a:pt x="156997" y="52641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479" name="Freeform 21">
              <a:extLst>
                <a:ext uri="{FF2B5EF4-FFF2-40B4-BE49-F238E27FC236}">
                  <a16:creationId xmlns:a16="http://schemas.microsoft.com/office/drawing/2014/main" id="{1932F6CC-C8B0-4031-A623-1DEF40EB14CB}"/>
                </a:ext>
              </a:extLst>
            </p:cNvPr>
            <p:cNvSpPr/>
            <p:nvPr/>
          </p:nvSpPr>
          <p:spPr>
            <a:xfrm>
              <a:off x="3945585" y="5681552"/>
              <a:ext cx="31075" cy="10872"/>
            </a:xfrm>
            <a:custGeom>
              <a:avLst/>
              <a:gdLst>
                <a:gd name="connsiteX0" fmla="*/ 59059 w 117534"/>
                <a:gd name="connsiteY0" fmla="*/ 3 h 41119"/>
                <a:gd name="connsiteX1" fmla="*/ 2837 w 117534"/>
                <a:gd name="connsiteY1" fmla="*/ 23181 h 41119"/>
                <a:gd name="connsiteX2" fmla="*/ 2936 w 117534"/>
                <a:gd name="connsiteY2" fmla="*/ 37103 h 41119"/>
                <a:gd name="connsiteX3" fmla="*/ 16853 w 117534"/>
                <a:gd name="connsiteY3" fmla="*/ 37004 h 41119"/>
                <a:gd name="connsiteX4" fmla="*/ 58173 w 117534"/>
                <a:gd name="connsiteY4" fmla="*/ 19695 h 41119"/>
                <a:gd name="connsiteX5" fmla="*/ 58843 w 117534"/>
                <a:gd name="connsiteY5" fmla="*/ 19695 h 41119"/>
                <a:gd name="connsiteX6" fmla="*/ 100517 w 117534"/>
                <a:gd name="connsiteY6" fmla="*/ 38009 h 41119"/>
                <a:gd name="connsiteX7" fmla="*/ 107702 w 117534"/>
                <a:gd name="connsiteY7" fmla="*/ 41120 h 41119"/>
                <a:gd name="connsiteX8" fmla="*/ 114435 w 117534"/>
                <a:gd name="connsiteY8" fmla="*/ 38462 h 41119"/>
                <a:gd name="connsiteX9" fmla="*/ 114868 w 117534"/>
                <a:gd name="connsiteY9" fmla="*/ 24539 h 41119"/>
                <a:gd name="connsiteX10" fmla="*/ 59059 w 117534"/>
                <a:gd name="connsiteY10" fmla="*/ 3 h 41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7534" h="41119">
                  <a:moveTo>
                    <a:pt x="59059" y="3"/>
                  </a:moveTo>
                  <a:cubicBezTo>
                    <a:pt x="37838" y="-193"/>
                    <a:pt x="17798" y="7998"/>
                    <a:pt x="2837" y="23181"/>
                  </a:cubicBezTo>
                  <a:cubicBezTo>
                    <a:pt x="-982" y="27060"/>
                    <a:pt x="-942" y="33283"/>
                    <a:pt x="2936" y="37103"/>
                  </a:cubicBezTo>
                  <a:cubicBezTo>
                    <a:pt x="6814" y="40923"/>
                    <a:pt x="13034" y="40864"/>
                    <a:pt x="16853" y="37004"/>
                  </a:cubicBezTo>
                  <a:cubicBezTo>
                    <a:pt x="27858" y="25819"/>
                    <a:pt x="42504" y="19695"/>
                    <a:pt x="58173" y="19695"/>
                  </a:cubicBezTo>
                  <a:cubicBezTo>
                    <a:pt x="58390" y="19695"/>
                    <a:pt x="58626" y="19695"/>
                    <a:pt x="58843" y="19695"/>
                  </a:cubicBezTo>
                  <a:cubicBezTo>
                    <a:pt x="74808" y="19873"/>
                    <a:pt x="89591" y="26371"/>
                    <a:pt x="100517" y="38009"/>
                  </a:cubicBezTo>
                  <a:cubicBezTo>
                    <a:pt x="102446" y="40076"/>
                    <a:pt x="105064" y="41120"/>
                    <a:pt x="107702" y="41120"/>
                  </a:cubicBezTo>
                  <a:cubicBezTo>
                    <a:pt x="110123" y="41120"/>
                    <a:pt x="112545" y="40234"/>
                    <a:pt x="114435" y="38462"/>
                  </a:cubicBezTo>
                  <a:cubicBezTo>
                    <a:pt x="118391" y="34740"/>
                    <a:pt x="118588" y="28517"/>
                    <a:pt x="114868" y="24539"/>
                  </a:cubicBezTo>
                  <a:cubicBezTo>
                    <a:pt x="100241" y="8963"/>
                    <a:pt x="80418" y="240"/>
                    <a:pt x="59059" y="3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480" name="Freeform 22">
              <a:extLst>
                <a:ext uri="{FF2B5EF4-FFF2-40B4-BE49-F238E27FC236}">
                  <a16:creationId xmlns:a16="http://schemas.microsoft.com/office/drawing/2014/main" id="{CEA7C402-996E-A55E-047D-D276A648D0E0}"/>
                </a:ext>
              </a:extLst>
            </p:cNvPr>
            <p:cNvSpPr/>
            <p:nvPr/>
          </p:nvSpPr>
          <p:spPr>
            <a:xfrm>
              <a:off x="3871792" y="5592571"/>
              <a:ext cx="61444" cy="18456"/>
            </a:xfrm>
            <a:custGeom>
              <a:avLst/>
              <a:gdLst>
                <a:gd name="connsiteX0" fmla="*/ 215029 w 232397"/>
                <a:gd name="connsiteY0" fmla="*/ 66302 h 69807"/>
                <a:gd name="connsiteX1" fmla="*/ 222569 w 232397"/>
                <a:gd name="connsiteY1" fmla="*/ 69807 h 69807"/>
                <a:gd name="connsiteX2" fmla="*/ 228888 w 232397"/>
                <a:gd name="connsiteY2" fmla="*/ 67503 h 69807"/>
                <a:gd name="connsiteX3" fmla="*/ 230089 w 232397"/>
                <a:gd name="connsiteY3" fmla="*/ 53640 h 69807"/>
                <a:gd name="connsiteX4" fmla="*/ 116759 w 232397"/>
                <a:gd name="connsiteY4" fmla="*/ 0 h 69807"/>
                <a:gd name="connsiteX5" fmla="*/ 115066 w 232397"/>
                <a:gd name="connsiteY5" fmla="*/ 0 h 69807"/>
                <a:gd name="connsiteX6" fmla="*/ 2465 w 232397"/>
                <a:gd name="connsiteY6" fmla="*/ 50844 h 69807"/>
                <a:gd name="connsiteX7" fmla="*/ 3331 w 232397"/>
                <a:gd name="connsiteY7" fmla="*/ 64747 h 69807"/>
                <a:gd name="connsiteX8" fmla="*/ 17229 w 232397"/>
                <a:gd name="connsiteY8" fmla="*/ 63880 h 69807"/>
                <a:gd name="connsiteX9" fmla="*/ 115066 w 232397"/>
                <a:gd name="connsiteY9" fmla="*/ 19692 h 69807"/>
                <a:gd name="connsiteX10" fmla="*/ 116543 w 232397"/>
                <a:gd name="connsiteY10" fmla="*/ 19692 h 69807"/>
                <a:gd name="connsiteX11" fmla="*/ 215029 w 232397"/>
                <a:gd name="connsiteY11" fmla="*/ 66302 h 69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2397" h="69807">
                  <a:moveTo>
                    <a:pt x="215029" y="66302"/>
                  </a:moveTo>
                  <a:cubicBezTo>
                    <a:pt x="216978" y="68626"/>
                    <a:pt x="219774" y="69807"/>
                    <a:pt x="222569" y="69807"/>
                  </a:cubicBezTo>
                  <a:cubicBezTo>
                    <a:pt x="224793" y="69807"/>
                    <a:pt x="227057" y="69059"/>
                    <a:pt x="228888" y="67503"/>
                  </a:cubicBezTo>
                  <a:cubicBezTo>
                    <a:pt x="233042" y="63998"/>
                    <a:pt x="233593" y="57795"/>
                    <a:pt x="230089" y="53640"/>
                  </a:cubicBezTo>
                  <a:cubicBezTo>
                    <a:pt x="201880" y="20046"/>
                    <a:pt x="160579" y="492"/>
                    <a:pt x="116759" y="0"/>
                  </a:cubicBezTo>
                  <a:cubicBezTo>
                    <a:pt x="116188" y="0"/>
                    <a:pt x="115637" y="0"/>
                    <a:pt x="115066" y="0"/>
                  </a:cubicBezTo>
                  <a:cubicBezTo>
                    <a:pt x="71994" y="0"/>
                    <a:pt x="31049" y="18471"/>
                    <a:pt x="2465" y="50844"/>
                  </a:cubicBezTo>
                  <a:cubicBezTo>
                    <a:pt x="-1137" y="54920"/>
                    <a:pt x="-743" y="61143"/>
                    <a:pt x="3331" y="64747"/>
                  </a:cubicBezTo>
                  <a:cubicBezTo>
                    <a:pt x="7406" y="68350"/>
                    <a:pt x="13627" y="67956"/>
                    <a:pt x="17229" y="63880"/>
                  </a:cubicBezTo>
                  <a:cubicBezTo>
                    <a:pt x="42053" y="35741"/>
                    <a:pt x="77644" y="19692"/>
                    <a:pt x="115066" y="19692"/>
                  </a:cubicBezTo>
                  <a:cubicBezTo>
                    <a:pt x="115559" y="19692"/>
                    <a:pt x="116051" y="19692"/>
                    <a:pt x="116543" y="19692"/>
                  </a:cubicBezTo>
                  <a:cubicBezTo>
                    <a:pt x="154615" y="20125"/>
                    <a:pt x="190501" y="37099"/>
                    <a:pt x="215029" y="66302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481" name="Freeform 23">
              <a:extLst>
                <a:ext uri="{FF2B5EF4-FFF2-40B4-BE49-F238E27FC236}">
                  <a16:creationId xmlns:a16="http://schemas.microsoft.com/office/drawing/2014/main" id="{F555C429-EA97-1086-64CA-2F378F40B1D9}"/>
                </a:ext>
              </a:extLst>
            </p:cNvPr>
            <p:cNvSpPr/>
            <p:nvPr/>
          </p:nvSpPr>
          <p:spPr>
            <a:xfrm>
              <a:off x="3879464" y="5602690"/>
              <a:ext cx="46103" cy="14845"/>
            </a:xfrm>
            <a:custGeom>
              <a:avLst/>
              <a:gdLst>
                <a:gd name="connsiteX0" fmla="*/ 156997 w 174374"/>
                <a:gd name="connsiteY0" fmla="*/ 52624 h 56148"/>
                <a:gd name="connsiteX1" fmla="*/ 164536 w 174374"/>
                <a:gd name="connsiteY1" fmla="*/ 56149 h 56148"/>
                <a:gd name="connsiteX2" fmla="*/ 170855 w 174374"/>
                <a:gd name="connsiteY2" fmla="*/ 53845 h 56148"/>
                <a:gd name="connsiteX3" fmla="*/ 172076 w 174374"/>
                <a:gd name="connsiteY3" fmla="*/ 39982 h 56148"/>
                <a:gd name="connsiteX4" fmla="*/ 87625 w 174374"/>
                <a:gd name="connsiteY4" fmla="*/ 7 h 56148"/>
                <a:gd name="connsiteX5" fmla="*/ 2465 w 174374"/>
                <a:gd name="connsiteY5" fmla="*/ 37894 h 56148"/>
                <a:gd name="connsiteX6" fmla="*/ 3331 w 174374"/>
                <a:gd name="connsiteY6" fmla="*/ 51797 h 56148"/>
                <a:gd name="connsiteX7" fmla="*/ 17229 w 174374"/>
                <a:gd name="connsiteY7" fmla="*/ 50930 h 56148"/>
                <a:gd name="connsiteX8" fmla="*/ 87408 w 174374"/>
                <a:gd name="connsiteY8" fmla="*/ 19699 h 56148"/>
                <a:gd name="connsiteX9" fmla="*/ 156997 w 174374"/>
                <a:gd name="connsiteY9" fmla="*/ 52644 h 56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4374" h="56148">
                  <a:moveTo>
                    <a:pt x="156997" y="52624"/>
                  </a:moveTo>
                  <a:cubicBezTo>
                    <a:pt x="158945" y="54947"/>
                    <a:pt x="161741" y="56149"/>
                    <a:pt x="164536" y="56149"/>
                  </a:cubicBezTo>
                  <a:cubicBezTo>
                    <a:pt x="166761" y="56149"/>
                    <a:pt x="169024" y="55400"/>
                    <a:pt x="170855" y="53845"/>
                  </a:cubicBezTo>
                  <a:cubicBezTo>
                    <a:pt x="175028" y="50340"/>
                    <a:pt x="175560" y="44137"/>
                    <a:pt x="172076" y="39982"/>
                  </a:cubicBezTo>
                  <a:cubicBezTo>
                    <a:pt x="151071" y="14953"/>
                    <a:pt x="120283" y="382"/>
                    <a:pt x="87625" y="7"/>
                  </a:cubicBezTo>
                  <a:cubicBezTo>
                    <a:pt x="55065" y="-367"/>
                    <a:pt x="24021" y="13457"/>
                    <a:pt x="2465" y="37894"/>
                  </a:cubicBezTo>
                  <a:cubicBezTo>
                    <a:pt x="-1137" y="41971"/>
                    <a:pt x="-743" y="48193"/>
                    <a:pt x="3331" y="51797"/>
                  </a:cubicBezTo>
                  <a:cubicBezTo>
                    <a:pt x="7406" y="55400"/>
                    <a:pt x="13627" y="55007"/>
                    <a:pt x="17229" y="50930"/>
                  </a:cubicBezTo>
                  <a:cubicBezTo>
                    <a:pt x="35005" y="30786"/>
                    <a:pt x="60616" y="19384"/>
                    <a:pt x="87408" y="19699"/>
                  </a:cubicBezTo>
                  <a:cubicBezTo>
                    <a:pt x="114318" y="19995"/>
                    <a:pt x="139693" y="32007"/>
                    <a:pt x="156997" y="52644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482" name="Freeform 24">
              <a:extLst>
                <a:ext uri="{FF2B5EF4-FFF2-40B4-BE49-F238E27FC236}">
                  <a16:creationId xmlns:a16="http://schemas.microsoft.com/office/drawing/2014/main" id="{9CC76C24-0E97-0470-056C-237D68F6F463}"/>
                </a:ext>
              </a:extLst>
            </p:cNvPr>
            <p:cNvSpPr/>
            <p:nvPr/>
          </p:nvSpPr>
          <p:spPr>
            <a:xfrm>
              <a:off x="3886975" y="5613032"/>
              <a:ext cx="31075" cy="10871"/>
            </a:xfrm>
            <a:custGeom>
              <a:avLst/>
              <a:gdLst>
                <a:gd name="connsiteX0" fmla="*/ 59079 w 117534"/>
                <a:gd name="connsiteY0" fmla="*/ 0 h 41116"/>
                <a:gd name="connsiteX1" fmla="*/ 58173 w 117534"/>
                <a:gd name="connsiteY1" fmla="*/ 0 h 41116"/>
                <a:gd name="connsiteX2" fmla="*/ 2837 w 117534"/>
                <a:gd name="connsiteY2" fmla="*/ 23177 h 41116"/>
                <a:gd name="connsiteX3" fmla="*/ 2936 w 117534"/>
                <a:gd name="connsiteY3" fmla="*/ 37099 h 41116"/>
                <a:gd name="connsiteX4" fmla="*/ 16854 w 117534"/>
                <a:gd name="connsiteY4" fmla="*/ 37001 h 41116"/>
                <a:gd name="connsiteX5" fmla="*/ 58843 w 117534"/>
                <a:gd name="connsiteY5" fmla="*/ 19692 h 41116"/>
                <a:gd name="connsiteX6" fmla="*/ 100517 w 117534"/>
                <a:gd name="connsiteY6" fmla="*/ 38005 h 41116"/>
                <a:gd name="connsiteX7" fmla="*/ 107702 w 117534"/>
                <a:gd name="connsiteY7" fmla="*/ 41116 h 41116"/>
                <a:gd name="connsiteX8" fmla="*/ 114435 w 117534"/>
                <a:gd name="connsiteY8" fmla="*/ 38458 h 41116"/>
                <a:gd name="connsiteX9" fmla="*/ 114868 w 117534"/>
                <a:gd name="connsiteY9" fmla="*/ 24536 h 41116"/>
                <a:gd name="connsiteX10" fmla="*/ 59059 w 117534"/>
                <a:gd name="connsiteY10" fmla="*/ 0 h 41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7534" h="41116">
                  <a:moveTo>
                    <a:pt x="59079" y="0"/>
                  </a:moveTo>
                  <a:cubicBezTo>
                    <a:pt x="58784" y="0"/>
                    <a:pt x="58488" y="0"/>
                    <a:pt x="58173" y="0"/>
                  </a:cubicBezTo>
                  <a:cubicBezTo>
                    <a:pt x="37208" y="0"/>
                    <a:pt x="17582" y="8211"/>
                    <a:pt x="2837" y="23177"/>
                  </a:cubicBezTo>
                  <a:cubicBezTo>
                    <a:pt x="-982" y="27057"/>
                    <a:pt x="-942" y="33279"/>
                    <a:pt x="2936" y="37099"/>
                  </a:cubicBezTo>
                  <a:cubicBezTo>
                    <a:pt x="6814" y="40920"/>
                    <a:pt x="13035" y="40880"/>
                    <a:pt x="16854" y="37001"/>
                  </a:cubicBezTo>
                  <a:cubicBezTo>
                    <a:pt x="28015" y="25658"/>
                    <a:pt x="42996" y="19436"/>
                    <a:pt x="58843" y="19692"/>
                  </a:cubicBezTo>
                  <a:cubicBezTo>
                    <a:pt x="74788" y="19869"/>
                    <a:pt x="89592" y="26367"/>
                    <a:pt x="100517" y="38005"/>
                  </a:cubicBezTo>
                  <a:cubicBezTo>
                    <a:pt x="102446" y="40073"/>
                    <a:pt x="105064" y="41116"/>
                    <a:pt x="107702" y="41116"/>
                  </a:cubicBezTo>
                  <a:cubicBezTo>
                    <a:pt x="110123" y="41116"/>
                    <a:pt x="112545" y="40230"/>
                    <a:pt x="114435" y="38458"/>
                  </a:cubicBezTo>
                  <a:cubicBezTo>
                    <a:pt x="118391" y="34736"/>
                    <a:pt x="118588" y="28514"/>
                    <a:pt x="114868" y="24536"/>
                  </a:cubicBezTo>
                  <a:cubicBezTo>
                    <a:pt x="100241" y="8960"/>
                    <a:pt x="80418" y="236"/>
                    <a:pt x="59059" y="0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483" name="Freeform 25">
              <a:extLst>
                <a:ext uri="{FF2B5EF4-FFF2-40B4-BE49-F238E27FC236}">
                  <a16:creationId xmlns:a16="http://schemas.microsoft.com/office/drawing/2014/main" id="{E7062A35-E4ED-A1EE-027B-709158904B60}"/>
                </a:ext>
              </a:extLst>
            </p:cNvPr>
            <p:cNvSpPr/>
            <p:nvPr/>
          </p:nvSpPr>
          <p:spPr>
            <a:xfrm>
              <a:off x="3753947" y="5651406"/>
              <a:ext cx="61444" cy="18459"/>
            </a:xfrm>
            <a:custGeom>
              <a:avLst/>
              <a:gdLst>
                <a:gd name="connsiteX0" fmla="*/ 17229 w 232397"/>
                <a:gd name="connsiteY0" fmla="*/ 63869 h 69816"/>
                <a:gd name="connsiteX1" fmla="*/ 116543 w 232397"/>
                <a:gd name="connsiteY1" fmla="*/ 19701 h 69816"/>
                <a:gd name="connsiteX2" fmla="*/ 215029 w 232397"/>
                <a:gd name="connsiteY2" fmla="*/ 66311 h 69816"/>
                <a:gd name="connsiteX3" fmla="*/ 222569 w 232397"/>
                <a:gd name="connsiteY3" fmla="*/ 69816 h 69816"/>
                <a:gd name="connsiteX4" fmla="*/ 228888 w 232397"/>
                <a:gd name="connsiteY4" fmla="*/ 67512 h 69816"/>
                <a:gd name="connsiteX5" fmla="*/ 230089 w 232397"/>
                <a:gd name="connsiteY5" fmla="*/ 53649 h 69816"/>
                <a:gd name="connsiteX6" fmla="*/ 116759 w 232397"/>
                <a:gd name="connsiteY6" fmla="*/ 9 h 69816"/>
                <a:gd name="connsiteX7" fmla="*/ 2465 w 232397"/>
                <a:gd name="connsiteY7" fmla="*/ 50853 h 69816"/>
                <a:gd name="connsiteX8" fmla="*/ 3331 w 232397"/>
                <a:gd name="connsiteY8" fmla="*/ 64755 h 69816"/>
                <a:gd name="connsiteX9" fmla="*/ 17229 w 232397"/>
                <a:gd name="connsiteY9" fmla="*/ 63889 h 69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2397" h="69816">
                  <a:moveTo>
                    <a:pt x="17229" y="63869"/>
                  </a:moveTo>
                  <a:cubicBezTo>
                    <a:pt x="42387" y="35375"/>
                    <a:pt x="78550" y="19248"/>
                    <a:pt x="116543" y="19701"/>
                  </a:cubicBezTo>
                  <a:cubicBezTo>
                    <a:pt x="154615" y="20134"/>
                    <a:pt x="190501" y="37108"/>
                    <a:pt x="215029" y="66311"/>
                  </a:cubicBezTo>
                  <a:cubicBezTo>
                    <a:pt x="216978" y="68635"/>
                    <a:pt x="219754" y="69816"/>
                    <a:pt x="222569" y="69816"/>
                  </a:cubicBezTo>
                  <a:cubicBezTo>
                    <a:pt x="224793" y="69816"/>
                    <a:pt x="227057" y="69068"/>
                    <a:pt x="228888" y="67512"/>
                  </a:cubicBezTo>
                  <a:cubicBezTo>
                    <a:pt x="233042" y="64007"/>
                    <a:pt x="233593" y="57804"/>
                    <a:pt x="230089" y="53649"/>
                  </a:cubicBezTo>
                  <a:cubicBezTo>
                    <a:pt x="201880" y="20055"/>
                    <a:pt x="160579" y="501"/>
                    <a:pt x="116759" y="9"/>
                  </a:cubicBezTo>
                  <a:cubicBezTo>
                    <a:pt x="73077" y="-464"/>
                    <a:pt x="31423" y="18046"/>
                    <a:pt x="2465" y="50853"/>
                  </a:cubicBezTo>
                  <a:cubicBezTo>
                    <a:pt x="-1137" y="54929"/>
                    <a:pt x="-743" y="61152"/>
                    <a:pt x="3331" y="64755"/>
                  </a:cubicBezTo>
                  <a:cubicBezTo>
                    <a:pt x="7406" y="68359"/>
                    <a:pt x="13627" y="67965"/>
                    <a:pt x="17229" y="63889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484" name="Freeform 26">
              <a:extLst>
                <a:ext uri="{FF2B5EF4-FFF2-40B4-BE49-F238E27FC236}">
                  <a16:creationId xmlns:a16="http://schemas.microsoft.com/office/drawing/2014/main" id="{FF783720-E8B1-E341-F1DD-DB2DF8B9D49E}"/>
                </a:ext>
              </a:extLst>
            </p:cNvPr>
            <p:cNvSpPr/>
            <p:nvPr/>
          </p:nvSpPr>
          <p:spPr>
            <a:xfrm>
              <a:off x="3761614" y="5661529"/>
              <a:ext cx="46106" cy="14843"/>
            </a:xfrm>
            <a:custGeom>
              <a:avLst/>
              <a:gdLst>
                <a:gd name="connsiteX0" fmla="*/ 157016 w 174384"/>
                <a:gd name="connsiteY0" fmla="*/ 52616 h 56141"/>
                <a:gd name="connsiteX1" fmla="*/ 164556 w 174384"/>
                <a:gd name="connsiteY1" fmla="*/ 56141 h 56141"/>
                <a:gd name="connsiteX2" fmla="*/ 170875 w 174384"/>
                <a:gd name="connsiteY2" fmla="*/ 53837 h 56141"/>
                <a:gd name="connsiteX3" fmla="*/ 172076 w 174384"/>
                <a:gd name="connsiteY3" fmla="*/ 39974 h 56141"/>
                <a:gd name="connsiteX4" fmla="*/ 87625 w 174384"/>
                <a:gd name="connsiteY4" fmla="*/ 0 h 56141"/>
                <a:gd name="connsiteX5" fmla="*/ 86365 w 174384"/>
                <a:gd name="connsiteY5" fmla="*/ 0 h 56141"/>
                <a:gd name="connsiteX6" fmla="*/ 2465 w 174384"/>
                <a:gd name="connsiteY6" fmla="*/ 37887 h 56141"/>
                <a:gd name="connsiteX7" fmla="*/ 3331 w 174384"/>
                <a:gd name="connsiteY7" fmla="*/ 51789 h 56141"/>
                <a:gd name="connsiteX8" fmla="*/ 17229 w 174384"/>
                <a:gd name="connsiteY8" fmla="*/ 50923 h 56141"/>
                <a:gd name="connsiteX9" fmla="*/ 87408 w 174384"/>
                <a:gd name="connsiteY9" fmla="*/ 19692 h 56141"/>
                <a:gd name="connsiteX10" fmla="*/ 156997 w 174384"/>
                <a:gd name="connsiteY10" fmla="*/ 52636 h 56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4384" h="56141">
                  <a:moveTo>
                    <a:pt x="157016" y="52616"/>
                  </a:moveTo>
                  <a:cubicBezTo>
                    <a:pt x="158965" y="54940"/>
                    <a:pt x="161760" y="56141"/>
                    <a:pt x="164556" y="56141"/>
                  </a:cubicBezTo>
                  <a:cubicBezTo>
                    <a:pt x="166780" y="56141"/>
                    <a:pt x="169044" y="55393"/>
                    <a:pt x="170875" y="53837"/>
                  </a:cubicBezTo>
                  <a:cubicBezTo>
                    <a:pt x="175028" y="50332"/>
                    <a:pt x="175580" y="44129"/>
                    <a:pt x="172076" y="39974"/>
                  </a:cubicBezTo>
                  <a:cubicBezTo>
                    <a:pt x="151071" y="14946"/>
                    <a:pt x="120283" y="374"/>
                    <a:pt x="87625" y="0"/>
                  </a:cubicBezTo>
                  <a:cubicBezTo>
                    <a:pt x="87211" y="0"/>
                    <a:pt x="86778" y="0"/>
                    <a:pt x="86365" y="0"/>
                  </a:cubicBezTo>
                  <a:cubicBezTo>
                    <a:pt x="54258" y="0"/>
                    <a:pt x="23745" y="13765"/>
                    <a:pt x="2465" y="37887"/>
                  </a:cubicBezTo>
                  <a:cubicBezTo>
                    <a:pt x="-1137" y="41963"/>
                    <a:pt x="-743" y="48186"/>
                    <a:pt x="3331" y="51789"/>
                  </a:cubicBezTo>
                  <a:cubicBezTo>
                    <a:pt x="7406" y="55393"/>
                    <a:pt x="13627" y="54999"/>
                    <a:pt x="17229" y="50923"/>
                  </a:cubicBezTo>
                  <a:cubicBezTo>
                    <a:pt x="35005" y="30778"/>
                    <a:pt x="60498" y="19416"/>
                    <a:pt x="87408" y="19692"/>
                  </a:cubicBezTo>
                  <a:cubicBezTo>
                    <a:pt x="114318" y="19987"/>
                    <a:pt x="139693" y="31999"/>
                    <a:pt x="156997" y="52636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485" name="Freeform 27">
              <a:extLst>
                <a:ext uri="{FF2B5EF4-FFF2-40B4-BE49-F238E27FC236}">
                  <a16:creationId xmlns:a16="http://schemas.microsoft.com/office/drawing/2014/main" id="{F742831C-89D6-F767-BFEB-679E6A50278D}"/>
                </a:ext>
              </a:extLst>
            </p:cNvPr>
            <p:cNvSpPr/>
            <p:nvPr/>
          </p:nvSpPr>
          <p:spPr>
            <a:xfrm>
              <a:off x="3769130" y="5671869"/>
              <a:ext cx="31075" cy="10876"/>
            </a:xfrm>
            <a:custGeom>
              <a:avLst/>
              <a:gdLst>
                <a:gd name="connsiteX0" fmla="*/ 59079 w 117534"/>
                <a:gd name="connsiteY0" fmla="*/ 0 h 41136"/>
                <a:gd name="connsiteX1" fmla="*/ 58173 w 117534"/>
                <a:gd name="connsiteY1" fmla="*/ 0 h 41136"/>
                <a:gd name="connsiteX2" fmla="*/ 2837 w 117534"/>
                <a:gd name="connsiteY2" fmla="*/ 23177 h 41136"/>
                <a:gd name="connsiteX3" fmla="*/ 2936 w 117534"/>
                <a:gd name="connsiteY3" fmla="*/ 37099 h 41136"/>
                <a:gd name="connsiteX4" fmla="*/ 16853 w 117534"/>
                <a:gd name="connsiteY4" fmla="*/ 37001 h 41136"/>
                <a:gd name="connsiteX5" fmla="*/ 58173 w 117534"/>
                <a:gd name="connsiteY5" fmla="*/ 19692 h 41136"/>
                <a:gd name="connsiteX6" fmla="*/ 58843 w 117534"/>
                <a:gd name="connsiteY6" fmla="*/ 19692 h 41136"/>
                <a:gd name="connsiteX7" fmla="*/ 100517 w 117534"/>
                <a:gd name="connsiteY7" fmla="*/ 38025 h 41136"/>
                <a:gd name="connsiteX8" fmla="*/ 107702 w 117534"/>
                <a:gd name="connsiteY8" fmla="*/ 41136 h 41136"/>
                <a:gd name="connsiteX9" fmla="*/ 114435 w 117534"/>
                <a:gd name="connsiteY9" fmla="*/ 38478 h 41136"/>
                <a:gd name="connsiteX10" fmla="*/ 114868 w 117534"/>
                <a:gd name="connsiteY10" fmla="*/ 24556 h 41136"/>
                <a:gd name="connsiteX11" fmla="*/ 59059 w 117534"/>
                <a:gd name="connsiteY11" fmla="*/ 20 h 41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7534" h="41136">
                  <a:moveTo>
                    <a:pt x="59079" y="0"/>
                  </a:moveTo>
                  <a:cubicBezTo>
                    <a:pt x="58784" y="0"/>
                    <a:pt x="58469" y="0"/>
                    <a:pt x="58173" y="0"/>
                  </a:cubicBezTo>
                  <a:cubicBezTo>
                    <a:pt x="37208" y="0"/>
                    <a:pt x="17602" y="8211"/>
                    <a:pt x="2837" y="23177"/>
                  </a:cubicBezTo>
                  <a:cubicBezTo>
                    <a:pt x="-982" y="27057"/>
                    <a:pt x="-942" y="33279"/>
                    <a:pt x="2936" y="37099"/>
                  </a:cubicBezTo>
                  <a:cubicBezTo>
                    <a:pt x="6814" y="40920"/>
                    <a:pt x="13035" y="40880"/>
                    <a:pt x="16853" y="37001"/>
                  </a:cubicBezTo>
                  <a:cubicBezTo>
                    <a:pt x="27858" y="25816"/>
                    <a:pt x="42523" y="19692"/>
                    <a:pt x="58173" y="19692"/>
                  </a:cubicBezTo>
                  <a:cubicBezTo>
                    <a:pt x="58390" y="19692"/>
                    <a:pt x="58626" y="19692"/>
                    <a:pt x="58843" y="19692"/>
                  </a:cubicBezTo>
                  <a:cubicBezTo>
                    <a:pt x="74788" y="19869"/>
                    <a:pt x="89591" y="26387"/>
                    <a:pt x="100517" y="38025"/>
                  </a:cubicBezTo>
                  <a:cubicBezTo>
                    <a:pt x="102446" y="40092"/>
                    <a:pt x="105064" y="41136"/>
                    <a:pt x="107702" y="41136"/>
                  </a:cubicBezTo>
                  <a:cubicBezTo>
                    <a:pt x="110123" y="41136"/>
                    <a:pt x="112545" y="40250"/>
                    <a:pt x="114435" y="38478"/>
                  </a:cubicBezTo>
                  <a:cubicBezTo>
                    <a:pt x="118391" y="34756"/>
                    <a:pt x="118588" y="28533"/>
                    <a:pt x="114868" y="24556"/>
                  </a:cubicBezTo>
                  <a:cubicBezTo>
                    <a:pt x="100241" y="8960"/>
                    <a:pt x="80418" y="256"/>
                    <a:pt x="59059" y="20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486" name="Freeform 28">
              <a:extLst>
                <a:ext uri="{FF2B5EF4-FFF2-40B4-BE49-F238E27FC236}">
                  <a16:creationId xmlns:a16="http://schemas.microsoft.com/office/drawing/2014/main" id="{F67C39CF-7053-3F2C-579E-532DA8A574C2}"/>
                </a:ext>
              </a:extLst>
            </p:cNvPr>
            <p:cNvSpPr/>
            <p:nvPr/>
          </p:nvSpPr>
          <p:spPr>
            <a:xfrm>
              <a:off x="3721341" y="5628708"/>
              <a:ext cx="279081" cy="154957"/>
            </a:xfrm>
            <a:custGeom>
              <a:avLst/>
              <a:gdLst>
                <a:gd name="connsiteX0" fmla="*/ 1045419 w 1055556"/>
                <a:gd name="connsiteY0" fmla="*/ 565883 h 586087"/>
                <a:gd name="connsiteX1" fmla="*/ 1012603 w 1055556"/>
                <a:gd name="connsiteY1" fmla="*/ 565883 h 586087"/>
                <a:gd name="connsiteX2" fmla="*/ 1012603 w 1055556"/>
                <a:gd name="connsiteY2" fmla="*/ 341909 h 586087"/>
                <a:gd name="connsiteX3" fmla="*/ 1012524 w 1055556"/>
                <a:gd name="connsiteY3" fmla="*/ 302565 h 586087"/>
                <a:gd name="connsiteX4" fmla="*/ 1009749 w 1055556"/>
                <a:gd name="connsiteY4" fmla="*/ 290297 h 586087"/>
                <a:gd name="connsiteX5" fmla="*/ 1003666 w 1055556"/>
                <a:gd name="connsiteY5" fmla="*/ 280707 h 586087"/>
                <a:gd name="connsiteX6" fmla="*/ 983390 w 1055556"/>
                <a:gd name="connsiteY6" fmla="*/ 269364 h 586087"/>
                <a:gd name="connsiteX7" fmla="*/ 969610 w 1055556"/>
                <a:gd name="connsiteY7" fmla="*/ 268773 h 586087"/>
                <a:gd name="connsiteX8" fmla="*/ 838938 w 1055556"/>
                <a:gd name="connsiteY8" fmla="*/ 268773 h 586087"/>
                <a:gd name="connsiteX9" fmla="*/ 824902 w 1055556"/>
                <a:gd name="connsiteY9" fmla="*/ 268872 h 586087"/>
                <a:gd name="connsiteX10" fmla="*/ 812776 w 1055556"/>
                <a:gd name="connsiteY10" fmla="*/ 271786 h 586087"/>
                <a:gd name="connsiteX11" fmla="*/ 803228 w 1055556"/>
                <a:gd name="connsiteY11" fmla="*/ 277989 h 586087"/>
                <a:gd name="connsiteX12" fmla="*/ 795944 w 1055556"/>
                <a:gd name="connsiteY12" fmla="*/ 287244 h 586087"/>
                <a:gd name="connsiteX13" fmla="*/ 792125 w 1055556"/>
                <a:gd name="connsiteY13" fmla="*/ 298429 h 586087"/>
                <a:gd name="connsiteX14" fmla="*/ 791614 w 1055556"/>
                <a:gd name="connsiteY14" fmla="*/ 312253 h 586087"/>
                <a:gd name="connsiteX15" fmla="*/ 791614 w 1055556"/>
                <a:gd name="connsiteY15" fmla="*/ 430404 h 586087"/>
                <a:gd name="connsiteX16" fmla="*/ 764881 w 1055556"/>
                <a:gd name="connsiteY16" fmla="*/ 430404 h 586087"/>
                <a:gd name="connsiteX17" fmla="*/ 764881 w 1055556"/>
                <a:gd name="connsiteY17" fmla="*/ 160390 h 586087"/>
                <a:gd name="connsiteX18" fmla="*/ 763936 w 1055556"/>
                <a:gd name="connsiteY18" fmla="*/ 146802 h 586087"/>
                <a:gd name="connsiteX19" fmla="*/ 759605 w 1055556"/>
                <a:gd name="connsiteY19" fmla="*/ 136208 h 586087"/>
                <a:gd name="connsiteX20" fmla="*/ 751652 w 1055556"/>
                <a:gd name="connsiteY20" fmla="*/ 127170 h 586087"/>
                <a:gd name="connsiteX21" fmla="*/ 741849 w 1055556"/>
                <a:gd name="connsiteY21" fmla="*/ 121636 h 586087"/>
                <a:gd name="connsiteX22" fmla="*/ 715116 w 1055556"/>
                <a:gd name="connsiteY22" fmla="*/ 119352 h 586087"/>
                <a:gd name="connsiteX23" fmla="*/ 693363 w 1055556"/>
                <a:gd name="connsiteY23" fmla="*/ 119352 h 586087"/>
                <a:gd name="connsiteX24" fmla="*/ 693363 w 1055556"/>
                <a:gd name="connsiteY24" fmla="*/ 9846 h 586087"/>
                <a:gd name="connsiteX25" fmla="*/ 683520 w 1055556"/>
                <a:gd name="connsiteY25" fmla="*/ 0 h 586087"/>
                <a:gd name="connsiteX26" fmla="*/ 673678 w 1055556"/>
                <a:gd name="connsiteY26" fmla="*/ 9846 h 586087"/>
                <a:gd name="connsiteX27" fmla="*/ 673678 w 1055556"/>
                <a:gd name="connsiteY27" fmla="*/ 119352 h 586087"/>
                <a:gd name="connsiteX28" fmla="*/ 641964 w 1055556"/>
                <a:gd name="connsiteY28" fmla="*/ 119352 h 586087"/>
                <a:gd name="connsiteX29" fmla="*/ 628184 w 1055556"/>
                <a:gd name="connsiteY29" fmla="*/ 119943 h 586087"/>
                <a:gd name="connsiteX30" fmla="*/ 607948 w 1055556"/>
                <a:gd name="connsiteY30" fmla="*/ 131325 h 586087"/>
                <a:gd name="connsiteX31" fmla="*/ 601885 w 1055556"/>
                <a:gd name="connsiteY31" fmla="*/ 140915 h 586087"/>
                <a:gd name="connsiteX32" fmla="*/ 599129 w 1055556"/>
                <a:gd name="connsiteY32" fmla="*/ 153183 h 586087"/>
                <a:gd name="connsiteX33" fmla="*/ 599050 w 1055556"/>
                <a:gd name="connsiteY33" fmla="*/ 192507 h 586087"/>
                <a:gd name="connsiteX34" fmla="*/ 599050 w 1055556"/>
                <a:gd name="connsiteY34" fmla="*/ 430384 h 586087"/>
                <a:gd name="connsiteX35" fmla="*/ 576589 w 1055556"/>
                <a:gd name="connsiteY35" fmla="*/ 430384 h 586087"/>
                <a:gd name="connsiteX36" fmla="*/ 576589 w 1055556"/>
                <a:gd name="connsiteY36" fmla="*/ 338660 h 586087"/>
                <a:gd name="connsiteX37" fmla="*/ 576589 w 1055556"/>
                <a:gd name="connsiteY37" fmla="*/ 270487 h 586087"/>
                <a:gd name="connsiteX38" fmla="*/ 576549 w 1055556"/>
                <a:gd name="connsiteY38" fmla="*/ 256427 h 586087"/>
                <a:gd name="connsiteX39" fmla="*/ 574226 w 1055556"/>
                <a:gd name="connsiteY39" fmla="*/ 244533 h 586087"/>
                <a:gd name="connsiteX40" fmla="*/ 569797 w 1055556"/>
                <a:gd name="connsiteY40" fmla="*/ 236302 h 586087"/>
                <a:gd name="connsiteX41" fmla="*/ 564423 w 1055556"/>
                <a:gd name="connsiteY41" fmla="*/ 230335 h 586087"/>
                <a:gd name="connsiteX42" fmla="*/ 546942 w 1055556"/>
                <a:gd name="connsiteY42" fmla="*/ 222124 h 586087"/>
                <a:gd name="connsiteX43" fmla="*/ 527788 w 1055556"/>
                <a:gd name="connsiteY43" fmla="*/ 224309 h 586087"/>
                <a:gd name="connsiteX44" fmla="*/ 522611 w 1055556"/>
                <a:gd name="connsiteY44" fmla="*/ 226889 h 586087"/>
                <a:gd name="connsiteX45" fmla="*/ 412333 w 1055556"/>
                <a:gd name="connsiteY45" fmla="*/ 294767 h 586087"/>
                <a:gd name="connsiteX46" fmla="*/ 402431 w 1055556"/>
                <a:gd name="connsiteY46" fmla="*/ 301009 h 586087"/>
                <a:gd name="connsiteX47" fmla="*/ 394714 w 1055556"/>
                <a:gd name="connsiteY47" fmla="*/ 308767 h 586087"/>
                <a:gd name="connsiteX48" fmla="*/ 387962 w 1055556"/>
                <a:gd name="connsiteY48" fmla="*/ 329562 h 586087"/>
                <a:gd name="connsiteX49" fmla="*/ 387962 w 1055556"/>
                <a:gd name="connsiteY49" fmla="*/ 381273 h 586087"/>
                <a:gd name="connsiteX50" fmla="*/ 387431 w 1055556"/>
                <a:gd name="connsiteY50" fmla="*/ 381312 h 586087"/>
                <a:gd name="connsiteX51" fmla="*/ 379556 w 1055556"/>
                <a:gd name="connsiteY51" fmla="*/ 382080 h 586087"/>
                <a:gd name="connsiteX52" fmla="*/ 363769 w 1055556"/>
                <a:gd name="connsiteY52" fmla="*/ 384423 h 586087"/>
                <a:gd name="connsiteX53" fmla="*/ 347981 w 1055556"/>
                <a:gd name="connsiteY53" fmla="*/ 387929 h 586087"/>
                <a:gd name="connsiteX54" fmla="*/ 340107 w 1055556"/>
                <a:gd name="connsiteY54" fmla="*/ 390154 h 586087"/>
                <a:gd name="connsiteX55" fmla="*/ 336189 w 1055556"/>
                <a:gd name="connsiteY55" fmla="*/ 391394 h 586087"/>
                <a:gd name="connsiteX56" fmla="*/ 335225 w 1055556"/>
                <a:gd name="connsiteY56" fmla="*/ 391709 h 586087"/>
                <a:gd name="connsiteX57" fmla="*/ 335225 w 1055556"/>
                <a:gd name="connsiteY57" fmla="*/ 284586 h 586087"/>
                <a:gd name="connsiteX58" fmla="*/ 335146 w 1055556"/>
                <a:gd name="connsiteY58" fmla="*/ 270546 h 586087"/>
                <a:gd name="connsiteX59" fmla="*/ 332370 w 1055556"/>
                <a:gd name="connsiteY59" fmla="*/ 258297 h 586087"/>
                <a:gd name="connsiteX60" fmla="*/ 326287 w 1055556"/>
                <a:gd name="connsiteY60" fmla="*/ 248727 h 586087"/>
                <a:gd name="connsiteX61" fmla="*/ 306011 w 1055556"/>
                <a:gd name="connsiteY61" fmla="*/ 237404 h 586087"/>
                <a:gd name="connsiteX62" fmla="*/ 292212 w 1055556"/>
                <a:gd name="connsiteY62" fmla="*/ 236833 h 586087"/>
                <a:gd name="connsiteX63" fmla="*/ 182878 w 1055556"/>
                <a:gd name="connsiteY63" fmla="*/ 236833 h 586087"/>
                <a:gd name="connsiteX64" fmla="*/ 168843 w 1055556"/>
                <a:gd name="connsiteY64" fmla="*/ 236912 h 586087"/>
                <a:gd name="connsiteX65" fmla="*/ 156598 w 1055556"/>
                <a:gd name="connsiteY65" fmla="*/ 239708 h 586087"/>
                <a:gd name="connsiteX66" fmla="*/ 147031 w 1055556"/>
                <a:gd name="connsiteY66" fmla="*/ 245793 h 586087"/>
                <a:gd name="connsiteX67" fmla="*/ 135712 w 1055556"/>
                <a:gd name="connsiteY67" fmla="*/ 266095 h 586087"/>
                <a:gd name="connsiteX68" fmla="*/ 135141 w 1055556"/>
                <a:gd name="connsiteY68" fmla="*/ 279899 h 586087"/>
                <a:gd name="connsiteX69" fmla="*/ 135141 w 1055556"/>
                <a:gd name="connsiteY69" fmla="*/ 375720 h 586087"/>
                <a:gd name="connsiteX70" fmla="*/ 78092 w 1055556"/>
                <a:gd name="connsiteY70" fmla="*/ 375720 h 586087"/>
                <a:gd name="connsiteX71" fmla="*/ 65002 w 1055556"/>
                <a:gd name="connsiteY71" fmla="*/ 377413 h 586087"/>
                <a:gd name="connsiteX72" fmla="*/ 54982 w 1055556"/>
                <a:gd name="connsiteY72" fmla="*/ 382494 h 586087"/>
                <a:gd name="connsiteX73" fmla="*/ 46537 w 1055556"/>
                <a:gd name="connsiteY73" fmla="*/ 391197 h 586087"/>
                <a:gd name="connsiteX74" fmla="*/ 41773 w 1055556"/>
                <a:gd name="connsiteY74" fmla="*/ 401417 h 586087"/>
                <a:gd name="connsiteX75" fmla="*/ 40375 w 1055556"/>
                <a:gd name="connsiteY75" fmla="*/ 414709 h 586087"/>
                <a:gd name="connsiteX76" fmla="*/ 40375 w 1055556"/>
                <a:gd name="connsiteY76" fmla="*/ 565805 h 586087"/>
                <a:gd name="connsiteX77" fmla="*/ 10138 w 1055556"/>
                <a:gd name="connsiteY77" fmla="*/ 565805 h 586087"/>
                <a:gd name="connsiteX78" fmla="*/ 0 w 1055556"/>
                <a:gd name="connsiteY78" fmla="*/ 575946 h 586087"/>
                <a:gd name="connsiteX79" fmla="*/ 10138 w 1055556"/>
                <a:gd name="connsiteY79" fmla="*/ 586087 h 586087"/>
                <a:gd name="connsiteX80" fmla="*/ 1045419 w 1055556"/>
                <a:gd name="connsiteY80" fmla="*/ 586087 h 586087"/>
                <a:gd name="connsiteX81" fmla="*/ 1055557 w 1055556"/>
                <a:gd name="connsiteY81" fmla="*/ 575946 h 586087"/>
                <a:gd name="connsiteX82" fmla="*/ 1045419 w 1055556"/>
                <a:gd name="connsiteY82" fmla="*/ 565805 h 586087"/>
                <a:gd name="connsiteX83" fmla="*/ 956440 w 1055556"/>
                <a:gd name="connsiteY83" fmla="*/ 341909 h 586087"/>
                <a:gd name="connsiteX84" fmla="*/ 956440 w 1055556"/>
                <a:gd name="connsiteY84" fmla="*/ 565883 h 586087"/>
                <a:gd name="connsiteX85" fmla="*/ 96439 w 1055556"/>
                <a:gd name="connsiteY85" fmla="*/ 565883 h 586087"/>
                <a:gd name="connsiteX86" fmla="*/ 96439 w 1055556"/>
                <a:gd name="connsiteY86" fmla="*/ 431940 h 586087"/>
                <a:gd name="connsiteX87" fmla="*/ 152012 w 1055556"/>
                <a:gd name="connsiteY87" fmla="*/ 431940 h 586087"/>
                <a:gd name="connsiteX88" fmla="*/ 165339 w 1055556"/>
                <a:gd name="connsiteY88" fmla="*/ 430581 h 586087"/>
                <a:gd name="connsiteX89" fmla="*/ 175595 w 1055556"/>
                <a:gd name="connsiteY89" fmla="*/ 425855 h 586087"/>
                <a:gd name="connsiteX90" fmla="*/ 184335 w 1055556"/>
                <a:gd name="connsiteY90" fmla="*/ 417447 h 586087"/>
                <a:gd name="connsiteX91" fmla="*/ 189453 w 1055556"/>
                <a:gd name="connsiteY91" fmla="*/ 407443 h 586087"/>
                <a:gd name="connsiteX92" fmla="*/ 191205 w 1055556"/>
                <a:gd name="connsiteY92" fmla="*/ 380308 h 586087"/>
                <a:gd name="connsiteX93" fmla="*/ 191205 w 1055556"/>
                <a:gd name="connsiteY93" fmla="*/ 293034 h 586087"/>
                <a:gd name="connsiteX94" fmla="*/ 278983 w 1055556"/>
                <a:gd name="connsiteY94" fmla="*/ 293034 h 586087"/>
                <a:gd name="connsiteX95" fmla="*/ 278983 w 1055556"/>
                <a:gd name="connsiteY95" fmla="*/ 423649 h 586087"/>
                <a:gd name="connsiteX96" fmla="*/ 279101 w 1055556"/>
                <a:gd name="connsiteY96" fmla="*/ 425284 h 586087"/>
                <a:gd name="connsiteX97" fmla="*/ 286424 w 1055556"/>
                <a:gd name="connsiteY97" fmla="*/ 445330 h 586087"/>
                <a:gd name="connsiteX98" fmla="*/ 293432 w 1055556"/>
                <a:gd name="connsiteY98" fmla="*/ 452183 h 586087"/>
                <a:gd name="connsiteX99" fmla="*/ 302999 w 1055556"/>
                <a:gd name="connsiteY99" fmla="*/ 457165 h 586087"/>
                <a:gd name="connsiteX100" fmla="*/ 311110 w 1055556"/>
                <a:gd name="connsiteY100" fmla="*/ 458839 h 586087"/>
                <a:gd name="connsiteX101" fmla="*/ 316031 w 1055556"/>
                <a:gd name="connsiteY101" fmla="*/ 458937 h 586087"/>
                <a:gd name="connsiteX102" fmla="*/ 321720 w 1055556"/>
                <a:gd name="connsiteY102" fmla="*/ 458287 h 586087"/>
                <a:gd name="connsiteX103" fmla="*/ 348020 w 1055556"/>
                <a:gd name="connsiteY103" fmla="*/ 446827 h 586087"/>
                <a:gd name="connsiteX104" fmla="*/ 351347 w 1055556"/>
                <a:gd name="connsiteY104" fmla="*/ 445586 h 586087"/>
                <a:gd name="connsiteX105" fmla="*/ 353709 w 1055556"/>
                <a:gd name="connsiteY105" fmla="*/ 444798 h 586087"/>
                <a:gd name="connsiteX106" fmla="*/ 356485 w 1055556"/>
                <a:gd name="connsiteY106" fmla="*/ 443912 h 586087"/>
                <a:gd name="connsiteX107" fmla="*/ 362154 w 1055556"/>
                <a:gd name="connsiteY107" fmla="*/ 442317 h 586087"/>
                <a:gd name="connsiteX108" fmla="*/ 373848 w 1055556"/>
                <a:gd name="connsiteY108" fmla="*/ 439718 h 586087"/>
                <a:gd name="connsiteX109" fmla="*/ 385915 w 1055556"/>
                <a:gd name="connsiteY109" fmla="*/ 437926 h 586087"/>
                <a:gd name="connsiteX110" fmla="*/ 392057 w 1055556"/>
                <a:gd name="connsiteY110" fmla="*/ 437316 h 586087"/>
                <a:gd name="connsiteX111" fmla="*/ 395029 w 1055556"/>
                <a:gd name="connsiteY111" fmla="*/ 437079 h 586087"/>
                <a:gd name="connsiteX112" fmla="*/ 398573 w 1055556"/>
                <a:gd name="connsiteY112" fmla="*/ 436922 h 586087"/>
                <a:gd name="connsiteX113" fmla="*/ 405659 w 1055556"/>
                <a:gd name="connsiteY113" fmla="*/ 436666 h 586087"/>
                <a:gd name="connsiteX114" fmla="*/ 408907 w 1055556"/>
                <a:gd name="connsiteY114" fmla="*/ 436548 h 586087"/>
                <a:gd name="connsiteX115" fmla="*/ 418553 w 1055556"/>
                <a:gd name="connsiteY115" fmla="*/ 434401 h 586087"/>
                <a:gd name="connsiteX116" fmla="*/ 427254 w 1055556"/>
                <a:gd name="connsiteY116" fmla="*/ 431250 h 586087"/>
                <a:gd name="connsiteX117" fmla="*/ 439853 w 1055556"/>
                <a:gd name="connsiteY117" fmla="*/ 417860 h 586087"/>
                <a:gd name="connsiteX118" fmla="*/ 444066 w 1055556"/>
                <a:gd name="connsiteY118" fmla="*/ 398936 h 586087"/>
                <a:gd name="connsiteX119" fmla="*/ 444066 w 1055556"/>
                <a:gd name="connsiteY119" fmla="*/ 341180 h 586087"/>
                <a:gd name="connsiteX120" fmla="*/ 520387 w 1055556"/>
                <a:gd name="connsiteY120" fmla="*/ 294196 h 586087"/>
                <a:gd name="connsiteX121" fmla="*/ 520387 w 1055556"/>
                <a:gd name="connsiteY121" fmla="*/ 430246 h 586087"/>
                <a:gd name="connsiteX122" fmla="*/ 521430 w 1055556"/>
                <a:gd name="connsiteY122" fmla="*/ 443991 h 586087"/>
                <a:gd name="connsiteX123" fmla="*/ 533399 w 1055556"/>
                <a:gd name="connsiteY123" fmla="*/ 468507 h 586087"/>
                <a:gd name="connsiteX124" fmla="*/ 555978 w 1055556"/>
                <a:gd name="connsiteY124" fmla="*/ 483709 h 586087"/>
                <a:gd name="connsiteX125" fmla="*/ 569561 w 1055556"/>
                <a:gd name="connsiteY125" fmla="*/ 486466 h 586087"/>
                <a:gd name="connsiteX126" fmla="*/ 576569 w 1055556"/>
                <a:gd name="connsiteY126" fmla="*/ 486624 h 586087"/>
                <a:gd name="connsiteX127" fmla="*/ 617456 w 1055556"/>
                <a:gd name="connsiteY127" fmla="*/ 486624 h 586087"/>
                <a:gd name="connsiteX128" fmla="*/ 630547 w 1055556"/>
                <a:gd name="connsiteY128" fmla="*/ 484930 h 586087"/>
                <a:gd name="connsiteX129" fmla="*/ 640567 w 1055556"/>
                <a:gd name="connsiteY129" fmla="*/ 479850 h 586087"/>
                <a:gd name="connsiteX130" fmla="*/ 649012 w 1055556"/>
                <a:gd name="connsiteY130" fmla="*/ 471146 h 586087"/>
                <a:gd name="connsiteX131" fmla="*/ 653776 w 1055556"/>
                <a:gd name="connsiteY131" fmla="*/ 460926 h 586087"/>
                <a:gd name="connsiteX132" fmla="*/ 655173 w 1055556"/>
                <a:gd name="connsiteY132" fmla="*/ 447634 h 586087"/>
                <a:gd name="connsiteX133" fmla="*/ 655173 w 1055556"/>
                <a:gd name="connsiteY133" fmla="*/ 175592 h 586087"/>
                <a:gd name="connsiteX134" fmla="*/ 708718 w 1055556"/>
                <a:gd name="connsiteY134" fmla="*/ 175592 h 586087"/>
                <a:gd name="connsiteX135" fmla="*/ 708718 w 1055556"/>
                <a:gd name="connsiteY135" fmla="*/ 440762 h 586087"/>
                <a:gd name="connsiteX136" fmla="*/ 708895 w 1055556"/>
                <a:gd name="connsiteY136" fmla="*/ 454763 h 586087"/>
                <a:gd name="connsiteX137" fmla="*/ 712242 w 1055556"/>
                <a:gd name="connsiteY137" fmla="*/ 466479 h 586087"/>
                <a:gd name="connsiteX138" fmla="*/ 728207 w 1055556"/>
                <a:gd name="connsiteY138" fmla="*/ 482784 h 586087"/>
                <a:gd name="connsiteX139" fmla="*/ 739723 w 1055556"/>
                <a:gd name="connsiteY139" fmla="*/ 486309 h 586087"/>
                <a:gd name="connsiteX140" fmla="*/ 753660 w 1055556"/>
                <a:gd name="connsiteY140" fmla="*/ 486624 h 586087"/>
                <a:gd name="connsiteX141" fmla="*/ 811417 w 1055556"/>
                <a:gd name="connsiteY141" fmla="*/ 486624 h 586087"/>
                <a:gd name="connsiteX142" fmla="*/ 824213 w 1055556"/>
                <a:gd name="connsiteY142" fmla="*/ 484537 h 586087"/>
                <a:gd name="connsiteX143" fmla="*/ 834095 w 1055556"/>
                <a:gd name="connsiteY143" fmla="*/ 479141 h 586087"/>
                <a:gd name="connsiteX144" fmla="*/ 842225 w 1055556"/>
                <a:gd name="connsiteY144" fmla="*/ 470201 h 586087"/>
                <a:gd name="connsiteX145" fmla="*/ 846694 w 1055556"/>
                <a:gd name="connsiteY145" fmla="*/ 459725 h 586087"/>
                <a:gd name="connsiteX146" fmla="*/ 847776 w 1055556"/>
                <a:gd name="connsiteY146" fmla="*/ 446236 h 586087"/>
                <a:gd name="connsiteX147" fmla="*/ 847776 w 1055556"/>
                <a:gd name="connsiteY147" fmla="*/ 324974 h 586087"/>
                <a:gd name="connsiteX148" fmla="*/ 956440 w 1055556"/>
                <a:gd name="connsiteY148" fmla="*/ 324974 h 586087"/>
                <a:gd name="connsiteX149" fmla="*/ 956440 w 1055556"/>
                <a:gd name="connsiteY149" fmla="*/ 341929 h 586087"/>
                <a:gd name="connsiteX150" fmla="*/ 993666 w 1055556"/>
                <a:gd name="connsiteY150" fmla="*/ 454585 h 586087"/>
                <a:gd name="connsiteX151" fmla="*/ 993666 w 1055556"/>
                <a:gd name="connsiteY151" fmla="*/ 565903 h 586087"/>
                <a:gd name="connsiteX152" fmla="*/ 975358 w 1055556"/>
                <a:gd name="connsiteY152" fmla="*/ 565903 h 586087"/>
                <a:gd name="connsiteX153" fmla="*/ 975358 w 1055556"/>
                <a:gd name="connsiteY153" fmla="*/ 312667 h 586087"/>
                <a:gd name="connsiteX154" fmla="*/ 974433 w 1055556"/>
                <a:gd name="connsiteY154" fmla="*/ 308118 h 586087"/>
                <a:gd name="connsiteX155" fmla="*/ 965614 w 1055556"/>
                <a:gd name="connsiteY155" fmla="*/ 306050 h 586087"/>
                <a:gd name="connsiteX156" fmla="*/ 835296 w 1055556"/>
                <a:gd name="connsiteY156" fmla="*/ 306050 h 586087"/>
                <a:gd name="connsiteX157" fmla="*/ 828839 w 1055556"/>
                <a:gd name="connsiteY157" fmla="*/ 311209 h 586087"/>
                <a:gd name="connsiteX158" fmla="*/ 828839 w 1055556"/>
                <a:gd name="connsiteY158" fmla="*/ 431585 h 586087"/>
                <a:gd name="connsiteX159" fmla="*/ 828485 w 1055556"/>
                <a:gd name="connsiteY159" fmla="*/ 450076 h 586087"/>
                <a:gd name="connsiteX160" fmla="*/ 826949 w 1055556"/>
                <a:gd name="connsiteY160" fmla="*/ 458228 h 586087"/>
                <a:gd name="connsiteX161" fmla="*/ 821555 w 1055556"/>
                <a:gd name="connsiteY161" fmla="*/ 464786 h 586087"/>
                <a:gd name="connsiteX162" fmla="*/ 813661 w 1055556"/>
                <a:gd name="connsiteY162" fmla="*/ 467031 h 586087"/>
                <a:gd name="connsiteX163" fmla="*/ 804744 w 1055556"/>
                <a:gd name="connsiteY163" fmla="*/ 467720 h 586087"/>
                <a:gd name="connsiteX164" fmla="*/ 757459 w 1055556"/>
                <a:gd name="connsiteY164" fmla="*/ 467720 h 586087"/>
                <a:gd name="connsiteX165" fmla="*/ 739683 w 1055556"/>
                <a:gd name="connsiteY165" fmla="*/ 466479 h 586087"/>
                <a:gd name="connsiteX166" fmla="*/ 732321 w 1055556"/>
                <a:gd name="connsiteY166" fmla="*/ 462679 h 586087"/>
                <a:gd name="connsiteX167" fmla="*/ 728817 w 1055556"/>
                <a:gd name="connsiteY167" fmla="*/ 455196 h 586087"/>
                <a:gd name="connsiteX168" fmla="*/ 727675 w 1055556"/>
                <a:gd name="connsiteY168" fmla="*/ 437316 h 586087"/>
                <a:gd name="connsiteX169" fmla="*/ 727675 w 1055556"/>
                <a:gd name="connsiteY169" fmla="*/ 170511 h 586087"/>
                <a:gd name="connsiteX170" fmla="*/ 727636 w 1055556"/>
                <a:gd name="connsiteY170" fmla="*/ 161020 h 586087"/>
                <a:gd name="connsiteX171" fmla="*/ 725037 w 1055556"/>
                <a:gd name="connsiteY171" fmla="*/ 157259 h 586087"/>
                <a:gd name="connsiteX172" fmla="*/ 720391 w 1055556"/>
                <a:gd name="connsiteY172" fmla="*/ 156688 h 586087"/>
                <a:gd name="connsiteX173" fmla="*/ 646000 w 1055556"/>
                <a:gd name="connsiteY173" fmla="*/ 156688 h 586087"/>
                <a:gd name="connsiteX174" fmla="*/ 637200 w 1055556"/>
                <a:gd name="connsiteY174" fmla="*/ 158775 h 586087"/>
                <a:gd name="connsiteX175" fmla="*/ 636275 w 1055556"/>
                <a:gd name="connsiteY175" fmla="*/ 163324 h 586087"/>
                <a:gd name="connsiteX176" fmla="*/ 636275 w 1055556"/>
                <a:gd name="connsiteY176" fmla="*/ 432531 h 586087"/>
                <a:gd name="connsiteX177" fmla="*/ 635822 w 1055556"/>
                <a:gd name="connsiteY177" fmla="*/ 450942 h 586087"/>
                <a:gd name="connsiteX178" fmla="*/ 634090 w 1055556"/>
                <a:gd name="connsiteY178" fmla="*/ 458996 h 586087"/>
                <a:gd name="connsiteX179" fmla="*/ 628243 w 1055556"/>
                <a:gd name="connsiteY179" fmla="*/ 465199 h 586087"/>
                <a:gd name="connsiteX180" fmla="*/ 611255 w 1055556"/>
                <a:gd name="connsiteY180" fmla="*/ 467700 h 586087"/>
                <a:gd name="connsiteX181" fmla="*/ 576569 w 1055556"/>
                <a:gd name="connsiteY181" fmla="*/ 467700 h 586087"/>
                <a:gd name="connsiteX182" fmla="*/ 571904 w 1055556"/>
                <a:gd name="connsiteY182" fmla="*/ 467641 h 586087"/>
                <a:gd name="connsiteX183" fmla="*/ 562809 w 1055556"/>
                <a:gd name="connsiteY183" fmla="*/ 466046 h 586087"/>
                <a:gd name="connsiteX184" fmla="*/ 547592 w 1055556"/>
                <a:gd name="connsiteY184" fmla="*/ 456003 h 586087"/>
                <a:gd name="connsiteX185" fmla="*/ 539836 w 1055556"/>
                <a:gd name="connsiteY185" fmla="*/ 439482 h 586087"/>
                <a:gd name="connsiteX186" fmla="*/ 539324 w 1055556"/>
                <a:gd name="connsiteY186" fmla="*/ 430266 h 586087"/>
                <a:gd name="connsiteX187" fmla="*/ 539324 w 1055556"/>
                <a:gd name="connsiteY187" fmla="*/ 286240 h 586087"/>
                <a:gd name="connsiteX188" fmla="*/ 538950 w 1055556"/>
                <a:gd name="connsiteY188" fmla="*/ 267297 h 586087"/>
                <a:gd name="connsiteX189" fmla="*/ 530977 w 1055556"/>
                <a:gd name="connsiteY189" fmla="*/ 265465 h 586087"/>
                <a:gd name="connsiteX190" fmla="*/ 522887 w 1055556"/>
                <a:gd name="connsiteY190" fmla="*/ 270447 h 586087"/>
                <a:gd name="connsiteX191" fmla="*/ 521115 w 1055556"/>
                <a:gd name="connsiteY191" fmla="*/ 271530 h 586087"/>
                <a:gd name="connsiteX192" fmla="*/ 433357 w 1055556"/>
                <a:gd name="connsiteY192" fmla="*/ 325545 h 586087"/>
                <a:gd name="connsiteX193" fmla="*/ 426684 w 1055556"/>
                <a:gd name="connsiteY193" fmla="*/ 329779 h 586087"/>
                <a:gd name="connsiteX194" fmla="*/ 425148 w 1055556"/>
                <a:gd name="connsiteY194" fmla="*/ 337262 h 586087"/>
                <a:gd name="connsiteX195" fmla="*/ 425148 w 1055556"/>
                <a:gd name="connsiteY195" fmla="*/ 379166 h 586087"/>
                <a:gd name="connsiteX196" fmla="*/ 423770 w 1055556"/>
                <a:gd name="connsiteY196" fmla="*/ 406537 h 586087"/>
                <a:gd name="connsiteX197" fmla="*/ 415148 w 1055556"/>
                <a:gd name="connsiteY197" fmla="*/ 415871 h 586087"/>
                <a:gd name="connsiteX198" fmla="*/ 401801 w 1055556"/>
                <a:gd name="connsiteY198" fmla="*/ 417821 h 586087"/>
                <a:gd name="connsiteX199" fmla="*/ 399655 w 1055556"/>
                <a:gd name="connsiteY199" fmla="*/ 417919 h 586087"/>
                <a:gd name="connsiteX200" fmla="*/ 390482 w 1055556"/>
                <a:gd name="connsiteY200" fmla="*/ 418451 h 586087"/>
                <a:gd name="connsiteX201" fmla="*/ 383769 w 1055556"/>
                <a:gd name="connsiteY201" fmla="*/ 419120 h 586087"/>
                <a:gd name="connsiteX202" fmla="*/ 370462 w 1055556"/>
                <a:gd name="connsiteY202" fmla="*/ 421090 h 586087"/>
                <a:gd name="connsiteX203" fmla="*/ 357391 w 1055556"/>
                <a:gd name="connsiteY203" fmla="*/ 423984 h 586087"/>
                <a:gd name="connsiteX204" fmla="*/ 350973 w 1055556"/>
                <a:gd name="connsiteY204" fmla="*/ 425796 h 586087"/>
                <a:gd name="connsiteX205" fmla="*/ 343709 w 1055556"/>
                <a:gd name="connsiteY205" fmla="*/ 428218 h 586087"/>
                <a:gd name="connsiteX206" fmla="*/ 326346 w 1055556"/>
                <a:gd name="connsiteY206" fmla="*/ 435524 h 586087"/>
                <a:gd name="connsiteX207" fmla="*/ 311759 w 1055556"/>
                <a:gd name="connsiteY207" fmla="*/ 439364 h 586087"/>
                <a:gd name="connsiteX208" fmla="*/ 300381 w 1055556"/>
                <a:gd name="connsiteY208" fmla="*/ 430010 h 586087"/>
                <a:gd name="connsiteX209" fmla="*/ 297999 w 1055556"/>
                <a:gd name="connsiteY209" fmla="*/ 413981 h 586087"/>
                <a:gd name="connsiteX210" fmla="*/ 297960 w 1055556"/>
                <a:gd name="connsiteY210" fmla="*/ 412878 h 586087"/>
                <a:gd name="connsiteX211" fmla="*/ 297960 w 1055556"/>
                <a:gd name="connsiteY211" fmla="*/ 295869 h 586087"/>
                <a:gd name="connsiteX212" fmla="*/ 297960 w 1055556"/>
                <a:gd name="connsiteY212" fmla="*/ 285452 h 586087"/>
                <a:gd name="connsiteX213" fmla="*/ 297960 w 1055556"/>
                <a:gd name="connsiteY213" fmla="*/ 280707 h 586087"/>
                <a:gd name="connsiteX214" fmla="*/ 297015 w 1055556"/>
                <a:gd name="connsiteY214" fmla="*/ 276158 h 586087"/>
                <a:gd name="connsiteX215" fmla="*/ 288196 w 1055556"/>
                <a:gd name="connsiteY215" fmla="*/ 274090 h 586087"/>
                <a:gd name="connsiteX216" fmla="*/ 178922 w 1055556"/>
                <a:gd name="connsiteY216" fmla="*/ 274090 h 586087"/>
                <a:gd name="connsiteX217" fmla="*/ 174374 w 1055556"/>
                <a:gd name="connsiteY217" fmla="*/ 275036 h 586087"/>
                <a:gd name="connsiteX218" fmla="*/ 172327 w 1055556"/>
                <a:gd name="connsiteY218" fmla="*/ 283857 h 586087"/>
                <a:gd name="connsiteX219" fmla="*/ 172327 w 1055556"/>
                <a:gd name="connsiteY219" fmla="*/ 378752 h 586087"/>
                <a:gd name="connsiteX220" fmla="*/ 171756 w 1055556"/>
                <a:gd name="connsiteY220" fmla="*/ 397085 h 586087"/>
                <a:gd name="connsiteX221" fmla="*/ 169768 w 1055556"/>
                <a:gd name="connsiteY221" fmla="*/ 405060 h 586087"/>
                <a:gd name="connsiteX222" fmla="*/ 163508 w 1055556"/>
                <a:gd name="connsiteY222" fmla="*/ 410830 h 586087"/>
                <a:gd name="connsiteX223" fmla="*/ 146342 w 1055556"/>
                <a:gd name="connsiteY223" fmla="*/ 412977 h 586087"/>
                <a:gd name="connsiteX224" fmla="*/ 90258 w 1055556"/>
                <a:gd name="connsiteY224" fmla="*/ 412977 h 586087"/>
                <a:gd name="connsiteX225" fmla="*/ 80809 w 1055556"/>
                <a:gd name="connsiteY225" fmla="*/ 413272 h 586087"/>
                <a:gd name="connsiteX226" fmla="*/ 77718 w 1055556"/>
                <a:gd name="connsiteY226" fmla="*/ 416639 h 586087"/>
                <a:gd name="connsiteX227" fmla="*/ 77541 w 1055556"/>
                <a:gd name="connsiteY227" fmla="*/ 421365 h 586087"/>
                <a:gd name="connsiteX228" fmla="*/ 77541 w 1055556"/>
                <a:gd name="connsiteY228" fmla="*/ 565844 h 586087"/>
                <a:gd name="connsiteX229" fmla="*/ 59234 w 1055556"/>
                <a:gd name="connsiteY229" fmla="*/ 565844 h 586087"/>
                <a:gd name="connsiteX230" fmla="*/ 59234 w 1055556"/>
                <a:gd name="connsiteY230" fmla="*/ 429872 h 586087"/>
                <a:gd name="connsiteX231" fmla="*/ 59686 w 1055556"/>
                <a:gd name="connsiteY231" fmla="*/ 411460 h 586087"/>
                <a:gd name="connsiteX232" fmla="*/ 61419 w 1055556"/>
                <a:gd name="connsiteY232" fmla="*/ 403387 h 586087"/>
                <a:gd name="connsiteX233" fmla="*/ 67246 w 1055556"/>
                <a:gd name="connsiteY233" fmla="*/ 397184 h 586087"/>
                <a:gd name="connsiteX234" fmla="*/ 84234 w 1055556"/>
                <a:gd name="connsiteY234" fmla="*/ 394663 h 586087"/>
                <a:gd name="connsiteX235" fmla="*/ 140791 w 1055556"/>
                <a:gd name="connsiteY235" fmla="*/ 394663 h 586087"/>
                <a:gd name="connsiteX236" fmla="*/ 150260 w 1055556"/>
                <a:gd name="connsiteY236" fmla="*/ 394506 h 586087"/>
                <a:gd name="connsiteX237" fmla="*/ 153665 w 1055556"/>
                <a:gd name="connsiteY237" fmla="*/ 391473 h 586087"/>
                <a:gd name="connsiteX238" fmla="*/ 154000 w 1055556"/>
                <a:gd name="connsiteY238" fmla="*/ 386767 h 586087"/>
                <a:gd name="connsiteX239" fmla="*/ 154000 w 1055556"/>
                <a:gd name="connsiteY239" fmla="*/ 293506 h 586087"/>
                <a:gd name="connsiteX240" fmla="*/ 154197 w 1055556"/>
                <a:gd name="connsiteY240" fmla="*/ 275095 h 586087"/>
                <a:gd name="connsiteX241" fmla="*/ 155476 w 1055556"/>
                <a:gd name="connsiteY241" fmla="*/ 266745 h 586087"/>
                <a:gd name="connsiteX242" fmla="*/ 159945 w 1055556"/>
                <a:gd name="connsiteY242" fmla="*/ 259656 h 586087"/>
                <a:gd name="connsiteX243" fmla="*/ 167602 w 1055556"/>
                <a:gd name="connsiteY243" fmla="*/ 256722 h 586087"/>
                <a:gd name="connsiteX244" fmla="*/ 176343 w 1055556"/>
                <a:gd name="connsiteY244" fmla="*/ 255816 h 586087"/>
                <a:gd name="connsiteX245" fmla="*/ 194079 w 1055556"/>
                <a:gd name="connsiteY245" fmla="*/ 255816 h 586087"/>
                <a:gd name="connsiteX246" fmla="*/ 222230 w 1055556"/>
                <a:gd name="connsiteY246" fmla="*/ 255797 h 586087"/>
                <a:gd name="connsiteX247" fmla="*/ 278550 w 1055556"/>
                <a:gd name="connsiteY247" fmla="*/ 255797 h 586087"/>
                <a:gd name="connsiteX248" fmla="*/ 296976 w 1055556"/>
                <a:gd name="connsiteY248" fmla="*/ 255993 h 586087"/>
                <a:gd name="connsiteX249" fmla="*/ 305322 w 1055556"/>
                <a:gd name="connsiteY249" fmla="*/ 257273 h 586087"/>
                <a:gd name="connsiteX250" fmla="*/ 312389 w 1055556"/>
                <a:gd name="connsiteY250" fmla="*/ 261763 h 586087"/>
                <a:gd name="connsiteX251" fmla="*/ 315303 w 1055556"/>
                <a:gd name="connsiteY251" fmla="*/ 269443 h 586087"/>
                <a:gd name="connsiteX252" fmla="*/ 316208 w 1055556"/>
                <a:gd name="connsiteY252" fmla="*/ 278186 h 586087"/>
                <a:gd name="connsiteX253" fmla="*/ 316208 w 1055556"/>
                <a:gd name="connsiteY253" fmla="*/ 295909 h 586087"/>
                <a:gd name="connsiteX254" fmla="*/ 316228 w 1055556"/>
                <a:gd name="connsiteY254" fmla="*/ 402540 h 586087"/>
                <a:gd name="connsiteX255" fmla="*/ 316228 w 1055556"/>
                <a:gd name="connsiteY255" fmla="*/ 412602 h 586087"/>
                <a:gd name="connsiteX256" fmla="*/ 322212 w 1055556"/>
                <a:gd name="connsiteY256" fmla="*/ 418096 h 586087"/>
                <a:gd name="connsiteX257" fmla="*/ 339477 w 1055556"/>
                <a:gd name="connsiteY257" fmla="*/ 410298 h 586087"/>
                <a:gd name="connsiteX258" fmla="*/ 345579 w 1055556"/>
                <a:gd name="connsiteY258" fmla="*/ 408310 h 586087"/>
                <a:gd name="connsiteX259" fmla="*/ 352705 w 1055556"/>
                <a:gd name="connsiteY259" fmla="*/ 406301 h 586087"/>
                <a:gd name="connsiteX260" fmla="*/ 367115 w 1055556"/>
                <a:gd name="connsiteY260" fmla="*/ 403111 h 586087"/>
                <a:gd name="connsiteX261" fmla="*/ 381643 w 1055556"/>
                <a:gd name="connsiteY261" fmla="*/ 400945 h 586087"/>
                <a:gd name="connsiteX262" fmla="*/ 388927 w 1055556"/>
                <a:gd name="connsiteY262" fmla="*/ 400236 h 586087"/>
                <a:gd name="connsiteX263" fmla="*/ 393828 w 1055556"/>
                <a:gd name="connsiteY263" fmla="*/ 399901 h 586087"/>
                <a:gd name="connsiteX264" fmla="*/ 394911 w 1055556"/>
                <a:gd name="connsiteY264" fmla="*/ 399842 h 586087"/>
                <a:gd name="connsiteX265" fmla="*/ 402293 w 1055556"/>
                <a:gd name="connsiteY265" fmla="*/ 399625 h 586087"/>
                <a:gd name="connsiteX266" fmla="*/ 406821 w 1055556"/>
                <a:gd name="connsiteY266" fmla="*/ 394663 h 586087"/>
                <a:gd name="connsiteX267" fmla="*/ 406821 w 1055556"/>
                <a:gd name="connsiteY267" fmla="*/ 333540 h 586087"/>
                <a:gd name="connsiteX268" fmla="*/ 410561 w 1055556"/>
                <a:gd name="connsiteY268" fmla="*/ 319283 h 586087"/>
                <a:gd name="connsiteX269" fmla="*/ 422983 w 1055556"/>
                <a:gd name="connsiteY269" fmla="*/ 310481 h 586087"/>
                <a:gd name="connsiteX270" fmla="*/ 521804 w 1055556"/>
                <a:gd name="connsiteY270" fmla="*/ 249653 h 586087"/>
                <a:gd name="connsiteX271" fmla="*/ 525269 w 1055556"/>
                <a:gd name="connsiteY271" fmla="*/ 247723 h 586087"/>
                <a:gd name="connsiteX272" fmla="*/ 539600 w 1055556"/>
                <a:gd name="connsiteY272" fmla="*/ 242032 h 586087"/>
                <a:gd name="connsiteX273" fmla="*/ 553261 w 1055556"/>
                <a:gd name="connsiteY273" fmla="*/ 246541 h 586087"/>
                <a:gd name="connsiteX274" fmla="*/ 555387 w 1055556"/>
                <a:gd name="connsiteY274" fmla="*/ 253178 h 586087"/>
                <a:gd name="connsiteX275" fmla="*/ 556824 w 1055556"/>
                <a:gd name="connsiteY275" fmla="*/ 260601 h 586087"/>
                <a:gd name="connsiteX276" fmla="*/ 557592 w 1055556"/>
                <a:gd name="connsiteY276" fmla="*/ 278560 h 586087"/>
                <a:gd name="connsiteX277" fmla="*/ 557592 w 1055556"/>
                <a:gd name="connsiteY277" fmla="*/ 430305 h 586087"/>
                <a:gd name="connsiteX278" fmla="*/ 557769 w 1055556"/>
                <a:gd name="connsiteY278" fmla="*/ 435110 h 586087"/>
                <a:gd name="connsiteX279" fmla="*/ 561628 w 1055556"/>
                <a:gd name="connsiteY279" fmla="*/ 443637 h 586087"/>
                <a:gd name="connsiteX280" fmla="*/ 569482 w 1055556"/>
                <a:gd name="connsiteY280" fmla="*/ 448737 h 586087"/>
                <a:gd name="connsiteX281" fmla="*/ 574167 w 1055556"/>
                <a:gd name="connsiteY281" fmla="*/ 449426 h 586087"/>
                <a:gd name="connsiteX282" fmla="*/ 580073 w 1055556"/>
                <a:gd name="connsiteY282" fmla="*/ 449426 h 586087"/>
                <a:gd name="connsiteX283" fmla="*/ 605231 w 1055556"/>
                <a:gd name="connsiteY283" fmla="*/ 449426 h 586087"/>
                <a:gd name="connsiteX284" fmla="*/ 614680 w 1055556"/>
                <a:gd name="connsiteY284" fmla="*/ 449131 h 586087"/>
                <a:gd name="connsiteX285" fmla="*/ 617771 w 1055556"/>
                <a:gd name="connsiteY285" fmla="*/ 445763 h 586087"/>
                <a:gd name="connsiteX286" fmla="*/ 617948 w 1055556"/>
                <a:gd name="connsiteY286" fmla="*/ 441037 h 586087"/>
                <a:gd name="connsiteX287" fmla="*/ 617948 w 1055556"/>
                <a:gd name="connsiteY287" fmla="*/ 160823 h 586087"/>
                <a:gd name="connsiteX288" fmla="*/ 618873 w 1055556"/>
                <a:gd name="connsiteY288" fmla="*/ 152080 h 586087"/>
                <a:gd name="connsiteX289" fmla="*/ 621767 w 1055556"/>
                <a:gd name="connsiteY289" fmla="*/ 144400 h 586087"/>
                <a:gd name="connsiteX290" fmla="*/ 628834 w 1055556"/>
                <a:gd name="connsiteY290" fmla="*/ 139891 h 586087"/>
                <a:gd name="connsiteX291" fmla="*/ 637181 w 1055556"/>
                <a:gd name="connsiteY291" fmla="*/ 138611 h 586087"/>
                <a:gd name="connsiteX292" fmla="*/ 655606 w 1055556"/>
                <a:gd name="connsiteY292" fmla="*/ 138414 h 586087"/>
                <a:gd name="connsiteX293" fmla="*/ 712970 w 1055556"/>
                <a:gd name="connsiteY293" fmla="*/ 138414 h 586087"/>
                <a:gd name="connsiteX294" fmla="*/ 731179 w 1055556"/>
                <a:gd name="connsiteY294" fmla="*/ 139162 h 586087"/>
                <a:gd name="connsiteX295" fmla="*/ 739034 w 1055556"/>
                <a:gd name="connsiteY295" fmla="*/ 141545 h 586087"/>
                <a:gd name="connsiteX296" fmla="*/ 744231 w 1055556"/>
                <a:gd name="connsiteY296" fmla="*/ 148240 h 586087"/>
                <a:gd name="connsiteX297" fmla="*/ 746002 w 1055556"/>
                <a:gd name="connsiteY297" fmla="*/ 165608 h 586087"/>
                <a:gd name="connsiteX298" fmla="*/ 746002 w 1055556"/>
                <a:gd name="connsiteY298" fmla="*/ 443479 h 586087"/>
                <a:gd name="connsiteX299" fmla="*/ 751652 w 1055556"/>
                <a:gd name="connsiteY299" fmla="*/ 449446 h 586087"/>
                <a:gd name="connsiteX300" fmla="*/ 803070 w 1055556"/>
                <a:gd name="connsiteY300" fmla="*/ 449446 h 586087"/>
                <a:gd name="connsiteX301" fmla="*/ 807736 w 1055556"/>
                <a:gd name="connsiteY301" fmla="*/ 448953 h 586087"/>
                <a:gd name="connsiteX302" fmla="*/ 810492 w 1055556"/>
                <a:gd name="connsiteY302" fmla="*/ 445310 h 586087"/>
                <a:gd name="connsiteX303" fmla="*/ 810571 w 1055556"/>
                <a:gd name="connsiteY303" fmla="*/ 440565 h 586087"/>
                <a:gd name="connsiteX304" fmla="*/ 810571 w 1055556"/>
                <a:gd name="connsiteY304" fmla="*/ 316605 h 586087"/>
                <a:gd name="connsiteX305" fmla="*/ 811988 w 1055556"/>
                <a:gd name="connsiteY305" fmla="*/ 298961 h 586087"/>
                <a:gd name="connsiteX306" fmla="*/ 816299 w 1055556"/>
                <a:gd name="connsiteY306" fmla="*/ 291813 h 586087"/>
                <a:gd name="connsiteX307" fmla="*/ 823937 w 1055556"/>
                <a:gd name="connsiteY307" fmla="*/ 288761 h 586087"/>
                <a:gd name="connsiteX308" fmla="*/ 841949 w 1055556"/>
                <a:gd name="connsiteY308" fmla="*/ 287776 h 586087"/>
                <a:gd name="connsiteX309" fmla="*/ 956027 w 1055556"/>
                <a:gd name="connsiteY309" fmla="*/ 287776 h 586087"/>
                <a:gd name="connsiteX310" fmla="*/ 974453 w 1055556"/>
                <a:gd name="connsiteY310" fmla="*/ 287973 h 586087"/>
                <a:gd name="connsiteX311" fmla="*/ 982799 w 1055556"/>
                <a:gd name="connsiteY311" fmla="*/ 289253 h 586087"/>
                <a:gd name="connsiteX312" fmla="*/ 989866 w 1055556"/>
                <a:gd name="connsiteY312" fmla="*/ 293743 h 586087"/>
                <a:gd name="connsiteX313" fmla="*/ 992780 w 1055556"/>
                <a:gd name="connsiteY313" fmla="*/ 301422 h 586087"/>
                <a:gd name="connsiteX314" fmla="*/ 993685 w 1055556"/>
                <a:gd name="connsiteY314" fmla="*/ 310166 h 586087"/>
                <a:gd name="connsiteX315" fmla="*/ 993685 w 1055556"/>
                <a:gd name="connsiteY315" fmla="*/ 341968 h 586087"/>
                <a:gd name="connsiteX316" fmla="*/ 993705 w 1055556"/>
                <a:gd name="connsiteY316" fmla="*/ 454644 h 586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</a:cxnLst>
              <a:rect l="l" t="t" r="r" b="b"/>
              <a:pathLst>
                <a:path w="1055556" h="586087">
                  <a:moveTo>
                    <a:pt x="1045419" y="565883"/>
                  </a:moveTo>
                  <a:lnTo>
                    <a:pt x="1012603" y="565883"/>
                  </a:lnTo>
                  <a:lnTo>
                    <a:pt x="1012603" y="341909"/>
                  </a:lnTo>
                  <a:lnTo>
                    <a:pt x="1012524" y="302565"/>
                  </a:lnTo>
                  <a:cubicBezTo>
                    <a:pt x="1012308" y="297957"/>
                    <a:pt x="1011225" y="293821"/>
                    <a:pt x="1009749" y="290297"/>
                  </a:cubicBezTo>
                  <a:cubicBezTo>
                    <a:pt x="1008253" y="286929"/>
                    <a:pt x="1006501" y="283916"/>
                    <a:pt x="1003666" y="280707"/>
                  </a:cubicBezTo>
                  <a:cubicBezTo>
                    <a:pt x="997642" y="274248"/>
                    <a:pt x="991973" y="271156"/>
                    <a:pt x="983390" y="269364"/>
                  </a:cubicBezTo>
                  <a:cubicBezTo>
                    <a:pt x="979138" y="268517"/>
                    <a:pt x="974256" y="268833"/>
                    <a:pt x="969610" y="268773"/>
                  </a:cubicBezTo>
                  <a:lnTo>
                    <a:pt x="838938" y="268773"/>
                  </a:lnTo>
                  <a:cubicBezTo>
                    <a:pt x="834272" y="268813"/>
                    <a:pt x="829508" y="268675"/>
                    <a:pt x="824902" y="268872"/>
                  </a:cubicBezTo>
                  <a:cubicBezTo>
                    <a:pt x="820335" y="269148"/>
                    <a:pt x="816240" y="270290"/>
                    <a:pt x="812776" y="271786"/>
                  </a:cubicBezTo>
                  <a:cubicBezTo>
                    <a:pt x="809409" y="273243"/>
                    <a:pt x="806417" y="275134"/>
                    <a:pt x="803228" y="277989"/>
                  </a:cubicBezTo>
                  <a:cubicBezTo>
                    <a:pt x="800157" y="280746"/>
                    <a:pt x="797578" y="284212"/>
                    <a:pt x="795944" y="287244"/>
                  </a:cubicBezTo>
                  <a:cubicBezTo>
                    <a:pt x="794291" y="290395"/>
                    <a:pt x="792854" y="294117"/>
                    <a:pt x="792125" y="298429"/>
                  </a:cubicBezTo>
                  <a:cubicBezTo>
                    <a:pt x="791377" y="302742"/>
                    <a:pt x="791673" y="307606"/>
                    <a:pt x="791614" y="312253"/>
                  </a:cubicBezTo>
                  <a:lnTo>
                    <a:pt x="791614" y="430404"/>
                  </a:lnTo>
                  <a:lnTo>
                    <a:pt x="764881" y="430404"/>
                  </a:lnTo>
                  <a:lnTo>
                    <a:pt x="764881" y="160390"/>
                  </a:lnTo>
                  <a:cubicBezTo>
                    <a:pt x="764900" y="155703"/>
                    <a:pt x="764959" y="150918"/>
                    <a:pt x="763936" y="146802"/>
                  </a:cubicBezTo>
                  <a:cubicBezTo>
                    <a:pt x="763011" y="142608"/>
                    <a:pt x="761436" y="139241"/>
                    <a:pt x="759605" y="136208"/>
                  </a:cubicBezTo>
                  <a:cubicBezTo>
                    <a:pt x="757676" y="133058"/>
                    <a:pt x="754821" y="129710"/>
                    <a:pt x="751652" y="127170"/>
                  </a:cubicBezTo>
                  <a:cubicBezTo>
                    <a:pt x="748384" y="124570"/>
                    <a:pt x="745530" y="123034"/>
                    <a:pt x="741849" y="121636"/>
                  </a:cubicBezTo>
                  <a:cubicBezTo>
                    <a:pt x="734624" y="118446"/>
                    <a:pt x="724269" y="119549"/>
                    <a:pt x="715116" y="119352"/>
                  </a:cubicBezTo>
                  <a:lnTo>
                    <a:pt x="693363" y="119352"/>
                  </a:lnTo>
                  <a:lnTo>
                    <a:pt x="693363" y="9846"/>
                  </a:lnTo>
                  <a:cubicBezTo>
                    <a:pt x="693363" y="4411"/>
                    <a:pt x="688954" y="0"/>
                    <a:pt x="683520" y="0"/>
                  </a:cubicBezTo>
                  <a:cubicBezTo>
                    <a:pt x="678087" y="0"/>
                    <a:pt x="673678" y="4411"/>
                    <a:pt x="673678" y="9846"/>
                  </a:cubicBezTo>
                  <a:lnTo>
                    <a:pt x="673678" y="119352"/>
                  </a:lnTo>
                  <a:lnTo>
                    <a:pt x="641964" y="119352"/>
                  </a:lnTo>
                  <a:cubicBezTo>
                    <a:pt x="637319" y="119411"/>
                    <a:pt x="632436" y="119096"/>
                    <a:pt x="628184" y="119943"/>
                  </a:cubicBezTo>
                  <a:cubicBezTo>
                    <a:pt x="619641" y="121754"/>
                    <a:pt x="613952" y="124846"/>
                    <a:pt x="607948" y="131325"/>
                  </a:cubicBezTo>
                  <a:cubicBezTo>
                    <a:pt x="605133" y="134534"/>
                    <a:pt x="603381" y="137547"/>
                    <a:pt x="601885" y="140915"/>
                  </a:cubicBezTo>
                  <a:cubicBezTo>
                    <a:pt x="600428" y="144439"/>
                    <a:pt x="599345" y="148575"/>
                    <a:pt x="599129" y="153183"/>
                  </a:cubicBezTo>
                  <a:lnTo>
                    <a:pt x="599050" y="192507"/>
                  </a:lnTo>
                  <a:lnTo>
                    <a:pt x="599050" y="430384"/>
                  </a:lnTo>
                  <a:lnTo>
                    <a:pt x="576589" y="430384"/>
                  </a:lnTo>
                  <a:cubicBezTo>
                    <a:pt x="576589" y="430384"/>
                    <a:pt x="576589" y="338660"/>
                    <a:pt x="576589" y="338660"/>
                  </a:cubicBezTo>
                  <a:lnTo>
                    <a:pt x="576589" y="270487"/>
                  </a:lnTo>
                  <a:lnTo>
                    <a:pt x="576549" y="256427"/>
                  </a:lnTo>
                  <a:cubicBezTo>
                    <a:pt x="576372" y="251878"/>
                    <a:pt x="575565" y="247743"/>
                    <a:pt x="574226" y="244533"/>
                  </a:cubicBezTo>
                  <a:cubicBezTo>
                    <a:pt x="572986" y="241185"/>
                    <a:pt x="571392" y="238468"/>
                    <a:pt x="569797" y="236302"/>
                  </a:cubicBezTo>
                  <a:cubicBezTo>
                    <a:pt x="568085" y="233820"/>
                    <a:pt x="566825" y="232541"/>
                    <a:pt x="564423" y="230335"/>
                  </a:cubicBezTo>
                  <a:cubicBezTo>
                    <a:pt x="559679" y="225865"/>
                    <a:pt x="551135" y="222478"/>
                    <a:pt x="546942" y="222124"/>
                  </a:cubicBezTo>
                  <a:cubicBezTo>
                    <a:pt x="541962" y="221415"/>
                    <a:pt x="535564" y="221237"/>
                    <a:pt x="527788" y="224309"/>
                  </a:cubicBezTo>
                  <a:cubicBezTo>
                    <a:pt x="526115" y="224920"/>
                    <a:pt x="524324" y="226042"/>
                    <a:pt x="522611" y="226889"/>
                  </a:cubicBezTo>
                  <a:lnTo>
                    <a:pt x="412333" y="294767"/>
                  </a:lnTo>
                  <a:cubicBezTo>
                    <a:pt x="409045" y="296854"/>
                    <a:pt x="405561" y="298764"/>
                    <a:pt x="402431" y="301009"/>
                  </a:cubicBezTo>
                  <a:cubicBezTo>
                    <a:pt x="399321" y="303313"/>
                    <a:pt x="396821" y="305853"/>
                    <a:pt x="394714" y="308767"/>
                  </a:cubicBezTo>
                  <a:cubicBezTo>
                    <a:pt x="390324" y="314951"/>
                    <a:pt x="388061" y="321685"/>
                    <a:pt x="387962" y="329562"/>
                  </a:cubicBezTo>
                  <a:lnTo>
                    <a:pt x="387962" y="381273"/>
                  </a:lnTo>
                  <a:lnTo>
                    <a:pt x="387431" y="381312"/>
                  </a:lnTo>
                  <a:cubicBezTo>
                    <a:pt x="384812" y="381548"/>
                    <a:pt x="382194" y="381726"/>
                    <a:pt x="379556" y="382080"/>
                  </a:cubicBezTo>
                  <a:cubicBezTo>
                    <a:pt x="374300" y="382671"/>
                    <a:pt x="369044" y="383459"/>
                    <a:pt x="363769" y="384423"/>
                  </a:cubicBezTo>
                  <a:cubicBezTo>
                    <a:pt x="358493" y="385388"/>
                    <a:pt x="353237" y="386511"/>
                    <a:pt x="347981" y="387929"/>
                  </a:cubicBezTo>
                  <a:cubicBezTo>
                    <a:pt x="345343" y="388578"/>
                    <a:pt x="342725" y="389366"/>
                    <a:pt x="340107" y="390154"/>
                  </a:cubicBezTo>
                  <a:lnTo>
                    <a:pt x="336189" y="391394"/>
                  </a:lnTo>
                  <a:lnTo>
                    <a:pt x="335225" y="391709"/>
                  </a:lnTo>
                  <a:lnTo>
                    <a:pt x="335225" y="284586"/>
                  </a:lnTo>
                  <a:cubicBezTo>
                    <a:pt x="335185" y="279899"/>
                    <a:pt x="335303" y="275154"/>
                    <a:pt x="335146" y="270546"/>
                  </a:cubicBezTo>
                  <a:cubicBezTo>
                    <a:pt x="334929" y="265938"/>
                    <a:pt x="333827" y="261803"/>
                    <a:pt x="332370" y="258297"/>
                  </a:cubicBezTo>
                  <a:cubicBezTo>
                    <a:pt x="330874" y="254930"/>
                    <a:pt x="329102" y="251917"/>
                    <a:pt x="326287" y="248727"/>
                  </a:cubicBezTo>
                  <a:cubicBezTo>
                    <a:pt x="320264" y="242268"/>
                    <a:pt x="314575" y="239177"/>
                    <a:pt x="306011" y="237404"/>
                  </a:cubicBezTo>
                  <a:cubicBezTo>
                    <a:pt x="301759" y="236577"/>
                    <a:pt x="296877" y="236892"/>
                    <a:pt x="292212" y="236833"/>
                  </a:cubicBezTo>
                  <a:lnTo>
                    <a:pt x="182878" y="236833"/>
                  </a:lnTo>
                  <a:cubicBezTo>
                    <a:pt x="178193" y="236873"/>
                    <a:pt x="173449" y="236755"/>
                    <a:pt x="168843" y="236912"/>
                  </a:cubicBezTo>
                  <a:cubicBezTo>
                    <a:pt x="164236" y="237129"/>
                    <a:pt x="160102" y="238232"/>
                    <a:pt x="156598" y="239708"/>
                  </a:cubicBezTo>
                  <a:cubicBezTo>
                    <a:pt x="153232" y="241205"/>
                    <a:pt x="150220" y="242977"/>
                    <a:pt x="147031" y="245793"/>
                  </a:cubicBezTo>
                  <a:cubicBezTo>
                    <a:pt x="140594" y="251838"/>
                    <a:pt x="137503" y="257510"/>
                    <a:pt x="135712" y="266095"/>
                  </a:cubicBezTo>
                  <a:cubicBezTo>
                    <a:pt x="134885" y="270349"/>
                    <a:pt x="135200" y="275232"/>
                    <a:pt x="135141" y="279899"/>
                  </a:cubicBezTo>
                  <a:lnTo>
                    <a:pt x="135141" y="375720"/>
                  </a:lnTo>
                  <a:lnTo>
                    <a:pt x="78092" y="375720"/>
                  </a:lnTo>
                  <a:cubicBezTo>
                    <a:pt x="73368" y="375641"/>
                    <a:pt x="68840" y="376153"/>
                    <a:pt x="65002" y="377413"/>
                  </a:cubicBezTo>
                  <a:cubicBezTo>
                    <a:pt x="61064" y="378732"/>
                    <a:pt x="58230" y="380190"/>
                    <a:pt x="54982" y="382494"/>
                  </a:cubicBezTo>
                  <a:cubicBezTo>
                    <a:pt x="51773" y="384798"/>
                    <a:pt x="48682" y="387988"/>
                    <a:pt x="46537" y="391197"/>
                  </a:cubicBezTo>
                  <a:cubicBezTo>
                    <a:pt x="44430" y="394309"/>
                    <a:pt x="42973" y="397440"/>
                    <a:pt x="41773" y="401417"/>
                  </a:cubicBezTo>
                  <a:cubicBezTo>
                    <a:pt x="40552" y="405316"/>
                    <a:pt x="40237" y="409983"/>
                    <a:pt x="40375" y="414709"/>
                  </a:cubicBezTo>
                  <a:lnTo>
                    <a:pt x="40375" y="565805"/>
                  </a:lnTo>
                  <a:lnTo>
                    <a:pt x="10138" y="565805"/>
                  </a:lnTo>
                  <a:cubicBezTo>
                    <a:pt x="4547" y="565805"/>
                    <a:pt x="0" y="570334"/>
                    <a:pt x="0" y="575946"/>
                  </a:cubicBezTo>
                  <a:cubicBezTo>
                    <a:pt x="0" y="581558"/>
                    <a:pt x="4528" y="586087"/>
                    <a:pt x="10138" y="586087"/>
                  </a:cubicBezTo>
                  <a:lnTo>
                    <a:pt x="1045419" y="586087"/>
                  </a:lnTo>
                  <a:cubicBezTo>
                    <a:pt x="1051010" y="586087"/>
                    <a:pt x="1055557" y="581558"/>
                    <a:pt x="1055557" y="575946"/>
                  </a:cubicBezTo>
                  <a:cubicBezTo>
                    <a:pt x="1055557" y="570334"/>
                    <a:pt x="1051029" y="565805"/>
                    <a:pt x="1045419" y="565805"/>
                  </a:cubicBezTo>
                  <a:close/>
                  <a:moveTo>
                    <a:pt x="956440" y="341909"/>
                  </a:moveTo>
                  <a:lnTo>
                    <a:pt x="956440" y="565883"/>
                  </a:lnTo>
                  <a:lnTo>
                    <a:pt x="96439" y="565883"/>
                  </a:lnTo>
                  <a:lnTo>
                    <a:pt x="96439" y="431940"/>
                  </a:lnTo>
                  <a:lnTo>
                    <a:pt x="152012" y="431940"/>
                  </a:lnTo>
                  <a:cubicBezTo>
                    <a:pt x="156736" y="432058"/>
                    <a:pt x="161421" y="431802"/>
                    <a:pt x="165339" y="430581"/>
                  </a:cubicBezTo>
                  <a:cubicBezTo>
                    <a:pt x="169335" y="429380"/>
                    <a:pt x="172504" y="427942"/>
                    <a:pt x="175595" y="425855"/>
                  </a:cubicBezTo>
                  <a:cubicBezTo>
                    <a:pt x="178804" y="423728"/>
                    <a:pt x="182012" y="420656"/>
                    <a:pt x="184335" y="417447"/>
                  </a:cubicBezTo>
                  <a:cubicBezTo>
                    <a:pt x="186658" y="414178"/>
                    <a:pt x="188154" y="411382"/>
                    <a:pt x="189453" y="407443"/>
                  </a:cubicBezTo>
                  <a:cubicBezTo>
                    <a:pt x="192150" y="399724"/>
                    <a:pt x="190910" y="389465"/>
                    <a:pt x="191205" y="380308"/>
                  </a:cubicBezTo>
                  <a:lnTo>
                    <a:pt x="191205" y="293034"/>
                  </a:lnTo>
                  <a:lnTo>
                    <a:pt x="278983" y="293034"/>
                  </a:lnTo>
                  <a:lnTo>
                    <a:pt x="278983" y="423649"/>
                  </a:lnTo>
                  <a:lnTo>
                    <a:pt x="279101" y="425284"/>
                  </a:lnTo>
                  <a:cubicBezTo>
                    <a:pt x="279593" y="434421"/>
                    <a:pt x="283058" y="441037"/>
                    <a:pt x="286424" y="445330"/>
                  </a:cubicBezTo>
                  <a:cubicBezTo>
                    <a:pt x="287979" y="447437"/>
                    <a:pt x="290361" y="449899"/>
                    <a:pt x="293432" y="452183"/>
                  </a:cubicBezTo>
                  <a:cubicBezTo>
                    <a:pt x="296464" y="454408"/>
                    <a:pt x="300047" y="456220"/>
                    <a:pt x="302999" y="457165"/>
                  </a:cubicBezTo>
                  <a:cubicBezTo>
                    <a:pt x="305913" y="458110"/>
                    <a:pt x="307921" y="458543"/>
                    <a:pt x="311110" y="458839"/>
                  </a:cubicBezTo>
                  <a:cubicBezTo>
                    <a:pt x="312763" y="458839"/>
                    <a:pt x="314082" y="459213"/>
                    <a:pt x="316031" y="458937"/>
                  </a:cubicBezTo>
                  <a:lnTo>
                    <a:pt x="321720" y="458287"/>
                  </a:lnTo>
                  <a:cubicBezTo>
                    <a:pt x="330224" y="456180"/>
                    <a:pt x="339300" y="449899"/>
                    <a:pt x="348020" y="446827"/>
                  </a:cubicBezTo>
                  <a:lnTo>
                    <a:pt x="351347" y="445586"/>
                  </a:lnTo>
                  <a:lnTo>
                    <a:pt x="353709" y="444798"/>
                  </a:lnTo>
                  <a:lnTo>
                    <a:pt x="356485" y="443912"/>
                  </a:lnTo>
                  <a:cubicBezTo>
                    <a:pt x="358355" y="443361"/>
                    <a:pt x="360225" y="442770"/>
                    <a:pt x="362154" y="442317"/>
                  </a:cubicBezTo>
                  <a:cubicBezTo>
                    <a:pt x="365973" y="441293"/>
                    <a:pt x="369891" y="440466"/>
                    <a:pt x="373848" y="439718"/>
                  </a:cubicBezTo>
                  <a:cubicBezTo>
                    <a:pt x="377804" y="438989"/>
                    <a:pt x="381840" y="438399"/>
                    <a:pt x="385915" y="437926"/>
                  </a:cubicBezTo>
                  <a:cubicBezTo>
                    <a:pt x="387942" y="437631"/>
                    <a:pt x="390009" y="437512"/>
                    <a:pt x="392057" y="437316"/>
                  </a:cubicBezTo>
                  <a:lnTo>
                    <a:pt x="395029" y="437079"/>
                  </a:lnTo>
                  <a:lnTo>
                    <a:pt x="398573" y="436922"/>
                  </a:lnTo>
                  <a:lnTo>
                    <a:pt x="405659" y="436666"/>
                  </a:lnTo>
                  <a:lnTo>
                    <a:pt x="408907" y="436548"/>
                  </a:lnTo>
                  <a:cubicBezTo>
                    <a:pt x="412845" y="436626"/>
                    <a:pt x="415581" y="435386"/>
                    <a:pt x="418553" y="434401"/>
                  </a:cubicBezTo>
                  <a:cubicBezTo>
                    <a:pt x="421428" y="433338"/>
                    <a:pt x="424656" y="432531"/>
                    <a:pt x="427254" y="431250"/>
                  </a:cubicBezTo>
                  <a:cubicBezTo>
                    <a:pt x="432176" y="428376"/>
                    <a:pt x="437333" y="422822"/>
                    <a:pt x="439853" y="417860"/>
                  </a:cubicBezTo>
                  <a:cubicBezTo>
                    <a:pt x="442452" y="412937"/>
                    <a:pt x="444381" y="406380"/>
                    <a:pt x="444066" y="398936"/>
                  </a:cubicBezTo>
                  <a:lnTo>
                    <a:pt x="444066" y="341180"/>
                  </a:lnTo>
                  <a:lnTo>
                    <a:pt x="520387" y="294196"/>
                  </a:lnTo>
                  <a:lnTo>
                    <a:pt x="520387" y="430246"/>
                  </a:lnTo>
                  <a:cubicBezTo>
                    <a:pt x="520268" y="434598"/>
                    <a:pt x="520544" y="439521"/>
                    <a:pt x="521430" y="443991"/>
                  </a:cubicBezTo>
                  <a:cubicBezTo>
                    <a:pt x="523182" y="453089"/>
                    <a:pt x="527395" y="461596"/>
                    <a:pt x="533399" y="468507"/>
                  </a:cubicBezTo>
                  <a:cubicBezTo>
                    <a:pt x="539403" y="475439"/>
                    <a:pt x="547277" y="480697"/>
                    <a:pt x="555978" y="483709"/>
                  </a:cubicBezTo>
                  <a:cubicBezTo>
                    <a:pt x="560348" y="485206"/>
                    <a:pt x="564915" y="486092"/>
                    <a:pt x="569561" y="486466"/>
                  </a:cubicBezTo>
                  <a:cubicBezTo>
                    <a:pt x="571884" y="486585"/>
                    <a:pt x="574246" y="486683"/>
                    <a:pt x="576569" y="486624"/>
                  </a:cubicBezTo>
                  <a:lnTo>
                    <a:pt x="617456" y="486624"/>
                  </a:lnTo>
                  <a:cubicBezTo>
                    <a:pt x="622180" y="486703"/>
                    <a:pt x="626708" y="486191"/>
                    <a:pt x="630547" y="484930"/>
                  </a:cubicBezTo>
                  <a:cubicBezTo>
                    <a:pt x="634484" y="483611"/>
                    <a:pt x="637319" y="482154"/>
                    <a:pt x="640567" y="479850"/>
                  </a:cubicBezTo>
                  <a:cubicBezTo>
                    <a:pt x="643775" y="477546"/>
                    <a:pt x="646866" y="474356"/>
                    <a:pt x="649012" y="471146"/>
                  </a:cubicBezTo>
                  <a:cubicBezTo>
                    <a:pt x="651118" y="468035"/>
                    <a:pt x="652575" y="464904"/>
                    <a:pt x="653776" y="460926"/>
                  </a:cubicBezTo>
                  <a:cubicBezTo>
                    <a:pt x="654996" y="457027"/>
                    <a:pt x="655311" y="452360"/>
                    <a:pt x="655173" y="447634"/>
                  </a:cubicBezTo>
                  <a:lnTo>
                    <a:pt x="655173" y="175592"/>
                  </a:lnTo>
                  <a:lnTo>
                    <a:pt x="708718" y="175592"/>
                  </a:lnTo>
                  <a:lnTo>
                    <a:pt x="708718" y="440762"/>
                  </a:lnTo>
                  <a:cubicBezTo>
                    <a:pt x="708797" y="445429"/>
                    <a:pt x="708560" y="450214"/>
                    <a:pt x="708895" y="454763"/>
                  </a:cubicBezTo>
                  <a:cubicBezTo>
                    <a:pt x="709368" y="459252"/>
                    <a:pt x="710647" y="463191"/>
                    <a:pt x="712242" y="466479"/>
                  </a:cubicBezTo>
                  <a:cubicBezTo>
                    <a:pt x="714840" y="472721"/>
                    <a:pt x="721947" y="480007"/>
                    <a:pt x="728207" y="482784"/>
                  </a:cubicBezTo>
                  <a:cubicBezTo>
                    <a:pt x="731376" y="484438"/>
                    <a:pt x="735293" y="485757"/>
                    <a:pt x="739723" y="486309"/>
                  </a:cubicBezTo>
                  <a:cubicBezTo>
                    <a:pt x="744171" y="486821"/>
                    <a:pt x="748994" y="486545"/>
                    <a:pt x="753660" y="486624"/>
                  </a:cubicBezTo>
                  <a:lnTo>
                    <a:pt x="811417" y="486624"/>
                  </a:lnTo>
                  <a:cubicBezTo>
                    <a:pt x="816122" y="486663"/>
                    <a:pt x="820512" y="485876"/>
                    <a:pt x="824213" y="484537"/>
                  </a:cubicBezTo>
                  <a:cubicBezTo>
                    <a:pt x="828012" y="483158"/>
                    <a:pt x="830827" y="481681"/>
                    <a:pt x="834095" y="479141"/>
                  </a:cubicBezTo>
                  <a:cubicBezTo>
                    <a:pt x="837284" y="476699"/>
                    <a:pt x="840237" y="473371"/>
                    <a:pt x="842225" y="470201"/>
                  </a:cubicBezTo>
                  <a:cubicBezTo>
                    <a:pt x="844154" y="467168"/>
                    <a:pt x="845650" y="463840"/>
                    <a:pt x="846694" y="459725"/>
                  </a:cubicBezTo>
                  <a:cubicBezTo>
                    <a:pt x="847776" y="455688"/>
                    <a:pt x="847835" y="450942"/>
                    <a:pt x="847776" y="446236"/>
                  </a:cubicBezTo>
                  <a:lnTo>
                    <a:pt x="847776" y="324974"/>
                  </a:lnTo>
                  <a:lnTo>
                    <a:pt x="956440" y="324974"/>
                  </a:lnTo>
                  <a:lnTo>
                    <a:pt x="956440" y="341929"/>
                  </a:lnTo>
                  <a:close/>
                  <a:moveTo>
                    <a:pt x="993666" y="454585"/>
                  </a:moveTo>
                  <a:lnTo>
                    <a:pt x="993666" y="565903"/>
                  </a:lnTo>
                  <a:lnTo>
                    <a:pt x="975358" y="565903"/>
                  </a:lnTo>
                  <a:lnTo>
                    <a:pt x="975358" y="312667"/>
                  </a:lnTo>
                  <a:cubicBezTo>
                    <a:pt x="975378" y="311111"/>
                    <a:pt x="975457" y="309417"/>
                    <a:pt x="974433" y="308118"/>
                  </a:cubicBezTo>
                  <a:cubicBezTo>
                    <a:pt x="972425" y="305184"/>
                    <a:pt x="968606" y="306247"/>
                    <a:pt x="965614" y="306050"/>
                  </a:cubicBezTo>
                  <a:lnTo>
                    <a:pt x="835296" y="306050"/>
                  </a:lnTo>
                  <a:cubicBezTo>
                    <a:pt x="832126" y="305400"/>
                    <a:pt x="828603" y="307822"/>
                    <a:pt x="828839" y="311209"/>
                  </a:cubicBezTo>
                  <a:lnTo>
                    <a:pt x="828839" y="431585"/>
                  </a:lnTo>
                  <a:cubicBezTo>
                    <a:pt x="828721" y="437749"/>
                    <a:pt x="829115" y="444188"/>
                    <a:pt x="828485" y="450076"/>
                  </a:cubicBezTo>
                  <a:cubicBezTo>
                    <a:pt x="828111" y="452990"/>
                    <a:pt x="827737" y="455668"/>
                    <a:pt x="826949" y="458228"/>
                  </a:cubicBezTo>
                  <a:cubicBezTo>
                    <a:pt x="826044" y="460828"/>
                    <a:pt x="824016" y="463309"/>
                    <a:pt x="821555" y="464786"/>
                  </a:cubicBezTo>
                  <a:cubicBezTo>
                    <a:pt x="819036" y="466341"/>
                    <a:pt x="816457" y="466499"/>
                    <a:pt x="813661" y="467031"/>
                  </a:cubicBezTo>
                  <a:cubicBezTo>
                    <a:pt x="810866" y="467464"/>
                    <a:pt x="807854" y="467720"/>
                    <a:pt x="804744" y="467720"/>
                  </a:cubicBezTo>
                  <a:lnTo>
                    <a:pt x="757459" y="467720"/>
                  </a:lnTo>
                  <a:cubicBezTo>
                    <a:pt x="751239" y="467818"/>
                    <a:pt x="744861" y="467720"/>
                    <a:pt x="739683" y="466479"/>
                  </a:cubicBezTo>
                  <a:cubicBezTo>
                    <a:pt x="737104" y="466125"/>
                    <a:pt x="734348" y="464845"/>
                    <a:pt x="732321" y="462679"/>
                  </a:cubicBezTo>
                  <a:cubicBezTo>
                    <a:pt x="730215" y="460532"/>
                    <a:pt x="729191" y="457795"/>
                    <a:pt x="728817" y="455196"/>
                  </a:cubicBezTo>
                  <a:cubicBezTo>
                    <a:pt x="727596" y="449958"/>
                    <a:pt x="727596" y="443519"/>
                    <a:pt x="727675" y="437316"/>
                  </a:cubicBezTo>
                  <a:lnTo>
                    <a:pt x="727675" y="170511"/>
                  </a:lnTo>
                  <a:lnTo>
                    <a:pt x="727636" y="161020"/>
                  </a:lnTo>
                  <a:cubicBezTo>
                    <a:pt x="727458" y="159445"/>
                    <a:pt x="726455" y="158007"/>
                    <a:pt x="725037" y="157259"/>
                  </a:cubicBezTo>
                  <a:cubicBezTo>
                    <a:pt x="723620" y="156451"/>
                    <a:pt x="721947" y="156727"/>
                    <a:pt x="720391" y="156688"/>
                  </a:cubicBezTo>
                  <a:lnTo>
                    <a:pt x="646000" y="156688"/>
                  </a:lnTo>
                  <a:cubicBezTo>
                    <a:pt x="643027" y="156885"/>
                    <a:pt x="639189" y="155821"/>
                    <a:pt x="637200" y="158775"/>
                  </a:cubicBezTo>
                  <a:cubicBezTo>
                    <a:pt x="636177" y="160075"/>
                    <a:pt x="636255" y="161768"/>
                    <a:pt x="636275" y="163324"/>
                  </a:cubicBezTo>
                  <a:lnTo>
                    <a:pt x="636275" y="432531"/>
                  </a:lnTo>
                  <a:cubicBezTo>
                    <a:pt x="636157" y="438674"/>
                    <a:pt x="636610" y="445173"/>
                    <a:pt x="635822" y="450942"/>
                  </a:cubicBezTo>
                  <a:cubicBezTo>
                    <a:pt x="635350" y="453817"/>
                    <a:pt x="635114" y="456436"/>
                    <a:pt x="634090" y="458996"/>
                  </a:cubicBezTo>
                  <a:cubicBezTo>
                    <a:pt x="632988" y="461576"/>
                    <a:pt x="630783" y="463919"/>
                    <a:pt x="628243" y="465199"/>
                  </a:cubicBezTo>
                  <a:cubicBezTo>
                    <a:pt x="623243" y="467188"/>
                    <a:pt x="617594" y="467680"/>
                    <a:pt x="611255" y="467700"/>
                  </a:cubicBezTo>
                  <a:lnTo>
                    <a:pt x="576569" y="467700"/>
                  </a:lnTo>
                  <a:lnTo>
                    <a:pt x="571904" y="467641"/>
                  </a:lnTo>
                  <a:cubicBezTo>
                    <a:pt x="568813" y="467483"/>
                    <a:pt x="565742" y="466991"/>
                    <a:pt x="562809" y="466046"/>
                  </a:cubicBezTo>
                  <a:cubicBezTo>
                    <a:pt x="556943" y="464156"/>
                    <a:pt x="551627" y="460650"/>
                    <a:pt x="547592" y="456003"/>
                  </a:cubicBezTo>
                  <a:cubicBezTo>
                    <a:pt x="543576" y="451356"/>
                    <a:pt x="540820" y="445586"/>
                    <a:pt x="539836" y="439482"/>
                  </a:cubicBezTo>
                  <a:cubicBezTo>
                    <a:pt x="539324" y="436469"/>
                    <a:pt x="539285" y="433259"/>
                    <a:pt x="539324" y="430266"/>
                  </a:cubicBezTo>
                  <a:lnTo>
                    <a:pt x="539324" y="286240"/>
                  </a:lnTo>
                  <a:cubicBezTo>
                    <a:pt x="539147" y="279939"/>
                    <a:pt x="539698" y="273539"/>
                    <a:pt x="538950" y="267297"/>
                  </a:cubicBezTo>
                  <a:cubicBezTo>
                    <a:pt x="537769" y="264185"/>
                    <a:pt x="533438" y="263279"/>
                    <a:pt x="530977" y="265465"/>
                  </a:cubicBezTo>
                  <a:lnTo>
                    <a:pt x="522887" y="270447"/>
                  </a:lnTo>
                  <a:lnTo>
                    <a:pt x="521115" y="271530"/>
                  </a:lnTo>
                  <a:lnTo>
                    <a:pt x="433357" y="325545"/>
                  </a:lnTo>
                  <a:cubicBezTo>
                    <a:pt x="431132" y="326963"/>
                    <a:pt x="428790" y="328223"/>
                    <a:pt x="426684" y="329779"/>
                  </a:cubicBezTo>
                  <a:cubicBezTo>
                    <a:pt x="424538" y="331689"/>
                    <a:pt x="425286" y="334741"/>
                    <a:pt x="425148" y="337262"/>
                  </a:cubicBezTo>
                  <a:lnTo>
                    <a:pt x="425148" y="379166"/>
                  </a:lnTo>
                  <a:cubicBezTo>
                    <a:pt x="424971" y="387259"/>
                    <a:pt x="425798" y="398720"/>
                    <a:pt x="423770" y="406537"/>
                  </a:cubicBezTo>
                  <a:cubicBezTo>
                    <a:pt x="423002" y="410653"/>
                    <a:pt x="419242" y="414768"/>
                    <a:pt x="415148" y="415871"/>
                  </a:cubicBezTo>
                  <a:cubicBezTo>
                    <a:pt x="410778" y="416600"/>
                    <a:pt x="406644" y="417565"/>
                    <a:pt x="401801" y="417821"/>
                  </a:cubicBezTo>
                  <a:lnTo>
                    <a:pt x="399655" y="417919"/>
                  </a:lnTo>
                  <a:cubicBezTo>
                    <a:pt x="396624" y="418057"/>
                    <a:pt x="393238" y="418156"/>
                    <a:pt x="390482" y="418451"/>
                  </a:cubicBezTo>
                  <a:cubicBezTo>
                    <a:pt x="388238" y="418667"/>
                    <a:pt x="385994" y="418805"/>
                    <a:pt x="383769" y="419120"/>
                  </a:cubicBezTo>
                  <a:cubicBezTo>
                    <a:pt x="379300" y="419632"/>
                    <a:pt x="374852" y="420282"/>
                    <a:pt x="370462" y="421090"/>
                  </a:cubicBezTo>
                  <a:cubicBezTo>
                    <a:pt x="366052" y="421917"/>
                    <a:pt x="361682" y="422822"/>
                    <a:pt x="357391" y="423984"/>
                  </a:cubicBezTo>
                  <a:cubicBezTo>
                    <a:pt x="355225" y="424516"/>
                    <a:pt x="353099" y="425166"/>
                    <a:pt x="350973" y="425796"/>
                  </a:cubicBezTo>
                  <a:cubicBezTo>
                    <a:pt x="348847" y="426426"/>
                    <a:pt x="346997" y="427036"/>
                    <a:pt x="343709" y="428218"/>
                  </a:cubicBezTo>
                  <a:cubicBezTo>
                    <a:pt x="337902" y="430286"/>
                    <a:pt x="331996" y="433515"/>
                    <a:pt x="326346" y="435524"/>
                  </a:cubicBezTo>
                  <a:cubicBezTo>
                    <a:pt x="320716" y="437217"/>
                    <a:pt x="316366" y="438753"/>
                    <a:pt x="311759" y="439364"/>
                  </a:cubicBezTo>
                  <a:cubicBezTo>
                    <a:pt x="306543" y="439639"/>
                    <a:pt x="300795" y="434618"/>
                    <a:pt x="300381" y="430010"/>
                  </a:cubicBezTo>
                  <a:cubicBezTo>
                    <a:pt x="299279" y="425441"/>
                    <a:pt x="298157" y="420125"/>
                    <a:pt x="297999" y="413981"/>
                  </a:cubicBezTo>
                  <a:lnTo>
                    <a:pt x="297960" y="412878"/>
                  </a:lnTo>
                  <a:lnTo>
                    <a:pt x="297960" y="295869"/>
                  </a:lnTo>
                  <a:cubicBezTo>
                    <a:pt x="297960" y="295869"/>
                    <a:pt x="297960" y="285452"/>
                    <a:pt x="297960" y="285452"/>
                  </a:cubicBezTo>
                  <a:lnTo>
                    <a:pt x="297960" y="280707"/>
                  </a:lnTo>
                  <a:cubicBezTo>
                    <a:pt x="297980" y="279151"/>
                    <a:pt x="298058" y="277458"/>
                    <a:pt x="297015" y="276158"/>
                  </a:cubicBezTo>
                  <a:cubicBezTo>
                    <a:pt x="295007" y="273224"/>
                    <a:pt x="291168" y="274287"/>
                    <a:pt x="288196" y="274090"/>
                  </a:cubicBezTo>
                  <a:lnTo>
                    <a:pt x="178922" y="274090"/>
                  </a:lnTo>
                  <a:cubicBezTo>
                    <a:pt x="177366" y="274051"/>
                    <a:pt x="175674" y="273992"/>
                    <a:pt x="174374" y="275036"/>
                  </a:cubicBezTo>
                  <a:cubicBezTo>
                    <a:pt x="171441" y="277044"/>
                    <a:pt x="172524" y="280884"/>
                    <a:pt x="172327" y="283857"/>
                  </a:cubicBezTo>
                  <a:lnTo>
                    <a:pt x="172327" y="378752"/>
                  </a:lnTo>
                  <a:cubicBezTo>
                    <a:pt x="172229" y="384896"/>
                    <a:pt x="172642" y="391414"/>
                    <a:pt x="171756" y="397085"/>
                  </a:cubicBezTo>
                  <a:cubicBezTo>
                    <a:pt x="171244" y="399941"/>
                    <a:pt x="171087" y="402481"/>
                    <a:pt x="169768" y="405060"/>
                  </a:cubicBezTo>
                  <a:cubicBezTo>
                    <a:pt x="168469" y="407581"/>
                    <a:pt x="166106" y="409767"/>
                    <a:pt x="163508" y="410830"/>
                  </a:cubicBezTo>
                  <a:cubicBezTo>
                    <a:pt x="158468" y="412425"/>
                    <a:pt x="152701" y="413075"/>
                    <a:pt x="146342" y="412977"/>
                  </a:cubicBezTo>
                  <a:lnTo>
                    <a:pt x="90258" y="412977"/>
                  </a:lnTo>
                  <a:cubicBezTo>
                    <a:pt x="87108" y="413114"/>
                    <a:pt x="83900" y="412661"/>
                    <a:pt x="80809" y="413272"/>
                  </a:cubicBezTo>
                  <a:cubicBezTo>
                    <a:pt x="79313" y="413804"/>
                    <a:pt x="78132" y="415103"/>
                    <a:pt x="77718" y="416639"/>
                  </a:cubicBezTo>
                  <a:cubicBezTo>
                    <a:pt x="77384" y="418195"/>
                    <a:pt x="77620" y="419790"/>
                    <a:pt x="77541" y="421365"/>
                  </a:cubicBezTo>
                  <a:lnTo>
                    <a:pt x="77541" y="565844"/>
                  </a:lnTo>
                  <a:lnTo>
                    <a:pt x="59234" y="565844"/>
                  </a:lnTo>
                  <a:lnTo>
                    <a:pt x="59234" y="429872"/>
                  </a:lnTo>
                  <a:cubicBezTo>
                    <a:pt x="59352" y="423728"/>
                    <a:pt x="58899" y="417230"/>
                    <a:pt x="59686" y="411460"/>
                  </a:cubicBezTo>
                  <a:cubicBezTo>
                    <a:pt x="60159" y="408585"/>
                    <a:pt x="60395" y="405966"/>
                    <a:pt x="61419" y="403387"/>
                  </a:cubicBezTo>
                  <a:cubicBezTo>
                    <a:pt x="62521" y="400807"/>
                    <a:pt x="64706" y="398464"/>
                    <a:pt x="67246" y="397184"/>
                  </a:cubicBezTo>
                  <a:cubicBezTo>
                    <a:pt x="72246" y="395195"/>
                    <a:pt x="77896" y="394703"/>
                    <a:pt x="84234" y="394663"/>
                  </a:cubicBezTo>
                  <a:lnTo>
                    <a:pt x="140791" y="394663"/>
                  </a:lnTo>
                  <a:cubicBezTo>
                    <a:pt x="143940" y="394584"/>
                    <a:pt x="147130" y="394821"/>
                    <a:pt x="150260" y="394506"/>
                  </a:cubicBezTo>
                  <a:cubicBezTo>
                    <a:pt x="151795" y="394131"/>
                    <a:pt x="153114" y="392950"/>
                    <a:pt x="153665" y="391473"/>
                  </a:cubicBezTo>
                  <a:cubicBezTo>
                    <a:pt x="154216" y="389977"/>
                    <a:pt x="153901" y="388342"/>
                    <a:pt x="154000" y="386767"/>
                  </a:cubicBezTo>
                  <a:lnTo>
                    <a:pt x="154000" y="293506"/>
                  </a:lnTo>
                  <a:cubicBezTo>
                    <a:pt x="154079" y="287638"/>
                    <a:pt x="153823" y="281061"/>
                    <a:pt x="154197" y="275095"/>
                  </a:cubicBezTo>
                  <a:cubicBezTo>
                    <a:pt x="154453" y="272121"/>
                    <a:pt x="154925" y="269345"/>
                    <a:pt x="155476" y="266745"/>
                  </a:cubicBezTo>
                  <a:cubicBezTo>
                    <a:pt x="156008" y="264166"/>
                    <a:pt x="157642" y="261468"/>
                    <a:pt x="159945" y="259656"/>
                  </a:cubicBezTo>
                  <a:cubicBezTo>
                    <a:pt x="162268" y="257707"/>
                    <a:pt x="164965" y="257175"/>
                    <a:pt x="167602" y="256722"/>
                  </a:cubicBezTo>
                  <a:cubicBezTo>
                    <a:pt x="170319" y="256249"/>
                    <a:pt x="173252" y="255875"/>
                    <a:pt x="176343" y="255816"/>
                  </a:cubicBezTo>
                  <a:lnTo>
                    <a:pt x="194079" y="255816"/>
                  </a:lnTo>
                  <a:cubicBezTo>
                    <a:pt x="194079" y="255816"/>
                    <a:pt x="222230" y="255797"/>
                    <a:pt x="222230" y="255797"/>
                  </a:cubicBezTo>
                  <a:lnTo>
                    <a:pt x="278550" y="255797"/>
                  </a:lnTo>
                  <a:cubicBezTo>
                    <a:pt x="284416" y="255875"/>
                    <a:pt x="291011" y="255600"/>
                    <a:pt x="296976" y="255993"/>
                  </a:cubicBezTo>
                  <a:cubicBezTo>
                    <a:pt x="299948" y="256249"/>
                    <a:pt x="302724" y="256722"/>
                    <a:pt x="305322" y="257273"/>
                  </a:cubicBezTo>
                  <a:cubicBezTo>
                    <a:pt x="307901" y="257805"/>
                    <a:pt x="310598" y="259440"/>
                    <a:pt x="312389" y="261763"/>
                  </a:cubicBezTo>
                  <a:cubicBezTo>
                    <a:pt x="314338" y="264106"/>
                    <a:pt x="314850" y="266785"/>
                    <a:pt x="315303" y="269443"/>
                  </a:cubicBezTo>
                  <a:cubicBezTo>
                    <a:pt x="315775" y="272160"/>
                    <a:pt x="316130" y="275095"/>
                    <a:pt x="316208" y="278186"/>
                  </a:cubicBezTo>
                  <a:lnTo>
                    <a:pt x="316208" y="295909"/>
                  </a:lnTo>
                  <a:cubicBezTo>
                    <a:pt x="316208" y="295909"/>
                    <a:pt x="316228" y="402540"/>
                    <a:pt x="316228" y="402540"/>
                  </a:cubicBezTo>
                  <a:lnTo>
                    <a:pt x="316228" y="412602"/>
                  </a:lnTo>
                  <a:cubicBezTo>
                    <a:pt x="315736" y="415851"/>
                    <a:pt x="319004" y="418943"/>
                    <a:pt x="322212" y="418096"/>
                  </a:cubicBezTo>
                  <a:cubicBezTo>
                    <a:pt x="327843" y="415300"/>
                    <a:pt x="333473" y="412307"/>
                    <a:pt x="339477" y="410298"/>
                  </a:cubicBezTo>
                  <a:cubicBezTo>
                    <a:pt x="340618" y="409924"/>
                    <a:pt x="343217" y="408999"/>
                    <a:pt x="345579" y="408310"/>
                  </a:cubicBezTo>
                  <a:cubicBezTo>
                    <a:pt x="347941" y="407601"/>
                    <a:pt x="350323" y="406892"/>
                    <a:pt x="352705" y="406301"/>
                  </a:cubicBezTo>
                  <a:cubicBezTo>
                    <a:pt x="357469" y="405021"/>
                    <a:pt x="362292" y="403997"/>
                    <a:pt x="367115" y="403111"/>
                  </a:cubicBezTo>
                  <a:cubicBezTo>
                    <a:pt x="371938" y="402225"/>
                    <a:pt x="376781" y="401516"/>
                    <a:pt x="381643" y="400945"/>
                  </a:cubicBezTo>
                  <a:cubicBezTo>
                    <a:pt x="384064" y="400610"/>
                    <a:pt x="386505" y="400452"/>
                    <a:pt x="388927" y="400236"/>
                  </a:cubicBezTo>
                  <a:cubicBezTo>
                    <a:pt x="390856" y="400039"/>
                    <a:pt x="392175" y="400000"/>
                    <a:pt x="393828" y="399901"/>
                  </a:cubicBezTo>
                  <a:lnTo>
                    <a:pt x="394911" y="399842"/>
                  </a:lnTo>
                  <a:lnTo>
                    <a:pt x="402293" y="399625"/>
                  </a:lnTo>
                  <a:cubicBezTo>
                    <a:pt x="404793" y="399448"/>
                    <a:pt x="406880" y="397144"/>
                    <a:pt x="406821" y="394663"/>
                  </a:cubicBezTo>
                  <a:lnTo>
                    <a:pt x="406821" y="333540"/>
                  </a:lnTo>
                  <a:cubicBezTo>
                    <a:pt x="406978" y="328440"/>
                    <a:pt x="406959" y="323202"/>
                    <a:pt x="410561" y="319283"/>
                  </a:cubicBezTo>
                  <a:cubicBezTo>
                    <a:pt x="413947" y="315778"/>
                    <a:pt x="418573" y="313218"/>
                    <a:pt x="422983" y="310481"/>
                  </a:cubicBezTo>
                  <a:lnTo>
                    <a:pt x="521804" y="249653"/>
                  </a:lnTo>
                  <a:cubicBezTo>
                    <a:pt x="522965" y="249023"/>
                    <a:pt x="524127" y="248274"/>
                    <a:pt x="525269" y="247723"/>
                  </a:cubicBezTo>
                  <a:cubicBezTo>
                    <a:pt x="530505" y="245065"/>
                    <a:pt x="535289" y="243469"/>
                    <a:pt x="539600" y="242032"/>
                  </a:cubicBezTo>
                  <a:cubicBezTo>
                    <a:pt x="543419" y="239964"/>
                    <a:pt x="550545" y="241973"/>
                    <a:pt x="553261" y="246541"/>
                  </a:cubicBezTo>
                  <a:cubicBezTo>
                    <a:pt x="554679" y="248747"/>
                    <a:pt x="554757" y="250814"/>
                    <a:pt x="555387" y="253178"/>
                  </a:cubicBezTo>
                  <a:cubicBezTo>
                    <a:pt x="555919" y="255462"/>
                    <a:pt x="556431" y="257923"/>
                    <a:pt x="556824" y="260601"/>
                  </a:cubicBezTo>
                  <a:cubicBezTo>
                    <a:pt x="557789" y="265859"/>
                    <a:pt x="557592" y="272377"/>
                    <a:pt x="557592" y="278560"/>
                  </a:cubicBezTo>
                  <a:lnTo>
                    <a:pt x="557592" y="430305"/>
                  </a:lnTo>
                  <a:cubicBezTo>
                    <a:pt x="557592" y="431999"/>
                    <a:pt x="557533" y="433515"/>
                    <a:pt x="557769" y="435110"/>
                  </a:cubicBezTo>
                  <a:cubicBezTo>
                    <a:pt x="558183" y="438241"/>
                    <a:pt x="559561" y="441254"/>
                    <a:pt x="561628" y="443637"/>
                  </a:cubicBezTo>
                  <a:cubicBezTo>
                    <a:pt x="563695" y="446039"/>
                    <a:pt x="566451" y="447831"/>
                    <a:pt x="569482" y="448737"/>
                  </a:cubicBezTo>
                  <a:cubicBezTo>
                    <a:pt x="570998" y="449190"/>
                    <a:pt x="572573" y="449387"/>
                    <a:pt x="574167" y="449426"/>
                  </a:cubicBezTo>
                  <a:lnTo>
                    <a:pt x="580073" y="449426"/>
                  </a:lnTo>
                  <a:cubicBezTo>
                    <a:pt x="580073" y="449426"/>
                    <a:pt x="605231" y="449426"/>
                    <a:pt x="605231" y="449426"/>
                  </a:cubicBezTo>
                  <a:cubicBezTo>
                    <a:pt x="608381" y="449288"/>
                    <a:pt x="611590" y="449721"/>
                    <a:pt x="614680" y="449131"/>
                  </a:cubicBezTo>
                  <a:cubicBezTo>
                    <a:pt x="616176" y="448599"/>
                    <a:pt x="617377" y="447299"/>
                    <a:pt x="617771" y="445763"/>
                  </a:cubicBezTo>
                  <a:cubicBezTo>
                    <a:pt x="618105" y="444208"/>
                    <a:pt x="617869" y="442613"/>
                    <a:pt x="617948" y="441037"/>
                  </a:cubicBezTo>
                  <a:lnTo>
                    <a:pt x="617948" y="160823"/>
                  </a:lnTo>
                  <a:cubicBezTo>
                    <a:pt x="618046" y="157731"/>
                    <a:pt x="618401" y="154797"/>
                    <a:pt x="618873" y="152080"/>
                  </a:cubicBezTo>
                  <a:cubicBezTo>
                    <a:pt x="619326" y="149421"/>
                    <a:pt x="619838" y="146743"/>
                    <a:pt x="621767" y="144400"/>
                  </a:cubicBezTo>
                  <a:cubicBezTo>
                    <a:pt x="623558" y="142076"/>
                    <a:pt x="626236" y="140422"/>
                    <a:pt x="628834" y="139891"/>
                  </a:cubicBezTo>
                  <a:cubicBezTo>
                    <a:pt x="631433" y="139339"/>
                    <a:pt x="634208" y="138867"/>
                    <a:pt x="637181" y="138611"/>
                  </a:cubicBezTo>
                  <a:cubicBezTo>
                    <a:pt x="643145" y="138217"/>
                    <a:pt x="649701" y="138512"/>
                    <a:pt x="655606" y="138414"/>
                  </a:cubicBezTo>
                  <a:lnTo>
                    <a:pt x="712970" y="138414"/>
                  </a:lnTo>
                  <a:cubicBezTo>
                    <a:pt x="719112" y="138473"/>
                    <a:pt x="725647" y="138118"/>
                    <a:pt x="731179" y="139162"/>
                  </a:cubicBezTo>
                  <a:cubicBezTo>
                    <a:pt x="733935" y="139674"/>
                    <a:pt x="736533" y="139891"/>
                    <a:pt x="739034" y="141545"/>
                  </a:cubicBezTo>
                  <a:cubicBezTo>
                    <a:pt x="741475" y="143100"/>
                    <a:pt x="743404" y="145641"/>
                    <a:pt x="744231" y="148240"/>
                  </a:cubicBezTo>
                  <a:cubicBezTo>
                    <a:pt x="745569" y="153261"/>
                    <a:pt x="746160" y="159326"/>
                    <a:pt x="746002" y="165608"/>
                  </a:cubicBezTo>
                  <a:lnTo>
                    <a:pt x="746002" y="443479"/>
                  </a:lnTo>
                  <a:cubicBezTo>
                    <a:pt x="745412" y="446728"/>
                    <a:pt x="748364" y="449938"/>
                    <a:pt x="751652" y="449446"/>
                  </a:cubicBezTo>
                  <a:lnTo>
                    <a:pt x="803070" y="449446"/>
                  </a:lnTo>
                  <a:cubicBezTo>
                    <a:pt x="804626" y="449367"/>
                    <a:pt x="806299" y="449702"/>
                    <a:pt x="807736" y="448953"/>
                  </a:cubicBezTo>
                  <a:cubicBezTo>
                    <a:pt x="809173" y="448284"/>
                    <a:pt x="810236" y="446886"/>
                    <a:pt x="810492" y="445310"/>
                  </a:cubicBezTo>
                  <a:cubicBezTo>
                    <a:pt x="810649" y="443735"/>
                    <a:pt x="810531" y="442140"/>
                    <a:pt x="810571" y="440565"/>
                  </a:cubicBezTo>
                  <a:lnTo>
                    <a:pt x="810571" y="316605"/>
                  </a:lnTo>
                  <a:cubicBezTo>
                    <a:pt x="810413" y="310343"/>
                    <a:pt x="810768" y="304101"/>
                    <a:pt x="811988" y="298961"/>
                  </a:cubicBezTo>
                  <a:cubicBezTo>
                    <a:pt x="812461" y="296381"/>
                    <a:pt x="814035" y="293664"/>
                    <a:pt x="816299" y="291813"/>
                  </a:cubicBezTo>
                  <a:cubicBezTo>
                    <a:pt x="818602" y="289824"/>
                    <a:pt x="821280" y="289194"/>
                    <a:pt x="823937" y="288761"/>
                  </a:cubicBezTo>
                  <a:cubicBezTo>
                    <a:pt x="829311" y="287618"/>
                    <a:pt x="835768" y="287756"/>
                    <a:pt x="841949" y="287776"/>
                  </a:cubicBezTo>
                  <a:lnTo>
                    <a:pt x="956027" y="287776"/>
                  </a:lnTo>
                  <a:cubicBezTo>
                    <a:pt x="961913" y="287855"/>
                    <a:pt x="968488" y="287579"/>
                    <a:pt x="974453" y="287973"/>
                  </a:cubicBezTo>
                  <a:cubicBezTo>
                    <a:pt x="977425" y="288229"/>
                    <a:pt x="980201" y="288702"/>
                    <a:pt x="982799" y="289253"/>
                  </a:cubicBezTo>
                  <a:cubicBezTo>
                    <a:pt x="985378" y="289785"/>
                    <a:pt x="988075" y="291439"/>
                    <a:pt x="989866" y="293743"/>
                  </a:cubicBezTo>
                  <a:cubicBezTo>
                    <a:pt x="991815" y="296086"/>
                    <a:pt x="992327" y="298764"/>
                    <a:pt x="992780" y="301422"/>
                  </a:cubicBezTo>
                  <a:cubicBezTo>
                    <a:pt x="993252" y="304140"/>
                    <a:pt x="993607" y="307074"/>
                    <a:pt x="993685" y="310166"/>
                  </a:cubicBezTo>
                  <a:lnTo>
                    <a:pt x="993685" y="341968"/>
                  </a:lnTo>
                  <a:cubicBezTo>
                    <a:pt x="993685" y="341968"/>
                    <a:pt x="993705" y="454644"/>
                    <a:pt x="993705" y="454644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487" name="Freeform 29">
              <a:extLst>
                <a:ext uri="{FF2B5EF4-FFF2-40B4-BE49-F238E27FC236}">
                  <a16:creationId xmlns:a16="http://schemas.microsoft.com/office/drawing/2014/main" id="{A4230A2E-0A9E-69DD-EB38-6B20905CA596}"/>
                </a:ext>
              </a:extLst>
            </p:cNvPr>
            <p:cNvSpPr/>
            <p:nvPr/>
          </p:nvSpPr>
          <p:spPr>
            <a:xfrm>
              <a:off x="3646633" y="5513023"/>
              <a:ext cx="78961" cy="159517"/>
            </a:xfrm>
            <a:custGeom>
              <a:avLst/>
              <a:gdLst>
                <a:gd name="connsiteX0" fmla="*/ 292409 w 298651"/>
                <a:gd name="connsiteY0" fmla="*/ 569248 h 603334"/>
                <a:gd name="connsiteX1" fmla="*/ 43112 w 298651"/>
                <a:gd name="connsiteY1" fmla="*/ 68840 h 603334"/>
                <a:gd name="connsiteX2" fmla="*/ 39352 w 298651"/>
                <a:gd name="connsiteY2" fmla="*/ 18803 h 603334"/>
                <a:gd name="connsiteX3" fmla="*/ 18801 w 298651"/>
                <a:gd name="connsiteY3" fmla="*/ 18 h 603334"/>
                <a:gd name="connsiteX4" fmla="*/ 21 w 298651"/>
                <a:gd name="connsiteY4" fmla="*/ 20576 h 603334"/>
                <a:gd name="connsiteX5" fmla="*/ 3958 w 298651"/>
                <a:gd name="connsiteY5" fmla="*/ 72995 h 603334"/>
                <a:gd name="connsiteX6" fmla="*/ 265539 w 298651"/>
                <a:gd name="connsiteY6" fmla="*/ 598038 h 603334"/>
                <a:gd name="connsiteX7" fmla="*/ 278964 w 298651"/>
                <a:gd name="connsiteY7" fmla="*/ 603335 h 603334"/>
                <a:gd name="connsiteX8" fmla="*/ 293354 w 298651"/>
                <a:gd name="connsiteY8" fmla="*/ 597093 h 603334"/>
                <a:gd name="connsiteX9" fmla="*/ 292409 w 298651"/>
                <a:gd name="connsiteY9" fmla="*/ 569268 h 603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98651" h="603334">
                  <a:moveTo>
                    <a:pt x="292409" y="569248"/>
                  </a:moveTo>
                  <a:cubicBezTo>
                    <a:pt x="151914" y="438003"/>
                    <a:pt x="63388" y="260304"/>
                    <a:pt x="43112" y="68840"/>
                  </a:cubicBezTo>
                  <a:cubicBezTo>
                    <a:pt x="41380" y="52378"/>
                    <a:pt x="40100" y="35542"/>
                    <a:pt x="39352" y="18803"/>
                  </a:cubicBezTo>
                  <a:cubicBezTo>
                    <a:pt x="38860" y="7934"/>
                    <a:pt x="29647" y="-435"/>
                    <a:pt x="18801" y="18"/>
                  </a:cubicBezTo>
                  <a:cubicBezTo>
                    <a:pt x="7934" y="510"/>
                    <a:pt x="-472" y="9706"/>
                    <a:pt x="21" y="20576"/>
                  </a:cubicBezTo>
                  <a:cubicBezTo>
                    <a:pt x="808" y="38101"/>
                    <a:pt x="2127" y="55745"/>
                    <a:pt x="3958" y="72995"/>
                  </a:cubicBezTo>
                  <a:cubicBezTo>
                    <a:pt x="25238" y="273871"/>
                    <a:pt x="118134" y="460333"/>
                    <a:pt x="265539" y="598038"/>
                  </a:cubicBezTo>
                  <a:cubicBezTo>
                    <a:pt x="269338" y="601582"/>
                    <a:pt x="274161" y="603335"/>
                    <a:pt x="278964" y="603335"/>
                  </a:cubicBezTo>
                  <a:cubicBezTo>
                    <a:pt x="284220" y="603335"/>
                    <a:pt x="289476" y="601228"/>
                    <a:pt x="293354" y="597093"/>
                  </a:cubicBezTo>
                  <a:cubicBezTo>
                    <a:pt x="300776" y="589137"/>
                    <a:pt x="300343" y="576692"/>
                    <a:pt x="292409" y="569268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488" name="Freeform 30">
              <a:extLst>
                <a:ext uri="{FF2B5EF4-FFF2-40B4-BE49-F238E27FC236}">
                  <a16:creationId xmlns:a16="http://schemas.microsoft.com/office/drawing/2014/main" id="{4BAD2CFD-7E47-C842-85AF-8BB0B2070837}"/>
                </a:ext>
              </a:extLst>
            </p:cNvPr>
            <p:cNvSpPr/>
            <p:nvPr/>
          </p:nvSpPr>
          <p:spPr>
            <a:xfrm>
              <a:off x="4016301" y="5571767"/>
              <a:ext cx="74816" cy="112274"/>
            </a:xfrm>
            <a:custGeom>
              <a:avLst/>
              <a:gdLst>
                <a:gd name="connsiteX0" fmla="*/ 268792 w 282974"/>
                <a:gd name="connsiteY0" fmla="*/ 785 h 424650"/>
                <a:gd name="connsiteX1" fmla="*/ 244401 w 282974"/>
                <a:gd name="connsiteY1" fmla="*/ 14234 h 424650"/>
                <a:gd name="connsiteX2" fmla="*/ 6620 w 282974"/>
                <a:gd name="connsiteY2" fmla="*/ 390229 h 424650"/>
                <a:gd name="connsiteX3" fmla="*/ 4966 w 282974"/>
                <a:gd name="connsiteY3" fmla="*/ 418034 h 424650"/>
                <a:gd name="connsiteX4" fmla="*/ 19691 w 282974"/>
                <a:gd name="connsiteY4" fmla="*/ 424651 h 424650"/>
                <a:gd name="connsiteX5" fmla="*/ 32743 w 282974"/>
                <a:gd name="connsiteY5" fmla="*/ 419688 h 424650"/>
                <a:gd name="connsiteX6" fmla="*/ 282197 w 282974"/>
                <a:gd name="connsiteY6" fmla="*/ 25183 h 424650"/>
                <a:gd name="connsiteX7" fmla="*/ 268752 w 282974"/>
                <a:gd name="connsiteY7" fmla="*/ 785 h 42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2974" h="424650">
                  <a:moveTo>
                    <a:pt x="268792" y="785"/>
                  </a:moveTo>
                  <a:cubicBezTo>
                    <a:pt x="258358" y="-2248"/>
                    <a:pt x="247433" y="3778"/>
                    <a:pt x="244401" y="14234"/>
                  </a:cubicBezTo>
                  <a:cubicBezTo>
                    <a:pt x="202432" y="159343"/>
                    <a:pt x="120205" y="289368"/>
                    <a:pt x="6620" y="390229"/>
                  </a:cubicBezTo>
                  <a:cubicBezTo>
                    <a:pt x="-1510" y="397456"/>
                    <a:pt x="-2258" y="409902"/>
                    <a:pt x="4966" y="418034"/>
                  </a:cubicBezTo>
                  <a:cubicBezTo>
                    <a:pt x="8864" y="422426"/>
                    <a:pt x="14258" y="424651"/>
                    <a:pt x="19691" y="424651"/>
                  </a:cubicBezTo>
                  <a:cubicBezTo>
                    <a:pt x="24337" y="424651"/>
                    <a:pt x="29002" y="423016"/>
                    <a:pt x="32743" y="419688"/>
                  </a:cubicBezTo>
                  <a:cubicBezTo>
                    <a:pt x="151899" y="313884"/>
                    <a:pt x="238161" y="177459"/>
                    <a:pt x="282197" y="25183"/>
                  </a:cubicBezTo>
                  <a:cubicBezTo>
                    <a:pt x="285209" y="14726"/>
                    <a:pt x="279205" y="3817"/>
                    <a:pt x="268752" y="785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sp>
          <p:nvSpPr>
            <p:cNvPr id="489" name="Freeform 31">
              <a:extLst>
                <a:ext uri="{FF2B5EF4-FFF2-40B4-BE49-F238E27FC236}">
                  <a16:creationId xmlns:a16="http://schemas.microsoft.com/office/drawing/2014/main" id="{B506768B-9CED-773B-9993-3F84EDA7AC8A}"/>
                </a:ext>
              </a:extLst>
            </p:cNvPr>
            <p:cNvSpPr/>
            <p:nvPr/>
          </p:nvSpPr>
          <p:spPr>
            <a:xfrm>
              <a:off x="3757847" y="5298566"/>
              <a:ext cx="221122" cy="39897"/>
            </a:xfrm>
            <a:custGeom>
              <a:avLst/>
              <a:gdLst>
                <a:gd name="connsiteX0" fmla="*/ 19704 w 836339"/>
                <a:gd name="connsiteY0" fmla="*/ 150902 h 150902"/>
                <a:gd name="connsiteX1" fmla="*/ 29606 w 836339"/>
                <a:gd name="connsiteY1" fmla="*/ 148205 h 150902"/>
                <a:gd name="connsiteX2" fmla="*/ 494951 w 836339"/>
                <a:gd name="connsiteY2" fmla="*/ 41869 h 150902"/>
                <a:gd name="connsiteX3" fmla="*/ 807420 w 836339"/>
                <a:gd name="connsiteY3" fmla="*/ 132510 h 150902"/>
                <a:gd name="connsiteX4" fmla="*/ 834034 w 836339"/>
                <a:gd name="connsiteY4" fmla="*/ 124358 h 150902"/>
                <a:gd name="connsiteX5" fmla="*/ 825885 w 836339"/>
                <a:gd name="connsiteY5" fmla="*/ 97734 h 150902"/>
                <a:gd name="connsiteX6" fmla="*/ 498022 w 836339"/>
                <a:gd name="connsiteY6" fmla="*/ 2603 h 150902"/>
                <a:gd name="connsiteX7" fmla="*/ 9763 w 836339"/>
                <a:gd name="connsiteY7" fmla="*/ 114197 h 150902"/>
                <a:gd name="connsiteX8" fmla="*/ 2695 w 836339"/>
                <a:gd name="connsiteY8" fmla="*/ 141135 h 150902"/>
                <a:gd name="connsiteX9" fmla="*/ 19704 w 836339"/>
                <a:gd name="connsiteY9" fmla="*/ 150902 h 150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36339" h="150902">
                  <a:moveTo>
                    <a:pt x="19704" y="150902"/>
                  </a:moveTo>
                  <a:cubicBezTo>
                    <a:pt x="23070" y="150902"/>
                    <a:pt x="26495" y="150036"/>
                    <a:pt x="29606" y="148205"/>
                  </a:cubicBezTo>
                  <a:cubicBezTo>
                    <a:pt x="170574" y="65834"/>
                    <a:pt x="331483" y="29069"/>
                    <a:pt x="494951" y="41869"/>
                  </a:cubicBezTo>
                  <a:cubicBezTo>
                    <a:pt x="605348" y="50513"/>
                    <a:pt x="710488" y="80996"/>
                    <a:pt x="807420" y="132510"/>
                  </a:cubicBezTo>
                  <a:cubicBezTo>
                    <a:pt x="817026" y="137610"/>
                    <a:pt x="828936" y="133967"/>
                    <a:pt x="834034" y="124358"/>
                  </a:cubicBezTo>
                  <a:cubicBezTo>
                    <a:pt x="839133" y="114748"/>
                    <a:pt x="835491" y="102835"/>
                    <a:pt x="825885" y="97734"/>
                  </a:cubicBezTo>
                  <a:cubicBezTo>
                    <a:pt x="724150" y="43680"/>
                    <a:pt x="613832" y="11662"/>
                    <a:pt x="498022" y="2603"/>
                  </a:cubicBezTo>
                  <a:cubicBezTo>
                    <a:pt x="326542" y="-10807"/>
                    <a:pt x="157699" y="27769"/>
                    <a:pt x="9763" y="114197"/>
                  </a:cubicBezTo>
                  <a:cubicBezTo>
                    <a:pt x="373" y="119691"/>
                    <a:pt x="-2797" y="131742"/>
                    <a:pt x="2695" y="141135"/>
                  </a:cubicBezTo>
                  <a:cubicBezTo>
                    <a:pt x="6357" y="147397"/>
                    <a:pt x="12952" y="150902"/>
                    <a:pt x="19704" y="150902"/>
                  </a:cubicBezTo>
                  <a:close/>
                </a:path>
              </a:pathLst>
            </a:custGeom>
            <a:grpFill/>
            <a:ln w="19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>
                <a:solidFill>
                  <a:srgbClr val="13161E"/>
                </a:solidFill>
                <a:latin typeface="Calibri"/>
              </a:endParaRPr>
            </a:p>
          </p:txBody>
        </p:sp>
        <p:grpSp>
          <p:nvGrpSpPr>
            <p:cNvPr id="490" name="Group 489">
              <a:extLst>
                <a:ext uri="{FF2B5EF4-FFF2-40B4-BE49-F238E27FC236}">
                  <a16:creationId xmlns:a16="http://schemas.microsoft.com/office/drawing/2014/main" id="{9AD642B5-6FF2-A715-6B91-EE92F14591EE}"/>
                </a:ext>
              </a:extLst>
            </p:cNvPr>
            <p:cNvGrpSpPr/>
            <p:nvPr/>
          </p:nvGrpSpPr>
          <p:grpSpPr>
            <a:xfrm>
              <a:off x="3605008" y="5333335"/>
              <a:ext cx="144659" cy="143475"/>
              <a:chOff x="2526755" y="2847408"/>
              <a:chExt cx="1786190" cy="1771563"/>
            </a:xfrm>
            <a:grpFill/>
          </p:grpSpPr>
          <p:sp>
            <p:nvSpPr>
              <p:cNvPr id="491" name="Freeform 4">
                <a:extLst>
                  <a:ext uri="{FF2B5EF4-FFF2-40B4-BE49-F238E27FC236}">
                    <a16:creationId xmlns:a16="http://schemas.microsoft.com/office/drawing/2014/main" id="{ED260702-EDA8-5B3C-A05E-72B05EA07A83}"/>
                  </a:ext>
                </a:extLst>
              </p:cNvPr>
              <p:cNvSpPr/>
              <p:nvPr/>
            </p:nvSpPr>
            <p:spPr>
              <a:xfrm>
                <a:off x="2865373" y="3916220"/>
                <a:ext cx="165875" cy="543332"/>
              </a:xfrm>
              <a:custGeom>
                <a:avLst/>
                <a:gdLst>
                  <a:gd name="connsiteX0" fmla="*/ 148444 w 165875"/>
                  <a:gd name="connsiteY0" fmla="*/ 415317 h 543332"/>
                  <a:gd name="connsiteX1" fmla="*/ 147160 w 165875"/>
                  <a:gd name="connsiteY1" fmla="*/ 413725 h 543332"/>
                  <a:gd name="connsiteX2" fmla="*/ 144163 w 165875"/>
                  <a:gd name="connsiteY2" fmla="*/ 410420 h 543332"/>
                  <a:gd name="connsiteX3" fmla="*/ 140978 w 165875"/>
                  <a:gd name="connsiteY3" fmla="*/ 407269 h 543332"/>
                  <a:gd name="connsiteX4" fmla="*/ 137622 w 165875"/>
                  <a:gd name="connsiteY4" fmla="*/ 404290 h 543332"/>
                  <a:gd name="connsiteX5" fmla="*/ 135379 w 165875"/>
                  <a:gd name="connsiteY5" fmla="*/ 402509 h 543332"/>
                  <a:gd name="connsiteX6" fmla="*/ 134317 w 165875"/>
                  <a:gd name="connsiteY6" fmla="*/ 401635 h 543332"/>
                  <a:gd name="connsiteX7" fmla="*/ 132485 w 165875"/>
                  <a:gd name="connsiteY7" fmla="*/ 400060 h 543332"/>
                  <a:gd name="connsiteX8" fmla="*/ 130704 w 165875"/>
                  <a:gd name="connsiteY8" fmla="*/ 397834 h 543332"/>
                  <a:gd name="connsiteX9" fmla="*/ 129043 w 165875"/>
                  <a:gd name="connsiteY9" fmla="*/ 392765 h 543332"/>
                  <a:gd name="connsiteX10" fmla="*/ 128957 w 165875"/>
                  <a:gd name="connsiteY10" fmla="*/ 389769 h 543332"/>
                  <a:gd name="connsiteX11" fmla="*/ 128957 w 165875"/>
                  <a:gd name="connsiteY11" fmla="*/ 44525 h 543332"/>
                  <a:gd name="connsiteX12" fmla="*/ 128957 w 165875"/>
                  <a:gd name="connsiteY12" fmla="*/ 43703 h 543332"/>
                  <a:gd name="connsiteX13" fmla="*/ 128923 w 165875"/>
                  <a:gd name="connsiteY13" fmla="*/ 42692 h 543332"/>
                  <a:gd name="connsiteX14" fmla="*/ 128820 w 165875"/>
                  <a:gd name="connsiteY14" fmla="*/ 40809 h 543332"/>
                  <a:gd name="connsiteX15" fmla="*/ 128769 w 165875"/>
                  <a:gd name="connsiteY15" fmla="*/ 40209 h 543332"/>
                  <a:gd name="connsiteX16" fmla="*/ 128769 w 165875"/>
                  <a:gd name="connsiteY16" fmla="*/ 40004 h 543332"/>
                  <a:gd name="connsiteX17" fmla="*/ 128546 w 165875"/>
                  <a:gd name="connsiteY17" fmla="*/ 38343 h 543332"/>
                  <a:gd name="connsiteX18" fmla="*/ 128409 w 165875"/>
                  <a:gd name="connsiteY18" fmla="*/ 37333 h 543332"/>
                  <a:gd name="connsiteX19" fmla="*/ 120259 w 165875"/>
                  <a:gd name="connsiteY19" fmla="*/ 18343 h 543332"/>
                  <a:gd name="connsiteX20" fmla="*/ 112964 w 165875"/>
                  <a:gd name="connsiteY20" fmla="*/ 10706 h 543332"/>
                  <a:gd name="connsiteX21" fmla="*/ 104060 w 165875"/>
                  <a:gd name="connsiteY21" fmla="*/ 4918 h 543332"/>
                  <a:gd name="connsiteX22" fmla="*/ 94060 w 165875"/>
                  <a:gd name="connsiteY22" fmla="*/ 1288 h 543332"/>
                  <a:gd name="connsiteX23" fmla="*/ 83494 w 165875"/>
                  <a:gd name="connsiteY23" fmla="*/ 3 h 543332"/>
                  <a:gd name="connsiteX24" fmla="*/ 62724 w 165875"/>
                  <a:gd name="connsiteY24" fmla="*/ 4473 h 543332"/>
                  <a:gd name="connsiteX25" fmla="*/ 53699 w 165875"/>
                  <a:gd name="connsiteY25" fmla="*/ 10038 h 543332"/>
                  <a:gd name="connsiteX26" fmla="*/ 46251 w 165875"/>
                  <a:gd name="connsiteY26" fmla="*/ 17469 h 543332"/>
                  <a:gd name="connsiteX27" fmla="*/ 37672 w 165875"/>
                  <a:gd name="connsiteY27" fmla="*/ 36220 h 543332"/>
                  <a:gd name="connsiteX28" fmla="*/ 37021 w 165875"/>
                  <a:gd name="connsiteY28" fmla="*/ 41408 h 543332"/>
                  <a:gd name="connsiteX29" fmla="*/ 36953 w 165875"/>
                  <a:gd name="connsiteY29" fmla="*/ 43069 h 543332"/>
                  <a:gd name="connsiteX30" fmla="*/ 36918 w 165875"/>
                  <a:gd name="connsiteY30" fmla="*/ 388262 h 543332"/>
                  <a:gd name="connsiteX31" fmla="*/ 36867 w 165875"/>
                  <a:gd name="connsiteY31" fmla="*/ 389666 h 543332"/>
                  <a:gd name="connsiteX32" fmla="*/ 36833 w 165875"/>
                  <a:gd name="connsiteY32" fmla="*/ 390060 h 543332"/>
                  <a:gd name="connsiteX33" fmla="*/ 36730 w 165875"/>
                  <a:gd name="connsiteY33" fmla="*/ 390933 h 543332"/>
                  <a:gd name="connsiteX34" fmla="*/ 32569 w 165875"/>
                  <a:gd name="connsiteY34" fmla="*/ 400300 h 543332"/>
                  <a:gd name="connsiteX35" fmla="*/ 30839 w 165875"/>
                  <a:gd name="connsiteY35" fmla="*/ 402132 h 543332"/>
                  <a:gd name="connsiteX36" fmla="*/ 26661 w 165875"/>
                  <a:gd name="connsiteY36" fmla="*/ 405677 h 543332"/>
                  <a:gd name="connsiteX37" fmla="*/ 24675 w 165875"/>
                  <a:gd name="connsiteY37" fmla="*/ 407526 h 543332"/>
                  <a:gd name="connsiteX38" fmla="*/ 21798 w 165875"/>
                  <a:gd name="connsiteY38" fmla="*/ 410385 h 543332"/>
                  <a:gd name="connsiteX39" fmla="*/ 21062 w 165875"/>
                  <a:gd name="connsiteY39" fmla="*/ 411156 h 543332"/>
                  <a:gd name="connsiteX40" fmla="*/ 19504 w 165875"/>
                  <a:gd name="connsiteY40" fmla="*/ 412868 h 543332"/>
                  <a:gd name="connsiteX41" fmla="*/ 17483 w 165875"/>
                  <a:gd name="connsiteY41" fmla="*/ 415214 h 543332"/>
                  <a:gd name="connsiteX42" fmla="*/ 17295 w 165875"/>
                  <a:gd name="connsiteY42" fmla="*/ 415454 h 543332"/>
                  <a:gd name="connsiteX43" fmla="*/ 11336 w 165875"/>
                  <a:gd name="connsiteY43" fmla="*/ 423947 h 543332"/>
                  <a:gd name="connsiteX44" fmla="*/ 0 w 165875"/>
                  <a:gd name="connsiteY44" fmla="*/ 463777 h 543332"/>
                  <a:gd name="connsiteX45" fmla="*/ 685 w 165875"/>
                  <a:gd name="connsiteY45" fmla="*/ 474085 h 543332"/>
                  <a:gd name="connsiteX46" fmla="*/ 2757 w 165875"/>
                  <a:gd name="connsiteY46" fmla="*/ 484239 h 543332"/>
                  <a:gd name="connsiteX47" fmla="*/ 3082 w 165875"/>
                  <a:gd name="connsiteY47" fmla="*/ 485318 h 543332"/>
                  <a:gd name="connsiteX48" fmla="*/ 4366 w 165875"/>
                  <a:gd name="connsiteY48" fmla="*/ 489291 h 543332"/>
                  <a:gd name="connsiteX49" fmla="*/ 5925 w 165875"/>
                  <a:gd name="connsiteY49" fmla="*/ 493297 h 543332"/>
                  <a:gd name="connsiteX50" fmla="*/ 6319 w 165875"/>
                  <a:gd name="connsiteY50" fmla="*/ 494222 h 543332"/>
                  <a:gd name="connsiteX51" fmla="*/ 11096 w 165875"/>
                  <a:gd name="connsiteY51" fmla="*/ 503435 h 543332"/>
                  <a:gd name="connsiteX52" fmla="*/ 13099 w 165875"/>
                  <a:gd name="connsiteY52" fmla="*/ 506585 h 543332"/>
                  <a:gd name="connsiteX53" fmla="*/ 13870 w 165875"/>
                  <a:gd name="connsiteY53" fmla="*/ 507733 h 543332"/>
                  <a:gd name="connsiteX54" fmla="*/ 13990 w 165875"/>
                  <a:gd name="connsiteY54" fmla="*/ 507904 h 543332"/>
                  <a:gd name="connsiteX55" fmla="*/ 15000 w 165875"/>
                  <a:gd name="connsiteY55" fmla="*/ 509291 h 543332"/>
                  <a:gd name="connsiteX56" fmla="*/ 16319 w 165875"/>
                  <a:gd name="connsiteY56" fmla="*/ 511055 h 543332"/>
                  <a:gd name="connsiteX57" fmla="*/ 16952 w 165875"/>
                  <a:gd name="connsiteY57" fmla="*/ 511842 h 543332"/>
                  <a:gd name="connsiteX58" fmla="*/ 18733 w 165875"/>
                  <a:gd name="connsiteY58" fmla="*/ 514034 h 543332"/>
                  <a:gd name="connsiteX59" fmla="*/ 20582 w 165875"/>
                  <a:gd name="connsiteY59" fmla="*/ 516089 h 543332"/>
                  <a:gd name="connsiteX60" fmla="*/ 23083 w 165875"/>
                  <a:gd name="connsiteY60" fmla="*/ 518709 h 543332"/>
                  <a:gd name="connsiteX61" fmla="*/ 24333 w 165875"/>
                  <a:gd name="connsiteY61" fmla="*/ 519959 h 543332"/>
                  <a:gd name="connsiteX62" fmla="*/ 41388 w 165875"/>
                  <a:gd name="connsiteY62" fmla="*/ 532545 h 543332"/>
                  <a:gd name="connsiteX63" fmla="*/ 61268 w 165875"/>
                  <a:gd name="connsiteY63" fmla="*/ 540558 h 543332"/>
                  <a:gd name="connsiteX64" fmla="*/ 65224 w 165875"/>
                  <a:gd name="connsiteY64" fmla="*/ 541500 h 543332"/>
                  <a:gd name="connsiteX65" fmla="*/ 66234 w 165875"/>
                  <a:gd name="connsiteY65" fmla="*/ 541689 h 543332"/>
                  <a:gd name="connsiteX66" fmla="*/ 69093 w 165875"/>
                  <a:gd name="connsiteY66" fmla="*/ 542219 h 543332"/>
                  <a:gd name="connsiteX67" fmla="*/ 71713 w 165875"/>
                  <a:gd name="connsiteY67" fmla="*/ 542579 h 543332"/>
                  <a:gd name="connsiteX68" fmla="*/ 75549 w 165875"/>
                  <a:gd name="connsiteY68" fmla="*/ 542990 h 543332"/>
                  <a:gd name="connsiteX69" fmla="*/ 77073 w 165875"/>
                  <a:gd name="connsiteY69" fmla="*/ 543127 h 543332"/>
                  <a:gd name="connsiteX70" fmla="*/ 77244 w 165875"/>
                  <a:gd name="connsiteY70" fmla="*/ 543127 h 543332"/>
                  <a:gd name="connsiteX71" fmla="*/ 79094 w 165875"/>
                  <a:gd name="connsiteY71" fmla="*/ 543230 h 543332"/>
                  <a:gd name="connsiteX72" fmla="*/ 80583 w 165875"/>
                  <a:gd name="connsiteY72" fmla="*/ 543281 h 543332"/>
                  <a:gd name="connsiteX73" fmla="*/ 82244 w 165875"/>
                  <a:gd name="connsiteY73" fmla="*/ 543332 h 543332"/>
                  <a:gd name="connsiteX74" fmla="*/ 82827 w 165875"/>
                  <a:gd name="connsiteY74" fmla="*/ 543332 h 543332"/>
                  <a:gd name="connsiteX75" fmla="*/ 104128 w 165875"/>
                  <a:gd name="connsiteY75" fmla="*/ 540730 h 543332"/>
                  <a:gd name="connsiteX76" fmla="*/ 106543 w 165875"/>
                  <a:gd name="connsiteY76" fmla="*/ 540113 h 543332"/>
                  <a:gd name="connsiteX77" fmla="*/ 109214 w 165875"/>
                  <a:gd name="connsiteY77" fmla="*/ 539291 h 543332"/>
                  <a:gd name="connsiteX78" fmla="*/ 114197 w 165875"/>
                  <a:gd name="connsiteY78" fmla="*/ 537545 h 543332"/>
                  <a:gd name="connsiteX79" fmla="*/ 116765 w 165875"/>
                  <a:gd name="connsiteY79" fmla="*/ 536466 h 543332"/>
                  <a:gd name="connsiteX80" fmla="*/ 121543 w 165875"/>
                  <a:gd name="connsiteY80" fmla="*/ 534257 h 543332"/>
                  <a:gd name="connsiteX81" fmla="*/ 123992 w 165875"/>
                  <a:gd name="connsiteY81" fmla="*/ 532938 h 543332"/>
                  <a:gd name="connsiteX82" fmla="*/ 128529 w 165875"/>
                  <a:gd name="connsiteY82" fmla="*/ 530301 h 543332"/>
                  <a:gd name="connsiteX83" fmla="*/ 130858 w 165875"/>
                  <a:gd name="connsiteY83" fmla="*/ 528760 h 543332"/>
                  <a:gd name="connsiteX84" fmla="*/ 135088 w 165875"/>
                  <a:gd name="connsiteY84" fmla="*/ 525712 h 543332"/>
                  <a:gd name="connsiteX85" fmla="*/ 137125 w 165875"/>
                  <a:gd name="connsiteY85" fmla="*/ 524068 h 543332"/>
                  <a:gd name="connsiteX86" fmla="*/ 139351 w 165875"/>
                  <a:gd name="connsiteY86" fmla="*/ 522151 h 543332"/>
                  <a:gd name="connsiteX87" fmla="*/ 140002 w 165875"/>
                  <a:gd name="connsiteY87" fmla="*/ 521568 h 543332"/>
                  <a:gd name="connsiteX88" fmla="*/ 141303 w 165875"/>
                  <a:gd name="connsiteY88" fmla="*/ 520387 h 543332"/>
                  <a:gd name="connsiteX89" fmla="*/ 154523 w 165875"/>
                  <a:gd name="connsiteY89" fmla="*/ 504068 h 543332"/>
                  <a:gd name="connsiteX90" fmla="*/ 165876 w 165875"/>
                  <a:gd name="connsiteY90" fmla="*/ 464307 h 543332"/>
                  <a:gd name="connsiteX91" fmla="*/ 158016 w 165875"/>
                  <a:gd name="connsiteY91" fmla="*/ 430283 h 543332"/>
                  <a:gd name="connsiteX92" fmla="*/ 148444 w 165875"/>
                  <a:gd name="connsiteY92" fmla="*/ 415368 h 543332"/>
                  <a:gd name="connsiteX93" fmla="*/ 64727 w 165875"/>
                  <a:gd name="connsiteY93" fmla="*/ 147283 h 543332"/>
                  <a:gd name="connsiteX94" fmla="*/ 64727 w 165875"/>
                  <a:gd name="connsiteY94" fmla="*/ 44268 h 543332"/>
                  <a:gd name="connsiteX95" fmla="*/ 64744 w 165875"/>
                  <a:gd name="connsiteY95" fmla="*/ 43531 h 543332"/>
                  <a:gd name="connsiteX96" fmla="*/ 64744 w 165875"/>
                  <a:gd name="connsiteY96" fmla="*/ 43206 h 543332"/>
                  <a:gd name="connsiteX97" fmla="*/ 64967 w 165875"/>
                  <a:gd name="connsiteY97" fmla="*/ 41271 h 543332"/>
                  <a:gd name="connsiteX98" fmla="*/ 65001 w 165875"/>
                  <a:gd name="connsiteY98" fmla="*/ 41100 h 543332"/>
                  <a:gd name="connsiteX99" fmla="*/ 68237 w 165875"/>
                  <a:gd name="connsiteY99" fmla="*/ 34028 h 543332"/>
                  <a:gd name="connsiteX100" fmla="*/ 71183 w 165875"/>
                  <a:gd name="connsiteY100" fmla="*/ 31083 h 543332"/>
                  <a:gd name="connsiteX101" fmla="*/ 74847 w 165875"/>
                  <a:gd name="connsiteY101" fmla="*/ 28822 h 543332"/>
                  <a:gd name="connsiteX102" fmla="*/ 78820 w 165875"/>
                  <a:gd name="connsiteY102" fmla="*/ 27504 h 543332"/>
                  <a:gd name="connsiteX103" fmla="*/ 83118 w 165875"/>
                  <a:gd name="connsiteY103" fmla="*/ 27076 h 543332"/>
                  <a:gd name="connsiteX104" fmla="*/ 91474 w 165875"/>
                  <a:gd name="connsiteY104" fmla="*/ 29062 h 543332"/>
                  <a:gd name="connsiteX105" fmla="*/ 94967 w 165875"/>
                  <a:gd name="connsiteY105" fmla="*/ 31340 h 543332"/>
                  <a:gd name="connsiteX106" fmla="*/ 97827 w 165875"/>
                  <a:gd name="connsiteY106" fmla="*/ 34336 h 543332"/>
                  <a:gd name="connsiteX107" fmla="*/ 100892 w 165875"/>
                  <a:gd name="connsiteY107" fmla="*/ 41374 h 543332"/>
                  <a:gd name="connsiteX108" fmla="*/ 100977 w 165875"/>
                  <a:gd name="connsiteY108" fmla="*/ 42025 h 543332"/>
                  <a:gd name="connsiteX109" fmla="*/ 101012 w 165875"/>
                  <a:gd name="connsiteY109" fmla="*/ 42316 h 543332"/>
                  <a:gd name="connsiteX110" fmla="*/ 101080 w 165875"/>
                  <a:gd name="connsiteY110" fmla="*/ 43069 h 543332"/>
                  <a:gd name="connsiteX111" fmla="*/ 101115 w 165875"/>
                  <a:gd name="connsiteY111" fmla="*/ 147283 h 543332"/>
                  <a:gd name="connsiteX112" fmla="*/ 64693 w 165875"/>
                  <a:gd name="connsiteY112" fmla="*/ 147283 h 543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</a:cxnLst>
                <a:rect l="l" t="t" r="r" b="b"/>
                <a:pathLst>
                  <a:path w="165875" h="543332">
                    <a:moveTo>
                      <a:pt x="148444" y="415317"/>
                    </a:moveTo>
                    <a:lnTo>
                      <a:pt x="147160" y="413725"/>
                    </a:lnTo>
                    <a:lnTo>
                      <a:pt x="144163" y="410420"/>
                    </a:lnTo>
                    <a:lnTo>
                      <a:pt x="140978" y="407269"/>
                    </a:lnTo>
                    <a:lnTo>
                      <a:pt x="137622" y="404290"/>
                    </a:lnTo>
                    <a:lnTo>
                      <a:pt x="135379" y="402509"/>
                    </a:lnTo>
                    <a:cubicBezTo>
                      <a:pt x="135019" y="402218"/>
                      <a:pt x="134677" y="401926"/>
                      <a:pt x="134317" y="401635"/>
                    </a:cubicBezTo>
                    <a:cubicBezTo>
                      <a:pt x="133632" y="401070"/>
                      <a:pt x="132964" y="400539"/>
                      <a:pt x="132485" y="400060"/>
                    </a:cubicBezTo>
                    <a:cubicBezTo>
                      <a:pt x="131783" y="399375"/>
                      <a:pt x="131201" y="398639"/>
                      <a:pt x="130704" y="397834"/>
                    </a:cubicBezTo>
                    <a:cubicBezTo>
                      <a:pt x="129745" y="396310"/>
                      <a:pt x="129163" y="394546"/>
                      <a:pt x="129043" y="392765"/>
                    </a:cubicBezTo>
                    <a:cubicBezTo>
                      <a:pt x="128992" y="391909"/>
                      <a:pt x="128957" y="390916"/>
                      <a:pt x="128957" y="389769"/>
                    </a:cubicBezTo>
                    <a:lnTo>
                      <a:pt x="128957" y="44525"/>
                    </a:lnTo>
                    <a:cubicBezTo>
                      <a:pt x="128957" y="44165"/>
                      <a:pt x="128957" y="43840"/>
                      <a:pt x="128957" y="43703"/>
                    </a:cubicBezTo>
                    <a:lnTo>
                      <a:pt x="128923" y="42692"/>
                    </a:lnTo>
                    <a:cubicBezTo>
                      <a:pt x="128923" y="42059"/>
                      <a:pt x="128872" y="41425"/>
                      <a:pt x="128820" y="40809"/>
                    </a:cubicBezTo>
                    <a:cubicBezTo>
                      <a:pt x="128803" y="40603"/>
                      <a:pt x="128786" y="40415"/>
                      <a:pt x="128769" y="40209"/>
                    </a:cubicBezTo>
                    <a:lnTo>
                      <a:pt x="128769" y="40004"/>
                    </a:lnTo>
                    <a:cubicBezTo>
                      <a:pt x="128700" y="39456"/>
                      <a:pt x="128632" y="38908"/>
                      <a:pt x="128546" y="38343"/>
                    </a:cubicBezTo>
                    <a:lnTo>
                      <a:pt x="128409" y="37333"/>
                    </a:lnTo>
                    <a:cubicBezTo>
                      <a:pt x="127262" y="30415"/>
                      <a:pt x="124437" y="23839"/>
                      <a:pt x="120259" y="18343"/>
                    </a:cubicBezTo>
                    <a:cubicBezTo>
                      <a:pt x="118170" y="15534"/>
                      <a:pt x="115704" y="12966"/>
                      <a:pt x="112964" y="10706"/>
                    </a:cubicBezTo>
                    <a:cubicBezTo>
                      <a:pt x="110190" y="8411"/>
                      <a:pt x="107176" y="6459"/>
                      <a:pt x="104060" y="4918"/>
                    </a:cubicBezTo>
                    <a:cubicBezTo>
                      <a:pt x="100772" y="3291"/>
                      <a:pt x="97399" y="2075"/>
                      <a:pt x="94060" y="1288"/>
                    </a:cubicBezTo>
                    <a:cubicBezTo>
                      <a:pt x="90618" y="483"/>
                      <a:pt x="87056" y="38"/>
                      <a:pt x="83494" y="3"/>
                    </a:cubicBezTo>
                    <a:cubicBezTo>
                      <a:pt x="76405" y="-82"/>
                      <a:pt x="69213" y="1442"/>
                      <a:pt x="62724" y="4473"/>
                    </a:cubicBezTo>
                    <a:cubicBezTo>
                      <a:pt x="59504" y="5997"/>
                      <a:pt x="56473" y="7863"/>
                      <a:pt x="53699" y="10038"/>
                    </a:cubicBezTo>
                    <a:cubicBezTo>
                      <a:pt x="50943" y="12230"/>
                      <a:pt x="48460" y="14713"/>
                      <a:pt x="46251" y="17469"/>
                    </a:cubicBezTo>
                    <a:cubicBezTo>
                      <a:pt x="41850" y="23069"/>
                      <a:pt x="38870" y="29593"/>
                      <a:pt x="37672" y="36220"/>
                    </a:cubicBezTo>
                    <a:cubicBezTo>
                      <a:pt x="37295" y="38138"/>
                      <a:pt x="37124" y="40004"/>
                      <a:pt x="37021" y="41408"/>
                    </a:cubicBezTo>
                    <a:cubicBezTo>
                      <a:pt x="36987" y="41956"/>
                      <a:pt x="36970" y="42521"/>
                      <a:pt x="36953" y="43069"/>
                    </a:cubicBezTo>
                    <a:lnTo>
                      <a:pt x="36918" y="388262"/>
                    </a:lnTo>
                    <a:cubicBezTo>
                      <a:pt x="36918" y="388724"/>
                      <a:pt x="36884" y="389187"/>
                      <a:pt x="36867" y="389666"/>
                    </a:cubicBezTo>
                    <a:lnTo>
                      <a:pt x="36833" y="390060"/>
                    </a:lnTo>
                    <a:cubicBezTo>
                      <a:pt x="36816" y="390300"/>
                      <a:pt x="36798" y="390539"/>
                      <a:pt x="36730" y="390933"/>
                    </a:cubicBezTo>
                    <a:cubicBezTo>
                      <a:pt x="36251" y="394358"/>
                      <a:pt x="34846" y="397560"/>
                      <a:pt x="32569" y="400300"/>
                    </a:cubicBezTo>
                    <a:cubicBezTo>
                      <a:pt x="32141" y="400831"/>
                      <a:pt x="31610" y="401396"/>
                      <a:pt x="30839" y="402132"/>
                    </a:cubicBezTo>
                    <a:lnTo>
                      <a:pt x="26661" y="405677"/>
                    </a:lnTo>
                    <a:lnTo>
                      <a:pt x="24675" y="407526"/>
                    </a:lnTo>
                    <a:cubicBezTo>
                      <a:pt x="23596" y="408485"/>
                      <a:pt x="22689" y="409444"/>
                      <a:pt x="21798" y="410385"/>
                    </a:cubicBezTo>
                    <a:lnTo>
                      <a:pt x="21062" y="411156"/>
                    </a:lnTo>
                    <a:cubicBezTo>
                      <a:pt x="20514" y="411704"/>
                      <a:pt x="20000" y="412286"/>
                      <a:pt x="19504" y="412868"/>
                    </a:cubicBezTo>
                    <a:lnTo>
                      <a:pt x="17483" y="415214"/>
                    </a:lnTo>
                    <a:lnTo>
                      <a:pt x="17295" y="415454"/>
                    </a:lnTo>
                    <a:cubicBezTo>
                      <a:pt x="15274" y="418057"/>
                      <a:pt x="13134" y="420899"/>
                      <a:pt x="11336" y="423947"/>
                    </a:cubicBezTo>
                    <a:cubicBezTo>
                      <a:pt x="4007" y="435797"/>
                      <a:pt x="86" y="449530"/>
                      <a:pt x="0" y="463777"/>
                    </a:cubicBezTo>
                    <a:cubicBezTo>
                      <a:pt x="34" y="467886"/>
                      <a:pt x="257" y="471054"/>
                      <a:pt x="685" y="474085"/>
                    </a:cubicBezTo>
                    <a:cubicBezTo>
                      <a:pt x="1062" y="477116"/>
                      <a:pt x="1712" y="480352"/>
                      <a:pt x="2757" y="484239"/>
                    </a:cubicBezTo>
                    <a:lnTo>
                      <a:pt x="3082" y="485318"/>
                    </a:lnTo>
                    <a:cubicBezTo>
                      <a:pt x="3459" y="486602"/>
                      <a:pt x="3853" y="487921"/>
                      <a:pt x="4366" y="489291"/>
                    </a:cubicBezTo>
                    <a:cubicBezTo>
                      <a:pt x="4846" y="490729"/>
                      <a:pt x="5394" y="492030"/>
                      <a:pt x="5925" y="493297"/>
                    </a:cubicBezTo>
                    <a:lnTo>
                      <a:pt x="6319" y="494222"/>
                    </a:lnTo>
                    <a:cubicBezTo>
                      <a:pt x="7962" y="497904"/>
                      <a:pt x="9486" y="500849"/>
                      <a:pt x="11096" y="503435"/>
                    </a:cubicBezTo>
                    <a:cubicBezTo>
                      <a:pt x="11747" y="504582"/>
                      <a:pt x="12432" y="505592"/>
                      <a:pt x="13099" y="506585"/>
                    </a:cubicBezTo>
                    <a:cubicBezTo>
                      <a:pt x="13356" y="506962"/>
                      <a:pt x="13613" y="507339"/>
                      <a:pt x="13870" y="507733"/>
                    </a:cubicBezTo>
                    <a:lnTo>
                      <a:pt x="13990" y="507904"/>
                    </a:lnTo>
                    <a:cubicBezTo>
                      <a:pt x="14315" y="508366"/>
                      <a:pt x="14658" y="508828"/>
                      <a:pt x="15000" y="509291"/>
                    </a:cubicBezTo>
                    <a:lnTo>
                      <a:pt x="16319" y="511055"/>
                    </a:lnTo>
                    <a:cubicBezTo>
                      <a:pt x="16524" y="511329"/>
                      <a:pt x="16747" y="511585"/>
                      <a:pt x="16952" y="511842"/>
                    </a:cubicBezTo>
                    <a:lnTo>
                      <a:pt x="18733" y="514034"/>
                    </a:lnTo>
                    <a:lnTo>
                      <a:pt x="20582" y="516089"/>
                    </a:lnTo>
                    <a:lnTo>
                      <a:pt x="23083" y="518709"/>
                    </a:lnTo>
                    <a:cubicBezTo>
                      <a:pt x="23476" y="519120"/>
                      <a:pt x="23870" y="519514"/>
                      <a:pt x="24333" y="519959"/>
                    </a:cubicBezTo>
                    <a:cubicBezTo>
                      <a:pt x="29658" y="525010"/>
                      <a:pt x="35411" y="529257"/>
                      <a:pt x="41388" y="532545"/>
                    </a:cubicBezTo>
                    <a:cubicBezTo>
                      <a:pt x="47312" y="535901"/>
                      <a:pt x="54008" y="538606"/>
                      <a:pt x="61268" y="540558"/>
                    </a:cubicBezTo>
                    <a:lnTo>
                      <a:pt x="65224" y="541500"/>
                    </a:lnTo>
                    <a:cubicBezTo>
                      <a:pt x="65549" y="541569"/>
                      <a:pt x="65891" y="541637"/>
                      <a:pt x="66234" y="541689"/>
                    </a:cubicBezTo>
                    <a:lnTo>
                      <a:pt x="69093" y="542219"/>
                    </a:lnTo>
                    <a:lnTo>
                      <a:pt x="71713" y="542579"/>
                    </a:lnTo>
                    <a:cubicBezTo>
                      <a:pt x="73066" y="542802"/>
                      <a:pt x="74333" y="542904"/>
                      <a:pt x="75549" y="542990"/>
                    </a:cubicBezTo>
                    <a:cubicBezTo>
                      <a:pt x="76063" y="543024"/>
                      <a:pt x="76559" y="543076"/>
                      <a:pt x="77073" y="543127"/>
                    </a:cubicBezTo>
                    <a:lnTo>
                      <a:pt x="77244" y="543127"/>
                    </a:lnTo>
                    <a:cubicBezTo>
                      <a:pt x="77861" y="543178"/>
                      <a:pt x="78477" y="543213"/>
                      <a:pt x="79094" y="543230"/>
                    </a:cubicBezTo>
                    <a:lnTo>
                      <a:pt x="80583" y="543281"/>
                    </a:lnTo>
                    <a:cubicBezTo>
                      <a:pt x="81131" y="543298"/>
                      <a:pt x="81679" y="543332"/>
                      <a:pt x="82244" y="543332"/>
                    </a:cubicBezTo>
                    <a:cubicBezTo>
                      <a:pt x="82433" y="543332"/>
                      <a:pt x="82638" y="543332"/>
                      <a:pt x="82827" y="543332"/>
                    </a:cubicBezTo>
                    <a:cubicBezTo>
                      <a:pt x="90378" y="543298"/>
                      <a:pt x="97553" y="542425"/>
                      <a:pt x="104128" y="540730"/>
                    </a:cubicBezTo>
                    <a:lnTo>
                      <a:pt x="106543" y="540113"/>
                    </a:lnTo>
                    <a:lnTo>
                      <a:pt x="109214" y="539291"/>
                    </a:lnTo>
                    <a:lnTo>
                      <a:pt x="114197" y="537545"/>
                    </a:lnTo>
                    <a:lnTo>
                      <a:pt x="116765" y="536466"/>
                    </a:lnTo>
                    <a:lnTo>
                      <a:pt x="121543" y="534257"/>
                    </a:lnTo>
                    <a:lnTo>
                      <a:pt x="123992" y="532938"/>
                    </a:lnTo>
                    <a:lnTo>
                      <a:pt x="128529" y="530301"/>
                    </a:lnTo>
                    <a:lnTo>
                      <a:pt x="130858" y="528760"/>
                    </a:lnTo>
                    <a:lnTo>
                      <a:pt x="135088" y="525712"/>
                    </a:lnTo>
                    <a:lnTo>
                      <a:pt x="137125" y="524068"/>
                    </a:lnTo>
                    <a:cubicBezTo>
                      <a:pt x="137964" y="523401"/>
                      <a:pt x="138718" y="522733"/>
                      <a:pt x="139351" y="522151"/>
                    </a:cubicBezTo>
                    <a:lnTo>
                      <a:pt x="140002" y="521568"/>
                    </a:lnTo>
                    <a:cubicBezTo>
                      <a:pt x="140430" y="521192"/>
                      <a:pt x="140841" y="520815"/>
                      <a:pt x="141303" y="520387"/>
                    </a:cubicBezTo>
                    <a:cubicBezTo>
                      <a:pt x="146646" y="515250"/>
                      <a:pt x="151115" y="509753"/>
                      <a:pt x="154523" y="504068"/>
                    </a:cubicBezTo>
                    <a:cubicBezTo>
                      <a:pt x="161869" y="492202"/>
                      <a:pt x="165790" y="478451"/>
                      <a:pt x="165876" y="464307"/>
                    </a:cubicBezTo>
                    <a:cubicBezTo>
                      <a:pt x="165910" y="452544"/>
                      <a:pt x="163187" y="440780"/>
                      <a:pt x="158016" y="430283"/>
                    </a:cubicBezTo>
                    <a:cubicBezTo>
                      <a:pt x="155430" y="425009"/>
                      <a:pt x="152211" y="419992"/>
                      <a:pt x="148444" y="415368"/>
                    </a:cubicBezTo>
                    <a:close/>
                    <a:moveTo>
                      <a:pt x="64727" y="147283"/>
                    </a:moveTo>
                    <a:lnTo>
                      <a:pt x="64727" y="44268"/>
                    </a:lnTo>
                    <a:cubicBezTo>
                      <a:pt x="64727" y="44028"/>
                      <a:pt x="64744" y="43771"/>
                      <a:pt x="64744" y="43531"/>
                    </a:cubicBezTo>
                    <a:cubicBezTo>
                      <a:pt x="64744" y="43412"/>
                      <a:pt x="64744" y="43309"/>
                      <a:pt x="64744" y="43206"/>
                    </a:cubicBezTo>
                    <a:cubicBezTo>
                      <a:pt x="64813" y="42453"/>
                      <a:pt x="64864" y="41785"/>
                      <a:pt x="64967" y="41271"/>
                    </a:cubicBezTo>
                    <a:lnTo>
                      <a:pt x="65001" y="41100"/>
                    </a:lnTo>
                    <a:cubicBezTo>
                      <a:pt x="65446" y="38617"/>
                      <a:pt x="66576" y="36134"/>
                      <a:pt x="68237" y="34028"/>
                    </a:cubicBezTo>
                    <a:cubicBezTo>
                      <a:pt x="69111" y="32932"/>
                      <a:pt x="70121" y="31922"/>
                      <a:pt x="71183" y="31083"/>
                    </a:cubicBezTo>
                    <a:cubicBezTo>
                      <a:pt x="72278" y="30226"/>
                      <a:pt x="73511" y="29473"/>
                      <a:pt x="74847" y="28822"/>
                    </a:cubicBezTo>
                    <a:cubicBezTo>
                      <a:pt x="75994" y="28274"/>
                      <a:pt x="77313" y="27829"/>
                      <a:pt x="78820" y="27504"/>
                    </a:cubicBezTo>
                    <a:cubicBezTo>
                      <a:pt x="80258" y="27196"/>
                      <a:pt x="81696" y="27024"/>
                      <a:pt x="83118" y="27076"/>
                    </a:cubicBezTo>
                    <a:cubicBezTo>
                      <a:pt x="86097" y="27110"/>
                      <a:pt x="88871" y="27778"/>
                      <a:pt x="91474" y="29062"/>
                    </a:cubicBezTo>
                    <a:cubicBezTo>
                      <a:pt x="92655" y="29644"/>
                      <a:pt x="93837" y="30398"/>
                      <a:pt x="94967" y="31340"/>
                    </a:cubicBezTo>
                    <a:cubicBezTo>
                      <a:pt x="96046" y="32230"/>
                      <a:pt x="96988" y="33206"/>
                      <a:pt x="97827" y="34336"/>
                    </a:cubicBezTo>
                    <a:cubicBezTo>
                      <a:pt x="99368" y="36357"/>
                      <a:pt x="100430" y="38788"/>
                      <a:pt x="100892" y="41374"/>
                    </a:cubicBezTo>
                    <a:cubicBezTo>
                      <a:pt x="100909" y="41596"/>
                      <a:pt x="100943" y="41802"/>
                      <a:pt x="100977" y="42025"/>
                    </a:cubicBezTo>
                    <a:cubicBezTo>
                      <a:pt x="100977" y="42127"/>
                      <a:pt x="101012" y="42213"/>
                      <a:pt x="101012" y="42316"/>
                    </a:cubicBezTo>
                    <a:cubicBezTo>
                      <a:pt x="101012" y="42573"/>
                      <a:pt x="101046" y="42812"/>
                      <a:pt x="101080" y="43069"/>
                    </a:cubicBezTo>
                    <a:lnTo>
                      <a:pt x="101115" y="147283"/>
                    </a:lnTo>
                    <a:lnTo>
                      <a:pt x="64693" y="147283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92" name="Freeform 5">
                <a:extLst>
                  <a:ext uri="{FF2B5EF4-FFF2-40B4-BE49-F238E27FC236}">
                    <a16:creationId xmlns:a16="http://schemas.microsoft.com/office/drawing/2014/main" id="{3A1812C0-2E99-DBE4-FB93-32D2CF7FC467}"/>
                  </a:ext>
                </a:extLst>
              </p:cNvPr>
              <p:cNvSpPr/>
              <p:nvPr/>
            </p:nvSpPr>
            <p:spPr>
              <a:xfrm>
                <a:off x="3469885" y="2847408"/>
                <a:ext cx="843060" cy="843058"/>
              </a:xfrm>
              <a:custGeom>
                <a:avLst/>
                <a:gdLst>
                  <a:gd name="connsiteX0" fmla="*/ 599 w 843060"/>
                  <a:gd name="connsiteY0" fmla="*/ 444047 h 843058"/>
                  <a:gd name="connsiteX1" fmla="*/ 1164 w 843060"/>
                  <a:gd name="connsiteY1" fmla="*/ 451547 h 843058"/>
                  <a:gd name="connsiteX2" fmla="*/ 2414 w 843060"/>
                  <a:gd name="connsiteY2" fmla="*/ 466530 h 843058"/>
                  <a:gd name="connsiteX3" fmla="*/ 4298 w 843060"/>
                  <a:gd name="connsiteY3" fmla="*/ 481462 h 843058"/>
                  <a:gd name="connsiteX4" fmla="*/ 6730 w 843060"/>
                  <a:gd name="connsiteY4" fmla="*/ 496308 h 843058"/>
                  <a:gd name="connsiteX5" fmla="*/ 9623 w 843060"/>
                  <a:gd name="connsiteY5" fmla="*/ 511085 h 843058"/>
                  <a:gd name="connsiteX6" fmla="*/ 13014 w 843060"/>
                  <a:gd name="connsiteY6" fmla="*/ 525760 h 843058"/>
                  <a:gd name="connsiteX7" fmla="*/ 17072 w 843060"/>
                  <a:gd name="connsiteY7" fmla="*/ 540264 h 843058"/>
                  <a:gd name="connsiteX8" fmla="*/ 19178 w 843060"/>
                  <a:gd name="connsiteY8" fmla="*/ 547490 h 843058"/>
                  <a:gd name="connsiteX9" fmla="*/ 21576 w 843060"/>
                  <a:gd name="connsiteY9" fmla="*/ 554630 h 843058"/>
                  <a:gd name="connsiteX10" fmla="*/ 23990 w 843060"/>
                  <a:gd name="connsiteY10" fmla="*/ 561771 h 843058"/>
                  <a:gd name="connsiteX11" fmla="*/ 26524 w 843060"/>
                  <a:gd name="connsiteY11" fmla="*/ 568860 h 843058"/>
                  <a:gd name="connsiteX12" fmla="*/ 32055 w 843060"/>
                  <a:gd name="connsiteY12" fmla="*/ 582867 h 843058"/>
                  <a:gd name="connsiteX13" fmla="*/ 35018 w 843060"/>
                  <a:gd name="connsiteY13" fmla="*/ 589785 h 843058"/>
                  <a:gd name="connsiteX14" fmla="*/ 38117 w 843060"/>
                  <a:gd name="connsiteY14" fmla="*/ 596652 h 843058"/>
                  <a:gd name="connsiteX15" fmla="*/ 41234 w 843060"/>
                  <a:gd name="connsiteY15" fmla="*/ 603501 h 843058"/>
                  <a:gd name="connsiteX16" fmla="*/ 44624 w 843060"/>
                  <a:gd name="connsiteY16" fmla="*/ 610230 h 843058"/>
                  <a:gd name="connsiteX17" fmla="*/ 51542 w 843060"/>
                  <a:gd name="connsiteY17" fmla="*/ 623587 h 843058"/>
                  <a:gd name="connsiteX18" fmla="*/ 59042 w 843060"/>
                  <a:gd name="connsiteY18" fmla="*/ 636635 h 843058"/>
                  <a:gd name="connsiteX19" fmla="*/ 60926 w 843060"/>
                  <a:gd name="connsiteY19" fmla="*/ 639888 h 843058"/>
                  <a:gd name="connsiteX20" fmla="*/ 62946 w 843060"/>
                  <a:gd name="connsiteY20" fmla="*/ 643073 h 843058"/>
                  <a:gd name="connsiteX21" fmla="*/ 67004 w 843060"/>
                  <a:gd name="connsiteY21" fmla="*/ 649409 h 843058"/>
                  <a:gd name="connsiteX22" fmla="*/ 75361 w 843060"/>
                  <a:gd name="connsiteY22" fmla="*/ 661926 h 843058"/>
                  <a:gd name="connsiteX23" fmla="*/ 84111 w 843060"/>
                  <a:gd name="connsiteY23" fmla="*/ 674170 h 843058"/>
                  <a:gd name="connsiteX24" fmla="*/ 103067 w 843060"/>
                  <a:gd name="connsiteY24" fmla="*/ 697509 h 843058"/>
                  <a:gd name="connsiteX25" fmla="*/ 123478 w 843060"/>
                  <a:gd name="connsiteY25" fmla="*/ 719581 h 843058"/>
                  <a:gd name="connsiteX26" fmla="*/ 145550 w 843060"/>
                  <a:gd name="connsiteY26" fmla="*/ 739992 h 843058"/>
                  <a:gd name="connsiteX27" fmla="*/ 168889 w 843060"/>
                  <a:gd name="connsiteY27" fmla="*/ 758948 h 843058"/>
                  <a:gd name="connsiteX28" fmla="*/ 181133 w 843060"/>
                  <a:gd name="connsiteY28" fmla="*/ 767698 h 843058"/>
                  <a:gd name="connsiteX29" fmla="*/ 193650 w 843060"/>
                  <a:gd name="connsiteY29" fmla="*/ 776055 h 843058"/>
                  <a:gd name="connsiteX30" fmla="*/ 199986 w 843060"/>
                  <a:gd name="connsiteY30" fmla="*/ 780113 h 843058"/>
                  <a:gd name="connsiteX31" fmla="*/ 203171 w 843060"/>
                  <a:gd name="connsiteY31" fmla="*/ 782133 h 843058"/>
                  <a:gd name="connsiteX32" fmla="*/ 206424 w 843060"/>
                  <a:gd name="connsiteY32" fmla="*/ 784017 h 843058"/>
                  <a:gd name="connsiteX33" fmla="*/ 219472 w 843060"/>
                  <a:gd name="connsiteY33" fmla="*/ 791517 h 843058"/>
                  <a:gd name="connsiteX34" fmla="*/ 232829 w 843060"/>
                  <a:gd name="connsiteY34" fmla="*/ 798435 h 843058"/>
                  <a:gd name="connsiteX35" fmla="*/ 239558 w 843060"/>
                  <a:gd name="connsiteY35" fmla="*/ 801825 h 843058"/>
                  <a:gd name="connsiteX36" fmla="*/ 246408 w 843060"/>
                  <a:gd name="connsiteY36" fmla="*/ 804942 h 843058"/>
                  <a:gd name="connsiteX37" fmla="*/ 253274 w 843060"/>
                  <a:gd name="connsiteY37" fmla="*/ 808041 h 843058"/>
                  <a:gd name="connsiteX38" fmla="*/ 260192 w 843060"/>
                  <a:gd name="connsiteY38" fmla="*/ 811004 h 843058"/>
                  <a:gd name="connsiteX39" fmla="*/ 274199 w 843060"/>
                  <a:gd name="connsiteY39" fmla="*/ 816534 h 843058"/>
                  <a:gd name="connsiteX40" fmla="*/ 281288 w 843060"/>
                  <a:gd name="connsiteY40" fmla="*/ 819069 h 843058"/>
                  <a:gd name="connsiteX41" fmla="*/ 288429 w 843060"/>
                  <a:gd name="connsiteY41" fmla="*/ 821483 h 843058"/>
                  <a:gd name="connsiteX42" fmla="*/ 295569 w 843060"/>
                  <a:gd name="connsiteY42" fmla="*/ 823880 h 843058"/>
                  <a:gd name="connsiteX43" fmla="*/ 302796 w 843060"/>
                  <a:gd name="connsiteY43" fmla="*/ 825987 h 843058"/>
                  <a:gd name="connsiteX44" fmla="*/ 317299 w 843060"/>
                  <a:gd name="connsiteY44" fmla="*/ 830045 h 843058"/>
                  <a:gd name="connsiteX45" fmla="*/ 331974 w 843060"/>
                  <a:gd name="connsiteY45" fmla="*/ 833435 h 843058"/>
                  <a:gd name="connsiteX46" fmla="*/ 346752 w 843060"/>
                  <a:gd name="connsiteY46" fmla="*/ 836329 h 843058"/>
                  <a:gd name="connsiteX47" fmla="*/ 361598 w 843060"/>
                  <a:gd name="connsiteY47" fmla="*/ 838761 h 843058"/>
                  <a:gd name="connsiteX48" fmla="*/ 376530 w 843060"/>
                  <a:gd name="connsiteY48" fmla="*/ 840644 h 843058"/>
                  <a:gd name="connsiteX49" fmla="*/ 391513 w 843060"/>
                  <a:gd name="connsiteY49" fmla="*/ 841894 h 843058"/>
                  <a:gd name="connsiteX50" fmla="*/ 399013 w 843060"/>
                  <a:gd name="connsiteY50" fmla="*/ 842459 h 843058"/>
                  <a:gd name="connsiteX51" fmla="*/ 406513 w 843060"/>
                  <a:gd name="connsiteY51" fmla="*/ 842699 h 843058"/>
                  <a:gd name="connsiteX52" fmla="*/ 421530 w 843060"/>
                  <a:gd name="connsiteY52" fmla="*/ 843059 h 843058"/>
                  <a:gd name="connsiteX53" fmla="*/ 436547 w 843060"/>
                  <a:gd name="connsiteY53" fmla="*/ 842699 h 843058"/>
                  <a:gd name="connsiteX54" fmla="*/ 444048 w 843060"/>
                  <a:gd name="connsiteY54" fmla="*/ 842459 h 843058"/>
                  <a:gd name="connsiteX55" fmla="*/ 451548 w 843060"/>
                  <a:gd name="connsiteY55" fmla="*/ 841894 h 843058"/>
                  <a:gd name="connsiteX56" fmla="*/ 466531 w 843060"/>
                  <a:gd name="connsiteY56" fmla="*/ 840644 h 843058"/>
                  <a:gd name="connsiteX57" fmla="*/ 481463 w 843060"/>
                  <a:gd name="connsiteY57" fmla="*/ 838761 h 843058"/>
                  <a:gd name="connsiteX58" fmla="*/ 496309 w 843060"/>
                  <a:gd name="connsiteY58" fmla="*/ 836329 h 843058"/>
                  <a:gd name="connsiteX59" fmla="*/ 511086 w 843060"/>
                  <a:gd name="connsiteY59" fmla="*/ 833435 h 843058"/>
                  <a:gd name="connsiteX60" fmla="*/ 525761 w 843060"/>
                  <a:gd name="connsiteY60" fmla="*/ 830045 h 843058"/>
                  <a:gd name="connsiteX61" fmla="*/ 540265 w 843060"/>
                  <a:gd name="connsiteY61" fmla="*/ 825987 h 843058"/>
                  <a:gd name="connsiteX62" fmla="*/ 547491 w 843060"/>
                  <a:gd name="connsiteY62" fmla="*/ 823880 h 843058"/>
                  <a:gd name="connsiteX63" fmla="*/ 554631 w 843060"/>
                  <a:gd name="connsiteY63" fmla="*/ 821483 h 843058"/>
                  <a:gd name="connsiteX64" fmla="*/ 561772 w 843060"/>
                  <a:gd name="connsiteY64" fmla="*/ 819069 h 843058"/>
                  <a:gd name="connsiteX65" fmla="*/ 568861 w 843060"/>
                  <a:gd name="connsiteY65" fmla="*/ 816534 h 843058"/>
                  <a:gd name="connsiteX66" fmla="*/ 582868 w 843060"/>
                  <a:gd name="connsiteY66" fmla="*/ 811004 h 843058"/>
                  <a:gd name="connsiteX67" fmla="*/ 589786 w 843060"/>
                  <a:gd name="connsiteY67" fmla="*/ 808041 h 843058"/>
                  <a:gd name="connsiteX68" fmla="*/ 596653 w 843060"/>
                  <a:gd name="connsiteY68" fmla="*/ 804942 h 843058"/>
                  <a:gd name="connsiteX69" fmla="*/ 603502 w 843060"/>
                  <a:gd name="connsiteY69" fmla="*/ 801825 h 843058"/>
                  <a:gd name="connsiteX70" fmla="*/ 610232 w 843060"/>
                  <a:gd name="connsiteY70" fmla="*/ 798435 h 843058"/>
                  <a:gd name="connsiteX71" fmla="*/ 623588 w 843060"/>
                  <a:gd name="connsiteY71" fmla="*/ 791517 h 843058"/>
                  <a:gd name="connsiteX72" fmla="*/ 636636 w 843060"/>
                  <a:gd name="connsiteY72" fmla="*/ 784017 h 843058"/>
                  <a:gd name="connsiteX73" fmla="*/ 639890 w 843060"/>
                  <a:gd name="connsiteY73" fmla="*/ 782133 h 843058"/>
                  <a:gd name="connsiteX74" fmla="*/ 643074 w 843060"/>
                  <a:gd name="connsiteY74" fmla="*/ 780113 h 843058"/>
                  <a:gd name="connsiteX75" fmla="*/ 649410 w 843060"/>
                  <a:gd name="connsiteY75" fmla="*/ 776055 h 843058"/>
                  <a:gd name="connsiteX76" fmla="*/ 661928 w 843060"/>
                  <a:gd name="connsiteY76" fmla="*/ 767698 h 843058"/>
                  <a:gd name="connsiteX77" fmla="*/ 674171 w 843060"/>
                  <a:gd name="connsiteY77" fmla="*/ 758948 h 843058"/>
                  <a:gd name="connsiteX78" fmla="*/ 697510 w 843060"/>
                  <a:gd name="connsiteY78" fmla="*/ 739992 h 843058"/>
                  <a:gd name="connsiteX79" fmla="*/ 719582 w 843060"/>
                  <a:gd name="connsiteY79" fmla="*/ 719581 h 843058"/>
                  <a:gd name="connsiteX80" fmla="*/ 739994 w 843060"/>
                  <a:gd name="connsiteY80" fmla="*/ 697509 h 843058"/>
                  <a:gd name="connsiteX81" fmla="*/ 758950 w 843060"/>
                  <a:gd name="connsiteY81" fmla="*/ 674170 h 843058"/>
                  <a:gd name="connsiteX82" fmla="*/ 767700 w 843060"/>
                  <a:gd name="connsiteY82" fmla="*/ 661926 h 843058"/>
                  <a:gd name="connsiteX83" fmla="*/ 776056 w 843060"/>
                  <a:gd name="connsiteY83" fmla="*/ 649409 h 843058"/>
                  <a:gd name="connsiteX84" fmla="*/ 780114 w 843060"/>
                  <a:gd name="connsiteY84" fmla="*/ 643073 h 843058"/>
                  <a:gd name="connsiteX85" fmla="*/ 782135 w 843060"/>
                  <a:gd name="connsiteY85" fmla="*/ 639888 h 843058"/>
                  <a:gd name="connsiteX86" fmla="*/ 784018 w 843060"/>
                  <a:gd name="connsiteY86" fmla="*/ 636635 h 843058"/>
                  <a:gd name="connsiteX87" fmla="*/ 791518 w 843060"/>
                  <a:gd name="connsiteY87" fmla="*/ 623587 h 843058"/>
                  <a:gd name="connsiteX88" fmla="*/ 798436 w 843060"/>
                  <a:gd name="connsiteY88" fmla="*/ 610230 h 843058"/>
                  <a:gd name="connsiteX89" fmla="*/ 801827 w 843060"/>
                  <a:gd name="connsiteY89" fmla="*/ 603501 h 843058"/>
                  <a:gd name="connsiteX90" fmla="*/ 804943 w 843060"/>
                  <a:gd name="connsiteY90" fmla="*/ 596652 h 843058"/>
                  <a:gd name="connsiteX91" fmla="*/ 808043 w 843060"/>
                  <a:gd name="connsiteY91" fmla="*/ 589785 h 843058"/>
                  <a:gd name="connsiteX92" fmla="*/ 811005 w 843060"/>
                  <a:gd name="connsiteY92" fmla="*/ 582867 h 843058"/>
                  <a:gd name="connsiteX93" fmla="*/ 816536 w 843060"/>
                  <a:gd name="connsiteY93" fmla="*/ 568860 h 843058"/>
                  <a:gd name="connsiteX94" fmla="*/ 819070 w 843060"/>
                  <a:gd name="connsiteY94" fmla="*/ 561771 h 843058"/>
                  <a:gd name="connsiteX95" fmla="*/ 821485 w 843060"/>
                  <a:gd name="connsiteY95" fmla="*/ 554630 h 843058"/>
                  <a:gd name="connsiteX96" fmla="*/ 823882 w 843060"/>
                  <a:gd name="connsiteY96" fmla="*/ 547490 h 843058"/>
                  <a:gd name="connsiteX97" fmla="*/ 825988 w 843060"/>
                  <a:gd name="connsiteY97" fmla="*/ 540264 h 843058"/>
                  <a:gd name="connsiteX98" fmla="*/ 830046 w 843060"/>
                  <a:gd name="connsiteY98" fmla="*/ 525760 h 843058"/>
                  <a:gd name="connsiteX99" fmla="*/ 833437 w 843060"/>
                  <a:gd name="connsiteY99" fmla="*/ 511085 h 843058"/>
                  <a:gd name="connsiteX100" fmla="*/ 836331 w 843060"/>
                  <a:gd name="connsiteY100" fmla="*/ 496308 h 843058"/>
                  <a:gd name="connsiteX101" fmla="*/ 838762 w 843060"/>
                  <a:gd name="connsiteY101" fmla="*/ 481462 h 843058"/>
                  <a:gd name="connsiteX102" fmla="*/ 840646 w 843060"/>
                  <a:gd name="connsiteY102" fmla="*/ 466530 h 843058"/>
                  <a:gd name="connsiteX103" fmla="*/ 841896 w 843060"/>
                  <a:gd name="connsiteY103" fmla="*/ 451547 h 843058"/>
                  <a:gd name="connsiteX104" fmla="*/ 842461 w 843060"/>
                  <a:gd name="connsiteY104" fmla="*/ 444047 h 843058"/>
                  <a:gd name="connsiteX105" fmla="*/ 842701 w 843060"/>
                  <a:gd name="connsiteY105" fmla="*/ 436547 h 843058"/>
                  <a:gd name="connsiteX106" fmla="*/ 843060 w 843060"/>
                  <a:gd name="connsiteY106" fmla="*/ 421529 h 843058"/>
                  <a:gd name="connsiteX107" fmla="*/ 842701 w 843060"/>
                  <a:gd name="connsiteY107" fmla="*/ 406512 h 843058"/>
                  <a:gd name="connsiteX108" fmla="*/ 842461 w 843060"/>
                  <a:gd name="connsiteY108" fmla="*/ 399012 h 843058"/>
                  <a:gd name="connsiteX109" fmla="*/ 841896 w 843060"/>
                  <a:gd name="connsiteY109" fmla="*/ 391512 h 843058"/>
                  <a:gd name="connsiteX110" fmla="*/ 840646 w 843060"/>
                  <a:gd name="connsiteY110" fmla="*/ 376529 h 843058"/>
                  <a:gd name="connsiteX111" fmla="*/ 838762 w 843060"/>
                  <a:gd name="connsiteY111" fmla="*/ 361597 h 843058"/>
                  <a:gd name="connsiteX112" fmla="*/ 836331 w 843060"/>
                  <a:gd name="connsiteY112" fmla="*/ 346751 h 843058"/>
                  <a:gd name="connsiteX113" fmla="*/ 833437 w 843060"/>
                  <a:gd name="connsiteY113" fmla="*/ 331973 h 843058"/>
                  <a:gd name="connsiteX114" fmla="*/ 830046 w 843060"/>
                  <a:gd name="connsiteY114" fmla="*/ 317299 h 843058"/>
                  <a:gd name="connsiteX115" fmla="*/ 825988 w 843060"/>
                  <a:gd name="connsiteY115" fmla="*/ 302795 h 843058"/>
                  <a:gd name="connsiteX116" fmla="*/ 823882 w 843060"/>
                  <a:gd name="connsiteY116" fmla="*/ 295569 h 843058"/>
                  <a:gd name="connsiteX117" fmla="*/ 821485 w 843060"/>
                  <a:gd name="connsiteY117" fmla="*/ 288428 h 843058"/>
                  <a:gd name="connsiteX118" fmla="*/ 819070 w 843060"/>
                  <a:gd name="connsiteY118" fmla="*/ 281288 h 843058"/>
                  <a:gd name="connsiteX119" fmla="*/ 816536 w 843060"/>
                  <a:gd name="connsiteY119" fmla="*/ 274199 h 843058"/>
                  <a:gd name="connsiteX120" fmla="*/ 811005 w 843060"/>
                  <a:gd name="connsiteY120" fmla="*/ 260192 h 843058"/>
                  <a:gd name="connsiteX121" fmla="*/ 808043 w 843060"/>
                  <a:gd name="connsiteY121" fmla="*/ 253274 h 843058"/>
                  <a:gd name="connsiteX122" fmla="*/ 804943 w 843060"/>
                  <a:gd name="connsiteY122" fmla="*/ 246407 h 843058"/>
                  <a:gd name="connsiteX123" fmla="*/ 801827 w 843060"/>
                  <a:gd name="connsiteY123" fmla="*/ 239558 h 843058"/>
                  <a:gd name="connsiteX124" fmla="*/ 798436 w 843060"/>
                  <a:gd name="connsiteY124" fmla="*/ 232828 h 843058"/>
                  <a:gd name="connsiteX125" fmla="*/ 791518 w 843060"/>
                  <a:gd name="connsiteY125" fmla="*/ 219472 h 843058"/>
                  <a:gd name="connsiteX126" fmla="*/ 784018 w 843060"/>
                  <a:gd name="connsiteY126" fmla="*/ 206424 h 843058"/>
                  <a:gd name="connsiteX127" fmla="*/ 782135 w 843060"/>
                  <a:gd name="connsiteY127" fmla="*/ 203170 h 843058"/>
                  <a:gd name="connsiteX128" fmla="*/ 780114 w 843060"/>
                  <a:gd name="connsiteY128" fmla="*/ 199985 h 843058"/>
                  <a:gd name="connsiteX129" fmla="*/ 776056 w 843060"/>
                  <a:gd name="connsiteY129" fmla="*/ 193650 h 843058"/>
                  <a:gd name="connsiteX130" fmla="*/ 767700 w 843060"/>
                  <a:gd name="connsiteY130" fmla="*/ 181132 h 843058"/>
                  <a:gd name="connsiteX131" fmla="*/ 758950 w 843060"/>
                  <a:gd name="connsiteY131" fmla="*/ 168889 h 843058"/>
                  <a:gd name="connsiteX132" fmla="*/ 739994 w 843060"/>
                  <a:gd name="connsiteY132" fmla="*/ 145550 h 843058"/>
                  <a:gd name="connsiteX133" fmla="*/ 719582 w 843060"/>
                  <a:gd name="connsiteY133" fmla="*/ 123478 h 843058"/>
                  <a:gd name="connsiteX134" fmla="*/ 697510 w 843060"/>
                  <a:gd name="connsiteY134" fmla="*/ 103066 h 843058"/>
                  <a:gd name="connsiteX135" fmla="*/ 674171 w 843060"/>
                  <a:gd name="connsiteY135" fmla="*/ 84111 h 843058"/>
                  <a:gd name="connsiteX136" fmla="*/ 661928 w 843060"/>
                  <a:gd name="connsiteY136" fmla="*/ 75361 h 843058"/>
                  <a:gd name="connsiteX137" fmla="*/ 649410 w 843060"/>
                  <a:gd name="connsiteY137" fmla="*/ 67004 h 843058"/>
                  <a:gd name="connsiteX138" fmla="*/ 643074 w 843060"/>
                  <a:gd name="connsiteY138" fmla="*/ 62946 h 843058"/>
                  <a:gd name="connsiteX139" fmla="*/ 639890 w 843060"/>
                  <a:gd name="connsiteY139" fmla="*/ 60925 h 843058"/>
                  <a:gd name="connsiteX140" fmla="*/ 636636 w 843060"/>
                  <a:gd name="connsiteY140" fmla="*/ 59042 h 843058"/>
                  <a:gd name="connsiteX141" fmla="*/ 623588 w 843060"/>
                  <a:gd name="connsiteY141" fmla="*/ 51542 h 843058"/>
                  <a:gd name="connsiteX142" fmla="*/ 610232 w 843060"/>
                  <a:gd name="connsiteY142" fmla="*/ 44624 h 843058"/>
                  <a:gd name="connsiteX143" fmla="*/ 603502 w 843060"/>
                  <a:gd name="connsiteY143" fmla="*/ 41233 h 843058"/>
                  <a:gd name="connsiteX144" fmla="*/ 596653 w 843060"/>
                  <a:gd name="connsiteY144" fmla="*/ 38117 h 843058"/>
                  <a:gd name="connsiteX145" fmla="*/ 589786 w 843060"/>
                  <a:gd name="connsiteY145" fmla="*/ 35018 h 843058"/>
                  <a:gd name="connsiteX146" fmla="*/ 582868 w 843060"/>
                  <a:gd name="connsiteY146" fmla="*/ 32055 h 843058"/>
                  <a:gd name="connsiteX147" fmla="*/ 568861 w 843060"/>
                  <a:gd name="connsiteY147" fmla="*/ 26524 h 843058"/>
                  <a:gd name="connsiteX148" fmla="*/ 561772 w 843060"/>
                  <a:gd name="connsiteY148" fmla="*/ 23990 h 843058"/>
                  <a:gd name="connsiteX149" fmla="*/ 554631 w 843060"/>
                  <a:gd name="connsiteY149" fmla="*/ 21576 h 843058"/>
                  <a:gd name="connsiteX150" fmla="*/ 547491 w 843060"/>
                  <a:gd name="connsiteY150" fmla="*/ 19178 h 843058"/>
                  <a:gd name="connsiteX151" fmla="*/ 540265 w 843060"/>
                  <a:gd name="connsiteY151" fmla="*/ 17072 h 843058"/>
                  <a:gd name="connsiteX152" fmla="*/ 525761 w 843060"/>
                  <a:gd name="connsiteY152" fmla="*/ 13014 h 843058"/>
                  <a:gd name="connsiteX153" fmla="*/ 511086 w 843060"/>
                  <a:gd name="connsiteY153" fmla="*/ 9623 h 843058"/>
                  <a:gd name="connsiteX154" fmla="*/ 496309 w 843060"/>
                  <a:gd name="connsiteY154" fmla="*/ 6730 h 843058"/>
                  <a:gd name="connsiteX155" fmla="*/ 481463 w 843060"/>
                  <a:gd name="connsiteY155" fmla="*/ 4298 h 843058"/>
                  <a:gd name="connsiteX156" fmla="*/ 466531 w 843060"/>
                  <a:gd name="connsiteY156" fmla="*/ 2414 h 843058"/>
                  <a:gd name="connsiteX157" fmla="*/ 451548 w 843060"/>
                  <a:gd name="connsiteY157" fmla="*/ 1164 h 843058"/>
                  <a:gd name="connsiteX158" fmla="*/ 444048 w 843060"/>
                  <a:gd name="connsiteY158" fmla="*/ 599 h 843058"/>
                  <a:gd name="connsiteX159" fmla="*/ 436547 w 843060"/>
                  <a:gd name="connsiteY159" fmla="*/ 360 h 843058"/>
                  <a:gd name="connsiteX160" fmla="*/ 421530 w 843060"/>
                  <a:gd name="connsiteY160" fmla="*/ 0 h 843058"/>
                  <a:gd name="connsiteX161" fmla="*/ 406513 w 843060"/>
                  <a:gd name="connsiteY161" fmla="*/ 360 h 843058"/>
                  <a:gd name="connsiteX162" fmla="*/ 399013 w 843060"/>
                  <a:gd name="connsiteY162" fmla="*/ 599 h 843058"/>
                  <a:gd name="connsiteX163" fmla="*/ 391513 w 843060"/>
                  <a:gd name="connsiteY163" fmla="*/ 1164 h 843058"/>
                  <a:gd name="connsiteX164" fmla="*/ 376530 w 843060"/>
                  <a:gd name="connsiteY164" fmla="*/ 2414 h 843058"/>
                  <a:gd name="connsiteX165" fmla="*/ 361598 w 843060"/>
                  <a:gd name="connsiteY165" fmla="*/ 4298 h 843058"/>
                  <a:gd name="connsiteX166" fmla="*/ 346752 w 843060"/>
                  <a:gd name="connsiteY166" fmla="*/ 6730 h 843058"/>
                  <a:gd name="connsiteX167" fmla="*/ 331974 w 843060"/>
                  <a:gd name="connsiteY167" fmla="*/ 9623 h 843058"/>
                  <a:gd name="connsiteX168" fmla="*/ 317299 w 843060"/>
                  <a:gd name="connsiteY168" fmla="*/ 13014 h 843058"/>
                  <a:gd name="connsiteX169" fmla="*/ 302796 w 843060"/>
                  <a:gd name="connsiteY169" fmla="*/ 17072 h 843058"/>
                  <a:gd name="connsiteX170" fmla="*/ 295569 w 843060"/>
                  <a:gd name="connsiteY170" fmla="*/ 19178 h 843058"/>
                  <a:gd name="connsiteX171" fmla="*/ 288429 w 843060"/>
                  <a:gd name="connsiteY171" fmla="*/ 21576 h 843058"/>
                  <a:gd name="connsiteX172" fmla="*/ 281288 w 843060"/>
                  <a:gd name="connsiteY172" fmla="*/ 23990 h 843058"/>
                  <a:gd name="connsiteX173" fmla="*/ 274199 w 843060"/>
                  <a:gd name="connsiteY173" fmla="*/ 26524 h 843058"/>
                  <a:gd name="connsiteX174" fmla="*/ 260192 w 843060"/>
                  <a:gd name="connsiteY174" fmla="*/ 32055 h 843058"/>
                  <a:gd name="connsiteX175" fmla="*/ 253274 w 843060"/>
                  <a:gd name="connsiteY175" fmla="*/ 35018 h 843058"/>
                  <a:gd name="connsiteX176" fmla="*/ 246408 w 843060"/>
                  <a:gd name="connsiteY176" fmla="*/ 38117 h 843058"/>
                  <a:gd name="connsiteX177" fmla="*/ 239558 w 843060"/>
                  <a:gd name="connsiteY177" fmla="*/ 41233 h 843058"/>
                  <a:gd name="connsiteX178" fmla="*/ 232829 w 843060"/>
                  <a:gd name="connsiteY178" fmla="*/ 44624 h 843058"/>
                  <a:gd name="connsiteX179" fmla="*/ 219472 w 843060"/>
                  <a:gd name="connsiteY179" fmla="*/ 51542 h 843058"/>
                  <a:gd name="connsiteX180" fmla="*/ 206424 w 843060"/>
                  <a:gd name="connsiteY180" fmla="*/ 59042 h 843058"/>
                  <a:gd name="connsiteX181" fmla="*/ 203171 w 843060"/>
                  <a:gd name="connsiteY181" fmla="*/ 60925 h 843058"/>
                  <a:gd name="connsiteX182" fmla="*/ 199986 w 843060"/>
                  <a:gd name="connsiteY182" fmla="*/ 62946 h 843058"/>
                  <a:gd name="connsiteX183" fmla="*/ 193650 w 843060"/>
                  <a:gd name="connsiteY183" fmla="*/ 67004 h 843058"/>
                  <a:gd name="connsiteX184" fmla="*/ 181133 w 843060"/>
                  <a:gd name="connsiteY184" fmla="*/ 75361 h 843058"/>
                  <a:gd name="connsiteX185" fmla="*/ 168889 w 843060"/>
                  <a:gd name="connsiteY185" fmla="*/ 84111 h 843058"/>
                  <a:gd name="connsiteX186" fmla="*/ 145550 w 843060"/>
                  <a:gd name="connsiteY186" fmla="*/ 103066 h 843058"/>
                  <a:gd name="connsiteX187" fmla="*/ 123478 w 843060"/>
                  <a:gd name="connsiteY187" fmla="*/ 123478 h 843058"/>
                  <a:gd name="connsiteX188" fmla="*/ 103067 w 843060"/>
                  <a:gd name="connsiteY188" fmla="*/ 145550 h 843058"/>
                  <a:gd name="connsiteX189" fmla="*/ 84111 w 843060"/>
                  <a:gd name="connsiteY189" fmla="*/ 168889 h 843058"/>
                  <a:gd name="connsiteX190" fmla="*/ 75361 w 843060"/>
                  <a:gd name="connsiteY190" fmla="*/ 181132 h 843058"/>
                  <a:gd name="connsiteX191" fmla="*/ 67004 w 843060"/>
                  <a:gd name="connsiteY191" fmla="*/ 193650 h 843058"/>
                  <a:gd name="connsiteX192" fmla="*/ 62946 w 843060"/>
                  <a:gd name="connsiteY192" fmla="*/ 199985 h 843058"/>
                  <a:gd name="connsiteX193" fmla="*/ 60926 w 843060"/>
                  <a:gd name="connsiteY193" fmla="*/ 203170 h 843058"/>
                  <a:gd name="connsiteX194" fmla="*/ 59042 w 843060"/>
                  <a:gd name="connsiteY194" fmla="*/ 206424 h 843058"/>
                  <a:gd name="connsiteX195" fmla="*/ 51542 w 843060"/>
                  <a:gd name="connsiteY195" fmla="*/ 219472 h 843058"/>
                  <a:gd name="connsiteX196" fmla="*/ 44624 w 843060"/>
                  <a:gd name="connsiteY196" fmla="*/ 232828 h 843058"/>
                  <a:gd name="connsiteX197" fmla="*/ 41234 w 843060"/>
                  <a:gd name="connsiteY197" fmla="*/ 239558 h 843058"/>
                  <a:gd name="connsiteX198" fmla="*/ 38117 w 843060"/>
                  <a:gd name="connsiteY198" fmla="*/ 246407 h 843058"/>
                  <a:gd name="connsiteX199" fmla="*/ 35018 w 843060"/>
                  <a:gd name="connsiteY199" fmla="*/ 253274 h 843058"/>
                  <a:gd name="connsiteX200" fmla="*/ 32055 w 843060"/>
                  <a:gd name="connsiteY200" fmla="*/ 260192 h 843058"/>
                  <a:gd name="connsiteX201" fmla="*/ 26524 w 843060"/>
                  <a:gd name="connsiteY201" fmla="*/ 274199 h 843058"/>
                  <a:gd name="connsiteX202" fmla="*/ 23990 w 843060"/>
                  <a:gd name="connsiteY202" fmla="*/ 281288 h 843058"/>
                  <a:gd name="connsiteX203" fmla="*/ 21576 w 843060"/>
                  <a:gd name="connsiteY203" fmla="*/ 288428 h 843058"/>
                  <a:gd name="connsiteX204" fmla="*/ 19178 w 843060"/>
                  <a:gd name="connsiteY204" fmla="*/ 295569 h 843058"/>
                  <a:gd name="connsiteX205" fmla="*/ 17072 w 843060"/>
                  <a:gd name="connsiteY205" fmla="*/ 302795 h 843058"/>
                  <a:gd name="connsiteX206" fmla="*/ 13014 w 843060"/>
                  <a:gd name="connsiteY206" fmla="*/ 317299 h 843058"/>
                  <a:gd name="connsiteX207" fmla="*/ 9623 w 843060"/>
                  <a:gd name="connsiteY207" fmla="*/ 331973 h 843058"/>
                  <a:gd name="connsiteX208" fmla="*/ 6730 w 843060"/>
                  <a:gd name="connsiteY208" fmla="*/ 346751 h 843058"/>
                  <a:gd name="connsiteX209" fmla="*/ 4298 w 843060"/>
                  <a:gd name="connsiteY209" fmla="*/ 361597 h 843058"/>
                  <a:gd name="connsiteX210" fmla="*/ 2414 w 843060"/>
                  <a:gd name="connsiteY210" fmla="*/ 376529 h 843058"/>
                  <a:gd name="connsiteX211" fmla="*/ 1164 w 843060"/>
                  <a:gd name="connsiteY211" fmla="*/ 391512 h 843058"/>
                  <a:gd name="connsiteX212" fmla="*/ 599 w 843060"/>
                  <a:gd name="connsiteY212" fmla="*/ 399012 h 843058"/>
                  <a:gd name="connsiteX213" fmla="*/ 360 w 843060"/>
                  <a:gd name="connsiteY213" fmla="*/ 406512 h 843058"/>
                  <a:gd name="connsiteX214" fmla="*/ 0 w 843060"/>
                  <a:gd name="connsiteY214" fmla="*/ 421529 h 843058"/>
                  <a:gd name="connsiteX215" fmla="*/ 360 w 843060"/>
                  <a:gd name="connsiteY215" fmla="*/ 436547 h 843058"/>
                  <a:gd name="connsiteX216" fmla="*/ 599 w 843060"/>
                  <a:gd name="connsiteY216" fmla="*/ 444047 h 843058"/>
                  <a:gd name="connsiteX217" fmla="*/ 52398 w 843060"/>
                  <a:gd name="connsiteY217" fmla="*/ 305963 h 843058"/>
                  <a:gd name="connsiteX218" fmla="*/ 54607 w 843060"/>
                  <a:gd name="connsiteY218" fmla="*/ 299422 h 843058"/>
                  <a:gd name="connsiteX219" fmla="*/ 56816 w 843060"/>
                  <a:gd name="connsiteY219" fmla="*/ 292880 h 843058"/>
                  <a:gd name="connsiteX220" fmla="*/ 59145 w 843060"/>
                  <a:gd name="connsiteY220" fmla="*/ 286374 h 843058"/>
                  <a:gd name="connsiteX221" fmla="*/ 64213 w 843060"/>
                  <a:gd name="connsiteY221" fmla="*/ 273531 h 843058"/>
                  <a:gd name="connsiteX222" fmla="*/ 66936 w 843060"/>
                  <a:gd name="connsiteY222" fmla="*/ 267195 h 843058"/>
                  <a:gd name="connsiteX223" fmla="*/ 69778 w 843060"/>
                  <a:gd name="connsiteY223" fmla="*/ 260911 h 843058"/>
                  <a:gd name="connsiteX224" fmla="*/ 72621 w 843060"/>
                  <a:gd name="connsiteY224" fmla="*/ 254627 h 843058"/>
                  <a:gd name="connsiteX225" fmla="*/ 75737 w 843060"/>
                  <a:gd name="connsiteY225" fmla="*/ 248462 h 843058"/>
                  <a:gd name="connsiteX226" fmla="*/ 82090 w 843060"/>
                  <a:gd name="connsiteY226" fmla="*/ 236202 h 843058"/>
                  <a:gd name="connsiteX227" fmla="*/ 88974 w 843060"/>
                  <a:gd name="connsiteY227" fmla="*/ 224232 h 843058"/>
                  <a:gd name="connsiteX228" fmla="*/ 90703 w 843060"/>
                  <a:gd name="connsiteY228" fmla="*/ 221236 h 843058"/>
                  <a:gd name="connsiteX229" fmla="*/ 92553 w 843060"/>
                  <a:gd name="connsiteY229" fmla="*/ 218325 h 843058"/>
                  <a:gd name="connsiteX230" fmla="*/ 96269 w 843060"/>
                  <a:gd name="connsiteY230" fmla="*/ 212520 h 843058"/>
                  <a:gd name="connsiteX231" fmla="*/ 103923 w 843060"/>
                  <a:gd name="connsiteY231" fmla="*/ 201047 h 843058"/>
                  <a:gd name="connsiteX232" fmla="*/ 111937 w 843060"/>
                  <a:gd name="connsiteY232" fmla="*/ 189814 h 843058"/>
                  <a:gd name="connsiteX233" fmla="*/ 129334 w 843060"/>
                  <a:gd name="connsiteY233" fmla="*/ 168393 h 843058"/>
                  <a:gd name="connsiteX234" fmla="*/ 148067 w 843060"/>
                  <a:gd name="connsiteY234" fmla="*/ 148135 h 843058"/>
                  <a:gd name="connsiteX235" fmla="*/ 168324 w 843060"/>
                  <a:gd name="connsiteY235" fmla="*/ 129402 h 843058"/>
                  <a:gd name="connsiteX236" fmla="*/ 189746 w 843060"/>
                  <a:gd name="connsiteY236" fmla="*/ 112005 h 843058"/>
                  <a:gd name="connsiteX237" fmla="*/ 200979 w 843060"/>
                  <a:gd name="connsiteY237" fmla="*/ 103991 h 843058"/>
                  <a:gd name="connsiteX238" fmla="*/ 212452 w 843060"/>
                  <a:gd name="connsiteY238" fmla="*/ 96337 h 843058"/>
                  <a:gd name="connsiteX239" fmla="*/ 218257 w 843060"/>
                  <a:gd name="connsiteY239" fmla="*/ 92621 h 843058"/>
                  <a:gd name="connsiteX240" fmla="*/ 221168 w 843060"/>
                  <a:gd name="connsiteY240" fmla="*/ 90772 h 843058"/>
                  <a:gd name="connsiteX241" fmla="*/ 224164 w 843060"/>
                  <a:gd name="connsiteY241" fmla="*/ 89042 h 843058"/>
                  <a:gd name="connsiteX242" fmla="*/ 236134 w 843060"/>
                  <a:gd name="connsiteY242" fmla="*/ 82159 h 843058"/>
                  <a:gd name="connsiteX243" fmla="*/ 248394 w 843060"/>
                  <a:gd name="connsiteY243" fmla="*/ 75806 h 843058"/>
                  <a:gd name="connsiteX244" fmla="*/ 254559 w 843060"/>
                  <a:gd name="connsiteY244" fmla="*/ 72689 h 843058"/>
                  <a:gd name="connsiteX245" fmla="*/ 260843 w 843060"/>
                  <a:gd name="connsiteY245" fmla="*/ 69847 h 843058"/>
                  <a:gd name="connsiteX246" fmla="*/ 267127 w 843060"/>
                  <a:gd name="connsiteY246" fmla="*/ 67004 h 843058"/>
                  <a:gd name="connsiteX247" fmla="*/ 273463 w 843060"/>
                  <a:gd name="connsiteY247" fmla="*/ 64282 h 843058"/>
                  <a:gd name="connsiteX248" fmla="*/ 286306 w 843060"/>
                  <a:gd name="connsiteY248" fmla="*/ 59213 h 843058"/>
                  <a:gd name="connsiteX249" fmla="*/ 292813 w 843060"/>
                  <a:gd name="connsiteY249" fmla="*/ 56884 h 843058"/>
                  <a:gd name="connsiteX250" fmla="*/ 299354 w 843060"/>
                  <a:gd name="connsiteY250" fmla="*/ 54675 h 843058"/>
                  <a:gd name="connsiteX251" fmla="*/ 305895 w 843060"/>
                  <a:gd name="connsiteY251" fmla="*/ 52466 h 843058"/>
                  <a:gd name="connsiteX252" fmla="*/ 312522 w 843060"/>
                  <a:gd name="connsiteY252" fmla="*/ 50549 h 843058"/>
                  <a:gd name="connsiteX253" fmla="*/ 325827 w 843060"/>
                  <a:gd name="connsiteY253" fmla="*/ 46833 h 843058"/>
                  <a:gd name="connsiteX254" fmla="*/ 339286 w 843060"/>
                  <a:gd name="connsiteY254" fmla="*/ 43716 h 843058"/>
                  <a:gd name="connsiteX255" fmla="*/ 352830 w 843060"/>
                  <a:gd name="connsiteY255" fmla="*/ 41079 h 843058"/>
                  <a:gd name="connsiteX256" fmla="*/ 366444 w 843060"/>
                  <a:gd name="connsiteY256" fmla="*/ 38853 h 843058"/>
                  <a:gd name="connsiteX257" fmla="*/ 582080 w 843060"/>
                  <a:gd name="connsiteY257" fmla="*/ 69847 h 843058"/>
                  <a:gd name="connsiteX258" fmla="*/ 588365 w 843060"/>
                  <a:gd name="connsiteY258" fmla="*/ 72689 h 843058"/>
                  <a:gd name="connsiteX259" fmla="*/ 594529 w 843060"/>
                  <a:gd name="connsiteY259" fmla="*/ 75806 h 843058"/>
                  <a:gd name="connsiteX260" fmla="*/ 606790 w 843060"/>
                  <a:gd name="connsiteY260" fmla="*/ 82159 h 843058"/>
                  <a:gd name="connsiteX261" fmla="*/ 618759 w 843060"/>
                  <a:gd name="connsiteY261" fmla="*/ 89042 h 843058"/>
                  <a:gd name="connsiteX262" fmla="*/ 621756 w 843060"/>
                  <a:gd name="connsiteY262" fmla="*/ 90772 h 843058"/>
                  <a:gd name="connsiteX263" fmla="*/ 624667 w 843060"/>
                  <a:gd name="connsiteY263" fmla="*/ 92621 h 843058"/>
                  <a:gd name="connsiteX264" fmla="*/ 630472 w 843060"/>
                  <a:gd name="connsiteY264" fmla="*/ 96337 h 843058"/>
                  <a:gd name="connsiteX265" fmla="*/ 641944 w 843060"/>
                  <a:gd name="connsiteY265" fmla="*/ 103991 h 843058"/>
                  <a:gd name="connsiteX266" fmla="*/ 653177 w 843060"/>
                  <a:gd name="connsiteY266" fmla="*/ 112005 h 843058"/>
                  <a:gd name="connsiteX267" fmla="*/ 674599 w 843060"/>
                  <a:gd name="connsiteY267" fmla="*/ 129402 h 843058"/>
                  <a:gd name="connsiteX268" fmla="*/ 694856 w 843060"/>
                  <a:gd name="connsiteY268" fmla="*/ 148135 h 843058"/>
                  <a:gd name="connsiteX269" fmla="*/ 713589 w 843060"/>
                  <a:gd name="connsiteY269" fmla="*/ 168393 h 843058"/>
                  <a:gd name="connsiteX270" fmla="*/ 730987 w 843060"/>
                  <a:gd name="connsiteY270" fmla="*/ 189814 h 843058"/>
                  <a:gd name="connsiteX271" fmla="*/ 739001 w 843060"/>
                  <a:gd name="connsiteY271" fmla="*/ 201047 h 843058"/>
                  <a:gd name="connsiteX272" fmla="*/ 746655 w 843060"/>
                  <a:gd name="connsiteY272" fmla="*/ 212520 h 843058"/>
                  <a:gd name="connsiteX273" fmla="*/ 750371 w 843060"/>
                  <a:gd name="connsiteY273" fmla="*/ 218325 h 843058"/>
                  <a:gd name="connsiteX274" fmla="*/ 752220 w 843060"/>
                  <a:gd name="connsiteY274" fmla="*/ 221236 h 843058"/>
                  <a:gd name="connsiteX275" fmla="*/ 753949 w 843060"/>
                  <a:gd name="connsiteY275" fmla="*/ 224232 h 843058"/>
                  <a:gd name="connsiteX276" fmla="*/ 760833 w 843060"/>
                  <a:gd name="connsiteY276" fmla="*/ 236202 h 843058"/>
                  <a:gd name="connsiteX277" fmla="*/ 767186 w 843060"/>
                  <a:gd name="connsiteY277" fmla="*/ 248462 h 843058"/>
                  <a:gd name="connsiteX278" fmla="*/ 770302 w 843060"/>
                  <a:gd name="connsiteY278" fmla="*/ 254627 h 843058"/>
                  <a:gd name="connsiteX279" fmla="*/ 773145 w 843060"/>
                  <a:gd name="connsiteY279" fmla="*/ 260911 h 843058"/>
                  <a:gd name="connsiteX280" fmla="*/ 775987 w 843060"/>
                  <a:gd name="connsiteY280" fmla="*/ 267195 h 843058"/>
                  <a:gd name="connsiteX281" fmla="*/ 778710 w 843060"/>
                  <a:gd name="connsiteY281" fmla="*/ 273531 h 843058"/>
                  <a:gd name="connsiteX282" fmla="*/ 783779 w 843060"/>
                  <a:gd name="connsiteY282" fmla="*/ 286374 h 843058"/>
                  <a:gd name="connsiteX283" fmla="*/ 786107 w 843060"/>
                  <a:gd name="connsiteY283" fmla="*/ 292880 h 843058"/>
                  <a:gd name="connsiteX284" fmla="*/ 788316 w 843060"/>
                  <a:gd name="connsiteY284" fmla="*/ 299422 h 843058"/>
                  <a:gd name="connsiteX285" fmla="*/ 790525 w 843060"/>
                  <a:gd name="connsiteY285" fmla="*/ 305963 h 843058"/>
                  <a:gd name="connsiteX286" fmla="*/ 792443 w 843060"/>
                  <a:gd name="connsiteY286" fmla="*/ 312590 h 843058"/>
                  <a:gd name="connsiteX287" fmla="*/ 796159 w 843060"/>
                  <a:gd name="connsiteY287" fmla="*/ 325895 h 843058"/>
                  <a:gd name="connsiteX288" fmla="*/ 799275 w 843060"/>
                  <a:gd name="connsiteY288" fmla="*/ 339354 h 843058"/>
                  <a:gd name="connsiteX289" fmla="*/ 801912 w 843060"/>
                  <a:gd name="connsiteY289" fmla="*/ 352898 h 843058"/>
                  <a:gd name="connsiteX290" fmla="*/ 804138 w 843060"/>
                  <a:gd name="connsiteY290" fmla="*/ 366512 h 843058"/>
                  <a:gd name="connsiteX291" fmla="*/ 805885 w 843060"/>
                  <a:gd name="connsiteY291" fmla="*/ 380210 h 843058"/>
                  <a:gd name="connsiteX292" fmla="*/ 807032 w 843060"/>
                  <a:gd name="connsiteY292" fmla="*/ 393961 h 843058"/>
                  <a:gd name="connsiteX293" fmla="*/ 807546 w 843060"/>
                  <a:gd name="connsiteY293" fmla="*/ 400844 h 843058"/>
                  <a:gd name="connsiteX294" fmla="*/ 807769 w 843060"/>
                  <a:gd name="connsiteY294" fmla="*/ 407745 h 843058"/>
                  <a:gd name="connsiteX295" fmla="*/ 808111 w 843060"/>
                  <a:gd name="connsiteY295" fmla="*/ 421529 h 843058"/>
                  <a:gd name="connsiteX296" fmla="*/ 807769 w 843060"/>
                  <a:gd name="connsiteY296" fmla="*/ 435314 h 843058"/>
                  <a:gd name="connsiteX297" fmla="*/ 807546 w 843060"/>
                  <a:gd name="connsiteY297" fmla="*/ 442215 h 843058"/>
                  <a:gd name="connsiteX298" fmla="*/ 807032 w 843060"/>
                  <a:gd name="connsiteY298" fmla="*/ 449098 h 843058"/>
                  <a:gd name="connsiteX299" fmla="*/ 805885 w 843060"/>
                  <a:gd name="connsiteY299" fmla="*/ 462848 h 843058"/>
                  <a:gd name="connsiteX300" fmla="*/ 804138 w 843060"/>
                  <a:gd name="connsiteY300" fmla="*/ 476547 h 843058"/>
                  <a:gd name="connsiteX301" fmla="*/ 801912 w 843060"/>
                  <a:gd name="connsiteY301" fmla="*/ 490160 h 843058"/>
                  <a:gd name="connsiteX302" fmla="*/ 799275 w 843060"/>
                  <a:gd name="connsiteY302" fmla="*/ 503705 h 843058"/>
                  <a:gd name="connsiteX303" fmla="*/ 796159 w 843060"/>
                  <a:gd name="connsiteY303" fmla="*/ 517164 h 843058"/>
                  <a:gd name="connsiteX304" fmla="*/ 792443 w 843060"/>
                  <a:gd name="connsiteY304" fmla="*/ 530469 h 843058"/>
                  <a:gd name="connsiteX305" fmla="*/ 790525 w 843060"/>
                  <a:gd name="connsiteY305" fmla="*/ 537096 h 843058"/>
                  <a:gd name="connsiteX306" fmla="*/ 788316 w 843060"/>
                  <a:gd name="connsiteY306" fmla="*/ 543637 h 843058"/>
                  <a:gd name="connsiteX307" fmla="*/ 786107 w 843060"/>
                  <a:gd name="connsiteY307" fmla="*/ 550178 h 843058"/>
                  <a:gd name="connsiteX308" fmla="*/ 783779 w 843060"/>
                  <a:gd name="connsiteY308" fmla="*/ 556685 h 843058"/>
                  <a:gd name="connsiteX309" fmla="*/ 778710 w 843060"/>
                  <a:gd name="connsiteY309" fmla="*/ 569528 h 843058"/>
                  <a:gd name="connsiteX310" fmla="*/ 775987 w 843060"/>
                  <a:gd name="connsiteY310" fmla="*/ 575864 h 843058"/>
                  <a:gd name="connsiteX311" fmla="*/ 773145 w 843060"/>
                  <a:gd name="connsiteY311" fmla="*/ 582148 h 843058"/>
                  <a:gd name="connsiteX312" fmla="*/ 770302 w 843060"/>
                  <a:gd name="connsiteY312" fmla="*/ 588432 h 843058"/>
                  <a:gd name="connsiteX313" fmla="*/ 767186 w 843060"/>
                  <a:gd name="connsiteY313" fmla="*/ 594597 h 843058"/>
                  <a:gd name="connsiteX314" fmla="*/ 760833 w 843060"/>
                  <a:gd name="connsiteY314" fmla="*/ 606857 h 843058"/>
                  <a:gd name="connsiteX315" fmla="*/ 753949 w 843060"/>
                  <a:gd name="connsiteY315" fmla="*/ 618826 h 843058"/>
                  <a:gd name="connsiteX316" fmla="*/ 752220 w 843060"/>
                  <a:gd name="connsiteY316" fmla="*/ 621823 h 843058"/>
                  <a:gd name="connsiteX317" fmla="*/ 750371 w 843060"/>
                  <a:gd name="connsiteY317" fmla="*/ 624734 h 843058"/>
                  <a:gd name="connsiteX318" fmla="*/ 746655 w 843060"/>
                  <a:gd name="connsiteY318" fmla="*/ 630539 h 843058"/>
                  <a:gd name="connsiteX319" fmla="*/ 739001 w 843060"/>
                  <a:gd name="connsiteY319" fmla="*/ 642012 h 843058"/>
                  <a:gd name="connsiteX320" fmla="*/ 730987 w 843060"/>
                  <a:gd name="connsiteY320" fmla="*/ 653245 h 843058"/>
                  <a:gd name="connsiteX321" fmla="*/ 713589 w 843060"/>
                  <a:gd name="connsiteY321" fmla="*/ 674666 h 843058"/>
                  <a:gd name="connsiteX322" fmla="*/ 694856 w 843060"/>
                  <a:gd name="connsiteY322" fmla="*/ 694923 h 843058"/>
                  <a:gd name="connsiteX323" fmla="*/ 674599 w 843060"/>
                  <a:gd name="connsiteY323" fmla="*/ 713656 h 843058"/>
                  <a:gd name="connsiteX324" fmla="*/ 653177 w 843060"/>
                  <a:gd name="connsiteY324" fmla="*/ 731054 h 843058"/>
                  <a:gd name="connsiteX325" fmla="*/ 641944 w 843060"/>
                  <a:gd name="connsiteY325" fmla="*/ 739068 h 843058"/>
                  <a:gd name="connsiteX326" fmla="*/ 630472 w 843060"/>
                  <a:gd name="connsiteY326" fmla="*/ 746722 h 843058"/>
                  <a:gd name="connsiteX327" fmla="*/ 624667 w 843060"/>
                  <a:gd name="connsiteY327" fmla="*/ 750438 h 843058"/>
                  <a:gd name="connsiteX328" fmla="*/ 621756 w 843060"/>
                  <a:gd name="connsiteY328" fmla="*/ 752287 h 843058"/>
                  <a:gd name="connsiteX329" fmla="*/ 618759 w 843060"/>
                  <a:gd name="connsiteY329" fmla="*/ 754017 h 843058"/>
                  <a:gd name="connsiteX330" fmla="*/ 606790 w 843060"/>
                  <a:gd name="connsiteY330" fmla="*/ 760900 h 843058"/>
                  <a:gd name="connsiteX331" fmla="*/ 594529 w 843060"/>
                  <a:gd name="connsiteY331" fmla="*/ 767253 h 843058"/>
                  <a:gd name="connsiteX332" fmla="*/ 588365 w 843060"/>
                  <a:gd name="connsiteY332" fmla="*/ 770369 h 843058"/>
                  <a:gd name="connsiteX333" fmla="*/ 582080 w 843060"/>
                  <a:gd name="connsiteY333" fmla="*/ 773212 h 843058"/>
                  <a:gd name="connsiteX334" fmla="*/ 366444 w 843060"/>
                  <a:gd name="connsiteY334" fmla="*/ 804206 h 843058"/>
                  <a:gd name="connsiteX335" fmla="*/ 352830 w 843060"/>
                  <a:gd name="connsiteY335" fmla="*/ 801979 h 843058"/>
                  <a:gd name="connsiteX336" fmla="*/ 339286 w 843060"/>
                  <a:gd name="connsiteY336" fmla="*/ 799342 h 843058"/>
                  <a:gd name="connsiteX337" fmla="*/ 325827 w 843060"/>
                  <a:gd name="connsiteY337" fmla="*/ 796226 h 843058"/>
                  <a:gd name="connsiteX338" fmla="*/ 312522 w 843060"/>
                  <a:gd name="connsiteY338" fmla="*/ 792510 h 843058"/>
                  <a:gd name="connsiteX339" fmla="*/ 305895 w 843060"/>
                  <a:gd name="connsiteY339" fmla="*/ 790592 h 843058"/>
                  <a:gd name="connsiteX340" fmla="*/ 299354 w 843060"/>
                  <a:gd name="connsiteY340" fmla="*/ 788383 h 843058"/>
                  <a:gd name="connsiteX341" fmla="*/ 292813 w 843060"/>
                  <a:gd name="connsiteY341" fmla="*/ 786175 h 843058"/>
                  <a:gd name="connsiteX342" fmla="*/ 286306 w 843060"/>
                  <a:gd name="connsiteY342" fmla="*/ 783846 h 843058"/>
                  <a:gd name="connsiteX343" fmla="*/ 273463 w 843060"/>
                  <a:gd name="connsiteY343" fmla="*/ 778777 h 843058"/>
                  <a:gd name="connsiteX344" fmla="*/ 267127 w 843060"/>
                  <a:gd name="connsiteY344" fmla="*/ 776055 h 843058"/>
                  <a:gd name="connsiteX345" fmla="*/ 260843 w 843060"/>
                  <a:gd name="connsiteY345" fmla="*/ 773212 h 843058"/>
                  <a:gd name="connsiteX346" fmla="*/ 254559 w 843060"/>
                  <a:gd name="connsiteY346" fmla="*/ 770369 h 843058"/>
                  <a:gd name="connsiteX347" fmla="*/ 248394 w 843060"/>
                  <a:gd name="connsiteY347" fmla="*/ 767253 h 843058"/>
                  <a:gd name="connsiteX348" fmla="*/ 236134 w 843060"/>
                  <a:gd name="connsiteY348" fmla="*/ 760900 h 843058"/>
                  <a:gd name="connsiteX349" fmla="*/ 224164 w 843060"/>
                  <a:gd name="connsiteY349" fmla="*/ 754017 h 843058"/>
                  <a:gd name="connsiteX350" fmla="*/ 221168 w 843060"/>
                  <a:gd name="connsiteY350" fmla="*/ 752287 h 843058"/>
                  <a:gd name="connsiteX351" fmla="*/ 218257 w 843060"/>
                  <a:gd name="connsiteY351" fmla="*/ 750438 h 843058"/>
                  <a:gd name="connsiteX352" fmla="*/ 212452 w 843060"/>
                  <a:gd name="connsiteY352" fmla="*/ 746722 h 843058"/>
                  <a:gd name="connsiteX353" fmla="*/ 200979 w 843060"/>
                  <a:gd name="connsiteY353" fmla="*/ 739068 h 843058"/>
                  <a:gd name="connsiteX354" fmla="*/ 189746 w 843060"/>
                  <a:gd name="connsiteY354" fmla="*/ 731054 h 843058"/>
                  <a:gd name="connsiteX355" fmla="*/ 168324 w 843060"/>
                  <a:gd name="connsiteY355" fmla="*/ 713656 h 843058"/>
                  <a:gd name="connsiteX356" fmla="*/ 148067 w 843060"/>
                  <a:gd name="connsiteY356" fmla="*/ 694923 h 843058"/>
                  <a:gd name="connsiteX357" fmla="*/ 129334 w 843060"/>
                  <a:gd name="connsiteY357" fmla="*/ 674666 h 843058"/>
                  <a:gd name="connsiteX358" fmla="*/ 111937 w 843060"/>
                  <a:gd name="connsiteY358" fmla="*/ 653245 h 843058"/>
                  <a:gd name="connsiteX359" fmla="*/ 103923 w 843060"/>
                  <a:gd name="connsiteY359" fmla="*/ 642012 h 843058"/>
                  <a:gd name="connsiteX360" fmla="*/ 96269 w 843060"/>
                  <a:gd name="connsiteY360" fmla="*/ 630539 h 843058"/>
                  <a:gd name="connsiteX361" fmla="*/ 92553 w 843060"/>
                  <a:gd name="connsiteY361" fmla="*/ 624734 h 843058"/>
                  <a:gd name="connsiteX362" fmla="*/ 90703 w 843060"/>
                  <a:gd name="connsiteY362" fmla="*/ 621823 h 843058"/>
                  <a:gd name="connsiteX363" fmla="*/ 88974 w 843060"/>
                  <a:gd name="connsiteY363" fmla="*/ 618826 h 843058"/>
                  <a:gd name="connsiteX364" fmla="*/ 82090 w 843060"/>
                  <a:gd name="connsiteY364" fmla="*/ 606857 h 843058"/>
                  <a:gd name="connsiteX365" fmla="*/ 75737 w 843060"/>
                  <a:gd name="connsiteY365" fmla="*/ 594597 h 843058"/>
                  <a:gd name="connsiteX366" fmla="*/ 72621 w 843060"/>
                  <a:gd name="connsiteY366" fmla="*/ 588432 h 843058"/>
                  <a:gd name="connsiteX367" fmla="*/ 69778 w 843060"/>
                  <a:gd name="connsiteY367" fmla="*/ 582148 h 843058"/>
                  <a:gd name="connsiteX368" fmla="*/ 66936 w 843060"/>
                  <a:gd name="connsiteY368" fmla="*/ 575864 h 843058"/>
                  <a:gd name="connsiteX369" fmla="*/ 64213 w 843060"/>
                  <a:gd name="connsiteY369" fmla="*/ 569528 h 843058"/>
                  <a:gd name="connsiteX370" fmla="*/ 59145 w 843060"/>
                  <a:gd name="connsiteY370" fmla="*/ 556685 h 843058"/>
                  <a:gd name="connsiteX371" fmla="*/ 56816 w 843060"/>
                  <a:gd name="connsiteY371" fmla="*/ 550178 h 843058"/>
                  <a:gd name="connsiteX372" fmla="*/ 54607 w 843060"/>
                  <a:gd name="connsiteY372" fmla="*/ 543637 h 843058"/>
                  <a:gd name="connsiteX373" fmla="*/ 52398 w 843060"/>
                  <a:gd name="connsiteY373" fmla="*/ 537096 h 843058"/>
                  <a:gd name="connsiteX374" fmla="*/ 50480 w 843060"/>
                  <a:gd name="connsiteY374" fmla="*/ 530469 h 843058"/>
                  <a:gd name="connsiteX375" fmla="*/ 46764 w 843060"/>
                  <a:gd name="connsiteY375" fmla="*/ 517164 h 843058"/>
                  <a:gd name="connsiteX376" fmla="*/ 43648 w 843060"/>
                  <a:gd name="connsiteY376" fmla="*/ 503705 h 843058"/>
                  <a:gd name="connsiteX377" fmla="*/ 41011 w 843060"/>
                  <a:gd name="connsiteY377" fmla="*/ 490160 h 843058"/>
                  <a:gd name="connsiteX378" fmla="*/ 38785 w 843060"/>
                  <a:gd name="connsiteY378" fmla="*/ 476547 h 843058"/>
                  <a:gd name="connsiteX379" fmla="*/ 37038 w 843060"/>
                  <a:gd name="connsiteY379" fmla="*/ 462848 h 843058"/>
                  <a:gd name="connsiteX380" fmla="*/ 35891 w 843060"/>
                  <a:gd name="connsiteY380" fmla="*/ 449098 h 843058"/>
                  <a:gd name="connsiteX381" fmla="*/ 35377 w 843060"/>
                  <a:gd name="connsiteY381" fmla="*/ 442215 h 843058"/>
                  <a:gd name="connsiteX382" fmla="*/ 35155 w 843060"/>
                  <a:gd name="connsiteY382" fmla="*/ 435314 h 843058"/>
                  <a:gd name="connsiteX383" fmla="*/ 34812 w 843060"/>
                  <a:gd name="connsiteY383" fmla="*/ 421529 h 843058"/>
                  <a:gd name="connsiteX384" fmla="*/ 35155 w 843060"/>
                  <a:gd name="connsiteY384" fmla="*/ 407745 h 843058"/>
                  <a:gd name="connsiteX385" fmla="*/ 35377 w 843060"/>
                  <a:gd name="connsiteY385" fmla="*/ 400844 h 843058"/>
                  <a:gd name="connsiteX386" fmla="*/ 35891 w 843060"/>
                  <a:gd name="connsiteY386" fmla="*/ 393961 h 843058"/>
                  <a:gd name="connsiteX387" fmla="*/ 37038 w 843060"/>
                  <a:gd name="connsiteY387" fmla="*/ 380210 h 843058"/>
                  <a:gd name="connsiteX388" fmla="*/ 38785 w 843060"/>
                  <a:gd name="connsiteY388" fmla="*/ 366512 h 843058"/>
                  <a:gd name="connsiteX389" fmla="*/ 41011 w 843060"/>
                  <a:gd name="connsiteY389" fmla="*/ 352898 h 843058"/>
                  <a:gd name="connsiteX390" fmla="*/ 43648 w 843060"/>
                  <a:gd name="connsiteY390" fmla="*/ 339354 h 843058"/>
                  <a:gd name="connsiteX391" fmla="*/ 46764 w 843060"/>
                  <a:gd name="connsiteY391" fmla="*/ 325895 h 843058"/>
                  <a:gd name="connsiteX392" fmla="*/ 50480 w 843060"/>
                  <a:gd name="connsiteY392" fmla="*/ 312590 h 843058"/>
                  <a:gd name="connsiteX393" fmla="*/ 52398 w 843060"/>
                  <a:gd name="connsiteY393" fmla="*/ 305963 h 843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</a:cxnLst>
                <a:rect l="l" t="t" r="r" b="b"/>
                <a:pathLst>
                  <a:path w="843060" h="843058">
                    <a:moveTo>
                      <a:pt x="599" y="444047"/>
                    </a:moveTo>
                    <a:lnTo>
                      <a:pt x="1164" y="451547"/>
                    </a:lnTo>
                    <a:cubicBezTo>
                      <a:pt x="1575" y="456547"/>
                      <a:pt x="1849" y="461547"/>
                      <a:pt x="2414" y="466530"/>
                    </a:cubicBezTo>
                    <a:lnTo>
                      <a:pt x="4298" y="481462"/>
                    </a:lnTo>
                    <a:cubicBezTo>
                      <a:pt x="4829" y="486445"/>
                      <a:pt x="5908" y="491359"/>
                      <a:pt x="6730" y="496308"/>
                    </a:cubicBezTo>
                    <a:cubicBezTo>
                      <a:pt x="7637" y="501239"/>
                      <a:pt x="8391" y="506205"/>
                      <a:pt x="9623" y="511085"/>
                    </a:cubicBezTo>
                    <a:lnTo>
                      <a:pt x="13014" y="525760"/>
                    </a:lnTo>
                    <a:cubicBezTo>
                      <a:pt x="14281" y="530623"/>
                      <a:pt x="15702" y="535435"/>
                      <a:pt x="17072" y="540264"/>
                    </a:cubicBezTo>
                    <a:cubicBezTo>
                      <a:pt x="17774" y="542678"/>
                      <a:pt x="18425" y="545093"/>
                      <a:pt x="19178" y="547490"/>
                    </a:cubicBezTo>
                    <a:lnTo>
                      <a:pt x="21576" y="554630"/>
                    </a:lnTo>
                    <a:lnTo>
                      <a:pt x="23990" y="561771"/>
                    </a:lnTo>
                    <a:cubicBezTo>
                      <a:pt x="24812" y="564151"/>
                      <a:pt x="25565" y="566531"/>
                      <a:pt x="26524" y="568860"/>
                    </a:cubicBezTo>
                    <a:lnTo>
                      <a:pt x="32055" y="582867"/>
                    </a:lnTo>
                    <a:cubicBezTo>
                      <a:pt x="32946" y="585213"/>
                      <a:pt x="33990" y="587508"/>
                      <a:pt x="35018" y="589785"/>
                    </a:cubicBezTo>
                    <a:lnTo>
                      <a:pt x="38117" y="596652"/>
                    </a:lnTo>
                    <a:lnTo>
                      <a:pt x="41234" y="603501"/>
                    </a:lnTo>
                    <a:cubicBezTo>
                      <a:pt x="42295" y="605778"/>
                      <a:pt x="43494" y="607987"/>
                      <a:pt x="44624" y="610230"/>
                    </a:cubicBezTo>
                    <a:cubicBezTo>
                      <a:pt x="46936" y="614683"/>
                      <a:pt x="49145" y="619186"/>
                      <a:pt x="51542" y="623587"/>
                    </a:cubicBezTo>
                    <a:lnTo>
                      <a:pt x="59042" y="636635"/>
                    </a:lnTo>
                    <a:lnTo>
                      <a:pt x="60926" y="639888"/>
                    </a:lnTo>
                    <a:lnTo>
                      <a:pt x="62946" y="643073"/>
                    </a:lnTo>
                    <a:lnTo>
                      <a:pt x="67004" y="649409"/>
                    </a:lnTo>
                    <a:cubicBezTo>
                      <a:pt x="69710" y="653639"/>
                      <a:pt x="72381" y="657885"/>
                      <a:pt x="75361" y="661926"/>
                    </a:cubicBezTo>
                    <a:cubicBezTo>
                      <a:pt x="78272" y="666019"/>
                      <a:pt x="81148" y="670111"/>
                      <a:pt x="84111" y="674170"/>
                    </a:cubicBezTo>
                    <a:cubicBezTo>
                      <a:pt x="90310" y="682046"/>
                      <a:pt x="96354" y="690060"/>
                      <a:pt x="103067" y="697509"/>
                    </a:cubicBezTo>
                    <a:cubicBezTo>
                      <a:pt x="109488" y="705215"/>
                      <a:pt x="116577" y="712304"/>
                      <a:pt x="123478" y="719581"/>
                    </a:cubicBezTo>
                    <a:cubicBezTo>
                      <a:pt x="130755" y="726482"/>
                      <a:pt x="137844" y="733571"/>
                      <a:pt x="145550" y="739992"/>
                    </a:cubicBezTo>
                    <a:cubicBezTo>
                      <a:pt x="153016" y="746705"/>
                      <a:pt x="161013" y="752749"/>
                      <a:pt x="168889" y="758948"/>
                    </a:cubicBezTo>
                    <a:cubicBezTo>
                      <a:pt x="172948" y="761893"/>
                      <a:pt x="177040" y="764787"/>
                      <a:pt x="181133" y="767698"/>
                    </a:cubicBezTo>
                    <a:cubicBezTo>
                      <a:pt x="185174" y="770678"/>
                      <a:pt x="189421" y="773349"/>
                      <a:pt x="193650" y="776055"/>
                    </a:cubicBezTo>
                    <a:lnTo>
                      <a:pt x="199986" y="780113"/>
                    </a:lnTo>
                    <a:lnTo>
                      <a:pt x="203171" y="782133"/>
                    </a:lnTo>
                    <a:lnTo>
                      <a:pt x="206424" y="784017"/>
                    </a:lnTo>
                    <a:lnTo>
                      <a:pt x="219472" y="791517"/>
                    </a:lnTo>
                    <a:cubicBezTo>
                      <a:pt x="223873" y="793914"/>
                      <a:pt x="228377" y="796140"/>
                      <a:pt x="232829" y="798435"/>
                    </a:cubicBezTo>
                    <a:cubicBezTo>
                      <a:pt x="235072" y="799565"/>
                      <a:pt x="237281" y="800747"/>
                      <a:pt x="239558" y="801825"/>
                    </a:cubicBezTo>
                    <a:lnTo>
                      <a:pt x="246408" y="804942"/>
                    </a:lnTo>
                    <a:lnTo>
                      <a:pt x="253274" y="808041"/>
                    </a:lnTo>
                    <a:cubicBezTo>
                      <a:pt x="255569" y="809069"/>
                      <a:pt x="257846" y="810113"/>
                      <a:pt x="260192" y="811004"/>
                    </a:cubicBezTo>
                    <a:lnTo>
                      <a:pt x="274199" y="816534"/>
                    </a:lnTo>
                    <a:cubicBezTo>
                      <a:pt x="276528" y="817493"/>
                      <a:pt x="278908" y="818247"/>
                      <a:pt x="281288" y="819069"/>
                    </a:cubicBezTo>
                    <a:lnTo>
                      <a:pt x="288429" y="821483"/>
                    </a:lnTo>
                    <a:lnTo>
                      <a:pt x="295569" y="823880"/>
                    </a:lnTo>
                    <a:cubicBezTo>
                      <a:pt x="297967" y="824634"/>
                      <a:pt x="300398" y="825285"/>
                      <a:pt x="302796" y="825987"/>
                    </a:cubicBezTo>
                    <a:cubicBezTo>
                      <a:pt x="307624" y="827339"/>
                      <a:pt x="312436" y="828778"/>
                      <a:pt x="317299" y="830045"/>
                    </a:cubicBezTo>
                    <a:lnTo>
                      <a:pt x="331974" y="833435"/>
                    </a:lnTo>
                    <a:cubicBezTo>
                      <a:pt x="336854" y="834651"/>
                      <a:pt x="341820" y="835405"/>
                      <a:pt x="346752" y="836329"/>
                    </a:cubicBezTo>
                    <a:cubicBezTo>
                      <a:pt x="351700" y="837151"/>
                      <a:pt x="356615" y="838230"/>
                      <a:pt x="361598" y="838761"/>
                    </a:cubicBezTo>
                    <a:lnTo>
                      <a:pt x="376530" y="840644"/>
                    </a:lnTo>
                    <a:cubicBezTo>
                      <a:pt x="381512" y="841209"/>
                      <a:pt x="386513" y="841483"/>
                      <a:pt x="391513" y="841894"/>
                    </a:cubicBezTo>
                    <a:lnTo>
                      <a:pt x="399013" y="842459"/>
                    </a:lnTo>
                    <a:cubicBezTo>
                      <a:pt x="401513" y="842614"/>
                      <a:pt x="404013" y="842614"/>
                      <a:pt x="406513" y="842699"/>
                    </a:cubicBezTo>
                    <a:lnTo>
                      <a:pt x="421530" y="843059"/>
                    </a:lnTo>
                    <a:lnTo>
                      <a:pt x="436547" y="842699"/>
                    </a:lnTo>
                    <a:cubicBezTo>
                      <a:pt x="439048" y="842614"/>
                      <a:pt x="441548" y="842596"/>
                      <a:pt x="444048" y="842459"/>
                    </a:cubicBezTo>
                    <a:lnTo>
                      <a:pt x="451548" y="841894"/>
                    </a:lnTo>
                    <a:cubicBezTo>
                      <a:pt x="456548" y="841483"/>
                      <a:pt x="461548" y="841209"/>
                      <a:pt x="466531" y="840644"/>
                    </a:cubicBezTo>
                    <a:lnTo>
                      <a:pt x="481463" y="838761"/>
                    </a:lnTo>
                    <a:cubicBezTo>
                      <a:pt x="486446" y="838230"/>
                      <a:pt x="491360" y="837151"/>
                      <a:pt x="496309" y="836329"/>
                    </a:cubicBezTo>
                    <a:cubicBezTo>
                      <a:pt x="501240" y="835422"/>
                      <a:pt x="506206" y="834668"/>
                      <a:pt x="511086" y="833435"/>
                    </a:cubicBezTo>
                    <a:lnTo>
                      <a:pt x="525761" y="830045"/>
                    </a:lnTo>
                    <a:cubicBezTo>
                      <a:pt x="530624" y="828778"/>
                      <a:pt x="535436" y="827357"/>
                      <a:pt x="540265" y="825987"/>
                    </a:cubicBezTo>
                    <a:cubicBezTo>
                      <a:pt x="542679" y="825285"/>
                      <a:pt x="545094" y="824634"/>
                      <a:pt x="547491" y="823880"/>
                    </a:cubicBezTo>
                    <a:lnTo>
                      <a:pt x="554631" y="821483"/>
                    </a:lnTo>
                    <a:lnTo>
                      <a:pt x="561772" y="819069"/>
                    </a:lnTo>
                    <a:cubicBezTo>
                      <a:pt x="564152" y="818247"/>
                      <a:pt x="566532" y="817493"/>
                      <a:pt x="568861" y="816534"/>
                    </a:cubicBezTo>
                    <a:lnTo>
                      <a:pt x="582868" y="811004"/>
                    </a:lnTo>
                    <a:cubicBezTo>
                      <a:pt x="585214" y="810113"/>
                      <a:pt x="587509" y="809069"/>
                      <a:pt x="589786" y="808041"/>
                    </a:cubicBezTo>
                    <a:lnTo>
                      <a:pt x="596653" y="804942"/>
                    </a:lnTo>
                    <a:lnTo>
                      <a:pt x="603502" y="801825"/>
                    </a:lnTo>
                    <a:cubicBezTo>
                      <a:pt x="605779" y="800764"/>
                      <a:pt x="607988" y="799565"/>
                      <a:pt x="610232" y="798435"/>
                    </a:cubicBezTo>
                    <a:cubicBezTo>
                      <a:pt x="614684" y="796123"/>
                      <a:pt x="619187" y="793914"/>
                      <a:pt x="623588" y="791517"/>
                    </a:cubicBezTo>
                    <a:lnTo>
                      <a:pt x="636636" y="784017"/>
                    </a:lnTo>
                    <a:lnTo>
                      <a:pt x="639890" y="782133"/>
                    </a:lnTo>
                    <a:lnTo>
                      <a:pt x="643074" y="780113"/>
                    </a:lnTo>
                    <a:lnTo>
                      <a:pt x="649410" y="776055"/>
                    </a:lnTo>
                    <a:cubicBezTo>
                      <a:pt x="653640" y="773349"/>
                      <a:pt x="657886" y="770678"/>
                      <a:pt x="661928" y="767698"/>
                    </a:cubicBezTo>
                    <a:cubicBezTo>
                      <a:pt x="666020" y="764787"/>
                      <a:pt x="670113" y="761910"/>
                      <a:pt x="674171" y="758948"/>
                    </a:cubicBezTo>
                    <a:cubicBezTo>
                      <a:pt x="682048" y="752749"/>
                      <a:pt x="690061" y="746705"/>
                      <a:pt x="697510" y="739992"/>
                    </a:cubicBezTo>
                    <a:cubicBezTo>
                      <a:pt x="705216" y="733571"/>
                      <a:pt x="712305" y="726482"/>
                      <a:pt x="719582" y="719581"/>
                    </a:cubicBezTo>
                    <a:cubicBezTo>
                      <a:pt x="726483" y="712304"/>
                      <a:pt x="733572" y="705215"/>
                      <a:pt x="739994" y="697509"/>
                    </a:cubicBezTo>
                    <a:cubicBezTo>
                      <a:pt x="746706" y="690043"/>
                      <a:pt x="752751" y="682046"/>
                      <a:pt x="758950" y="674170"/>
                    </a:cubicBezTo>
                    <a:cubicBezTo>
                      <a:pt x="761895" y="670111"/>
                      <a:pt x="764789" y="666019"/>
                      <a:pt x="767700" y="661926"/>
                    </a:cubicBezTo>
                    <a:cubicBezTo>
                      <a:pt x="770679" y="657885"/>
                      <a:pt x="773350" y="653639"/>
                      <a:pt x="776056" y="649409"/>
                    </a:cubicBezTo>
                    <a:lnTo>
                      <a:pt x="780114" y="643073"/>
                    </a:lnTo>
                    <a:lnTo>
                      <a:pt x="782135" y="639888"/>
                    </a:lnTo>
                    <a:lnTo>
                      <a:pt x="784018" y="636635"/>
                    </a:lnTo>
                    <a:lnTo>
                      <a:pt x="791518" y="623587"/>
                    </a:lnTo>
                    <a:cubicBezTo>
                      <a:pt x="793916" y="619186"/>
                      <a:pt x="796142" y="614683"/>
                      <a:pt x="798436" y="610230"/>
                    </a:cubicBezTo>
                    <a:cubicBezTo>
                      <a:pt x="799567" y="607987"/>
                      <a:pt x="800748" y="605778"/>
                      <a:pt x="801827" y="603501"/>
                    </a:cubicBezTo>
                    <a:lnTo>
                      <a:pt x="804943" y="596652"/>
                    </a:lnTo>
                    <a:lnTo>
                      <a:pt x="808043" y="589785"/>
                    </a:lnTo>
                    <a:cubicBezTo>
                      <a:pt x="809070" y="587490"/>
                      <a:pt x="810115" y="585213"/>
                      <a:pt x="811005" y="582867"/>
                    </a:cubicBezTo>
                    <a:lnTo>
                      <a:pt x="816536" y="568860"/>
                    </a:lnTo>
                    <a:cubicBezTo>
                      <a:pt x="817495" y="566531"/>
                      <a:pt x="818248" y="564151"/>
                      <a:pt x="819070" y="561771"/>
                    </a:cubicBezTo>
                    <a:lnTo>
                      <a:pt x="821485" y="554630"/>
                    </a:lnTo>
                    <a:lnTo>
                      <a:pt x="823882" y="547490"/>
                    </a:lnTo>
                    <a:cubicBezTo>
                      <a:pt x="824635" y="545093"/>
                      <a:pt x="825286" y="542661"/>
                      <a:pt x="825988" y="540264"/>
                    </a:cubicBezTo>
                    <a:cubicBezTo>
                      <a:pt x="827341" y="535435"/>
                      <a:pt x="828779" y="530623"/>
                      <a:pt x="830046" y="525760"/>
                    </a:cubicBezTo>
                    <a:lnTo>
                      <a:pt x="833437" y="511085"/>
                    </a:lnTo>
                    <a:cubicBezTo>
                      <a:pt x="834653" y="506205"/>
                      <a:pt x="835406" y="501239"/>
                      <a:pt x="836331" y="496308"/>
                    </a:cubicBezTo>
                    <a:cubicBezTo>
                      <a:pt x="837153" y="491359"/>
                      <a:pt x="838231" y="486445"/>
                      <a:pt x="838762" y="481462"/>
                    </a:cubicBezTo>
                    <a:lnTo>
                      <a:pt x="840646" y="466530"/>
                    </a:lnTo>
                    <a:cubicBezTo>
                      <a:pt x="841211" y="461547"/>
                      <a:pt x="841485" y="456547"/>
                      <a:pt x="841896" y="451547"/>
                    </a:cubicBezTo>
                    <a:lnTo>
                      <a:pt x="842461" y="444047"/>
                    </a:lnTo>
                    <a:cubicBezTo>
                      <a:pt x="842615" y="441547"/>
                      <a:pt x="842615" y="439047"/>
                      <a:pt x="842701" y="436547"/>
                    </a:cubicBezTo>
                    <a:lnTo>
                      <a:pt x="843060" y="421529"/>
                    </a:lnTo>
                    <a:lnTo>
                      <a:pt x="842701" y="406512"/>
                    </a:lnTo>
                    <a:cubicBezTo>
                      <a:pt x="842615" y="404012"/>
                      <a:pt x="842598" y="401512"/>
                      <a:pt x="842461" y="399012"/>
                    </a:cubicBezTo>
                    <a:lnTo>
                      <a:pt x="841896" y="391512"/>
                    </a:lnTo>
                    <a:cubicBezTo>
                      <a:pt x="841485" y="386512"/>
                      <a:pt x="841211" y="381512"/>
                      <a:pt x="840646" y="376529"/>
                    </a:cubicBezTo>
                    <a:lnTo>
                      <a:pt x="838762" y="361597"/>
                    </a:lnTo>
                    <a:cubicBezTo>
                      <a:pt x="838231" y="356614"/>
                      <a:pt x="837153" y="351700"/>
                      <a:pt x="836331" y="346751"/>
                    </a:cubicBezTo>
                    <a:cubicBezTo>
                      <a:pt x="835406" y="341819"/>
                      <a:pt x="834670" y="336854"/>
                      <a:pt x="833437" y="331973"/>
                    </a:cubicBezTo>
                    <a:lnTo>
                      <a:pt x="830046" y="317299"/>
                    </a:lnTo>
                    <a:cubicBezTo>
                      <a:pt x="828779" y="312436"/>
                      <a:pt x="827358" y="307624"/>
                      <a:pt x="825988" y="302795"/>
                    </a:cubicBezTo>
                    <a:cubicBezTo>
                      <a:pt x="825286" y="300381"/>
                      <a:pt x="824635" y="297966"/>
                      <a:pt x="823882" y="295569"/>
                    </a:cubicBezTo>
                    <a:lnTo>
                      <a:pt x="821485" y="288428"/>
                    </a:lnTo>
                    <a:lnTo>
                      <a:pt x="819070" y="281288"/>
                    </a:lnTo>
                    <a:cubicBezTo>
                      <a:pt x="818248" y="278908"/>
                      <a:pt x="817495" y="276528"/>
                      <a:pt x="816536" y="274199"/>
                    </a:cubicBezTo>
                    <a:lnTo>
                      <a:pt x="811005" y="260192"/>
                    </a:lnTo>
                    <a:cubicBezTo>
                      <a:pt x="810115" y="257846"/>
                      <a:pt x="809070" y="255551"/>
                      <a:pt x="808043" y="253274"/>
                    </a:cubicBezTo>
                    <a:lnTo>
                      <a:pt x="804943" y="246407"/>
                    </a:lnTo>
                    <a:lnTo>
                      <a:pt x="801827" y="239558"/>
                    </a:lnTo>
                    <a:cubicBezTo>
                      <a:pt x="800765" y="237280"/>
                      <a:pt x="799567" y="235072"/>
                      <a:pt x="798436" y="232828"/>
                    </a:cubicBezTo>
                    <a:cubicBezTo>
                      <a:pt x="796125" y="228376"/>
                      <a:pt x="793916" y="223873"/>
                      <a:pt x="791518" y="219472"/>
                    </a:cubicBezTo>
                    <a:lnTo>
                      <a:pt x="784018" y="206424"/>
                    </a:lnTo>
                    <a:lnTo>
                      <a:pt x="782135" y="203170"/>
                    </a:lnTo>
                    <a:lnTo>
                      <a:pt x="780114" y="199985"/>
                    </a:lnTo>
                    <a:lnTo>
                      <a:pt x="776056" y="193650"/>
                    </a:lnTo>
                    <a:cubicBezTo>
                      <a:pt x="773350" y="189420"/>
                      <a:pt x="770679" y="185174"/>
                      <a:pt x="767700" y="181132"/>
                    </a:cubicBezTo>
                    <a:cubicBezTo>
                      <a:pt x="764789" y="177040"/>
                      <a:pt x="761912" y="172947"/>
                      <a:pt x="758950" y="168889"/>
                    </a:cubicBezTo>
                    <a:cubicBezTo>
                      <a:pt x="752751" y="161012"/>
                      <a:pt x="746706" y="152999"/>
                      <a:pt x="739994" y="145550"/>
                    </a:cubicBezTo>
                    <a:cubicBezTo>
                      <a:pt x="733572" y="137844"/>
                      <a:pt x="726483" y="130755"/>
                      <a:pt x="719582" y="123478"/>
                    </a:cubicBezTo>
                    <a:cubicBezTo>
                      <a:pt x="712305" y="116577"/>
                      <a:pt x="705216" y="109488"/>
                      <a:pt x="697510" y="103066"/>
                    </a:cubicBezTo>
                    <a:cubicBezTo>
                      <a:pt x="690044" y="96354"/>
                      <a:pt x="682048" y="90309"/>
                      <a:pt x="674171" y="84111"/>
                    </a:cubicBezTo>
                    <a:cubicBezTo>
                      <a:pt x="670113" y="81165"/>
                      <a:pt x="666020" y="78272"/>
                      <a:pt x="661928" y="75361"/>
                    </a:cubicBezTo>
                    <a:cubicBezTo>
                      <a:pt x="657886" y="72381"/>
                      <a:pt x="653640" y="69710"/>
                      <a:pt x="649410" y="67004"/>
                    </a:cubicBezTo>
                    <a:lnTo>
                      <a:pt x="643074" y="62946"/>
                    </a:lnTo>
                    <a:lnTo>
                      <a:pt x="639890" y="60925"/>
                    </a:lnTo>
                    <a:lnTo>
                      <a:pt x="636636" y="59042"/>
                    </a:lnTo>
                    <a:lnTo>
                      <a:pt x="623588" y="51542"/>
                    </a:lnTo>
                    <a:cubicBezTo>
                      <a:pt x="619187" y="49144"/>
                      <a:pt x="614684" y="46918"/>
                      <a:pt x="610232" y="44624"/>
                    </a:cubicBezTo>
                    <a:cubicBezTo>
                      <a:pt x="607988" y="43494"/>
                      <a:pt x="605779" y="42312"/>
                      <a:pt x="603502" y="41233"/>
                    </a:cubicBezTo>
                    <a:lnTo>
                      <a:pt x="596653" y="38117"/>
                    </a:lnTo>
                    <a:lnTo>
                      <a:pt x="589786" y="35018"/>
                    </a:lnTo>
                    <a:cubicBezTo>
                      <a:pt x="587492" y="33990"/>
                      <a:pt x="585214" y="32946"/>
                      <a:pt x="582868" y="32055"/>
                    </a:cubicBezTo>
                    <a:lnTo>
                      <a:pt x="568861" y="26524"/>
                    </a:lnTo>
                    <a:cubicBezTo>
                      <a:pt x="566532" y="25565"/>
                      <a:pt x="564152" y="24812"/>
                      <a:pt x="561772" y="23990"/>
                    </a:cubicBezTo>
                    <a:lnTo>
                      <a:pt x="554631" y="21576"/>
                    </a:lnTo>
                    <a:lnTo>
                      <a:pt x="547491" y="19178"/>
                    </a:lnTo>
                    <a:cubicBezTo>
                      <a:pt x="545094" y="18425"/>
                      <a:pt x="542662" y="17774"/>
                      <a:pt x="540265" y="17072"/>
                    </a:cubicBezTo>
                    <a:cubicBezTo>
                      <a:pt x="535436" y="15719"/>
                      <a:pt x="530624" y="14281"/>
                      <a:pt x="525761" y="13014"/>
                    </a:cubicBezTo>
                    <a:lnTo>
                      <a:pt x="511086" y="9623"/>
                    </a:lnTo>
                    <a:cubicBezTo>
                      <a:pt x="506206" y="8408"/>
                      <a:pt x="501240" y="7654"/>
                      <a:pt x="496309" y="6730"/>
                    </a:cubicBezTo>
                    <a:cubicBezTo>
                      <a:pt x="491360" y="5908"/>
                      <a:pt x="486446" y="4829"/>
                      <a:pt x="481463" y="4298"/>
                    </a:cubicBezTo>
                    <a:lnTo>
                      <a:pt x="466531" y="2414"/>
                    </a:lnTo>
                    <a:cubicBezTo>
                      <a:pt x="461548" y="1849"/>
                      <a:pt x="456548" y="1575"/>
                      <a:pt x="451548" y="1164"/>
                    </a:cubicBezTo>
                    <a:lnTo>
                      <a:pt x="444048" y="599"/>
                    </a:lnTo>
                    <a:cubicBezTo>
                      <a:pt x="441548" y="445"/>
                      <a:pt x="439048" y="445"/>
                      <a:pt x="436547" y="360"/>
                    </a:cubicBezTo>
                    <a:lnTo>
                      <a:pt x="421530" y="0"/>
                    </a:lnTo>
                    <a:lnTo>
                      <a:pt x="406513" y="360"/>
                    </a:lnTo>
                    <a:cubicBezTo>
                      <a:pt x="404013" y="445"/>
                      <a:pt x="401513" y="462"/>
                      <a:pt x="399013" y="599"/>
                    </a:cubicBezTo>
                    <a:lnTo>
                      <a:pt x="391513" y="1164"/>
                    </a:lnTo>
                    <a:cubicBezTo>
                      <a:pt x="386513" y="1575"/>
                      <a:pt x="381512" y="1849"/>
                      <a:pt x="376530" y="2414"/>
                    </a:cubicBezTo>
                    <a:lnTo>
                      <a:pt x="361598" y="4298"/>
                    </a:lnTo>
                    <a:cubicBezTo>
                      <a:pt x="356615" y="4829"/>
                      <a:pt x="351700" y="5908"/>
                      <a:pt x="346752" y="6730"/>
                    </a:cubicBezTo>
                    <a:cubicBezTo>
                      <a:pt x="341820" y="7637"/>
                      <a:pt x="336854" y="8391"/>
                      <a:pt x="331974" y="9623"/>
                    </a:cubicBezTo>
                    <a:lnTo>
                      <a:pt x="317299" y="13014"/>
                    </a:lnTo>
                    <a:cubicBezTo>
                      <a:pt x="312436" y="14281"/>
                      <a:pt x="307624" y="15702"/>
                      <a:pt x="302796" y="17072"/>
                    </a:cubicBezTo>
                    <a:cubicBezTo>
                      <a:pt x="300381" y="17774"/>
                      <a:pt x="297967" y="18425"/>
                      <a:pt x="295569" y="19178"/>
                    </a:cubicBezTo>
                    <a:lnTo>
                      <a:pt x="288429" y="21576"/>
                    </a:lnTo>
                    <a:lnTo>
                      <a:pt x="281288" y="23990"/>
                    </a:lnTo>
                    <a:cubicBezTo>
                      <a:pt x="278908" y="24812"/>
                      <a:pt x="276528" y="25565"/>
                      <a:pt x="274199" y="26524"/>
                    </a:cubicBezTo>
                    <a:lnTo>
                      <a:pt x="260192" y="32055"/>
                    </a:lnTo>
                    <a:cubicBezTo>
                      <a:pt x="257846" y="32946"/>
                      <a:pt x="255552" y="33990"/>
                      <a:pt x="253274" y="35018"/>
                    </a:cubicBezTo>
                    <a:lnTo>
                      <a:pt x="246408" y="38117"/>
                    </a:lnTo>
                    <a:lnTo>
                      <a:pt x="239558" y="41233"/>
                    </a:lnTo>
                    <a:cubicBezTo>
                      <a:pt x="237281" y="42295"/>
                      <a:pt x="235072" y="43494"/>
                      <a:pt x="232829" y="44624"/>
                    </a:cubicBezTo>
                    <a:cubicBezTo>
                      <a:pt x="228377" y="46936"/>
                      <a:pt x="223873" y="49144"/>
                      <a:pt x="219472" y="51542"/>
                    </a:cubicBezTo>
                    <a:lnTo>
                      <a:pt x="206424" y="59042"/>
                    </a:lnTo>
                    <a:lnTo>
                      <a:pt x="203171" y="60925"/>
                    </a:lnTo>
                    <a:lnTo>
                      <a:pt x="199986" y="62946"/>
                    </a:lnTo>
                    <a:lnTo>
                      <a:pt x="193650" y="67004"/>
                    </a:lnTo>
                    <a:cubicBezTo>
                      <a:pt x="189421" y="69710"/>
                      <a:pt x="185174" y="72381"/>
                      <a:pt x="181133" y="75361"/>
                    </a:cubicBezTo>
                    <a:cubicBezTo>
                      <a:pt x="177040" y="78272"/>
                      <a:pt x="172948" y="81148"/>
                      <a:pt x="168889" y="84111"/>
                    </a:cubicBezTo>
                    <a:cubicBezTo>
                      <a:pt x="161013" y="90309"/>
                      <a:pt x="152999" y="96354"/>
                      <a:pt x="145550" y="103066"/>
                    </a:cubicBezTo>
                    <a:cubicBezTo>
                      <a:pt x="137844" y="109488"/>
                      <a:pt x="130755" y="116577"/>
                      <a:pt x="123478" y="123478"/>
                    </a:cubicBezTo>
                    <a:cubicBezTo>
                      <a:pt x="116577" y="130755"/>
                      <a:pt x="109488" y="137844"/>
                      <a:pt x="103067" y="145550"/>
                    </a:cubicBezTo>
                    <a:cubicBezTo>
                      <a:pt x="96354" y="153016"/>
                      <a:pt x="90310" y="161012"/>
                      <a:pt x="84111" y="168889"/>
                    </a:cubicBezTo>
                    <a:cubicBezTo>
                      <a:pt x="81166" y="172947"/>
                      <a:pt x="78272" y="177040"/>
                      <a:pt x="75361" y="181132"/>
                    </a:cubicBezTo>
                    <a:cubicBezTo>
                      <a:pt x="72381" y="185174"/>
                      <a:pt x="69710" y="189420"/>
                      <a:pt x="67004" y="193650"/>
                    </a:cubicBezTo>
                    <a:lnTo>
                      <a:pt x="62946" y="199985"/>
                    </a:lnTo>
                    <a:lnTo>
                      <a:pt x="60926" y="203170"/>
                    </a:lnTo>
                    <a:lnTo>
                      <a:pt x="59042" y="206424"/>
                    </a:lnTo>
                    <a:lnTo>
                      <a:pt x="51542" y="219472"/>
                    </a:lnTo>
                    <a:cubicBezTo>
                      <a:pt x="49145" y="223873"/>
                      <a:pt x="46919" y="228376"/>
                      <a:pt x="44624" y="232828"/>
                    </a:cubicBezTo>
                    <a:cubicBezTo>
                      <a:pt x="43494" y="235072"/>
                      <a:pt x="42312" y="237280"/>
                      <a:pt x="41234" y="239558"/>
                    </a:cubicBezTo>
                    <a:lnTo>
                      <a:pt x="38117" y="246407"/>
                    </a:lnTo>
                    <a:lnTo>
                      <a:pt x="35018" y="253274"/>
                    </a:lnTo>
                    <a:cubicBezTo>
                      <a:pt x="33990" y="255568"/>
                      <a:pt x="32946" y="257846"/>
                      <a:pt x="32055" y="260192"/>
                    </a:cubicBezTo>
                    <a:lnTo>
                      <a:pt x="26524" y="274199"/>
                    </a:lnTo>
                    <a:cubicBezTo>
                      <a:pt x="25565" y="276528"/>
                      <a:pt x="24812" y="278908"/>
                      <a:pt x="23990" y="281288"/>
                    </a:cubicBezTo>
                    <a:lnTo>
                      <a:pt x="21576" y="288428"/>
                    </a:lnTo>
                    <a:lnTo>
                      <a:pt x="19178" y="295569"/>
                    </a:lnTo>
                    <a:cubicBezTo>
                      <a:pt x="18425" y="297966"/>
                      <a:pt x="17774" y="300398"/>
                      <a:pt x="17072" y="302795"/>
                    </a:cubicBezTo>
                    <a:cubicBezTo>
                      <a:pt x="15719" y="307624"/>
                      <a:pt x="14281" y="312436"/>
                      <a:pt x="13014" y="317299"/>
                    </a:cubicBezTo>
                    <a:lnTo>
                      <a:pt x="9623" y="331973"/>
                    </a:lnTo>
                    <a:cubicBezTo>
                      <a:pt x="8408" y="336854"/>
                      <a:pt x="7654" y="341819"/>
                      <a:pt x="6730" y="346751"/>
                    </a:cubicBezTo>
                    <a:cubicBezTo>
                      <a:pt x="5908" y="351700"/>
                      <a:pt x="4829" y="356614"/>
                      <a:pt x="4298" y="361597"/>
                    </a:cubicBezTo>
                    <a:lnTo>
                      <a:pt x="2414" y="376529"/>
                    </a:lnTo>
                    <a:cubicBezTo>
                      <a:pt x="1849" y="381512"/>
                      <a:pt x="1575" y="386512"/>
                      <a:pt x="1164" y="391512"/>
                    </a:cubicBezTo>
                    <a:lnTo>
                      <a:pt x="599" y="399012"/>
                    </a:lnTo>
                    <a:cubicBezTo>
                      <a:pt x="445" y="401512"/>
                      <a:pt x="445" y="404012"/>
                      <a:pt x="360" y="406512"/>
                    </a:cubicBezTo>
                    <a:lnTo>
                      <a:pt x="0" y="421529"/>
                    </a:lnTo>
                    <a:lnTo>
                      <a:pt x="360" y="436547"/>
                    </a:lnTo>
                    <a:cubicBezTo>
                      <a:pt x="445" y="439047"/>
                      <a:pt x="462" y="441547"/>
                      <a:pt x="599" y="444047"/>
                    </a:cubicBezTo>
                    <a:close/>
                    <a:moveTo>
                      <a:pt x="52398" y="305963"/>
                    </a:moveTo>
                    <a:lnTo>
                      <a:pt x="54607" y="299422"/>
                    </a:lnTo>
                    <a:lnTo>
                      <a:pt x="56816" y="292880"/>
                    </a:lnTo>
                    <a:cubicBezTo>
                      <a:pt x="57569" y="290706"/>
                      <a:pt x="58254" y="288514"/>
                      <a:pt x="59145" y="286374"/>
                    </a:cubicBezTo>
                    <a:lnTo>
                      <a:pt x="64213" y="273531"/>
                    </a:lnTo>
                    <a:cubicBezTo>
                      <a:pt x="65018" y="271373"/>
                      <a:pt x="65977" y="269284"/>
                      <a:pt x="66936" y="267195"/>
                    </a:cubicBezTo>
                    <a:lnTo>
                      <a:pt x="69778" y="260911"/>
                    </a:lnTo>
                    <a:lnTo>
                      <a:pt x="72621" y="254627"/>
                    </a:lnTo>
                    <a:cubicBezTo>
                      <a:pt x="73597" y="252538"/>
                      <a:pt x="74693" y="250517"/>
                      <a:pt x="75737" y="248462"/>
                    </a:cubicBezTo>
                    <a:cubicBezTo>
                      <a:pt x="77861" y="244370"/>
                      <a:pt x="79881" y="240243"/>
                      <a:pt x="82090" y="236202"/>
                    </a:cubicBezTo>
                    <a:lnTo>
                      <a:pt x="88974" y="224232"/>
                    </a:lnTo>
                    <a:lnTo>
                      <a:pt x="90703" y="221236"/>
                    </a:lnTo>
                    <a:lnTo>
                      <a:pt x="92553" y="218325"/>
                    </a:lnTo>
                    <a:lnTo>
                      <a:pt x="96269" y="212520"/>
                    </a:lnTo>
                    <a:cubicBezTo>
                      <a:pt x="98751" y="208650"/>
                      <a:pt x="101200" y="204746"/>
                      <a:pt x="103923" y="201047"/>
                    </a:cubicBezTo>
                    <a:lnTo>
                      <a:pt x="111937" y="189814"/>
                    </a:lnTo>
                    <a:cubicBezTo>
                      <a:pt x="117639" y="182588"/>
                      <a:pt x="123170" y="175242"/>
                      <a:pt x="129334" y="168393"/>
                    </a:cubicBezTo>
                    <a:cubicBezTo>
                      <a:pt x="135225" y="161303"/>
                      <a:pt x="141749" y="154814"/>
                      <a:pt x="148067" y="148135"/>
                    </a:cubicBezTo>
                    <a:cubicBezTo>
                      <a:pt x="154763" y="141817"/>
                      <a:pt x="161252" y="135293"/>
                      <a:pt x="168324" y="129402"/>
                    </a:cubicBezTo>
                    <a:cubicBezTo>
                      <a:pt x="175157" y="123238"/>
                      <a:pt x="182520" y="117707"/>
                      <a:pt x="189746" y="112005"/>
                    </a:cubicBezTo>
                    <a:lnTo>
                      <a:pt x="200979" y="103991"/>
                    </a:lnTo>
                    <a:cubicBezTo>
                      <a:pt x="204678" y="101251"/>
                      <a:pt x="208582" y="98803"/>
                      <a:pt x="212452" y="96337"/>
                    </a:cubicBezTo>
                    <a:lnTo>
                      <a:pt x="218257" y="92621"/>
                    </a:lnTo>
                    <a:lnTo>
                      <a:pt x="221168" y="90772"/>
                    </a:lnTo>
                    <a:lnTo>
                      <a:pt x="224164" y="89042"/>
                    </a:lnTo>
                    <a:lnTo>
                      <a:pt x="236134" y="82159"/>
                    </a:lnTo>
                    <a:cubicBezTo>
                      <a:pt x="240175" y="79967"/>
                      <a:pt x="244301" y="77929"/>
                      <a:pt x="248394" y="75806"/>
                    </a:cubicBezTo>
                    <a:cubicBezTo>
                      <a:pt x="250449" y="74778"/>
                      <a:pt x="252469" y="73682"/>
                      <a:pt x="254559" y="72689"/>
                    </a:cubicBezTo>
                    <a:lnTo>
                      <a:pt x="260843" y="69847"/>
                    </a:lnTo>
                    <a:lnTo>
                      <a:pt x="267127" y="67004"/>
                    </a:lnTo>
                    <a:cubicBezTo>
                      <a:pt x="269216" y="66045"/>
                      <a:pt x="271305" y="65086"/>
                      <a:pt x="273463" y="64282"/>
                    </a:cubicBezTo>
                    <a:lnTo>
                      <a:pt x="286306" y="59213"/>
                    </a:lnTo>
                    <a:cubicBezTo>
                      <a:pt x="288429" y="58323"/>
                      <a:pt x="290621" y="57638"/>
                      <a:pt x="292813" y="56884"/>
                    </a:cubicBezTo>
                    <a:lnTo>
                      <a:pt x="299354" y="54675"/>
                    </a:lnTo>
                    <a:lnTo>
                      <a:pt x="305895" y="52466"/>
                    </a:lnTo>
                    <a:cubicBezTo>
                      <a:pt x="308087" y="51781"/>
                      <a:pt x="310313" y="51182"/>
                      <a:pt x="312522" y="50549"/>
                    </a:cubicBezTo>
                    <a:cubicBezTo>
                      <a:pt x="316957" y="49316"/>
                      <a:pt x="321375" y="47980"/>
                      <a:pt x="325827" y="46833"/>
                    </a:cubicBezTo>
                    <a:lnTo>
                      <a:pt x="339286" y="43716"/>
                    </a:lnTo>
                    <a:cubicBezTo>
                      <a:pt x="343755" y="42586"/>
                      <a:pt x="348310" y="41918"/>
                      <a:pt x="352830" y="41079"/>
                    </a:cubicBezTo>
                    <a:cubicBezTo>
                      <a:pt x="357368" y="40326"/>
                      <a:pt x="361872" y="39333"/>
                      <a:pt x="366444" y="38853"/>
                    </a:cubicBezTo>
                    <a:cubicBezTo>
                      <a:pt x="439287" y="28220"/>
                      <a:pt x="515127" y="39144"/>
                      <a:pt x="582080" y="69847"/>
                    </a:cubicBezTo>
                    <a:lnTo>
                      <a:pt x="588365" y="72689"/>
                    </a:lnTo>
                    <a:cubicBezTo>
                      <a:pt x="590454" y="73665"/>
                      <a:pt x="592474" y="74761"/>
                      <a:pt x="594529" y="75806"/>
                    </a:cubicBezTo>
                    <a:cubicBezTo>
                      <a:pt x="598622" y="77929"/>
                      <a:pt x="602749" y="79950"/>
                      <a:pt x="606790" y="82159"/>
                    </a:cubicBezTo>
                    <a:lnTo>
                      <a:pt x="618759" y="89042"/>
                    </a:lnTo>
                    <a:lnTo>
                      <a:pt x="621756" y="90772"/>
                    </a:lnTo>
                    <a:lnTo>
                      <a:pt x="624667" y="92621"/>
                    </a:lnTo>
                    <a:lnTo>
                      <a:pt x="630472" y="96337"/>
                    </a:lnTo>
                    <a:cubicBezTo>
                      <a:pt x="634342" y="98820"/>
                      <a:pt x="638246" y="101268"/>
                      <a:pt x="641944" y="103991"/>
                    </a:cubicBezTo>
                    <a:lnTo>
                      <a:pt x="653177" y="112005"/>
                    </a:lnTo>
                    <a:cubicBezTo>
                      <a:pt x="660403" y="117707"/>
                      <a:pt x="667750" y="123238"/>
                      <a:pt x="674599" y="129402"/>
                    </a:cubicBezTo>
                    <a:cubicBezTo>
                      <a:pt x="681688" y="135293"/>
                      <a:pt x="688178" y="141817"/>
                      <a:pt x="694856" y="148135"/>
                    </a:cubicBezTo>
                    <a:cubicBezTo>
                      <a:pt x="701175" y="154831"/>
                      <a:pt x="707699" y="161321"/>
                      <a:pt x="713589" y="168393"/>
                    </a:cubicBezTo>
                    <a:cubicBezTo>
                      <a:pt x="719754" y="175225"/>
                      <a:pt x="725285" y="182588"/>
                      <a:pt x="730987" y="189814"/>
                    </a:cubicBezTo>
                    <a:lnTo>
                      <a:pt x="739001" y="201047"/>
                    </a:lnTo>
                    <a:cubicBezTo>
                      <a:pt x="741740" y="204746"/>
                      <a:pt x="744189" y="208650"/>
                      <a:pt x="746655" y="212520"/>
                    </a:cubicBezTo>
                    <a:lnTo>
                      <a:pt x="750371" y="218325"/>
                    </a:lnTo>
                    <a:lnTo>
                      <a:pt x="752220" y="221236"/>
                    </a:lnTo>
                    <a:lnTo>
                      <a:pt x="753949" y="224232"/>
                    </a:lnTo>
                    <a:lnTo>
                      <a:pt x="760833" y="236202"/>
                    </a:lnTo>
                    <a:cubicBezTo>
                      <a:pt x="763025" y="240243"/>
                      <a:pt x="765063" y="244370"/>
                      <a:pt x="767186" y="248462"/>
                    </a:cubicBezTo>
                    <a:cubicBezTo>
                      <a:pt x="768213" y="250517"/>
                      <a:pt x="769309" y="252538"/>
                      <a:pt x="770302" y="254627"/>
                    </a:cubicBezTo>
                    <a:lnTo>
                      <a:pt x="773145" y="260911"/>
                    </a:lnTo>
                    <a:lnTo>
                      <a:pt x="775987" y="267195"/>
                    </a:lnTo>
                    <a:cubicBezTo>
                      <a:pt x="776946" y="269284"/>
                      <a:pt x="777905" y="271373"/>
                      <a:pt x="778710" y="273531"/>
                    </a:cubicBezTo>
                    <a:lnTo>
                      <a:pt x="783779" y="286374"/>
                    </a:lnTo>
                    <a:cubicBezTo>
                      <a:pt x="784669" y="288497"/>
                      <a:pt x="785354" y="290689"/>
                      <a:pt x="786107" y="292880"/>
                    </a:cubicBezTo>
                    <a:lnTo>
                      <a:pt x="788316" y="299422"/>
                    </a:lnTo>
                    <a:lnTo>
                      <a:pt x="790525" y="305963"/>
                    </a:lnTo>
                    <a:cubicBezTo>
                      <a:pt x="791210" y="308155"/>
                      <a:pt x="791810" y="310381"/>
                      <a:pt x="792443" y="312590"/>
                    </a:cubicBezTo>
                    <a:cubicBezTo>
                      <a:pt x="793676" y="317025"/>
                      <a:pt x="795012" y="321442"/>
                      <a:pt x="796159" y="325895"/>
                    </a:cubicBezTo>
                    <a:lnTo>
                      <a:pt x="799275" y="339354"/>
                    </a:lnTo>
                    <a:cubicBezTo>
                      <a:pt x="800406" y="343823"/>
                      <a:pt x="801073" y="348378"/>
                      <a:pt x="801912" y="352898"/>
                    </a:cubicBezTo>
                    <a:cubicBezTo>
                      <a:pt x="802666" y="357436"/>
                      <a:pt x="803659" y="361940"/>
                      <a:pt x="804138" y="366512"/>
                    </a:cubicBezTo>
                    <a:lnTo>
                      <a:pt x="805885" y="380210"/>
                    </a:lnTo>
                    <a:cubicBezTo>
                      <a:pt x="806416" y="384782"/>
                      <a:pt x="806639" y="389371"/>
                      <a:pt x="807032" y="393961"/>
                    </a:cubicBezTo>
                    <a:lnTo>
                      <a:pt x="807546" y="400844"/>
                    </a:lnTo>
                    <a:cubicBezTo>
                      <a:pt x="807683" y="403139"/>
                      <a:pt x="807683" y="405433"/>
                      <a:pt x="807769" y="407745"/>
                    </a:cubicBezTo>
                    <a:lnTo>
                      <a:pt x="808111" y="421529"/>
                    </a:lnTo>
                    <a:lnTo>
                      <a:pt x="807769" y="435314"/>
                    </a:lnTo>
                    <a:cubicBezTo>
                      <a:pt x="807700" y="437608"/>
                      <a:pt x="807683" y="439920"/>
                      <a:pt x="807546" y="442215"/>
                    </a:cubicBezTo>
                    <a:lnTo>
                      <a:pt x="807032" y="449098"/>
                    </a:lnTo>
                    <a:cubicBezTo>
                      <a:pt x="806639" y="453687"/>
                      <a:pt x="806416" y="458276"/>
                      <a:pt x="805885" y="462848"/>
                    </a:cubicBezTo>
                    <a:lnTo>
                      <a:pt x="804138" y="476547"/>
                    </a:lnTo>
                    <a:cubicBezTo>
                      <a:pt x="803659" y="481119"/>
                      <a:pt x="802666" y="485623"/>
                      <a:pt x="801912" y="490160"/>
                    </a:cubicBezTo>
                    <a:cubicBezTo>
                      <a:pt x="801073" y="494681"/>
                      <a:pt x="800406" y="499236"/>
                      <a:pt x="799275" y="503705"/>
                    </a:cubicBezTo>
                    <a:lnTo>
                      <a:pt x="796159" y="517164"/>
                    </a:lnTo>
                    <a:cubicBezTo>
                      <a:pt x="794995" y="521616"/>
                      <a:pt x="793676" y="526034"/>
                      <a:pt x="792443" y="530469"/>
                    </a:cubicBezTo>
                    <a:cubicBezTo>
                      <a:pt x="791792" y="532678"/>
                      <a:pt x="791210" y="534904"/>
                      <a:pt x="790525" y="537096"/>
                    </a:cubicBezTo>
                    <a:lnTo>
                      <a:pt x="788316" y="543637"/>
                    </a:lnTo>
                    <a:lnTo>
                      <a:pt x="786107" y="550178"/>
                    </a:lnTo>
                    <a:cubicBezTo>
                      <a:pt x="785354" y="552353"/>
                      <a:pt x="784669" y="554545"/>
                      <a:pt x="783779" y="556685"/>
                    </a:cubicBezTo>
                    <a:lnTo>
                      <a:pt x="778710" y="569528"/>
                    </a:lnTo>
                    <a:cubicBezTo>
                      <a:pt x="777905" y="571685"/>
                      <a:pt x="776946" y="573775"/>
                      <a:pt x="775987" y="575864"/>
                    </a:cubicBezTo>
                    <a:lnTo>
                      <a:pt x="773145" y="582148"/>
                    </a:lnTo>
                    <a:lnTo>
                      <a:pt x="770302" y="588432"/>
                    </a:lnTo>
                    <a:cubicBezTo>
                      <a:pt x="769326" y="590521"/>
                      <a:pt x="768230" y="592542"/>
                      <a:pt x="767186" y="594597"/>
                    </a:cubicBezTo>
                    <a:cubicBezTo>
                      <a:pt x="765063" y="598689"/>
                      <a:pt x="763042" y="602816"/>
                      <a:pt x="760833" y="606857"/>
                    </a:cubicBezTo>
                    <a:lnTo>
                      <a:pt x="753949" y="618826"/>
                    </a:lnTo>
                    <a:lnTo>
                      <a:pt x="752220" y="621823"/>
                    </a:lnTo>
                    <a:lnTo>
                      <a:pt x="750371" y="624734"/>
                    </a:lnTo>
                    <a:lnTo>
                      <a:pt x="746655" y="630539"/>
                    </a:lnTo>
                    <a:cubicBezTo>
                      <a:pt x="744172" y="634409"/>
                      <a:pt x="741723" y="638313"/>
                      <a:pt x="739001" y="642012"/>
                    </a:cubicBezTo>
                    <a:lnTo>
                      <a:pt x="730987" y="653245"/>
                    </a:lnTo>
                    <a:cubicBezTo>
                      <a:pt x="725285" y="660471"/>
                      <a:pt x="719754" y="667817"/>
                      <a:pt x="713589" y="674666"/>
                    </a:cubicBezTo>
                    <a:cubicBezTo>
                      <a:pt x="707699" y="681755"/>
                      <a:pt x="701175" y="688245"/>
                      <a:pt x="694856" y="694923"/>
                    </a:cubicBezTo>
                    <a:cubicBezTo>
                      <a:pt x="688161" y="701242"/>
                      <a:pt x="681671" y="707766"/>
                      <a:pt x="674599" y="713656"/>
                    </a:cubicBezTo>
                    <a:cubicBezTo>
                      <a:pt x="667767" y="719821"/>
                      <a:pt x="660403" y="725352"/>
                      <a:pt x="653177" y="731054"/>
                    </a:cubicBezTo>
                    <a:lnTo>
                      <a:pt x="641944" y="739068"/>
                    </a:lnTo>
                    <a:cubicBezTo>
                      <a:pt x="638246" y="741807"/>
                      <a:pt x="634342" y="744256"/>
                      <a:pt x="630472" y="746722"/>
                    </a:cubicBezTo>
                    <a:lnTo>
                      <a:pt x="624667" y="750438"/>
                    </a:lnTo>
                    <a:lnTo>
                      <a:pt x="621756" y="752287"/>
                    </a:lnTo>
                    <a:lnTo>
                      <a:pt x="618759" y="754017"/>
                    </a:lnTo>
                    <a:lnTo>
                      <a:pt x="606790" y="760900"/>
                    </a:lnTo>
                    <a:cubicBezTo>
                      <a:pt x="602749" y="763092"/>
                      <a:pt x="598622" y="765130"/>
                      <a:pt x="594529" y="767253"/>
                    </a:cubicBezTo>
                    <a:cubicBezTo>
                      <a:pt x="592474" y="768280"/>
                      <a:pt x="590454" y="769376"/>
                      <a:pt x="588365" y="770369"/>
                    </a:cubicBezTo>
                    <a:lnTo>
                      <a:pt x="582080" y="773212"/>
                    </a:lnTo>
                    <a:cubicBezTo>
                      <a:pt x="515127" y="803914"/>
                      <a:pt x="439287" y="814839"/>
                      <a:pt x="366444" y="804206"/>
                    </a:cubicBezTo>
                    <a:cubicBezTo>
                      <a:pt x="361872" y="803726"/>
                      <a:pt x="357368" y="802733"/>
                      <a:pt x="352830" y="801979"/>
                    </a:cubicBezTo>
                    <a:cubicBezTo>
                      <a:pt x="348310" y="801140"/>
                      <a:pt x="343755" y="800473"/>
                      <a:pt x="339286" y="799342"/>
                    </a:cubicBezTo>
                    <a:lnTo>
                      <a:pt x="325827" y="796226"/>
                    </a:lnTo>
                    <a:cubicBezTo>
                      <a:pt x="321375" y="795062"/>
                      <a:pt x="316957" y="793743"/>
                      <a:pt x="312522" y="792510"/>
                    </a:cubicBezTo>
                    <a:cubicBezTo>
                      <a:pt x="310313" y="791877"/>
                      <a:pt x="308087" y="791277"/>
                      <a:pt x="305895" y="790592"/>
                    </a:cubicBezTo>
                    <a:lnTo>
                      <a:pt x="299354" y="788383"/>
                    </a:lnTo>
                    <a:lnTo>
                      <a:pt x="292813" y="786175"/>
                    </a:lnTo>
                    <a:cubicBezTo>
                      <a:pt x="290638" y="785421"/>
                      <a:pt x="288446" y="784736"/>
                      <a:pt x="286306" y="783846"/>
                    </a:cubicBezTo>
                    <a:lnTo>
                      <a:pt x="273463" y="778777"/>
                    </a:lnTo>
                    <a:cubicBezTo>
                      <a:pt x="271305" y="777972"/>
                      <a:pt x="269216" y="777013"/>
                      <a:pt x="267127" y="776055"/>
                    </a:cubicBezTo>
                    <a:lnTo>
                      <a:pt x="260843" y="773212"/>
                    </a:lnTo>
                    <a:lnTo>
                      <a:pt x="254559" y="770369"/>
                    </a:lnTo>
                    <a:cubicBezTo>
                      <a:pt x="252469" y="769393"/>
                      <a:pt x="250449" y="768298"/>
                      <a:pt x="248394" y="767253"/>
                    </a:cubicBezTo>
                    <a:cubicBezTo>
                      <a:pt x="244301" y="765130"/>
                      <a:pt x="240175" y="763109"/>
                      <a:pt x="236134" y="760900"/>
                    </a:cubicBezTo>
                    <a:lnTo>
                      <a:pt x="224164" y="754017"/>
                    </a:lnTo>
                    <a:lnTo>
                      <a:pt x="221168" y="752287"/>
                    </a:lnTo>
                    <a:lnTo>
                      <a:pt x="218257" y="750438"/>
                    </a:lnTo>
                    <a:lnTo>
                      <a:pt x="212452" y="746722"/>
                    </a:lnTo>
                    <a:cubicBezTo>
                      <a:pt x="208582" y="744239"/>
                      <a:pt x="204678" y="741790"/>
                      <a:pt x="200979" y="739068"/>
                    </a:cubicBezTo>
                    <a:lnTo>
                      <a:pt x="189746" y="731054"/>
                    </a:lnTo>
                    <a:cubicBezTo>
                      <a:pt x="182520" y="725352"/>
                      <a:pt x="175174" y="719821"/>
                      <a:pt x="168324" y="713656"/>
                    </a:cubicBezTo>
                    <a:cubicBezTo>
                      <a:pt x="161235" y="707766"/>
                      <a:pt x="154745" y="701242"/>
                      <a:pt x="148067" y="694923"/>
                    </a:cubicBezTo>
                    <a:cubicBezTo>
                      <a:pt x="141749" y="688228"/>
                      <a:pt x="135225" y="681738"/>
                      <a:pt x="129334" y="674666"/>
                    </a:cubicBezTo>
                    <a:cubicBezTo>
                      <a:pt x="123170" y="667834"/>
                      <a:pt x="117639" y="660471"/>
                      <a:pt x="111937" y="653245"/>
                    </a:cubicBezTo>
                    <a:lnTo>
                      <a:pt x="103923" y="642012"/>
                    </a:lnTo>
                    <a:cubicBezTo>
                      <a:pt x="101183" y="638313"/>
                      <a:pt x="98734" y="634409"/>
                      <a:pt x="96269" y="630539"/>
                    </a:cubicBezTo>
                    <a:lnTo>
                      <a:pt x="92553" y="624734"/>
                    </a:lnTo>
                    <a:lnTo>
                      <a:pt x="90703" y="621823"/>
                    </a:lnTo>
                    <a:lnTo>
                      <a:pt x="88974" y="618826"/>
                    </a:lnTo>
                    <a:lnTo>
                      <a:pt x="82090" y="606857"/>
                    </a:lnTo>
                    <a:cubicBezTo>
                      <a:pt x="79898" y="602816"/>
                      <a:pt x="77861" y="598689"/>
                      <a:pt x="75737" y="594597"/>
                    </a:cubicBezTo>
                    <a:cubicBezTo>
                      <a:pt x="74710" y="592542"/>
                      <a:pt x="73614" y="590521"/>
                      <a:pt x="72621" y="588432"/>
                    </a:cubicBezTo>
                    <a:lnTo>
                      <a:pt x="69778" y="582148"/>
                    </a:lnTo>
                    <a:lnTo>
                      <a:pt x="66936" y="575864"/>
                    </a:lnTo>
                    <a:cubicBezTo>
                      <a:pt x="65977" y="573775"/>
                      <a:pt x="65018" y="571685"/>
                      <a:pt x="64213" y="569528"/>
                    </a:cubicBezTo>
                    <a:lnTo>
                      <a:pt x="59145" y="556685"/>
                    </a:lnTo>
                    <a:cubicBezTo>
                      <a:pt x="58254" y="554562"/>
                      <a:pt x="57569" y="552370"/>
                      <a:pt x="56816" y="550178"/>
                    </a:cubicBezTo>
                    <a:lnTo>
                      <a:pt x="54607" y="543637"/>
                    </a:lnTo>
                    <a:lnTo>
                      <a:pt x="52398" y="537096"/>
                    </a:lnTo>
                    <a:cubicBezTo>
                      <a:pt x="51713" y="534904"/>
                      <a:pt x="51114" y="532678"/>
                      <a:pt x="50480" y="530469"/>
                    </a:cubicBezTo>
                    <a:cubicBezTo>
                      <a:pt x="49247" y="526034"/>
                      <a:pt x="47912" y="521616"/>
                      <a:pt x="46764" y="517164"/>
                    </a:cubicBezTo>
                    <a:lnTo>
                      <a:pt x="43648" y="503705"/>
                    </a:lnTo>
                    <a:cubicBezTo>
                      <a:pt x="42518" y="499236"/>
                      <a:pt x="41850" y="494681"/>
                      <a:pt x="41011" y="490160"/>
                    </a:cubicBezTo>
                    <a:cubicBezTo>
                      <a:pt x="40257" y="485623"/>
                      <a:pt x="39264" y="481119"/>
                      <a:pt x="38785" y="476547"/>
                    </a:cubicBezTo>
                    <a:lnTo>
                      <a:pt x="37038" y="462848"/>
                    </a:lnTo>
                    <a:cubicBezTo>
                      <a:pt x="36507" y="458276"/>
                      <a:pt x="36285" y="453687"/>
                      <a:pt x="35891" y="449098"/>
                    </a:cubicBezTo>
                    <a:lnTo>
                      <a:pt x="35377" y="442215"/>
                    </a:lnTo>
                    <a:cubicBezTo>
                      <a:pt x="35240" y="439920"/>
                      <a:pt x="35240" y="437625"/>
                      <a:pt x="35155" y="435314"/>
                    </a:cubicBezTo>
                    <a:lnTo>
                      <a:pt x="34812" y="421529"/>
                    </a:lnTo>
                    <a:lnTo>
                      <a:pt x="35155" y="407745"/>
                    </a:lnTo>
                    <a:cubicBezTo>
                      <a:pt x="35223" y="405450"/>
                      <a:pt x="35240" y="403139"/>
                      <a:pt x="35377" y="400844"/>
                    </a:cubicBezTo>
                    <a:lnTo>
                      <a:pt x="35891" y="393961"/>
                    </a:lnTo>
                    <a:cubicBezTo>
                      <a:pt x="36285" y="389371"/>
                      <a:pt x="36507" y="384782"/>
                      <a:pt x="37038" y="380210"/>
                    </a:cubicBezTo>
                    <a:lnTo>
                      <a:pt x="38785" y="366512"/>
                    </a:lnTo>
                    <a:cubicBezTo>
                      <a:pt x="39264" y="361940"/>
                      <a:pt x="40257" y="357436"/>
                      <a:pt x="41011" y="352898"/>
                    </a:cubicBezTo>
                    <a:cubicBezTo>
                      <a:pt x="41850" y="348378"/>
                      <a:pt x="42518" y="343823"/>
                      <a:pt x="43648" y="339354"/>
                    </a:cubicBezTo>
                    <a:lnTo>
                      <a:pt x="46764" y="325895"/>
                    </a:lnTo>
                    <a:cubicBezTo>
                      <a:pt x="47929" y="321442"/>
                      <a:pt x="49247" y="317025"/>
                      <a:pt x="50480" y="312590"/>
                    </a:cubicBezTo>
                    <a:cubicBezTo>
                      <a:pt x="51114" y="310381"/>
                      <a:pt x="51713" y="308155"/>
                      <a:pt x="52398" y="305963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93" name="Freeform 6">
                <a:extLst>
                  <a:ext uri="{FF2B5EF4-FFF2-40B4-BE49-F238E27FC236}">
                    <a16:creationId xmlns:a16="http://schemas.microsoft.com/office/drawing/2014/main" id="{C87936AF-0BC0-6F0D-F610-909B8D011312}"/>
                  </a:ext>
                </a:extLst>
              </p:cNvPr>
              <p:cNvSpPr/>
              <p:nvPr/>
            </p:nvSpPr>
            <p:spPr>
              <a:xfrm>
                <a:off x="3538379" y="2915998"/>
                <a:ext cx="705986" cy="705914"/>
              </a:xfrm>
              <a:custGeom>
                <a:avLst/>
                <a:gdLst>
                  <a:gd name="connsiteX0" fmla="*/ 514 w 705986"/>
                  <a:gd name="connsiteY0" fmla="*/ 371844 h 705914"/>
                  <a:gd name="connsiteX1" fmla="*/ 993 w 705986"/>
                  <a:gd name="connsiteY1" fmla="*/ 378129 h 705914"/>
                  <a:gd name="connsiteX2" fmla="*/ 2021 w 705986"/>
                  <a:gd name="connsiteY2" fmla="*/ 390697 h 705914"/>
                  <a:gd name="connsiteX3" fmla="*/ 3613 w 705986"/>
                  <a:gd name="connsiteY3" fmla="*/ 403197 h 705914"/>
                  <a:gd name="connsiteX4" fmla="*/ 5651 w 705986"/>
                  <a:gd name="connsiteY4" fmla="*/ 415629 h 705914"/>
                  <a:gd name="connsiteX5" fmla="*/ 8065 w 705986"/>
                  <a:gd name="connsiteY5" fmla="*/ 427992 h 705914"/>
                  <a:gd name="connsiteX6" fmla="*/ 10891 w 705986"/>
                  <a:gd name="connsiteY6" fmla="*/ 440270 h 705914"/>
                  <a:gd name="connsiteX7" fmla="*/ 14298 w 705986"/>
                  <a:gd name="connsiteY7" fmla="*/ 452393 h 705914"/>
                  <a:gd name="connsiteX8" fmla="*/ 16045 w 705986"/>
                  <a:gd name="connsiteY8" fmla="*/ 458438 h 705914"/>
                  <a:gd name="connsiteX9" fmla="*/ 18065 w 705986"/>
                  <a:gd name="connsiteY9" fmla="*/ 464397 h 705914"/>
                  <a:gd name="connsiteX10" fmla="*/ 20086 w 705986"/>
                  <a:gd name="connsiteY10" fmla="*/ 470356 h 705914"/>
                  <a:gd name="connsiteX11" fmla="*/ 22209 w 705986"/>
                  <a:gd name="connsiteY11" fmla="*/ 476281 h 705914"/>
                  <a:gd name="connsiteX12" fmla="*/ 26833 w 705986"/>
                  <a:gd name="connsiteY12" fmla="*/ 487993 h 705914"/>
                  <a:gd name="connsiteX13" fmla="*/ 29315 w 705986"/>
                  <a:gd name="connsiteY13" fmla="*/ 493781 h 705914"/>
                  <a:gd name="connsiteX14" fmla="*/ 31918 w 705986"/>
                  <a:gd name="connsiteY14" fmla="*/ 499517 h 705914"/>
                  <a:gd name="connsiteX15" fmla="*/ 34504 w 705986"/>
                  <a:gd name="connsiteY15" fmla="*/ 505254 h 705914"/>
                  <a:gd name="connsiteX16" fmla="*/ 37346 w 705986"/>
                  <a:gd name="connsiteY16" fmla="*/ 510870 h 705914"/>
                  <a:gd name="connsiteX17" fmla="*/ 43134 w 705986"/>
                  <a:gd name="connsiteY17" fmla="*/ 522069 h 705914"/>
                  <a:gd name="connsiteX18" fmla="*/ 49419 w 705986"/>
                  <a:gd name="connsiteY18" fmla="*/ 532994 h 705914"/>
                  <a:gd name="connsiteX19" fmla="*/ 50994 w 705986"/>
                  <a:gd name="connsiteY19" fmla="*/ 535733 h 705914"/>
                  <a:gd name="connsiteX20" fmla="*/ 52689 w 705986"/>
                  <a:gd name="connsiteY20" fmla="*/ 538388 h 705914"/>
                  <a:gd name="connsiteX21" fmla="*/ 56097 w 705986"/>
                  <a:gd name="connsiteY21" fmla="*/ 543696 h 705914"/>
                  <a:gd name="connsiteX22" fmla="*/ 63083 w 705986"/>
                  <a:gd name="connsiteY22" fmla="*/ 554175 h 705914"/>
                  <a:gd name="connsiteX23" fmla="*/ 70395 w 705986"/>
                  <a:gd name="connsiteY23" fmla="*/ 564432 h 705914"/>
                  <a:gd name="connsiteX24" fmla="*/ 86303 w 705986"/>
                  <a:gd name="connsiteY24" fmla="*/ 583987 h 705914"/>
                  <a:gd name="connsiteX25" fmla="*/ 103409 w 705986"/>
                  <a:gd name="connsiteY25" fmla="*/ 602498 h 705914"/>
                  <a:gd name="connsiteX26" fmla="*/ 121920 w 705986"/>
                  <a:gd name="connsiteY26" fmla="*/ 619604 h 705914"/>
                  <a:gd name="connsiteX27" fmla="*/ 141475 w 705986"/>
                  <a:gd name="connsiteY27" fmla="*/ 635512 h 705914"/>
                  <a:gd name="connsiteX28" fmla="*/ 151732 w 705986"/>
                  <a:gd name="connsiteY28" fmla="*/ 642824 h 705914"/>
                  <a:gd name="connsiteX29" fmla="*/ 162211 w 705986"/>
                  <a:gd name="connsiteY29" fmla="*/ 649810 h 705914"/>
                  <a:gd name="connsiteX30" fmla="*/ 167520 w 705986"/>
                  <a:gd name="connsiteY30" fmla="*/ 653218 h 705914"/>
                  <a:gd name="connsiteX31" fmla="*/ 170174 w 705986"/>
                  <a:gd name="connsiteY31" fmla="*/ 654913 h 705914"/>
                  <a:gd name="connsiteX32" fmla="*/ 172913 w 705986"/>
                  <a:gd name="connsiteY32" fmla="*/ 656488 h 705914"/>
                  <a:gd name="connsiteX33" fmla="*/ 183838 w 705986"/>
                  <a:gd name="connsiteY33" fmla="*/ 662773 h 705914"/>
                  <a:gd name="connsiteX34" fmla="*/ 195037 w 705986"/>
                  <a:gd name="connsiteY34" fmla="*/ 668560 h 705914"/>
                  <a:gd name="connsiteX35" fmla="*/ 200654 w 705986"/>
                  <a:gd name="connsiteY35" fmla="*/ 671403 h 705914"/>
                  <a:gd name="connsiteX36" fmla="*/ 206390 w 705986"/>
                  <a:gd name="connsiteY36" fmla="*/ 673989 h 705914"/>
                  <a:gd name="connsiteX37" fmla="*/ 212126 w 705986"/>
                  <a:gd name="connsiteY37" fmla="*/ 676591 h 705914"/>
                  <a:gd name="connsiteX38" fmla="*/ 217914 w 705986"/>
                  <a:gd name="connsiteY38" fmla="*/ 679074 h 705914"/>
                  <a:gd name="connsiteX39" fmla="*/ 229627 w 705986"/>
                  <a:gd name="connsiteY39" fmla="*/ 683698 h 705914"/>
                  <a:gd name="connsiteX40" fmla="*/ 235551 w 705986"/>
                  <a:gd name="connsiteY40" fmla="*/ 685821 h 705914"/>
                  <a:gd name="connsiteX41" fmla="*/ 241510 w 705986"/>
                  <a:gd name="connsiteY41" fmla="*/ 687841 h 705914"/>
                  <a:gd name="connsiteX42" fmla="*/ 247469 w 705986"/>
                  <a:gd name="connsiteY42" fmla="*/ 689862 h 705914"/>
                  <a:gd name="connsiteX43" fmla="*/ 253514 w 705986"/>
                  <a:gd name="connsiteY43" fmla="*/ 691609 h 705914"/>
                  <a:gd name="connsiteX44" fmla="*/ 265637 w 705986"/>
                  <a:gd name="connsiteY44" fmla="*/ 695016 h 705914"/>
                  <a:gd name="connsiteX45" fmla="*/ 277915 w 705986"/>
                  <a:gd name="connsiteY45" fmla="*/ 697842 h 705914"/>
                  <a:gd name="connsiteX46" fmla="*/ 290278 w 705986"/>
                  <a:gd name="connsiteY46" fmla="*/ 700256 h 705914"/>
                  <a:gd name="connsiteX47" fmla="*/ 302710 w 705986"/>
                  <a:gd name="connsiteY47" fmla="*/ 702294 h 705914"/>
                  <a:gd name="connsiteX48" fmla="*/ 499596 w 705986"/>
                  <a:gd name="connsiteY48" fmla="*/ 674006 h 705914"/>
                  <a:gd name="connsiteX49" fmla="*/ 505333 w 705986"/>
                  <a:gd name="connsiteY49" fmla="*/ 671420 h 705914"/>
                  <a:gd name="connsiteX50" fmla="*/ 510949 w 705986"/>
                  <a:gd name="connsiteY50" fmla="*/ 668578 h 705914"/>
                  <a:gd name="connsiteX51" fmla="*/ 522148 w 705986"/>
                  <a:gd name="connsiteY51" fmla="*/ 662790 h 705914"/>
                  <a:gd name="connsiteX52" fmla="*/ 533073 w 705986"/>
                  <a:gd name="connsiteY52" fmla="*/ 656505 h 705914"/>
                  <a:gd name="connsiteX53" fmla="*/ 535813 w 705986"/>
                  <a:gd name="connsiteY53" fmla="*/ 654930 h 705914"/>
                  <a:gd name="connsiteX54" fmla="*/ 538467 w 705986"/>
                  <a:gd name="connsiteY54" fmla="*/ 653235 h 705914"/>
                  <a:gd name="connsiteX55" fmla="*/ 543775 w 705986"/>
                  <a:gd name="connsiteY55" fmla="*/ 649827 h 705914"/>
                  <a:gd name="connsiteX56" fmla="*/ 554255 w 705986"/>
                  <a:gd name="connsiteY56" fmla="*/ 642841 h 705914"/>
                  <a:gd name="connsiteX57" fmla="*/ 564512 w 705986"/>
                  <a:gd name="connsiteY57" fmla="*/ 635529 h 705914"/>
                  <a:gd name="connsiteX58" fmla="*/ 584067 w 705986"/>
                  <a:gd name="connsiteY58" fmla="*/ 619621 h 705914"/>
                  <a:gd name="connsiteX59" fmla="*/ 602577 w 705986"/>
                  <a:gd name="connsiteY59" fmla="*/ 602515 h 705914"/>
                  <a:gd name="connsiteX60" fmla="*/ 619684 w 705986"/>
                  <a:gd name="connsiteY60" fmla="*/ 584005 h 705914"/>
                  <a:gd name="connsiteX61" fmla="*/ 635591 w 705986"/>
                  <a:gd name="connsiteY61" fmla="*/ 564449 h 705914"/>
                  <a:gd name="connsiteX62" fmla="*/ 642903 w 705986"/>
                  <a:gd name="connsiteY62" fmla="*/ 554192 h 705914"/>
                  <a:gd name="connsiteX63" fmla="*/ 649890 w 705986"/>
                  <a:gd name="connsiteY63" fmla="*/ 543713 h 705914"/>
                  <a:gd name="connsiteX64" fmla="*/ 653297 w 705986"/>
                  <a:gd name="connsiteY64" fmla="*/ 538405 h 705914"/>
                  <a:gd name="connsiteX65" fmla="*/ 654992 w 705986"/>
                  <a:gd name="connsiteY65" fmla="*/ 535750 h 705914"/>
                  <a:gd name="connsiteX66" fmla="*/ 656568 w 705986"/>
                  <a:gd name="connsiteY66" fmla="*/ 533011 h 705914"/>
                  <a:gd name="connsiteX67" fmla="*/ 662852 w 705986"/>
                  <a:gd name="connsiteY67" fmla="*/ 522086 h 705914"/>
                  <a:gd name="connsiteX68" fmla="*/ 668640 w 705986"/>
                  <a:gd name="connsiteY68" fmla="*/ 510887 h 705914"/>
                  <a:gd name="connsiteX69" fmla="*/ 671482 w 705986"/>
                  <a:gd name="connsiteY69" fmla="*/ 505271 h 705914"/>
                  <a:gd name="connsiteX70" fmla="*/ 674068 w 705986"/>
                  <a:gd name="connsiteY70" fmla="*/ 499534 h 705914"/>
                  <a:gd name="connsiteX71" fmla="*/ 676671 w 705986"/>
                  <a:gd name="connsiteY71" fmla="*/ 493798 h 705914"/>
                  <a:gd name="connsiteX72" fmla="*/ 679154 w 705986"/>
                  <a:gd name="connsiteY72" fmla="*/ 488010 h 705914"/>
                  <a:gd name="connsiteX73" fmla="*/ 683777 w 705986"/>
                  <a:gd name="connsiteY73" fmla="*/ 476298 h 705914"/>
                  <a:gd name="connsiteX74" fmla="*/ 685900 w 705986"/>
                  <a:gd name="connsiteY74" fmla="*/ 470373 h 705914"/>
                  <a:gd name="connsiteX75" fmla="*/ 687921 w 705986"/>
                  <a:gd name="connsiteY75" fmla="*/ 464414 h 705914"/>
                  <a:gd name="connsiteX76" fmla="*/ 689942 w 705986"/>
                  <a:gd name="connsiteY76" fmla="*/ 458455 h 705914"/>
                  <a:gd name="connsiteX77" fmla="*/ 691688 w 705986"/>
                  <a:gd name="connsiteY77" fmla="*/ 452410 h 705914"/>
                  <a:gd name="connsiteX78" fmla="*/ 695096 w 705986"/>
                  <a:gd name="connsiteY78" fmla="*/ 440287 h 705914"/>
                  <a:gd name="connsiteX79" fmla="*/ 697921 w 705986"/>
                  <a:gd name="connsiteY79" fmla="*/ 428009 h 705914"/>
                  <a:gd name="connsiteX80" fmla="*/ 700336 w 705986"/>
                  <a:gd name="connsiteY80" fmla="*/ 415646 h 705914"/>
                  <a:gd name="connsiteX81" fmla="*/ 702373 w 705986"/>
                  <a:gd name="connsiteY81" fmla="*/ 403215 h 705914"/>
                  <a:gd name="connsiteX82" fmla="*/ 703966 w 705986"/>
                  <a:gd name="connsiteY82" fmla="*/ 390714 h 705914"/>
                  <a:gd name="connsiteX83" fmla="*/ 704993 w 705986"/>
                  <a:gd name="connsiteY83" fmla="*/ 378146 h 705914"/>
                  <a:gd name="connsiteX84" fmla="*/ 705473 w 705986"/>
                  <a:gd name="connsiteY84" fmla="*/ 371861 h 705914"/>
                  <a:gd name="connsiteX85" fmla="*/ 705661 w 705986"/>
                  <a:gd name="connsiteY85" fmla="*/ 365560 h 705914"/>
                  <a:gd name="connsiteX86" fmla="*/ 705986 w 705986"/>
                  <a:gd name="connsiteY86" fmla="*/ 352957 h 705914"/>
                  <a:gd name="connsiteX87" fmla="*/ 705661 w 705986"/>
                  <a:gd name="connsiteY87" fmla="*/ 340354 h 705914"/>
                  <a:gd name="connsiteX88" fmla="*/ 705473 w 705986"/>
                  <a:gd name="connsiteY88" fmla="*/ 334053 h 705914"/>
                  <a:gd name="connsiteX89" fmla="*/ 704993 w 705986"/>
                  <a:gd name="connsiteY89" fmla="*/ 327768 h 705914"/>
                  <a:gd name="connsiteX90" fmla="*/ 703966 w 705986"/>
                  <a:gd name="connsiteY90" fmla="*/ 315200 h 705914"/>
                  <a:gd name="connsiteX91" fmla="*/ 702373 w 705986"/>
                  <a:gd name="connsiteY91" fmla="*/ 302700 h 705914"/>
                  <a:gd name="connsiteX92" fmla="*/ 700336 w 705986"/>
                  <a:gd name="connsiteY92" fmla="*/ 290268 h 705914"/>
                  <a:gd name="connsiteX93" fmla="*/ 697921 w 705986"/>
                  <a:gd name="connsiteY93" fmla="*/ 277905 h 705914"/>
                  <a:gd name="connsiteX94" fmla="*/ 695096 w 705986"/>
                  <a:gd name="connsiteY94" fmla="*/ 265627 h 705914"/>
                  <a:gd name="connsiteX95" fmla="*/ 691688 w 705986"/>
                  <a:gd name="connsiteY95" fmla="*/ 253504 h 705914"/>
                  <a:gd name="connsiteX96" fmla="*/ 689942 w 705986"/>
                  <a:gd name="connsiteY96" fmla="*/ 247459 h 705914"/>
                  <a:gd name="connsiteX97" fmla="*/ 687921 w 705986"/>
                  <a:gd name="connsiteY97" fmla="*/ 241500 h 705914"/>
                  <a:gd name="connsiteX98" fmla="*/ 685900 w 705986"/>
                  <a:gd name="connsiteY98" fmla="*/ 235541 h 705914"/>
                  <a:gd name="connsiteX99" fmla="*/ 683777 w 705986"/>
                  <a:gd name="connsiteY99" fmla="*/ 229616 h 705914"/>
                  <a:gd name="connsiteX100" fmla="*/ 679154 w 705986"/>
                  <a:gd name="connsiteY100" fmla="*/ 217904 h 705914"/>
                  <a:gd name="connsiteX101" fmla="*/ 676671 w 705986"/>
                  <a:gd name="connsiteY101" fmla="*/ 212116 h 705914"/>
                  <a:gd name="connsiteX102" fmla="*/ 674068 w 705986"/>
                  <a:gd name="connsiteY102" fmla="*/ 206380 h 705914"/>
                  <a:gd name="connsiteX103" fmla="*/ 671482 w 705986"/>
                  <a:gd name="connsiteY103" fmla="*/ 200643 h 705914"/>
                  <a:gd name="connsiteX104" fmla="*/ 668640 w 705986"/>
                  <a:gd name="connsiteY104" fmla="*/ 195027 h 705914"/>
                  <a:gd name="connsiteX105" fmla="*/ 662852 w 705986"/>
                  <a:gd name="connsiteY105" fmla="*/ 183828 h 705914"/>
                  <a:gd name="connsiteX106" fmla="*/ 656568 w 705986"/>
                  <a:gd name="connsiteY106" fmla="*/ 172903 h 705914"/>
                  <a:gd name="connsiteX107" fmla="*/ 654992 w 705986"/>
                  <a:gd name="connsiteY107" fmla="*/ 170164 h 705914"/>
                  <a:gd name="connsiteX108" fmla="*/ 653297 w 705986"/>
                  <a:gd name="connsiteY108" fmla="*/ 167509 h 705914"/>
                  <a:gd name="connsiteX109" fmla="*/ 649890 w 705986"/>
                  <a:gd name="connsiteY109" fmla="*/ 162201 h 705914"/>
                  <a:gd name="connsiteX110" fmla="*/ 642903 w 705986"/>
                  <a:gd name="connsiteY110" fmla="*/ 151722 h 705914"/>
                  <a:gd name="connsiteX111" fmla="*/ 635591 w 705986"/>
                  <a:gd name="connsiteY111" fmla="*/ 141465 h 705914"/>
                  <a:gd name="connsiteX112" fmla="*/ 619684 w 705986"/>
                  <a:gd name="connsiteY112" fmla="*/ 121910 h 705914"/>
                  <a:gd name="connsiteX113" fmla="*/ 602577 w 705986"/>
                  <a:gd name="connsiteY113" fmla="*/ 103399 h 705914"/>
                  <a:gd name="connsiteX114" fmla="*/ 584067 w 705986"/>
                  <a:gd name="connsiteY114" fmla="*/ 86293 h 705914"/>
                  <a:gd name="connsiteX115" fmla="*/ 564512 w 705986"/>
                  <a:gd name="connsiteY115" fmla="*/ 70385 h 705914"/>
                  <a:gd name="connsiteX116" fmla="*/ 554255 w 705986"/>
                  <a:gd name="connsiteY116" fmla="*/ 63073 h 705914"/>
                  <a:gd name="connsiteX117" fmla="*/ 543775 w 705986"/>
                  <a:gd name="connsiteY117" fmla="*/ 56087 h 705914"/>
                  <a:gd name="connsiteX118" fmla="*/ 538467 w 705986"/>
                  <a:gd name="connsiteY118" fmla="*/ 52679 h 705914"/>
                  <a:gd name="connsiteX119" fmla="*/ 535813 w 705986"/>
                  <a:gd name="connsiteY119" fmla="*/ 50984 h 705914"/>
                  <a:gd name="connsiteX120" fmla="*/ 533073 w 705986"/>
                  <a:gd name="connsiteY120" fmla="*/ 49409 h 705914"/>
                  <a:gd name="connsiteX121" fmla="*/ 522148 w 705986"/>
                  <a:gd name="connsiteY121" fmla="*/ 43124 h 705914"/>
                  <a:gd name="connsiteX122" fmla="*/ 510949 w 705986"/>
                  <a:gd name="connsiteY122" fmla="*/ 37337 h 705914"/>
                  <a:gd name="connsiteX123" fmla="*/ 505333 w 705986"/>
                  <a:gd name="connsiteY123" fmla="*/ 34494 h 705914"/>
                  <a:gd name="connsiteX124" fmla="*/ 499596 w 705986"/>
                  <a:gd name="connsiteY124" fmla="*/ 31908 h 705914"/>
                  <a:gd name="connsiteX125" fmla="*/ 302710 w 705986"/>
                  <a:gd name="connsiteY125" fmla="*/ 3620 h 705914"/>
                  <a:gd name="connsiteX126" fmla="*/ 290278 w 705986"/>
                  <a:gd name="connsiteY126" fmla="*/ 5658 h 705914"/>
                  <a:gd name="connsiteX127" fmla="*/ 277915 w 705986"/>
                  <a:gd name="connsiteY127" fmla="*/ 8072 h 705914"/>
                  <a:gd name="connsiteX128" fmla="*/ 265637 w 705986"/>
                  <a:gd name="connsiteY128" fmla="*/ 10898 h 705914"/>
                  <a:gd name="connsiteX129" fmla="*/ 253514 w 705986"/>
                  <a:gd name="connsiteY129" fmla="*/ 14305 h 705914"/>
                  <a:gd name="connsiteX130" fmla="*/ 247469 w 705986"/>
                  <a:gd name="connsiteY130" fmla="*/ 16052 h 705914"/>
                  <a:gd name="connsiteX131" fmla="*/ 241510 w 705986"/>
                  <a:gd name="connsiteY131" fmla="*/ 18073 h 705914"/>
                  <a:gd name="connsiteX132" fmla="*/ 235551 w 705986"/>
                  <a:gd name="connsiteY132" fmla="*/ 20093 h 705914"/>
                  <a:gd name="connsiteX133" fmla="*/ 229627 w 705986"/>
                  <a:gd name="connsiteY133" fmla="*/ 22216 h 705914"/>
                  <a:gd name="connsiteX134" fmla="*/ 217914 w 705986"/>
                  <a:gd name="connsiteY134" fmla="*/ 26840 h 705914"/>
                  <a:gd name="connsiteX135" fmla="*/ 212126 w 705986"/>
                  <a:gd name="connsiteY135" fmla="*/ 29323 h 705914"/>
                  <a:gd name="connsiteX136" fmla="*/ 206390 w 705986"/>
                  <a:gd name="connsiteY136" fmla="*/ 31925 h 705914"/>
                  <a:gd name="connsiteX137" fmla="*/ 200654 w 705986"/>
                  <a:gd name="connsiteY137" fmla="*/ 34511 h 705914"/>
                  <a:gd name="connsiteX138" fmla="*/ 195037 w 705986"/>
                  <a:gd name="connsiteY138" fmla="*/ 37354 h 705914"/>
                  <a:gd name="connsiteX139" fmla="*/ 183838 w 705986"/>
                  <a:gd name="connsiteY139" fmla="*/ 43141 h 705914"/>
                  <a:gd name="connsiteX140" fmla="*/ 172913 w 705986"/>
                  <a:gd name="connsiteY140" fmla="*/ 49426 h 705914"/>
                  <a:gd name="connsiteX141" fmla="*/ 170174 w 705986"/>
                  <a:gd name="connsiteY141" fmla="*/ 51001 h 705914"/>
                  <a:gd name="connsiteX142" fmla="*/ 167520 w 705986"/>
                  <a:gd name="connsiteY142" fmla="*/ 52696 h 705914"/>
                  <a:gd name="connsiteX143" fmla="*/ 162211 w 705986"/>
                  <a:gd name="connsiteY143" fmla="*/ 56104 h 705914"/>
                  <a:gd name="connsiteX144" fmla="*/ 151732 w 705986"/>
                  <a:gd name="connsiteY144" fmla="*/ 63090 h 705914"/>
                  <a:gd name="connsiteX145" fmla="*/ 141475 w 705986"/>
                  <a:gd name="connsiteY145" fmla="*/ 70402 h 705914"/>
                  <a:gd name="connsiteX146" fmla="*/ 121920 w 705986"/>
                  <a:gd name="connsiteY146" fmla="*/ 86310 h 705914"/>
                  <a:gd name="connsiteX147" fmla="*/ 103409 w 705986"/>
                  <a:gd name="connsiteY147" fmla="*/ 103416 h 705914"/>
                  <a:gd name="connsiteX148" fmla="*/ 86303 w 705986"/>
                  <a:gd name="connsiteY148" fmla="*/ 121927 h 705914"/>
                  <a:gd name="connsiteX149" fmla="*/ 70395 w 705986"/>
                  <a:gd name="connsiteY149" fmla="*/ 141482 h 705914"/>
                  <a:gd name="connsiteX150" fmla="*/ 63083 w 705986"/>
                  <a:gd name="connsiteY150" fmla="*/ 151739 h 705914"/>
                  <a:gd name="connsiteX151" fmla="*/ 56097 w 705986"/>
                  <a:gd name="connsiteY151" fmla="*/ 162218 h 705914"/>
                  <a:gd name="connsiteX152" fmla="*/ 52689 w 705986"/>
                  <a:gd name="connsiteY152" fmla="*/ 167527 h 705914"/>
                  <a:gd name="connsiteX153" fmla="*/ 50994 w 705986"/>
                  <a:gd name="connsiteY153" fmla="*/ 170181 h 705914"/>
                  <a:gd name="connsiteX154" fmla="*/ 49419 w 705986"/>
                  <a:gd name="connsiteY154" fmla="*/ 172920 h 705914"/>
                  <a:gd name="connsiteX155" fmla="*/ 43134 w 705986"/>
                  <a:gd name="connsiteY155" fmla="*/ 183845 h 705914"/>
                  <a:gd name="connsiteX156" fmla="*/ 37346 w 705986"/>
                  <a:gd name="connsiteY156" fmla="*/ 195044 h 705914"/>
                  <a:gd name="connsiteX157" fmla="*/ 34504 w 705986"/>
                  <a:gd name="connsiteY157" fmla="*/ 200661 h 705914"/>
                  <a:gd name="connsiteX158" fmla="*/ 31918 w 705986"/>
                  <a:gd name="connsiteY158" fmla="*/ 206397 h 705914"/>
                  <a:gd name="connsiteX159" fmla="*/ 29315 w 705986"/>
                  <a:gd name="connsiteY159" fmla="*/ 212133 h 705914"/>
                  <a:gd name="connsiteX160" fmla="*/ 26833 w 705986"/>
                  <a:gd name="connsiteY160" fmla="*/ 217921 h 705914"/>
                  <a:gd name="connsiteX161" fmla="*/ 22209 w 705986"/>
                  <a:gd name="connsiteY161" fmla="*/ 229634 h 705914"/>
                  <a:gd name="connsiteX162" fmla="*/ 20086 w 705986"/>
                  <a:gd name="connsiteY162" fmla="*/ 235558 h 705914"/>
                  <a:gd name="connsiteX163" fmla="*/ 18065 w 705986"/>
                  <a:gd name="connsiteY163" fmla="*/ 241517 h 705914"/>
                  <a:gd name="connsiteX164" fmla="*/ 16045 w 705986"/>
                  <a:gd name="connsiteY164" fmla="*/ 247476 h 705914"/>
                  <a:gd name="connsiteX165" fmla="*/ 14298 w 705986"/>
                  <a:gd name="connsiteY165" fmla="*/ 253521 h 705914"/>
                  <a:gd name="connsiteX166" fmla="*/ 10891 w 705986"/>
                  <a:gd name="connsiteY166" fmla="*/ 265644 h 705914"/>
                  <a:gd name="connsiteX167" fmla="*/ 8065 w 705986"/>
                  <a:gd name="connsiteY167" fmla="*/ 277922 h 705914"/>
                  <a:gd name="connsiteX168" fmla="*/ 5651 w 705986"/>
                  <a:gd name="connsiteY168" fmla="*/ 290285 h 705914"/>
                  <a:gd name="connsiteX169" fmla="*/ 3613 w 705986"/>
                  <a:gd name="connsiteY169" fmla="*/ 302717 h 705914"/>
                  <a:gd name="connsiteX170" fmla="*/ 2021 w 705986"/>
                  <a:gd name="connsiteY170" fmla="*/ 315217 h 705914"/>
                  <a:gd name="connsiteX171" fmla="*/ 993 w 705986"/>
                  <a:gd name="connsiteY171" fmla="*/ 327785 h 705914"/>
                  <a:gd name="connsiteX172" fmla="*/ 514 w 705986"/>
                  <a:gd name="connsiteY172" fmla="*/ 334070 h 705914"/>
                  <a:gd name="connsiteX173" fmla="*/ 325 w 705986"/>
                  <a:gd name="connsiteY173" fmla="*/ 340371 h 705914"/>
                  <a:gd name="connsiteX174" fmla="*/ 0 w 705986"/>
                  <a:gd name="connsiteY174" fmla="*/ 352974 h 705914"/>
                  <a:gd name="connsiteX175" fmla="*/ 325 w 705986"/>
                  <a:gd name="connsiteY175" fmla="*/ 365577 h 705914"/>
                  <a:gd name="connsiteX176" fmla="*/ 514 w 705986"/>
                  <a:gd name="connsiteY176" fmla="*/ 371878 h 705914"/>
                  <a:gd name="connsiteX177" fmla="*/ 49282 w 705986"/>
                  <a:gd name="connsiteY177" fmla="*/ 257819 h 705914"/>
                  <a:gd name="connsiteX178" fmla="*/ 51114 w 705986"/>
                  <a:gd name="connsiteY178" fmla="*/ 252442 h 705914"/>
                  <a:gd name="connsiteX179" fmla="*/ 52929 w 705986"/>
                  <a:gd name="connsiteY179" fmla="*/ 247065 h 705914"/>
                  <a:gd name="connsiteX180" fmla="*/ 54830 w 705986"/>
                  <a:gd name="connsiteY180" fmla="*/ 241723 h 705914"/>
                  <a:gd name="connsiteX181" fmla="*/ 58991 w 705986"/>
                  <a:gd name="connsiteY181" fmla="*/ 231175 h 705914"/>
                  <a:gd name="connsiteX182" fmla="*/ 61234 w 705986"/>
                  <a:gd name="connsiteY182" fmla="*/ 225969 h 705914"/>
                  <a:gd name="connsiteX183" fmla="*/ 63580 w 705986"/>
                  <a:gd name="connsiteY183" fmla="*/ 220798 h 705914"/>
                  <a:gd name="connsiteX184" fmla="*/ 65908 w 705986"/>
                  <a:gd name="connsiteY184" fmla="*/ 215626 h 705914"/>
                  <a:gd name="connsiteX185" fmla="*/ 68477 w 705986"/>
                  <a:gd name="connsiteY185" fmla="*/ 210558 h 705914"/>
                  <a:gd name="connsiteX186" fmla="*/ 73683 w 705986"/>
                  <a:gd name="connsiteY186" fmla="*/ 200472 h 705914"/>
                  <a:gd name="connsiteX187" fmla="*/ 79351 w 705986"/>
                  <a:gd name="connsiteY187" fmla="*/ 190626 h 705914"/>
                  <a:gd name="connsiteX188" fmla="*/ 80755 w 705986"/>
                  <a:gd name="connsiteY188" fmla="*/ 188160 h 705914"/>
                  <a:gd name="connsiteX189" fmla="*/ 82279 w 705986"/>
                  <a:gd name="connsiteY189" fmla="*/ 185763 h 705914"/>
                  <a:gd name="connsiteX190" fmla="*/ 85344 w 705986"/>
                  <a:gd name="connsiteY190" fmla="*/ 180986 h 705914"/>
                  <a:gd name="connsiteX191" fmla="*/ 91645 w 705986"/>
                  <a:gd name="connsiteY191" fmla="*/ 171533 h 705914"/>
                  <a:gd name="connsiteX192" fmla="*/ 98238 w 705986"/>
                  <a:gd name="connsiteY192" fmla="*/ 162270 h 705914"/>
                  <a:gd name="connsiteX193" fmla="*/ 112587 w 705986"/>
                  <a:gd name="connsiteY193" fmla="*/ 144632 h 705914"/>
                  <a:gd name="connsiteX194" fmla="*/ 127998 w 705986"/>
                  <a:gd name="connsiteY194" fmla="*/ 127920 h 705914"/>
                  <a:gd name="connsiteX195" fmla="*/ 144711 w 705986"/>
                  <a:gd name="connsiteY195" fmla="*/ 112509 h 705914"/>
                  <a:gd name="connsiteX196" fmla="*/ 162348 w 705986"/>
                  <a:gd name="connsiteY196" fmla="*/ 98159 h 705914"/>
                  <a:gd name="connsiteX197" fmla="*/ 171612 w 705986"/>
                  <a:gd name="connsiteY197" fmla="*/ 91567 h 705914"/>
                  <a:gd name="connsiteX198" fmla="*/ 181064 w 705986"/>
                  <a:gd name="connsiteY198" fmla="*/ 85265 h 705914"/>
                  <a:gd name="connsiteX199" fmla="*/ 185842 w 705986"/>
                  <a:gd name="connsiteY199" fmla="*/ 82200 h 705914"/>
                  <a:gd name="connsiteX200" fmla="*/ 188239 w 705986"/>
                  <a:gd name="connsiteY200" fmla="*/ 80676 h 705914"/>
                  <a:gd name="connsiteX201" fmla="*/ 190705 w 705986"/>
                  <a:gd name="connsiteY201" fmla="*/ 79272 h 705914"/>
                  <a:gd name="connsiteX202" fmla="*/ 200551 w 705986"/>
                  <a:gd name="connsiteY202" fmla="*/ 73604 h 705914"/>
                  <a:gd name="connsiteX203" fmla="*/ 210637 w 705986"/>
                  <a:gd name="connsiteY203" fmla="*/ 68399 h 705914"/>
                  <a:gd name="connsiteX204" fmla="*/ 215705 w 705986"/>
                  <a:gd name="connsiteY204" fmla="*/ 65830 h 705914"/>
                  <a:gd name="connsiteX205" fmla="*/ 220877 w 705986"/>
                  <a:gd name="connsiteY205" fmla="*/ 63501 h 705914"/>
                  <a:gd name="connsiteX206" fmla="*/ 226048 w 705986"/>
                  <a:gd name="connsiteY206" fmla="*/ 61155 h 705914"/>
                  <a:gd name="connsiteX207" fmla="*/ 231253 w 705986"/>
                  <a:gd name="connsiteY207" fmla="*/ 58912 h 705914"/>
                  <a:gd name="connsiteX208" fmla="*/ 241802 w 705986"/>
                  <a:gd name="connsiteY208" fmla="*/ 54751 h 705914"/>
                  <a:gd name="connsiteX209" fmla="*/ 247144 w 705986"/>
                  <a:gd name="connsiteY209" fmla="*/ 52850 h 705914"/>
                  <a:gd name="connsiteX210" fmla="*/ 252521 w 705986"/>
                  <a:gd name="connsiteY210" fmla="*/ 51035 h 705914"/>
                  <a:gd name="connsiteX211" fmla="*/ 257898 w 705986"/>
                  <a:gd name="connsiteY211" fmla="*/ 49203 h 705914"/>
                  <a:gd name="connsiteX212" fmla="*/ 263343 w 705986"/>
                  <a:gd name="connsiteY212" fmla="*/ 47645 h 705914"/>
                  <a:gd name="connsiteX213" fmla="*/ 274268 w 705986"/>
                  <a:gd name="connsiteY213" fmla="*/ 44580 h 705914"/>
                  <a:gd name="connsiteX214" fmla="*/ 285330 w 705986"/>
                  <a:gd name="connsiteY214" fmla="*/ 42028 h 705914"/>
                  <a:gd name="connsiteX215" fmla="*/ 296460 w 705986"/>
                  <a:gd name="connsiteY215" fmla="*/ 39854 h 705914"/>
                  <a:gd name="connsiteX216" fmla="*/ 307659 w 705986"/>
                  <a:gd name="connsiteY216" fmla="*/ 38004 h 705914"/>
                  <a:gd name="connsiteX217" fmla="*/ 318926 w 705986"/>
                  <a:gd name="connsiteY217" fmla="*/ 36566 h 705914"/>
                  <a:gd name="connsiteX218" fmla="*/ 330262 w 705986"/>
                  <a:gd name="connsiteY218" fmla="*/ 35641 h 705914"/>
                  <a:gd name="connsiteX219" fmla="*/ 335930 w 705986"/>
                  <a:gd name="connsiteY219" fmla="*/ 35196 h 705914"/>
                  <a:gd name="connsiteX220" fmla="*/ 341615 w 705986"/>
                  <a:gd name="connsiteY220" fmla="*/ 35025 h 705914"/>
                  <a:gd name="connsiteX221" fmla="*/ 353002 w 705986"/>
                  <a:gd name="connsiteY221" fmla="*/ 34717 h 705914"/>
                  <a:gd name="connsiteX222" fmla="*/ 364389 w 705986"/>
                  <a:gd name="connsiteY222" fmla="*/ 35025 h 705914"/>
                  <a:gd name="connsiteX223" fmla="*/ 370074 w 705986"/>
                  <a:gd name="connsiteY223" fmla="*/ 35196 h 705914"/>
                  <a:gd name="connsiteX224" fmla="*/ 375742 w 705986"/>
                  <a:gd name="connsiteY224" fmla="*/ 35641 h 705914"/>
                  <a:gd name="connsiteX225" fmla="*/ 387078 w 705986"/>
                  <a:gd name="connsiteY225" fmla="*/ 36566 h 705914"/>
                  <a:gd name="connsiteX226" fmla="*/ 398345 w 705986"/>
                  <a:gd name="connsiteY226" fmla="*/ 38004 h 705914"/>
                  <a:gd name="connsiteX227" fmla="*/ 409544 w 705986"/>
                  <a:gd name="connsiteY227" fmla="*/ 39854 h 705914"/>
                  <a:gd name="connsiteX228" fmla="*/ 420674 w 705986"/>
                  <a:gd name="connsiteY228" fmla="*/ 42028 h 705914"/>
                  <a:gd name="connsiteX229" fmla="*/ 431736 w 705986"/>
                  <a:gd name="connsiteY229" fmla="*/ 44580 h 705914"/>
                  <a:gd name="connsiteX230" fmla="*/ 442661 w 705986"/>
                  <a:gd name="connsiteY230" fmla="*/ 47645 h 705914"/>
                  <a:gd name="connsiteX231" fmla="*/ 448106 w 705986"/>
                  <a:gd name="connsiteY231" fmla="*/ 49203 h 705914"/>
                  <a:gd name="connsiteX232" fmla="*/ 453483 w 705986"/>
                  <a:gd name="connsiteY232" fmla="*/ 51035 h 705914"/>
                  <a:gd name="connsiteX233" fmla="*/ 458860 w 705986"/>
                  <a:gd name="connsiteY233" fmla="*/ 52850 h 705914"/>
                  <a:gd name="connsiteX234" fmla="*/ 464202 w 705986"/>
                  <a:gd name="connsiteY234" fmla="*/ 54751 h 705914"/>
                  <a:gd name="connsiteX235" fmla="*/ 474750 w 705986"/>
                  <a:gd name="connsiteY235" fmla="*/ 58912 h 705914"/>
                  <a:gd name="connsiteX236" fmla="*/ 479956 w 705986"/>
                  <a:gd name="connsiteY236" fmla="*/ 61155 h 705914"/>
                  <a:gd name="connsiteX237" fmla="*/ 485127 w 705986"/>
                  <a:gd name="connsiteY237" fmla="*/ 63501 h 705914"/>
                  <a:gd name="connsiteX238" fmla="*/ 490298 w 705986"/>
                  <a:gd name="connsiteY238" fmla="*/ 65830 h 705914"/>
                  <a:gd name="connsiteX239" fmla="*/ 495367 w 705986"/>
                  <a:gd name="connsiteY239" fmla="*/ 68399 h 705914"/>
                  <a:gd name="connsiteX240" fmla="*/ 505453 w 705986"/>
                  <a:gd name="connsiteY240" fmla="*/ 73604 h 705914"/>
                  <a:gd name="connsiteX241" fmla="*/ 515299 w 705986"/>
                  <a:gd name="connsiteY241" fmla="*/ 79272 h 705914"/>
                  <a:gd name="connsiteX242" fmla="*/ 517764 w 705986"/>
                  <a:gd name="connsiteY242" fmla="*/ 80676 h 705914"/>
                  <a:gd name="connsiteX243" fmla="*/ 520162 w 705986"/>
                  <a:gd name="connsiteY243" fmla="*/ 82200 h 705914"/>
                  <a:gd name="connsiteX244" fmla="*/ 524939 w 705986"/>
                  <a:gd name="connsiteY244" fmla="*/ 85265 h 705914"/>
                  <a:gd name="connsiteX245" fmla="*/ 534391 w 705986"/>
                  <a:gd name="connsiteY245" fmla="*/ 91567 h 705914"/>
                  <a:gd name="connsiteX246" fmla="*/ 543655 w 705986"/>
                  <a:gd name="connsiteY246" fmla="*/ 98159 h 705914"/>
                  <a:gd name="connsiteX247" fmla="*/ 561293 w 705986"/>
                  <a:gd name="connsiteY247" fmla="*/ 112509 h 705914"/>
                  <a:gd name="connsiteX248" fmla="*/ 578005 w 705986"/>
                  <a:gd name="connsiteY248" fmla="*/ 127920 h 705914"/>
                  <a:gd name="connsiteX249" fmla="*/ 593416 w 705986"/>
                  <a:gd name="connsiteY249" fmla="*/ 144632 h 705914"/>
                  <a:gd name="connsiteX250" fmla="*/ 607766 w 705986"/>
                  <a:gd name="connsiteY250" fmla="*/ 162270 h 705914"/>
                  <a:gd name="connsiteX251" fmla="*/ 614358 w 705986"/>
                  <a:gd name="connsiteY251" fmla="*/ 171533 h 705914"/>
                  <a:gd name="connsiteX252" fmla="*/ 620660 w 705986"/>
                  <a:gd name="connsiteY252" fmla="*/ 180986 h 705914"/>
                  <a:gd name="connsiteX253" fmla="*/ 623725 w 705986"/>
                  <a:gd name="connsiteY253" fmla="*/ 185763 h 705914"/>
                  <a:gd name="connsiteX254" fmla="*/ 625249 w 705986"/>
                  <a:gd name="connsiteY254" fmla="*/ 188160 h 705914"/>
                  <a:gd name="connsiteX255" fmla="*/ 626653 w 705986"/>
                  <a:gd name="connsiteY255" fmla="*/ 190626 h 705914"/>
                  <a:gd name="connsiteX256" fmla="*/ 632321 w 705986"/>
                  <a:gd name="connsiteY256" fmla="*/ 200472 h 705914"/>
                  <a:gd name="connsiteX257" fmla="*/ 637526 w 705986"/>
                  <a:gd name="connsiteY257" fmla="*/ 210558 h 705914"/>
                  <a:gd name="connsiteX258" fmla="*/ 640095 w 705986"/>
                  <a:gd name="connsiteY258" fmla="*/ 215626 h 705914"/>
                  <a:gd name="connsiteX259" fmla="*/ 642424 w 705986"/>
                  <a:gd name="connsiteY259" fmla="*/ 220798 h 705914"/>
                  <a:gd name="connsiteX260" fmla="*/ 644770 w 705986"/>
                  <a:gd name="connsiteY260" fmla="*/ 225969 h 705914"/>
                  <a:gd name="connsiteX261" fmla="*/ 647013 w 705986"/>
                  <a:gd name="connsiteY261" fmla="*/ 231175 h 705914"/>
                  <a:gd name="connsiteX262" fmla="*/ 651174 w 705986"/>
                  <a:gd name="connsiteY262" fmla="*/ 241723 h 705914"/>
                  <a:gd name="connsiteX263" fmla="*/ 653075 w 705986"/>
                  <a:gd name="connsiteY263" fmla="*/ 247065 h 705914"/>
                  <a:gd name="connsiteX264" fmla="*/ 654890 w 705986"/>
                  <a:gd name="connsiteY264" fmla="*/ 252442 h 705914"/>
                  <a:gd name="connsiteX265" fmla="*/ 656722 w 705986"/>
                  <a:gd name="connsiteY265" fmla="*/ 257819 h 705914"/>
                  <a:gd name="connsiteX266" fmla="*/ 658280 w 705986"/>
                  <a:gd name="connsiteY266" fmla="*/ 263264 h 705914"/>
                  <a:gd name="connsiteX267" fmla="*/ 661345 w 705986"/>
                  <a:gd name="connsiteY267" fmla="*/ 274189 h 705914"/>
                  <a:gd name="connsiteX268" fmla="*/ 663897 w 705986"/>
                  <a:gd name="connsiteY268" fmla="*/ 285251 h 705914"/>
                  <a:gd name="connsiteX269" fmla="*/ 666071 w 705986"/>
                  <a:gd name="connsiteY269" fmla="*/ 296381 h 705914"/>
                  <a:gd name="connsiteX270" fmla="*/ 667921 w 705986"/>
                  <a:gd name="connsiteY270" fmla="*/ 307580 h 705914"/>
                  <a:gd name="connsiteX271" fmla="*/ 669359 w 705986"/>
                  <a:gd name="connsiteY271" fmla="*/ 318847 h 705914"/>
                  <a:gd name="connsiteX272" fmla="*/ 670284 w 705986"/>
                  <a:gd name="connsiteY272" fmla="*/ 330183 h 705914"/>
                  <a:gd name="connsiteX273" fmla="*/ 670729 w 705986"/>
                  <a:gd name="connsiteY273" fmla="*/ 335851 h 705914"/>
                  <a:gd name="connsiteX274" fmla="*/ 670900 w 705986"/>
                  <a:gd name="connsiteY274" fmla="*/ 341536 h 705914"/>
                  <a:gd name="connsiteX275" fmla="*/ 671208 w 705986"/>
                  <a:gd name="connsiteY275" fmla="*/ 352923 h 705914"/>
                  <a:gd name="connsiteX276" fmla="*/ 670900 w 705986"/>
                  <a:gd name="connsiteY276" fmla="*/ 364310 h 705914"/>
                  <a:gd name="connsiteX277" fmla="*/ 670729 w 705986"/>
                  <a:gd name="connsiteY277" fmla="*/ 369995 h 705914"/>
                  <a:gd name="connsiteX278" fmla="*/ 670284 w 705986"/>
                  <a:gd name="connsiteY278" fmla="*/ 375663 h 705914"/>
                  <a:gd name="connsiteX279" fmla="*/ 669359 w 705986"/>
                  <a:gd name="connsiteY279" fmla="*/ 386999 h 705914"/>
                  <a:gd name="connsiteX280" fmla="*/ 667921 w 705986"/>
                  <a:gd name="connsiteY280" fmla="*/ 398266 h 705914"/>
                  <a:gd name="connsiteX281" fmla="*/ 666071 w 705986"/>
                  <a:gd name="connsiteY281" fmla="*/ 409465 h 705914"/>
                  <a:gd name="connsiteX282" fmla="*/ 663897 w 705986"/>
                  <a:gd name="connsiteY282" fmla="*/ 420595 h 705914"/>
                  <a:gd name="connsiteX283" fmla="*/ 661345 w 705986"/>
                  <a:gd name="connsiteY283" fmla="*/ 431657 h 705914"/>
                  <a:gd name="connsiteX284" fmla="*/ 658280 w 705986"/>
                  <a:gd name="connsiteY284" fmla="*/ 442581 h 705914"/>
                  <a:gd name="connsiteX285" fmla="*/ 656722 w 705986"/>
                  <a:gd name="connsiteY285" fmla="*/ 448027 h 705914"/>
                  <a:gd name="connsiteX286" fmla="*/ 654890 w 705986"/>
                  <a:gd name="connsiteY286" fmla="*/ 453404 h 705914"/>
                  <a:gd name="connsiteX287" fmla="*/ 653075 w 705986"/>
                  <a:gd name="connsiteY287" fmla="*/ 458780 h 705914"/>
                  <a:gd name="connsiteX288" fmla="*/ 651174 w 705986"/>
                  <a:gd name="connsiteY288" fmla="*/ 464123 h 705914"/>
                  <a:gd name="connsiteX289" fmla="*/ 647013 w 705986"/>
                  <a:gd name="connsiteY289" fmla="*/ 474671 h 705914"/>
                  <a:gd name="connsiteX290" fmla="*/ 644770 w 705986"/>
                  <a:gd name="connsiteY290" fmla="*/ 479876 h 705914"/>
                  <a:gd name="connsiteX291" fmla="*/ 642424 w 705986"/>
                  <a:gd name="connsiteY291" fmla="*/ 485048 h 705914"/>
                  <a:gd name="connsiteX292" fmla="*/ 640095 w 705986"/>
                  <a:gd name="connsiteY292" fmla="*/ 490219 h 705914"/>
                  <a:gd name="connsiteX293" fmla="*/ 637526 w 705986"/>
                  <a:gd name="connsiteY293" fmla="*/ 495288 h 705914"/>
                  <a:gd name="connsiteX294" fmla="*/ 632321 w 705986"/>
                  <a:gd name="connsiteY294" fmla="*/ 505373 h 705914"/>
                  <a:gd name="connsiteX295" fmla="*/ 626653 w 705986"/>
                  <a:gd name="connsiteY295" fmla="*/ 515219 h 705914"/>
                  <a:gd name="connsiteX296" fmla="*/ 625249 w 705986"/>
                  <a:gd name="connsiteY296" fmla="*/ 517685 h 705914"/>
                  <a:gd name="connsiteX297" fmla="*/ 623725 w 705986"/>
                  <a:gd name="connsiteY297" fmla="*/ 520082 h 705914"/>
                  <a:gd name="connsiteX298" fmla="*/ 620660 w 705986"/>
                  <a:gd name="connsiteY298" fmla="*/ 524860 h 705914"/>
                  <a:gd name="connsiteX299" fmla="*/ 614358 w 705986"/>
                  <a:gd name="connsiteY299" fmla="*/ 534312 h 705914"/>
                  <a:gd name="connsiteX300" fmla="*/ 607766 w 705986"/>
                  <a:gd name="connsiteY300" fmla="*/ 543576 h 705914"/>
                  <a:gd name="connsiteX301" fmla="*/ 593416 w 705986"/>
                  <a:gd name="connsiteY301" fmla="*/ 561213 h 705914"/>
                  <a:gd name="connsiteX302" fmla="*/ 578005 w 705986"/>
                  <a:gd name="connsiteY302" fmla="*/ 577926 h 705914"/>
                  <a:gd name="connsiteX303" fmla="*/ 561293 w 705986"/>
                  <a:gd name="connsiteY303" fmla="*/ 593337 h 705914"/>
                  <a:gd name="connsiteX304" fmla="*/ 543655 w 705986"/>
                  <a:gd name="connsiteY304" fmla="*/ 607686 h 705914"/>
                  <a:gd name="connsiteX305" fmla="*/ 534391 w 705986"/>
                  <a:gd name="connsiteY305" fmla="*/ 614279 h 705914"/>
                  <a:gd name="connsiteX306" fmla="*/ 524939 w 705986"/>
                  <a:gd name="connsiteY306" fmla="*/ 620580 h 705914"/>
                  <a:gd name="connsiteX307" fmla="*/ 520162 w 705986"/>
                  <a:gd name="connsiteY307" fmla="*/ 623645 h 705914"/>
                  <a:gd name="connsiteX308" fmla="*/ 517764 w 705986"/>
                  <a:gd name="connsiteY308" fmla="*/ 625169 h 705914"/>
                  <a:gd name="connsiteX309" fmla="*/ 515299 w 705986"/>
                  <a:gd name="connsiteY309" fmla="*/ 626574 h 705914"/>
                  <a:gd name="connsiteX310" fmla="*/ 505453 w 705986"/>
                  <a:gd name="connsiteY310" fmla="*/ 632241 h 705914"/>
                  <a:gd name="connsiteX311" fmla="*/ 495367 w 705986"/>
                  <a:gd name="connsiteY311" fmla="*/ 637447 h 705914"/>
                  <a:gd name="connsiteX312" fmla="*/ 490298 w 705986"/>
                  <a:gd name="connsiteY312" fmla="*/ 640015 h 705914"/>
                  <a:gd name="connsiteX313" fmla="*/ 485127 w 705986"/>
                  <a:gd name="connsiteY313" fmla="*/ 642344 h 705914"/>
                  <a:gd name="connsiteX314" fmla="*/ 479956 w 705986"/>
                  <a:gd name="connsiteY314" fmla="*/ 644690 h 705914"/>
                  <a:gd name="connsiteX315" fmla="*/ 474750 w 705986"/>
                  <a:gd name="connsiteY315" fmla="*/ 646933 h 705914"/>
                  <a:gd name="connsiteX316" fmla="*/ 464202 w 705986"/>
                  <a:gd name="connsiteY316" fmla="*/ 651094 h 705914"/>
                  <a:gd name="connsiteX317" fmla="*/ 458860 w 705986"/>
                  <a:gd name="connsiteY317" fmla="*/ 652995 h 705914"/>
                  <a:gd name="connsiteX318" fmla="*/ 453483 w 705986"/>
                  <a:gd name="connsiteY318" fmla="*/ 654810 h 705914"/>
                  <a:gd name="connsiteX319" fmla="*/ 448106 w 705986"/>
                  <a:gd name="connsiteY319" fmla="*/ 656642 h 705914"/>
                  <a:gd name="connsiteX320" fmla="*/ 442661 w 705986"/>
                  <a:gd name="connsiteY320" fmla="*/ 658201 h 705914"/>
                  <a:gd name="connsiteX321" fmla="*/ 431736 w 705986"/>
                  <a:gd name="connsiteY321" fmla="*/ 661266 h 705914"/>
                  <a:gd name="connsiteX322" fmla="*/ 420674 w 705986"/>
                  <a:gd name="connsiteY322" fmla="*/ 663817 h 705914"/>
                  <a:gd name="connsiteX323" fmla="*/ 409544 w 705986"/>
                  <a:gd name="connsiteY323" fmla="*/ 665992 h 705914"/>
                  <a:gd name="connsiteX324" fmla="*/ 398345 w 705986"/>
                  <a:gd name="connsiteY324" fmla="*/ 667841 h 705914"/>
                  <a:gd name="connsiteX325" fmla="*/ 387078 w 705986"/>
                  <a:gd name="connsiteY325" fmla="*/ 669280 h 705914"/>
                  <a:gd name="connsiteX326" fmla="*/ 375742 w 705986"/>
                  <a:gd name="connsiteY326" fmla="*/ 670204 h 705914"/>
                  <a:gd name="connsiteX327" fmla="*/ 370074 w 705986"/>
                  <a:gd name="connsiteY327" fmla="*/ 670649 h 705914"/>
                  <a:gd name="connsiteX328" fmla="*/ 364389 w 705986"/>
                  <a:gd name="connsiteY328" fmla="*/ 670821 h 705914"/>
                  <a:gd name="connsiteX329" fmla="*/ 353002 w 705986"/>
                  <a:gd name="connsiteY329" fmla="*/ 671129 h 705914"/>
                  <a:gd name="connsiteX330" fmla="*/ 341615 w 705986"/>
                  <a:gd name="connsiteY330" fmla="*/ 670821 h 705914"/>
                  <a:gd name="connsiteX331" fmla="*/ 335930 w 705986"/>
                  <a:gd name="connsiteY331" fmla="*/ 670649 h 705914"/>
                  <a:gd name="connsiteX332" fmla="*/ 330262 w 705986"/>
                  <a:gd name="connsiteY332" fmla="*/ 670204 h 705914"/>
                  <a:gd name="connsiteX333" fmla="*/ 318926 w 705986"/>
                  <a:gd name="connsiteY333" fmla="*/ 669280 h 705914"/>
                  <a:gd name="connsiteX334" fmla="*/ 307659 w 705986"/>
                  <a:gd name="connsiteY334" fmla="*/ 667841 h 705914"/>
                  <a:gd name="connsiteX335" fmla="*/ 296460 w 705986"/>
                  <a:gd name="connsiteY335" fmla="*/ 665992 h 705914"/>
                  <a:gd name="connsiteX336" fmla="*/ 285330 w 705986"/>
                  <a:gd name="connsiteY336" fmla="*/ 663817 h 705914"/>
                  <a:gd name="connsiteX337" fmla="*/ 274268 w 705986"/>
                  <a:gd name="connsiteY337" fmla="*/ 661266 h 705914"/>
                  <a:gd name="connsiteX338" fmla="*/ 263343 w 705986"/>
                  <a:gd name="connsiteY338" fmla="*/ 658201 h 705914"/>
                  <a:gd name="connsiteX339" fmla="*/ 257898 w 705986"/>
                  <a:gd name="connsiteY339" fmla="*/ 656642 h 705914"/>
                  <a:gd name="connsiteX340" fmla="*/ 252521 w 705986"/>
                  <a:gd name="connsiteY340" fmla="*/ 654810 h 705914"/>
                  <a:gd name="connsiteX341" fmla="*/ 247144 w 705986"/>
                  <a:gd name="connsiteY341" fmla="*/ 652995 h 705914"/>
                  <a:gd name="connsiteX342" fmla="*/ 241802 w 705986"/>
                  <a:gd name="connsiteY342" fmla="*/ 651094 h 705914"/>
                  <a:gd name="connsiteX343" fmla="*/ 231253 w 705986"/>
                  <a:gd name="connsiteY343" fmla="*/ 646933 h 705914"/>
                  <a:gd name="connsiteX344" fmla="*/ 226048 w 705986"/>
                  <a:gd name="connsiteY344" fmla="*/ 644690 h 705914"/>
                  <a:gd name="connsiteX345" fmla="*/ 220877 w 705986"/>
                  <a:gd name="connsiteY345" fmla="*/ 642344 h 705914"/>
                  <a:gd name="connsiteX346" fmla="*/ 215705 w 705986"/>
                  <a:gd name="connsiteY346" fmla="*/ 640015 h 705914"/>
                  <a:gd name="connsiteX347" fmla="*/ 210637 w 705986"/>
                  <a:gd name="connsiteY347" fmla="*/ 637447 h 705914"/>
                  <a:gd name="connsiteX348" fmla="*/ 200551 w 705986"/>
                  <a:gd name="connsiteY348" fmla="*/ 632241 h 705914"/>
                  <a:gd name="connsiteX349" fmla="*/ 190705 w 705986"/>
                  <a:gd name="connsiteY349" fmla="*/ 626574 h 705914"/>
                  <a:gd name="connsiteX350" fmla="*/ 188239 w 705986"/>
                  <a:gd name="connsiteY350" fmla="*/ 625169 h 705914"/>
                  <a:gd name="connsiteX351" fmla="*/ 185842 w 705986"/>
                  <a:gd name="connsiteY351" fmla="*/ 623645 h 705914"/>
                  <a:gd name="connsiteX352" fmla="*/ 181064 w 705986"/>
                  <a:gd name="connsiteY352" fmla="*/ 620580 h 705914"/>
                  <a:gd name="connsiteX353" fmla="*/ 171612 w 705986"/>
                  <a:gd name="connsiteY353" fmla="*/ 614279 h 705914"/>
                  <a:gd name="connsiteX354" fmla="*/ 162348 w 705986"/>
                  <a:gd name="connsiteY354" fmla="*/ 607686 h 705914"/>
                  <a:gd name="connsiteX355" fmla="*/ 144711 w 705986"/>
                  <a:gd name="connsiteY355" fmla="*/ 593337 h 705914"/>
                  <a:gd name="connsiteX356" fmla="*/ 127998 w 705986"/>
                  <a:gd name="connsiteY356" fmla="*/ 577926 h 705914"/>
                  <a:gd name="connsiteX357" fmla="*/ 112587 w 705986"/>
                  <a:gd name="connsiteY357" fmla="*/ 561213 h 705914"/>
                  <a:gd name="connsiteX358" fmla="*/ 98238 w 705986"/>
                  <a:gd name="connsiteY358" fmla="*/ 543576 h 705914"/>
                  <a:gd name="connsiteX359" fmla="*/ 91645 w 705986"/>
                  <a:gd name="connsiteY359" fmla="*/ 534312 h 705914"/>
                  <a:gd name="connsiteX360" fmla="*/ 85344 w 705986"/>
                  <a:gd name="connsiteY360" fmla="*/ 524860 h 705914"/>
                  <a:gd name="connsiteX361" fmla="*/ 82279 w 705986"/>
                  <a:gd name="connsiteY361" fmla="*/ 520082 h 705914"/>
                  <a:gd name="connsiteX362" fmla="*/ 80755 w 705986"/>
                  <a:gd name="connsiteY362" fmla="*/ 517685 h 705914"/>
                  <a:gd name="connsiteX363" fmla="*/ 79351 w 705986"/>
                  <a:gd name="connsiteY363" fmla="*/ 515219 h 705914"/>
                  <a:gd name="connsiteX364" fmla="*/ 73683 w 705986"/>
                  <a:gd name="connsiteY364" fmla="*/ 505373 h 705914"/>
                  <a:gd name="connsiteX365" fmla="*/ 68477 w 705986"/>
                  <a:gd name="connsiteY365" fmla="*/ 495288 h 705914"/>
                  <a:gd name="connsiteX366" fmla="*/ 65908 w 705986"/>
                  <a:gd name="connsiteY366" fmla="*/ 490219 h 705914"/>
                  <a:gd name="connsiteX367" fmla="*/ 63580 w 705986"/>
                  <a:gd name="connsiteY367" fmla="*/ 485048 h 705914"/>
                  <a:gd name="connsiteX368" fmla="*/ 61234 w 705986"/>
                  <a:gd name="connsiteY368" fmla="*/ 479876 h 705914"/>
                  <a:gd name="connsiteX369" fmla="*/ 58991 w 705986"/>
                  <a:gd name="connsiteY369" fmla="*/ 474671 h 705914"/>
                  <a:gd name="connsiteX370" fmla="*/ 54830 w 705986"/>
                  <a:gd name="connsiteY370" fmla="*/ 464123 h 705914"/>
                  <a:gd name="connsiteX371" fmla="*/ 52929 w 705986"/>
                  <a:gd name="connsiteY371" fmla="*/ 458780 h 705914"/>
                  <a:gd name="connsiteX372" fmla="*/ 51114 w 705986"/>
                  <a:gd name="connsiteY372" fmla="*/ 453404 h 705914"/>
                  <a:gd name="connsiteX373" fmla="*/ 49282 w 705986"/>
                  <a:gd name="connsiteY373" fmla="*/ 448027 h 705914"/>
                  <a:gd name="connsiteX374" fmla="*/ 47723 w 705986"/>
                  <a:gd name="connsiteY374" fmla="*/ 442581 h 705914"/>
                  <a:gd name="connsiteX375" fmla="*/ 44658 w 705986"/>
                  <a:gd name="connsiteY375" fmla="*/ 431657 h 705914"/>
                  <a:gd name="connsiteX376" fmla="*/ 42107 w 705986"/>
                  <a:gd name="connsiteY376" fmla="*/ 420595 h 705914"/>
                  <a:gd name="connsiteX377" fmla="*/ 39932 w 705986"/>
                  <a:gd name="connsiteY377" fmla="*/ 409465 h 705914"/>
                  <a:gd name="connsiteX378" fmla="*/ 38083 w 705986"/>
                  <a:gd name="connsiteY378" fmla="*/ 398266 h 705914"/>
                  <a:gd name="connsiteX379" fmla="*/ 36644 w 705986"/>
                  <a:gd name="connsiteY379" fmla="*/ 386999 h 705914"/>
                  <a:gd name="connsiteX380" fmla="*/ 35720 w 705986"/>
                  <a:gd name="connsiteY380" fmla="*/ 375663 h 705914"/>
                  <a:gd name="connsiteX381" fmla="*/ 35275 w 705986"/>
                  <a:gd name="connsiteY381" fmla="*/ 369995 h 705914"/>
                  <a:gd name="connsiteX382" fmla="*/ 35103 w 705986"/>
                  <a:gd name="connsiteY382" fmla="*/ 364310 h 705914"/>
                  <a:gd name="connsiteX383" fmla="*/ 34795 w 705986"/>
                  <a:gd name="connsiteY383" fmla="*/ 352923 h 705914"/>
                  <a:gd name="connsiteX384" fmla="*/ 35103 w 705986"/>
                  <a:gd name="connsiteY384" fmla="*/ 341536 h 705914"/>
                  <a:gd name="connsiteX385" fmla="*/ 35275 w 705986"/>
                  <a:gd name="connsiteY385" fmla="*/ 335851 h 705914"/>
                  <a:gd name="connsiteX386" fmla="*/ 35720 w 705986"/>
                  <a:gd name="connsiteY386" fmla="*/ 330183 h 705914"/>
                  <a:gd name="connsiteX387" fmla="*/ 36644 w 705986"/>
                  <a:gd name="connsiteY387" fmla="*/ 318847 h 705914"/>
                  <a:gd name="connsiteX388" fmla="*/ 38083 w 705986"/>
                  <a:gd name="connsiteY388" fmla="*/ 307580 h 705914"/>
                  <a:gd name="connsiteX389" fmla="*/ 39932 w 705986"/>
                  <a:gd name="connsiteY389" fmla="*/ 296381 h 705914"/>
                  <a:gd name="connsiteX390" fmla="*/ 42107 w 705986"/>
                  <a:gd name="connsiteY390" fmla="*/ 285251 h 705914"/>
                  <a:gd name="connsiteX391" fmla="*/ 44658 w 705986"/>
                  <a:gd name="connsiteY391" fmla="*/ 274189 h 705914"/>
                  <a:gd name="connsiteX392" fmla="*/ 47723 w 705986"/>
                  <a:gd name="connsiteY392" fmla="*/ 263264 h 705914"/>
                  <a:gd name="connsiteX393" fmla="*/ 49282 w 705986"/>
                  <a:gd name="connsiteY393" fmla="*/ 257819 h 705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</a:cxnLst>
                <a:rect l="l" t="t" r="r" b="b"/>
                <a:pathLst>
                  <a:path w="705986" h="705914">
                    <a:moveTo>
                      <a:pt x="514" y="371844"/>
                    </a:moveTo>
                    <a:lnTo>
                      <a:pt x="993" y="378129"/>
                    </a:lnTo>
                    <a:cubicBezTo>
                      <a:pt x="1353" y="382307"/>
                      <a:pt x="1541" y="386519"/>
                      <a:pt x="2021" y="390697"/>
                    </a:cubicBezTo>
                    <a:lnTo>
                      <a:pt x="3613" y="403197"/>
                    </a:lnTo>
                    <a:cubicBezTo>
                      <a:pt x="4041" y="407376"/>
                      <a:pt x="4966" y="411485"/>
                      <a:pt x="5651" y="415629"/>
                    </a:cubicBezTo>
                    <a:cubicBezTo>
                      <a:pt x="6421" y="419756"/>
                      <a:pt x="7021" y="423917"/>
                      <a:pt x="8065" y="427992"/>
                    </a:cubicBezTo>
                    <a:lnTo>
                      <a:pt x="10891" y="440270"/>
                    </a:lnTo>
                    <a:cubicBezTo>
                      <a:pt x="11952" y="444328"/>
                      <a:pt x="13168" y="448352"/>
                      <a:pt x="14298" y="452393"/>
                    </a:cubicBezTo>
                    <a:cubicBezTo>
                      <a:pt x="14880" y="454414"/>
                      <a:pt x="15411" y="456434"/>
                      <a:pt x="16045" y="458438"/>
                    </a:cubicBezTo>
                    <a:lnTo>
                      <a:pt x="18065" y="464397"/>
                    </a:lnTo>
                    <a:lnTo>
                      <a:pt x="20086" y="470356"/>
                    </a:lnTo>
                    <a:cubicBezTo>
                      <a:pt x="20771" y="472342"/>
                      <a:pt x="21387" y="474346"/>
                      <a:pt x="22209" y="476281"/>
                    </a:cubicBezTo>
                    <a:lnTo>
                      <a:pt x="26833" y="487993"/>
                    </a:lnTo>
                    <a:cubicBezTo>
                      <a:pt x="27569" y="489962"/>
                      <a:pt x="28442" y="491863"/>
                      <a:pt x="29315" y="493781"/>
                    </a:cubicBezTo>
                    <a:lnTo>
                      <a:pt x="31918" y="499517"/>
                    </a:lnTo>
                    <a:lnTo>
                      <a:pt x="34504" y="505254"/>
                    </a:lnTo>
                    <a:cubicBezTo>
                      <a:pt x="35394" y="507154"/>
                      <a:pt x="36405" y="509004"/>
                      <a:pt x="37346" y="510870"/>
                    </a:cubicBezTo>
                    <a:cubicBezTo>
                      <a:pt x="39281" y="514603"/>
                      <a:pt x="41131" y="518370"/>
                      <a:pt x="43134" y="522069"/>
                    </a:cubicBezTo>
                    <a:lnTo>
                      <a:pt x="49419" y="532994"/>
                    </a:lnTo>
                    <a:lnTo>
                      <a:pt x="50994" y="535733"/>
                    </a:lnTo>
                    <a:lnTo>
                      <a:pt x="52689" y="538388"/>
                    </a:lnTo>
                    <a:lnTo>
                      <a:pt x="56097" y="543696"/>
                    </a:lnTo>
                    <a:cubicBezTo>
                      <a:pt x="58357" y="547240"/>
                      <a:pt x="60583" y="550802"/>
                      <a:pt x="63083" y="554175"/>
                    </a:cubicBezTo>
                    <a:lnTo>
                      <a:pt x="70395" y="564432"/>
                    </a:lnTo>
                    <a:cubicBezTo>
                      <a:pt x="75618" y="571008"/>
                      <a:pt x="80652" y="577754"/>
                      <a:pt x="86303" y="583987"/>
                    </a:cubicBezTo>
                    <a:cubicBezTo>
                      <a:pt x="91662" y="590460"/>
                      <a:pt x="97656" y="596385"/>
                      <a:pt x="103409" y="602498"/>
                    </a:cubicBezTo>
                    <a:cubicBezTo>
                      <a:pt x="109539" y="608251"/>
                      <a:pt x="115447" y="614245"/>
                      <a:pt x="121920" y="619604"/>
                    </a:cubicBezTo>
                    <a:cubicBezTo>
                      <a:pt x="128153" y="625255"/>
                      <a:pt x="134899" y="630272"/>
                      <a:pt x="141475" y="635512"/>
                    </a:cubicBezTo>
                    <a:lnTo>
                      <a:pt x="151732" y="642824"/>
                    </a:lnTo>
                    <a:cubicBezTo>
                      <a:pt x="155105" y="645341"/>
                      <a:pt x="158667" y="647550"/>
                      <a:pt x="162211" y="649810"/>
                    </a:cubicBezTo>
                    <a:lnTo>
                      <a:pt x="167520" y="653218"/>
                    </a:lnTo>
                    <a:lnTo>
                      <a:pt x="170174" y="654913"/>
                    </a:lnTo>
                    <a:lnTo>
                      <a:pt x="172913" y="656488"/>
                    </a:lnTo>
                    <a:lnTo>
                      <a:pt x="183838" y="662773"/>
                    </a:lnTo>
                    <a:cubicBezTo>
                      <a:pt x="187520" y="664776"/>
                      <a:pt x="191304" y="666625"/>
                      <a:pt x="195037" y="668560"/>
                    </a:cubicBezTo>
                    <a:cubicBezTo>
                      <a:pt x="196921" y="669502"/>
                      <a:pt x="198753" y="670512"/>
                      <a:pt x="200654" y="671403"/>
                    </a:cubicBezTo>
                    <a:lnTo>
                      <a:pt x="206390" y="673989"/>
                    </a:lnTo>
                    <a:lnTo>
                      <a:pt x="212126" y="676591"/>
                    </a:lnTo>
                    <a:cubicBezTo>
                      <a:pt x="214044" y="677465"/>
                      <a:pt x="215945" y="678355"/>
                      <a:pt x="217914" y="679074"/>
                    </a:cubicBezTo>
                    <a:lnTo>
                      <a:pt x="229627" y="683698"/>
                    </a:lnTo>
                    <a:cubicBezTo>
                      <a:pt x="231562" y="684520"/>
                      <a:pt x="233565" y="685136"/>
                      <a:pt x="235551" y="685821"/>
                    </a:cubicBezTo>
                    <a:lnTo>
                      <a:pt x="241510" y="687841"/>
                    </a:lnTo>
                    <a:lnTo>
                      <a:pt x="247469" y="689862"/>
                    </a:lnTo>
                    <a:cubicBezTo>
                      <a:pt x="249473" y="690496"/>
                      <a:pt x="251511" y="691026"/>
                      <a:pt x="253514" y="691609"/>
                    </a:cubicBezTo>
                    <a:cubicBezTo>
                      <a:pt x="257555" y="692739"/>
                      <a:pt x="261579" y="693955"/>
                      <a:pt x="265637" y="695016"/>
                    </a:cubicBezTo>
                    <a:lnTo>
                      <a:pt x="277915" y="697842"/>
                    </a:lnTo>
                    <a:cubicBezTo>
                      <a:pt x="281990" y="698886"/>
                      <a:pt x="286151" y="699485"/>
                      <a:pt x="290278" y="700256"/>
                    </a:cubicBezTo>
                    <a:cubicBezTo>
                      <a:pt x="294422" y="700941"/>
                      <a:pt x="298532" y="701883"/>
                      <a:pt x="302710" y="702294"/>
                    </a:cubicBezTo>
                    <a:cubicBezTo>
                      <a:pt x="369286" y="712020"/>
                      <a:pt x="438534" y="702003"/>
                      <a:pt x="499596" y="674006"/>
                    </a:cubicBezTo>
                    <a:lnTo>
                      <a:pt x="505333" y="671420"/>
                    </a:lnTo>
                    <a:cubicBezTo>
                      <a:pt x="507234" y="670530"/>
                      <a:pt x="509083" y="669519"/>
                      <a:pt x="510949" y="668578"/>
                    </a:cubicBezTo>
                    <a:cubicBezTo>
                      <a:pt x="514682" y="666643"/>
                      <a:pt x="518449" y="664793"/>
                      <a:pt x="522148" y="662790"/>
                    </a:cubicBezTo>
                    <a:lnTo>
                      <a:pt x="533073" y="656505"/>
                    </a:lnTo>
                    <a:lnTo>
                      <a:pt x="535813" y="654930"/>
                    </a:lnTo>
                    <a:lnTo>
                      <a:pt x="538467" y="653235"/>
                    </a:lnTo>
                    <a:lnTo>
                      <a:pt x="543775" y="649827"/>
                    </a:lnTo>
                    <a:cubicBezTo>
                      <a:pt x="547320" y="647567"/>
                      <a:pt x="550881" y="645341"/>
                      <a:pt x="554255" y="642841"/>
                    </a:cubicBezTo>
                    <a:lnTo>
                      <a:pt x="564512" y="635529"/>
                    </a:lnTo>
                    <a:cubicBezTo>
                      <a:pt x="571087" y="630306"/>
                      <a:pt x="577834" y="625272"/>
                      <a:pt x="584067" y="619621"/>
                    </a:cubicBezTo>
                    <a:cubicBezTo>
                      <a:pt x="590539" y="614262"/>
                      <a:pt x="596464" y="608269"/>
                      <a:pt x="602577" y="602515"/>
                    </a:cubicBezTo>
                    <a:cubicBezTo>
                      <a:pt x="608331" y="596385"/>
                      <a:pt x="614324" y="590477"/>
                      <a:pt x="619684" y="584005"/>
                    </a:cubicBezTo>
                    <a:cubicBezTo>
                      <a:pt x="625335" y="577772"/>
                      <a:pt x="630352" y="571025"/>
                      <a:pt x="635591" y="564449"/>
                    </a:cubicBezTo>
                    <a:lnTo>
                      <a:pt x="642903" y="554192"/>
                    </a:lnTo>
                    <a:cubicBezTo>
                      <a:pt x="645420" y="550819"/>
                      <a:pt x="647629" y="547257"/>
                      <a:pt x="649890" y="543713"/>
                    </a:cubicBezTo>
                    <a:lnTo>
                      <a:pt x="653297" y="538405"/>
                    </a:lnTo>
                    <a:lnTo>
                      <a:pt x="654992" y="535750"/>
                    </a:lnTo>
                    <a:lnTo>
                      <a:pt x="656568" y="533011"/>
                    </a:lnTo>
                    <a:lnTo>
                      <a:pt x="662852" y="522086"/>
                    </a:lnTo>
                    <a:cubicBezTo>
                      <a:pt x="664856" y="518404"/>
                      <a:pt x="666705" y="514620"/>
                      <a:pt x="668640" y="510887"/>
                    </a:cubicBezTo>
                    <a:cubicBezTo>
                      <a:pt x="669582" y="509004"/>
                      <a:pt x="670592" y="507171"/>
                      <a:pt x="671482" y="505271"/>
                    </a:cubicBezTo>
                    <a:lnTo>
                      <a:pt x="674068" y="499534"/>
                    </a:lnTo>
                    <a:lnTo>
                      <a:pt x="676671" y="493798"/>
                    </a:lnTo>
                    <a:cubicBezTo>
                      <a:pt x="677544" y="491880"/>
                      <a:pt x="678435" y="489979"/>
                      <a:pt x="679154" y="488010"/>
                    </a:cubicBezTo>
                    <a:lnTo>
                      <a:pt x="683777" y="476298"/>
                    </a:lnTo>
                    <a:cubicBezTo>
                      <a:pt x="684599" y="474363"/>
                      <a:pt x="685216" y="472359"/>
                      <a:pt x="685900" y="470373"/>
                    </a:cubicBezTo>
                    <a:lnTo>
                      <a:pt x="687921" y="464414"/>
                    </a:lnTo>
                    <a:lnTo>
                      <a:pt x="689942" y="458455"/>
                    </a:lnTo>
                    <a:cubicBezTo>
                      <a:pt x="690575" y="456452"/>
                      <a:pt x="691106" y="454414"/>
                      <a:pt x="691688" y="452410"/>
                    </a:cubicBezTo>
                    <a:cubicBezTo>
                      <a:pt x="692818" y="448369"/>
                      <a:pt x="694034" y="444345"/>
                      <a:pt x="695096" y="440287"/>
                    </a:cubicBezTo>
                    <a:lnTo>
                      <a:pt x="697921" y="428009"/>
                    </a:lnTo>
                    <a:cubicBezTo>
                      <a:pt x="698966" y="423934"/>
                      <a:pt x="699565" y="419773"/>
                      <a:pt x="700336" y="415646"/>
                    </a:cubicBezTo>
                    <a:cubicBezTo>
                      <a:pt x="701021" y="411502"/>
                      <a:pt x="701962" y="407393"/>
                      <a:pt x="702373" y="403215"/>
                    </a:cubicBezTo>
                    <a:lnTo>
                      <a:pt x="703966" y="390714"/>
                    </a:lnTo>
                    <a:cubicBezTo>
                      <a:pt x="704445" y="386536"/>
                      <a:pt x="704651" y="382341"/>
                      <a:pt x="704993" y="378146"/>
                    </a:cubicBezTo>
                    <a:lnTo>
                      <a:pt x="705473" y="371861"/>
                    </a:lnTo>
                    <a:cubicBezTo>
                      <a:pt x="705593" y="369772"/>
                      <a:pt x="705593" y="367666"/>
                      <a:pt x="705661" y="365560"/>
                    </a:cubicBezTo>
                    <a:lnTo>
                      <a:pt x="705986" y="352957"/>
                    </a:lnTo>
                    <a:lnTo>
                      <a:pt x="705661" y="340354"/>
                    </a:lnTo>
                    <a:cubicBezTo>
                      <a:pt x="705593" y="338248"/>
                      <a:pt x="705593" y="336142"/>
                      <a:pt x="705473" y="334053"/>
                    </a:cubicBezTo>
                    <a:lnTo>
                      <a:pt x="704993" y="327768"/>
                    </a:lnTo>
                    <a:cubicBezTo>
                      <a:pt x="704634" y="323590"/>
                      <a:pt x="704445" y="319378"/>
                      <a:pt x="703966" y="315200"/>
                    </a:cubicBezTo>
                    <a:lnTo>
                      <a:pt x="702373" y="302700"/>
                    </a:lnTo>
                    <a:cubicBezTo>
                      <a:pt x="701945" y="298521"/>
                      <a:pt x="701021" y="294412"/>
                      <a:pt x="700336" y="290268"/>
                    </a:cubicBezTo>
                    <a:cubicBezTo>
                      <a:pt x="699565" y="286141"/>
                      <a:pt x="698966" y="281980"/>
                      <a:pt x="697921" y="277905"/>
                    </a:cubicBezTo>
                    <a:lnTo>
                      <a:pt x="695096" y="265627"/>
                    </a:lnTo>
                    <a:cubicBezTo>
                      <a:pt x="694034" y="261569"/>
                      <a:pt x="692818" y="257545"/>
                      <a:pt x="691688" y="253504"/>
                    </a:cubicBezTo>
                    <a:cubicBezTo>
                      <a:pt x="691106" y="251483"/>
                      <a:pt x="690575" y="249463"/>
                      <a:pt x="689942" y="247459"/>
                    </a:cubicBezTo>
                    <a:lnTo>
                      <a:pt x="687921" y="241500"/>
                    </a:lnTo>
                    <a:lnTo>
                      <a:pt x="685900" y="235541"/>
                    </a:lnTo>
                    <a:cubicBezTo>
                      <a:pt x="685216" y="233555"/>
                      <a:pt x="684599" y="231551"/>
                      <a:pt x="683777" y="229616"/>
                    </a:cubicBezTo>
                    <a:lnTo>
                      <a:pt x="679154" y="217904"/>
                    </a:lnTo>
                    <a:cubicBezTo>
                      <a:pt x="678417" y="215935"/>
                      <a:pt x="677544" y="214034"/>
                      <a:pt x="676671" y="212116"/>
                    </a:cubicBezTo>
                    <a:lnTo>
                      <a:pt x="674068" y="206380"/>
                    </a:lnTo>
                    <a:lnTo>
                      <a:pt x="671482" y="200643"/>
                    </a:lnTo>
                    <a:cubicBezTo>
                      <a:pt x="670592" y="198743"/>
                      <a:pt x="669582" y="196893"/>
                      <a:pt x="668640" y="195027"/>
                    </a:cubicBezTo>
                    <a:cubicBezTo>
                      <a:pt x="666705" y="191294"/>
                      <a:pt x="664856" y="187527"/>
                      <a:pt x="662852" y="183828"/>
                    </a:cubicBezTo>
                    <a:lnTo>
                      <a:pt x="656568" y="172903"/>
                    </a:lnTo>
                    <a:lnTo>
                      <a:pt x="654992" y="170164"/>
                    </a:lnTo>
                    <a:lnTo>
                      <a:pt x="653297" y="167509"/>
                    </a:lnTo>
                    <a:lnTo>
                      <a:pt x="649890" y="162201"/>
                    </a:lnTo>
                    <a:cubicBezTo>
                      <a:pt x="647629" y="158657"/>
                      <a:pt x="645403" y="155095"/>
                      <a:pt x="642903" y="151722"/>
                    </a:cubicBezTo>
                    <a:lnTo>
                      <a:pt x="635591" y="141465"/>
                    </a:lnTo>
                    <a:cubicBezTo>
                      <a:pt x="630369" y="134889"/>
                      <a:pt x="625335" y="128142"/>
                      <a:pt x="619684" y="121910"/>
                    </a:cubicBezTo>
                    <a:cubicBezTo>
                      <a:pt x="614324" y="115437"/>
                      <a:pt x="608331" y="109512"/>
                      <a:pt x="602577" y="103399"/>
                    </a:cubicBezTo>
                    <a:cubicBezTo>
                      <a:pt x="596447" y="97646"/>
                      <a:pt x="590539" y="91652"/>
                      <a:pt x="584067" y="86293"/>
                    </a:cubicBezTo>
                    <a:cubicBezTo>
                      <a:pt x="577834" y="80642"/>
                      <a:pt x="571087" y="75625"/>
                      <a:pt x="564512" y="70385"/>
                    </a:cubicBezTo>
                    <a:lnTo>
                      <a:pt x="554255" y="63073"/>
                    </a:lnTo>
                    <a:cubicBezTo>
                      <a:pt x="550881" y="60556"/>
                      <a:pt x="547320" y="58347"/>
                      <a:pt x="543775" y="56087"/>
                    </a:cubicBezTo>
                    <a:lnTo>
                      <a:pt x="538467" y="52679"/>
                    </a:lnTo>
                    <a:lnTo>
                      <a:pt x="535813" y="50984"/>
                    </a:lnTo>
                    <a:lnTo>
                      <a:pt x="533073" y="49409"/>
                    </a:lnTo>
                    <a:lnTo>
                      <a:pt x="522148" y="43124"/>
                    </a:lnTo>
                    <a:cubicBezTo>
                      <a:pt x="518467" y="41121"/>
                      <a:pt x="514682" y="39271"/>
                      <a:pt x="510949" y="37337"/>
                    </a:cubicBezTo>
                    <a:cubicBezTo>
                      <a:pt x="509066" y="36395"/>
                      <a:pt x="507234" y="35384"/>
                      <a:pt x="505333" y="34494"/>
                    </a:cubicBezTo>
                    <a:lnTo>
                      <a:pt x="499596" y="31908"/>
                    </a:lnTo>
                    <a:cubicBezTo>
                      <a:pt x="438551" y="3911"/>
                      <a:pt x="369286" y="-6106"/>
                      <a:pt x="302710" y="3620"/>
                    </a:cubicBezTo>
                    <a:cubicBezTo>
                      <a:pt x="298532" y="4048"/>
                      <a:pt x="294422" y="4973"/>
                      <a:pt x="290278" y="5658"/>
                    </a:cubicBezTo>
                    <a:cubicBezTo>
                      <a:pt x="286151" y="6429"/>
                      <a:pt x="281990" y="7028"/>
                      <a:pt x="277915" y="8072"/>
                    </a:cubicBezTo>
                    <a:lnTo>
                      <a:pt x="265637" y="10898"/>
                    </a:lnTo>
                    <a:cubicBezTo>
                      <a:pt x="261579" y="11959"/>
                      <a:pt x="257555" y="13175"/>
                      <a:pt x="253514" y="14305"/>
                    </a:cubicBezTo>
                    <a:cubicBezTo>
                      <a:pt x="251493" y="14888"/>
                      <a:pt x="249473" y="15418"/>
                      <a:pt x="247469" y="16052"/>
                    </a:cubicBezTo>
                    <a:lnTo>
                      <a:pt x="241510" y="18073"/>
                    </a:lnTo>
                    <a:lnTo>
                      <a:pt x="235551" y="20093"/>
                    </a:lnTo>
                    <a:cubicBezTo>
                      <a:pt x="233565" y="20778"/>
                      <a:pt x="231562" y="21395"/>
                      <a:pt x="229627" y="22216"/>
                    </a:cubicBezTo>
                    <a:lnTo>
                      <a:pt x="217914" y="26840"/>
                    </a:lnTo>
                    <a:cubicBezTo>
                      <a:pt x="215945" y="27576"/>
                      <a:pt x="214044" y="28449"/>
                      <a:pt x="212126" y="29323"/>
                    </a:cubicBezTo>
                    <a:lnTo>
                      <a:pt x="206390" y="31925"/>
                    </a:lnTo>
                    <a:lnTo>
                      <a:pt x="200654" y="34511"/>
                    </a:lnTo>
                    <a:cubicBezTo>
                      <a:pt x="198753" y="35402"/>
                      <a:pt x="196904" y="36412"/>
                      <a:pt x="195037" y="37354"/>
                    </a:cubicBezTo>
                    <a:cubicBezTo>
                      <a:pt x="191304" y="39289"/>
                      <a:pt x="187537" y="41138"/>
                      <a:pt x="183838" y="43141"/>
                    </a:cubicBezTo>
                    <a:lnTo>
                      <a:pt x="172913" y="49426"/>
                    </a:lnTo>
                    <a:lnTo>
                      <a:pt x="170174" y="51001"/>
                    </a:lnTo>
                    <a:lnTo>
                      <a:pt x="167520" y="52696"/>
                    </a:lnTo>
                    <a:lnTo>
                      <a:pt x="162211" y="56104"/>
                    </a:lnTo>
                    <a:cubicBezTo>
                      <a:pt x="158667" y="58364"/>
                      <a:pt x="155105" y="60590"/>
                      <a:pt x="151732" y="63090"/>
                    </a:cubicBezTo>
                    <a:lnTo>
                      <a:pt x="141475" y="70402"/>
                    </a:lnTo>
                    <a:cubicBezTo>
                      <a:pt x="134899" y="75625"/>
                      <a:pt x="128153" y="80659"/>
                      <a:pt x="121920" y="86310"/>
                    </a:cubicBezTo>
                    <a:cubicBezTo>
                      <a:pt x="115447" y="91669"/>
                      <a:pt x="109522" y="97663"/>
                      <a:pt x="103409" y="103416"/>
                    </a:cubicBezTo>
                    <a:cubicBezTo>
                      <a:pt x="97656" y="109546"/>
                      <a:pt x="91662" y="115454"/>
                      <a:pt x="86303" y="121927"/>
                    </a:cubicBezTo>
                    <a:cubicBezTo>
                      <a:pt x="80652" y="128160"/>
                      <a:pt x="75635" y="134906"/>
                      <a:pt x="70395" y="141482"/>
                    </a:cubicBezTo>
                    <a:lnTo>
                      <a:pt x="63083" y="151739"/>
                    </a:lnTo>
                    <a:cubicBezTo>
                      <a:pt x="60566" y="155112"/>
                      <a:pt x="58357" y="158674"/>
                      <a:pt x="56097" y="162218"/>
                    </a:cubicBezTo>
                    <a:lnTo>
                      <a:pt x="52689" y="167527"/>
                    </a:lnTo>
                    <a:lnTo>
                      <a:pt x="50994" y="170181"/>
                    </a:lnTo>
                    <a:lnTo>
                      <a:pt x="49419" y="172920"/>
                    </a:lnTo>
                    <a:lnTo>
                      <a:pt x="43134" y="183845"/>
                    </a:lnTo>
                    <a:cubicBezTo>
                      <a:pt x="41131" y="187527"/>
                      <a:pt x="39281" y="191311"/>
                      <a:pt x="37346" y="195044"/>
                    </a:cubicBezTo>
                    <a:cubicBezTo>
                      <a:pt x="36405" y="196928"/>
                      <a:pt x="35394" y="198760"/>
                      <a:pt x="34504" y="200661"/>
                    </a:cubicBezTo>
                    <a:lnTo>
                      <a:pt x="31918" y="206397"/>
                    </a:lnTo>
                    <a:lnTo>
                      <a:pt x="29315" y="212133"/>
                    </a:lnTo>
                    <a:cubicBezTo>
                      <a:pt x="28442" y="214051"/>
                      <a:pt x="27552" y="215952"/>
                      <a:pt x="26833" y="217921"/>
                    </a:cubicBezTo>
                    <a:lnTo>
                      <a:pt x="22209" y="229634"/>
                    </a:lnTo>
                    <a:cubicBezTo>
                      <a:pt x="21387" y="231568"/>
                      <a:pt x="20771" y="233572"/>
                      <a:pt x="20086" y="235558"/>
                    </a:cubicBezTo>
                    <a:lnTo>
                      <a:pt x="18065" y="241517"/>
                    </a:lnTo>
                    <a:lnTo>
                      <a:pt x="16045" y="247476"/>
                    </a:lnTo>
                    <a:cubicBezTo>
                      <a:pt x="15411" y="249480"/>
                      <a:pt x="14880" y="251517"/>
                      <a:pt x="14298" y="253521"/>
                    </a:cubicBezTo>
                    <a:cubicBezTo>
                      <a:pt x="13168" y="257562"/>
                      <a:pt x="11952" y="261586"/>
                      <a:pt x="10891" y="265644"/>
                    </a:cubicBezTo>
                    <a:lnTo>
                      <a:pt x="8065" y="277922"/>
                    </a:lnTo>
                    <a:cubicBezTo>
                      <a:pt x="7021" y="281997"/>
                      <a:pt x="6421" y="286158"/>
                      <a:pt x="5651" y="290285"/>
                    </a:cubicBezTo>
                    <a:cubicBezTo>
                      <a:pt x="4966" y="294429"/>
                      <a:pt x="4024" y="298539"/>
                      <a:pt x="3613" y="302717"/>
                    </a:cubicBezTo>
                    <a:lnTo>
                      <a:pt x="2021" y="315217"/>
                    </a:lnTo>
                    <a:cubicBezTo>
                      <a:pt x="1541" y="319395"/>
                      <a:pt x="1336" y="323590"/>
                      <a:pt x="993" y="327785"/>
                    </a:cubicBezTo>
                    <a:lnTo>
                      <a:pt x="514" y="334070"/>
                    </a:lnTo>
                    <a:cubicBezTo>
                      <a:pt x="394" y="336159"/>
                      <a:pt x="394" y="338265"/>
                      <a:pt x="325" y="340371"/>
                    </a:cubicBezTo>
                    <a:lnTo>
                      <a:pt x="0" y="352974"/>
                    </a:lnTo>
                    <a:lnTo>
                      <a:pt x="325" y="365577"/>
                    </a:lnTo>
                    <a:cubicBezTo>
                      <a:pt x="394" y="367683"/>
                      <a:pt x="394" y="369789"/>
                      <a:pt x="514" y="371878"/>
                    </a:cubicBezTo>
                    <a:close/>
                    <a:moveTo>
                      <a:pt x="49282" y="257819"/>
                    </a:moveTo>
                    <a:lnTo>
                      <a:pt x="51114" y="252442"/>
                    </a:lnTo>
                    <a:lnTo>
                      <a:pt x="52929" y="247065"/>
                    </a:lnTo>
                    <a:cubicBezTo>
                      <a:pt x="53545" y="245284"/>
                      <a:pt x="54093" y="243469"/>
                      <a:pt x="54830" y="241723"/>
                    </a:cubicBezTo>
                    <a:lnTo>
                      <a:pt x="58991" y="231175"/>
                    </a:lnTo>
                    <a:cubicBezTo>
                      <a:pt x="59641" y="229394"/>
                      <a:pt x="60446" y="227681"/>
                      <a:pt x="61234" y="225969"/>
                    </a:cubicBezTo>
                    <a:lnTo>
                      <a:pt x="63580" y="220798"/>
                    </a:lnTo>
                    <a:lnTo>
                      <a:pt x="65908" y="215626"/>
                    </a:lnTo>
                    <a:cubicBezTo>
                      <a:pt x="66713" y="213914"/>
                      <a:pt x="67621" y="212253"/>
                      <a:pt x="68477" y="210558"/>
                    </a:cubicBezTo>
                    <a:cubicBezTo>
                      <a:pt x="70224" y="207202"/>
                      <a:pt x="71885" y="203794"/>
                      <a:pt x="73683" y="200472"/>
                    </a:cubicBezTo>
                    <a:lnTo>
                      <a:pt x="79351" y="190626"/>
                    </a:lnTo>
                    <a:lnTo>
                      <a:pt x="80755" y="188160"/>
                    </a:lnTo>
                    <a:lnTo>
                      <a:pt x="82279" y="185763"/>
                    </a:lnTo>
                    <a:lnTo>
                      <a:pt x="85344" y="180986"/>
                    </a:lnTo>
                    <a:cubicBezTo>
                      <a:pt x="87381" y="177801"/>
                      <a:pt x="89368" y="174564"/>
                      <a:pt x="91645" y="171533"/>
                    </a:cubicBezTo>
                    <a:lnTo>
                      <a:pt x="98238" y="162270"/>
                    </a:lnTo>
                    <a:cubicBezTo>
                      <a:pt x="102964" y="156345"/>
                      <a:pt x="107484" y="150249"/>
                      <a:pt x="112587" y="144632"/>
                    </a:cubicBezTo>
                    <a:cubicBezTo>
                      <a:pt x="117416" y="138776"/>
                      <a:pt x="122827" y="133468"/>
                      <a:pt x="127998" y="127920"/>
                    </a:cubicBezTo>
                    <a:cubicBezTo>
                      <a:pt x="133546" y="122749"/>
                      <a:pt x="138855" y="117320"/>
                      <a:pt x="144711" y="112509"/>
                    </a:cubicBezTo>
                    <a:cubicBezTo>
                      <a:pt x="150328" y="107406"/>
                      <a:pt x="156424" y="102885"/>
                      <a:pt x="162348" y="98159"/>
                    </a:cubicBezTo>
                    <a:lnTo>
                      <a:pt x="171612" y="91567"/>
                    </a:lnTo>
                    <a:cubicBezTo>
                      <a:pt x="174643" y="89289"/>
                      <a:pt x="177879" y="87303"/>
                      <a:pt x="181064" y="85265"/>
                    </a:cubicBezTo>
                    <a:lnTo>
                      <a:pt x="185842" y="82200"/>
                    </a:lnTo>
                    <a:lnTo>
                      <a:pt x="188239" y="80676"/>
                    </a:lnTo>
                    <a:lnTo>
                      <a:pt x="190705" y="79272"/>
                    </a:lnTo>
                    <a:lnTo>
                      <a:pt x="200551" y="73604"/>
                    </a:lnTo>
                    <a:cubicBezTo>
                      <a:pt x="203873" y="71806"/>
                      <a:pt x="207280" y="70145"/>
                      <a:pt x="210637" y="68399"/>
                    </a:cubicBezTo>
                    <a:cubicBezTo>
                      <a:pt x="212332" y="67542"/>
                      <a:pt x="213993" y="66635"/>
                      <a:pt x="215705" y="65830"/>
                    </a:cubicBezTo>
                    <a:lnTo>
                      <a:pt x="220877" y="63501"/>
                    </a:lnTo>
                    <a:lnTo>
                      <a:pt x="226048" y="61155"/>
                    </a:lnTo>
                    <a:cubicBezTo>
                      <a:pt x="227760" y="60368"/>
                      <a:pt x="229490" y="59563"/>
                      <a:pt x="231253" y="58912"/>
                    </a:cubicBezTo>
                    <a:lnTo>
                      <a:pt x="241802" y="54751"/>
                    </a:lnTo>
                    <a:cubicBezTo>
                      <a:pt x="243548" y="54015"/>
                      <a:pt x="245346" y="53467"/>
                      <a:pt x="247144" y="52850"/>
                    </a:cubicBezTo>
                    <a:lnTo>
                      <a:pt x="252521" y="51035"/>
                    </a:lnTo>
                    <a:lnTo>
                      <a:pt x="257898" y="49203"/>
                    </a:lnTo>
                    <a:cubicBezTo>
                      <a:pt x="259696" y="48638"/>
                      <a:pt x="261528" y="48176"/>
                      <a:pt x="263343" y="47645"/>
                    </a:cubicBezTo>
                    <a:cubicBezTo>
                      <a:pt x="266990" y="46635"/>
                      <a:pt x="270603" y="45539"/>
                      <a:pt x="274268" y="44580"/>
                    </a:cubicBezTo>
                    <a:lnTo>
                      <a:pt x="285330" y="42028"/>
                    </a:lnTo>
                    <a:cubicBezTo>
                      <a:pt x="288994" y="41069"/>
                      <a:pt x="292744" y="40556"/>
                      <a:pt x="296460" y="39854"/>
                    </a:cubicBezTo>
                    <a:cubicBezTo>
                      <a:pt x="300193" y="39237"/>
                      <a:pt x="303891" y="38381"/>
                      <a:pt x="307659" y="38004"/>
                    </a:cubicBezTo>
                    <a:lnTo>
                      <a:pt x="318926" y="36566"/>
                    </a:lnTo>
                    <a:cubicBezTo>
                      <a:pt x="322693" y="36121"/>
                      <a:pt x="326477" y="35967"/>
                      <a:pt x="330262" y="35641"/>
                    </a:cubicBezTo>
                    <a:lnTo>
                      <a:pt x="335930" y="35196"/>
                    </a:lnTo>
                    <a:cubicBezTo>
                      <a:pt x="337813" y="35076"/>
                      <a:pt x="339731" y="35093"/>
                      <a:pt x="341615" y="35025"/>
                    </a:cubicBezTo>
                    <a:lnTo>
                      <a:pt x="353002" y="34717"/>
                    </a:lnTo>
                    <a:lnTo>
                      <a:pt x="364389" y="35025"/>
                    </a:lnTo>
                    <a:cubicBezTo>
                      <a:pt x="366290" y="35093"/>
                      <a:pt x="368190" y="35076"/>
                      <a:pt x="370074" y="35196"/>
                    </a:cubicBezTo>
                    <a:lnTo>
                      <a:pt x="375742" y="35641"/>
                    </a:lnTo>
                    <a:cubicBezTo>
                      <a:pt x="379509" y="35967"/>
                      <a:pt x="383310" y="36121"/>
                      <a:pt x="387078" y="36566"/>
                    </a:cubicBezTo>
                    <a:lnTo>
                      <a:pt x="398345" y="38004"/>
                    </a:lnTo>
                    <a:cubicBezTo>
                      <a:pt x="402112" y="38364"/>
                      <a:pt x="405811" y="39237"/>
                      <a:pt x="409544" y="39854"/>
                    </a:cubicBezTo>
                    <a:cubicBezTo>
                      <a:pt x="413260" y="40556"/>
                      <a:pt x="417027" y="41069"/>
                      <a:pt x="420674" y="42028"/>
                    </a:cubicBezTo>
                    <a:lnTo>
                      <a:pt x="431736" y="44580"/>
                    </a:lnTo>
                    <a:cubicBezTo>
                      <a:pt x="435400" y="45539"/>
                      <a:pt x="439013" y="46635"/>
                      <a:pt x="442661" y="47645"/>
                    </a:cubicBezTo>
                    <a:cubicBezTo>
                      <a:pt x="444476" y="48176"/>
                      <a:pt x="446308" y="48638"/>
                      <a:pt x="448106" y="49203"/>
                    </a:cubicBezTo>
                    <a:lnTo>
                      <a:pt x="453483" y="51035"/>
                    </a:lnTo>
                    <a:lnTo>
                      <a:pt x="458860" y="52850"/>
                    </a:lnTo>
                    <a:cubicBezTo>
                      <a:pt x="460640" y="53467"/>
                      <a:pt x="462455" y="54015"/>
                      <a:pt x="464202" y="54751"/>
                    </a:cubicBezTo>
                    <a:lnTo>
                      <a:pt x="474750" y="58912"/>
                    </a:lnTo>
                    <a:cubicBezTo>
                      <a:pt x="476531" y="59563"/>
                      <a:pt x="478243" y="60368"/>
                      <a:pt x="479956" y="61155"/>
                    </a:cubicBezTo>
                    <a:lnTo>
                      <a:pt x="485127" y="63501"/>
                    </a:lnTo>
                    <a:lnTo>
                      <a:pt x="490298" y="65830"/>
                    </a:lnTo>
                    <a:cubicBezTo>
                      <a:pt x="492011" y="66635"/>
                      <a:pt x="493672" y="67542"/>
                      <a:pt x="495367" y="68399"/>
                    </a:cubicBezTo>
                    <a:cubicBezTo>
                      <a:pt x="498723" y="70145"/>
                      <a:pt x="502131" y="71806"/>
                      <a:pt x="505453" y="73604"/>
                    </a:cubicBezTo>
                    <a:lnTo>
                      <a:pt x="515299" y="79272"/>
                    </a:lnTo>
                    <a:lnTo>
                      <a:pt x="517764" y="80676"/>
                    </a:lnTo>
                    <a:lnTo>
                      <a:pt x="520162" y="82200"/>
                    </a:lnTo>
                    <a:lnTo>
                      <a:pt x="524939" y="85265"/>
                    </a:lnTo>
                    <a:cubicBezTo>
                      <a:pt x="528124" y="87303"/>
                      <a:pt x="531361" y="89289"/>
                      <a:pt x="534391" y="91567"/>
                    </a:cubicBezTo>
                    <a:lnTo>
                      <a:pt x="543655" y="98159"/>
                    </a:lnTo>
                    <a:cubicBezTo>
                      <a:pt x="549580" y="102885"/>
                      <a:pt x="555676" y="107406"/>
                      <a:pt x="561293" y="112509"/>
                    </a:cubicBezTo>
                    <a:cubicBezTo>
                      <a:pt x="567149" y="117338"/>
                      <a:pt x="572457" y="122749"/>
                      <a:pt x="578005" y="127920"/>
                    </a:cubicBezTo>
                    <a:cubicBezTo>
                      <a:pt x="583176" y="133468"/>
                      <a:pt x="588605" y="138776"/>
                      <a:pt x="593416" y="144632"/>
                    </a:cubicBezTo>
                    <a:cubicBezTo>
                      <a:pt x="598519" y="150249"/>
                      <a:pt x="603040" y="156345"/>
                      <a:pt x="607766" y="162270"/>
                    </a:cubicBezTo>
                    <a:lnTo>
                      <a:pt x="614358" y="171533"/>
                    </a:lnTo>
                    <a:cubicBezTo>
                      <a:pt x="616636" y="174564"/>
                      <a:pt x="618622" y="177801"/>
                      <a:pt x="620660" y="180986"/>
                    </a:cubicBezTo>
                    <a:lnTo>
                      <a:pt x="623725" y="185763"/>
                    </a:lnTo>
                    <a:lnTo>
                      <a:pt x="625249" y="188160"/>
                    </a:lnTo>
                    <a:lnTo>
                      <a:pt x="626653" y="190626"/>
                    </a:lnTo>
                    <a:lnTo>
                      <a:pt x="632321" y="200472"/>
                    </a:lnTo>
                    <a:cubicBezTo>
                      <a:pt x="634119" y="203794"/>
                      <a:pt x="635780" y="207202"/>
                      <a:pt x="637526" y="210558"/>
                    </a:cubicBezTo>
                    <a:cubicBezTo>
                      <a:pt x="638383" y="212253"/>
                      <a:pt x="639290" y="213914"/>
                      <a:pt x="640095" y="215626"/>
                    </a:cubicBezTo>
                    <a:lnTo>
                      <a:pt x="642424" y="220798"/>
                    </a:lnTo>
                    <a:lnTo>
                      <a:pt x="644770" y="225969"/>
                    </a:lnTo>
                    <a:cubicBezTo>
                      <a:pt x="645557" y="227681"/>
                      <a:pt x="646362" y="229411"/>
                      <a:pt x="647013" y="231175"/>
                    </a:cubicBezTo>
                    <a:lnTo>
                      <a:pt x="651174" y="241723"/>
                    </a:lnTo>
                    <a:cubicBezTo>
                      <a:pt x="651910" y="243469"/>
                      <a:pt x="652458" y="245267"/>
                      <a:pt x="653075" y="247065"/>
                    </a:cubicBezTo>
                    <a:lnTo>
                      <a:pt x="654890" y="252442"/>
                    </a:lnTo>
                    <a:lnTo>
                      <a:pt x="656722" y="257819"/>
                    </a:lnTo>
                    <a:cubicBezTo>
                      <a:pt x="657287" y="259617"/>
                      <a:pt x="657749" y="261449"/>
                      <a:pt x="658280" y="263264"/>
                    </a:cubicBezTo>
                    <a:cubicBezTo>
                      <a:pt x="659291" y="266911"/>
                      <a:pt x="660386" y="270524"/>
                      <a:pt x="661345" y="274189"/>
                    </a:cubicBezTo>
                    <a:lnTo>
                      <a:pt x="663897" y="285251"/>
                    </a:lnTo>
                    <a:cubicBezTo>
                      <a:pt x="664856" y="288915"/>
                      <a:pt x="665369" y="292665"/>
                      <a:pt x="666071" y="296381"/>
                    </a:cubicBezTo>
                    <a:cubicBezTo>
                      <a:pt x="666688" y="300114"/>
                      <a:pt x="667544" y="303813"/>
                      <a:pt x="667921" y="307580"/>
                    </a:cubicBezTo>
                    <a:lnTo>
                      <a:pt x="669359" y="318847"/>
                    </a:lnTo>
                    <a:cubicBezTo>
                      <a:pt x="669804" y="322614"/>
                      <a:pt x="669958" y="326398"/>
                      <a:pt x="670284" y="330183"/>
                    </a:cubicBezTo>
                    <a:lnTo>
                      <a:pt x="670729" y="335851"/>
                    </a:lnTo>
                    <a:cubicBezTo>
                      <a:pt x="670849" y="337751"/>
                      <a:pt x="670832" y="339652"/>
                      <a:pt x="670900" y="341536"/>
                    </a:cubicBezTo>
                    <a:lnTo>
                      <a:pt x="671208" y="352923"/>
                    </a:lnTo>
                    <a:lnTo>
                      <a:pt x="670900" y="364310"/>
                    </a:lnTo>
                    <a:cubicBezTo>
                      <a:pt x="670832" y="366211"/>
                      <a:pt x="670849" y="368111"/>
                      <a:pt x="670729" y="369995"/>
                    </a:cubicBezTo>
                    <a:lnTo>
                      <a:pt x="670284" y="375663"/>
                    </a:lnTo>
                    <a:cubicBezTo>
                      <a:pt x="669958" y="379430"/>
                      <a:pt x="669804" y="383231"/>
                      <a:pt x="669359" y="386999"/>
                    </a:cubicBezTo>
                    <a:lnTo>
                      <a:pt x="667921" y="398266"/>
                    </a:lnTo>
                    <a:cubicBezTo>
                      <a:pt x="667561" y="402033"/>
                      <a:pt x="666688" y="405732"/>
                      <a:pt x="666071" y="409465"/>
                    </a:cubicBezTo>
                    <a:cubicBezTo>
                      <a:pt x="665369" y="413180"/>
                      <a:pt x="664856" y="416948"/>
                      <a:pt x="663897" y="420595"/>
                    </a:cubicBezTo>
                    <a:lnTo>
                      <a:pt x="661345" y="431657"/>
                    </a:lnTo>
                    <a:cubicBezTo>
                      <a:pt x="660386" y="435321"/>
                      <a:pt x="659291" y="438934"/>
                      <a:pt x="658280" y="442581"/>
                    </a:cubicBezTo>
                    <a:cubicBezTo>
                      <a:pt x="657749" y="444397"/>
                      <a:pt x="657287" y="446229"/>
                      <a:pt x="656722" y="448027"/>
                    </a:cubicBezTo>
                    <a:lnTo>
                      <a:pt x="654890" y="453404"/>
                    </a:lnTo>
                    <a:lnTo>
                      <a:pt x="653075" y="458780"/>
                    </a:lnTo>
                    <a:cubicBezTo>
                      <a:pt x="652458" y="460561"/>
                      <a:pt x="651910" y="462376"/>
                      <a:pt x="651174" y="464123"/>
                    </a:cubicBezTo>
                    <a:lnTo>
                      <a:pt x="647013" y="474671"/>
                    </a:lnTo>
                    <a:cubicBezTo>
                      <a:pt x="646362" y="476452"/>
                      <a:pt x="645557" y="478164"/>
                      <a:pt x="644770" y="479876"/>
                    </a:cubicBezTo>
                    <a:lnTo>
                      <a:pt x="642424" y="485048"/>
                    </a:lnTo>
                    <a:lnTo>
                      <a:pt x="640095" y="490219"/>
                    </a:lnTo>
                    <a:cubicBezTo>
                      <a:pt x="639290" y="491931"/>
                      <a:pt x="638383" y="493592"/>
                      <a:pt x="637526" y="495288"/>
                    </a:cubicBezTo>
                    <a:cubicBezTo>
                      <a:pt x="635780" y="498644"/>
                      <a:pt x="634119" y="502051"/>
                      <a:pt x="632321" y="505373"/>
                    </a:cubicBezTo>
                    <a:lnTo>
                      <a:pt x="626653" y="515219"/>
                    </a:lnTo>
                    <a:lnTo>
                      <a:pt x="625249" y="517685"/>
                    </a:lnTo>
                    <a:lnTo>
                      <a:pt x="623725" y="520082"/>
                    </a:lnTo>
                    <a:lnTo>
                      <a:pt x="620660" y="524860"/>
                    </a:lnTo>
                    <a:cubicBezTo>
                      <a:pt x="618622" y="528045"/>
                      <a:pt x="616636" y="531281"/>
                      <a:pt x="614358" y="534312"/>
                    </a:cubicBezTo>
                    <a:lnTo>
                      <a:pt x="607766" y="543576"/>
                    </a:lnTo>
                    <a:cubicBezTo>
                      <a:pt x="603040" y="549501"/>
                      <a:pt x="598519" y="555597"/>
                      <a:pt x="593416" y="561213"/>
                    </a:cubicBezTo>
                    <a:cubicBezTo>
                      <a:pt x="588587" y="567069"/>
                      <a:pt x="583176" y="572378"/>
                      <a:pt x="578005" y="577926"/>
                    </a:cubicBezTo>
                    <a:cubicBezTo>
                      <a:pt x="572457" y="583097"/>
                      <a:pt x="567149" y="588525"/>
                      <a:pt x="561293" y="593337"/>
                    </a:cubicBezTo>
                    <a:cubicBezTo>
                      <a:pt x="555676" y="598440"/>
                      <a:pt x="549580" y="602960"/>
                      <a:pt x="543655" y="607686"/>
                    </a:cubicBezTo>
                    <a:lnTo>
                      <a:pt x="534391" y="614279"/>
                    </a:lnTo>
                    <a:cubicBezTo>
                      <a:pt x="531361" y="616556"/>
                      <a:pt x="528124" y="618543"/>
                      <a:pt x="524939" y="620580"/>
                    </a:cubicBezTo>
                    <a:lnTo>
                      <a:pt x="520162" y="623645"/>
                    </a:lnTo>
                    <a:lnTo>
                      <a:pt x="517764" y="625169"/>
                    </a:lnTo>
                    <a:lnTo>
                      <a:pt x="515299" y="626574"/>
                    </a:lnTo>
                    <a:lnTo>
                      <a:pt x="505453" y="632241"/>
                    </a:lnTo>
                    <a:cubicBezTo>
                      <a:pt x="502131" y="634039"/>
                      <a:pt x="498723" y="635700"/>
                      <a:pt x="495367" y="637447"/>
                    </a:cubicBezTo>
                    <a:cubicBezTo>
                      <a:pt x="493672" y="638303"/>
                      <a:pt x="492011" y="639211"/>
                      <a:pt x="490298" y="640015"/>
                    </a:cubicBezTo>
                    <a:lnTo>
                      <a:pt x="485127" y="642344"/>
                    </a:lnTo>
                    <a:lnTo>
                      <a:pt x="479956" y="644690"/>
                    </a:lnTo>
                    <a:cubicBezTo>
                      <a:pt x="478243" y="645478"/>
                      <a:pt x="476514" y="646283"/>
                      <a:pt x="474750" y="646933"/>
                    </a:cubicBezTo>
                    <a:lnTo>
                      <a:pt x="464202" y="651094"/>
                    </a:lnTo>
                    <a:cubicBezTo>
                      <a:pt x="462455" y="651831"/>
                      <a:pt x="460657" y="652379"/>
                      <a:pt x="458860" y="652995"/>
                    </a:cubicBezTo>
                    <a:lnTo>
                      <a:pt x="453483" y="654810"/>
                    </a:lnTo>
                    <a:lnTo>
                      <a:pt x="448106" y="656642"/>
                    </a:lnTo>
                    <a:cubicBezTo>
                      <a:pt x="446308" y="657208"/>
                      <a:pt x="444476" y="657670"/>
                      <a:pt x="442661" y="658201"/>
                    </a:cubicBezTo>
                    <a:cubicBezTo>
                      <a:pt x="439013" y="659211"/>
                      <a:pt x="435400" y="660307"/>
                      <a:pt x="431736" y="661266"/>
                    </a:cubicBezTo>
                    <a:lnTo>
                      <a:pt x="420674" y="663817"/>
                    </a:lnTo>
                    <a:cubicBezTo>
                      <a:pt x="417010" y="664776"/>
                      <a:pt x="413260" y="665290"/>
                      <a:pt x="409544" y="665992"/>
                    </a:cubicBezTo>
                    <a:cubicBezTo>
                      <a:pt x="405811" y="666608"/>
                      <a:pt x="402112" y="667464"/>
                      <a:pt x="398345" y="667841"/>
                    </a:cubicBezTo>
                    <a:lnTo>
                      <a:pt x="387078" y="669280"/>
                    </a:lnTo>
                    <a:cubicBezTo>
                      <a:pt x="383310" y="669725"/>
                      <a:pt x="379526" y="669879"/>
                      <a:pt x="375742" y="670204"/>
                    </a:cubicBezTo>
                    <a:lnTo>
                      <a:pt x="370074" y="670649"/>
                    </a:lnTo>
                    <a:cubicBezTo>
                      <a:pt x="368173" y="670769"/>
                      <a:pt x="366273" y="670752"/>
                      <a:pt x="364389" y="670821"/>
                    </a:cubicBezTo>
                    <a:lnTo>
                      <a:pt x="353002" y="671129"/>
                    </a:lnTo>
                    <a:lnTo>
                      <a:pt x="341615" y="670821"/>
                    </a:lnTo>
                    <a:cubicBezTo>
                      <a:pt x="339714" y="670752"/>
                      <a:pt x="337813" y="670769"/>
                      <a:pt x="335930" y="670649"/>
                    </a:cubicBezTo>
                    <a:lnTo>
                      <a:pt x="330262" y="670204"/>
                    </a:lnTo>
                    <a:cubicBezTo>
                      <a:pt x="326494" y="669879"/>
                      <a:pt x="322693" y="669725"/>
                      <a:pt x="318926" y="669280"/>
                    </a:cubicBezTo>
                    <a:lnTo>
                      <a:pt x="307659" y="667841"/>
                    </a:lnTo>
                    <a:cubicBezTo>
                      <a:pt x="303891" y="667482"/>
                      <a:pt x="300193" y="666608"/>
                      <a:pt x="296460" y="665992"/>
                    </a:cubicBezTo>
                    <a:cubicBezTo>
                      <a:pt x="292744" y="665290"/>
                      <a:pt x="288977" y="664776"/>
                      <a:pt x="285330" y="663817"/>
                    </a:cubicBezTo>
                    <a:lnTo>
                      <a:pt x="274268" y="661266"/>
                    </a:lnTo>
                    <a:cubicBezTo>
                      <a:pt x="270603" y="660307"/>
                      <a:pt x="266990" y="659211"/>
                      <a:pt x="263343" y="658201"/>
                    </a:cubicBezTo>
                    <a:cubicBezTo>
                      <a:pt x="261528" y="657670"/>
                      <a:pt x="259696" y="657208"/>
                      <a:pt x="257898" y="656642"/>
                    </a:cubicBezTo>
                    <a:lnTo>
                      <a:pt x="252521" y="654810"/>
                    </a:lnTo>
                    <a:lnTo>
                      <a:pt x="247144" y="652995"/>
                    </a:lnTo>
                    <a:cubicBezTo>
                      <a:pt x="245363" y="652379"/>
                      <a:pt x="243548" y="651831"/>
                      <a:pt x="241802" y="651094"/>
                    </a:cubicBezTo>
                    <a:lnTo>
                      <a:pt x="231253" y="646933"/>
                    </a:lnTo>
                    <a:cubicBezTo>
                      <a:pt x="229473" y="646283"/>
                      <a:pt x="227760" y="645478"/>
                      <a:pt x="226048" y="644690"/>
                    </a:cubicBezTo>
                    <a:lnTo>
                      <a:pt x="220877" y="642344"/>
                    </a:lnTo>
                    <a:lnTo>
                      <a:pt x="215705" y="640015"/>
                    </a:lnTo>
                    <a:cubicBezTo>
                      <a:pt x="213993" y="639211"/>
                      <a:pt x="212332" y="638303"/>
                      <a:pt x="210637" y="637447"/>
                    </a:cubicBezTo>
                    <a:cubicBezTo>
                      <a:pt x="207280" y="635700"/>
                      <a:pt x="203873" y="634039"/>
                      <a:pt x="200551" y="632241"/>
                    </a:cubicBezTo>
                    <a:lnTo>
                      <a:pt x="190705" y="626574"/>
                    </a:lnTo>
                    <a:lnTo>
                      <a:pt x="188239" y="625169"/>
                    </a:lnTo>
                    <a:lnTo>
                      <a:pt x="185842" y="623645"/>
                    </a:lnTo>
                    <a:lnTo>
                      <a:pt x="181064" y="620580"/>
                    </a:lnTo>
                    <a:cubicBezTo>
                      <a:pt x="177879" y="618543"/>
                      <a:pt x="174643" y="616556"/>
                      <a:pt x="171612" y="614279"/>
                    </a:cubicBezTo>
                    <a:lnTo>
                      <a:pt x="162348" y="607686"/>
                    </a:lnTo>
                    <a:cubicBezTo>
                      <a:pt x="156424" y="602960"/>
                      <a:pt x="150328" y="598440"/>
                      <a:pt x="144711" y="593337"/>
                    </a:cubicBezTo>
                    <a:cubicBezTo>
                      <a:pt x="138855" y="588508"/>
                      <a:pt x="133546" y="583097"/>
                      <a:pt x="127998" y="577926"/>
                    </a:cubicBezTo>
                    <a:cubicBezTo>
                      <a:pt x="122827" y="572378"/>
                      <a:pt x="117399" y="567069"/>
                      <a:pt x="112587" y="561213"/>
                    </a:cubicBezTo>
                    <a:cubicBezTo>
                      <a:pt x="107484" y="555597"/>
                      <a:pt x="102964" y="549501"/>
                      <a:pt x="98238" y="543576"/>
                    </a:cubicBezTo>
                    <a:lnTo>
                      <a:pt x="91645" y="534312"/>
                    </a:lnTo>
                    <a:cubicBezTo>
                      <a:pt x="89368" y="531281"/>
                      <a:pt x="87381" y="528045"/>
                      <a:pt x="85344" y="524860"/>
                    </a:cubicBezTo>
                    <a:lnTo>
                      <a:pt x="82279" y="520082"/>
                    </a:lnTo>
                    <a:lnTo>
                      <a:pt x="80755" y="517685"/>
                    </a:lnTo>
                    <a:lnTo>
                      <a:pt x="79351" y="515219"/>
                    </a:lnTo>
                    <a:lnTo>
                      <a:pt x="73683" y="505373"/>
                    </a:lnTo>
                    <a:cubicBezTo>
                      <a:pt x="71885" y="502051"/>
                      <a:pt x="70224" y="498644"/>
                      <a:pt x="68477" y="495288"/>
                    </a:cubicBezTo>
                    <a:cubicBezTo>
                      <a:pt x="67621" y="493592"/>
                      <a:pt x="66713" y="491931"/>
                      <a:pt x="65908" y="490219"/>
                    </a:cubicBezTo>
                    <a:lnTo>
                      <a:pt x="63580" y="485048"/>
                    </a:lnTo>
                    <a:lnTo>
                      <a:pt x="61234" y="479876"/>
                    </a:lnTo>
                    <a:cubicBezTo>
                      <a:pt x="60446" y="478164"/>
                      <a:pt x="59641" y="476435"/>
                      <a:pt x="58991" y="474671"/>
                    </a:cubicBezTo>
                    <a:lnTo>
                      <a:pt x="54830" y="464123"/>
                    </a:lnTo>
                    <a:cubicBezTo>
                      <a:pt x="54093" y="462376"/>
                      <a:pt x="53545" y="460578"/>
                      <a:pt x="52929" y="458780"/>
                    </a:cubicBezTo>
                    <a:lnTo>
                      <a:pt x="51114" y="453404"/>
                    </a:lnTo>
                    <a:lnTo>
                      <a:pt x="49282" y="448027"/>
                    </a:lnTo>
                    <a:cubicBezTo>
                      <a:pt x="48716" y="446229"/>
                      <a:pt x="48254" y="444397"/>
                      <a:pt x="47723" y="442581"/>
                    </a:cubicBezTo>
                    <a:cubicBezTo>
                      <a:pt x="46713" y="438934"/>
                      <a:pt x="45617" y="435321"/>
                      <a:pt x="44658" y="431657"/>
                    </a:cubicBezTo>
                    <a:lnTo>
                      <a:pt x="42107" y="420595"/>
                    </a:lnTo>
                    <a:cubicBezTo>
                      <a:pt x="41148" y="416930"/>
                      <a:pt x="40634" y="413180"/>
                      <a:pt x="39932" y="409465"/>
                    </a:cubicBezTo>
                    <a:cubicBezTo>
                      <a:pt x="39316" y="405732"/>
                      <a:pt x="38460" y="402033"/>
                      <a:pt x="38083" y="398266"/>
                    </a:cubicBezTo>
                    <a:lnTo>
                      <a:pt x="36644" y="386999"/>
                    </a:lnTo>
                    <a:cubicBezTo>
                      <a:pt x="36199" y="383231"/>
                      <a:pt x="36045" y="379447"/>
                      <a:pt x="35720" y="375663"/>
                    </a:cubicBezTo>
                    <a:lnTo>
                      <a:pt x="35275" y="369995"/>
                    </a:lnTo>
                    <a:cubicBezTo>
                      <a:pt x="35155" y="368094"/>
                      <a:pt x="35172" y="366193"/>
                      <a:pt x="35103" y="364310"/>
                    </a:cubicBezTo>
                    <a:lnTo>
                      <a:pt x="34795" y="352923"/>
                    </a:lnTo>
                    <a:lnTo>
                      <a:pt x="35103" y="341536"/>
                    </a:lnTo>
                    <a:cubicBezTo>
                      <a:pt x="35172" y="339635"/>
                      <a:pt x="35155" y="337734"/>
                      <a:pt x="35275" y="335851"/>
                    </a:cubicBezTo>
                    <a:lnTo>
                      <a:pt x="35720" y="330183"/>
                    </a:lnTo>
                    <a:cubicBezTo>
                      <a:pt x="36045" y="326416"/>
                      <a:pt x="36199" y="322614"/>
                      <a:pt x="36644" y="318847"/>
                    </a:cubicBezTo>
                    <a:lnTo>
                      <a:pt x="38083" y="307580"/>
                    </a:lnTo>
                    <a:cubicBezTo>
                      <a:pt x="38442" y="303813"/>
                      <a:pt x="39316" y="300114"/>
                      <a:pt x="39932" y="296381"/>
                    </a:cubicBezTo>
                    <a:cubicBezTo>
                      <a:pt x="40634" y="292665"/>
                      <a:pt x="41148" y="288898"/>
                      <a:pt x="42107" y="285251"/>
                    </a:cubicBezTo>
                    <a:lnTo>
                      <a:pt x="44658" y="274189"/>
                    </a:lnTo>
                    <a:cubicBezTo>
                      <a:pt x="45617" y="270524"/>
                      <a:pt x="46713" y="266911"/>
                      <a:pt x="47723" y="263264"/>
                    </a:cubicBezTo>
                    <a:cubicBezTo>
                      <a:pt x="48254" y="261449"/>
                      <a:pt x="48716" y="259617"/>
                      <a:pt x="49282" y="257819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94" name="Freeform 7">
                <a:extLst>
                  <a:ext uri="{FF2B5EF4-FFF2-40B4-BE49-F238E27FC236}">
                    <a16:creationId xmlns:a16="http://schemas.microsoft.com/office/drawing/2014/main" id="{E59D59DE-9BE4-AE3B-9465-91D519996A78}"/>
                  </a:ext>
                </a:extLst>
              </p:cNvPr>
              <p:cNvSpPr/>
              <p:nvPr/>
            </p:nvSpPr>
            <p:spPr>
              <a:xfrm>
                <a:off x="2526755" y="2847408"/>
                <a:ext cx="843060" cy="843058"/>
              </a:xfrm>
              <a:custGeom>
                <a:avLst/>
                <a:gdLst>
                  <a:gd name="connsiteX0" fmla="*/ 842461 w 843060"/>
                  <a:gd name="connsiteY0" fmla="*/ 399012 h 843058"/>
                  <a:gd name="connsiteX1" fmla="*/ 841896 w 843060"/>
                  <a:gd name="connsiteY1" fmla="*/ 391512 h 843058"/>
                  <a:gd name="connsiteX2" fmla="*/ 840646 w 843060"/>
                  <a:gd name="connsiteY2" fmla="*/ 376529 h 843058"/>
                  <a:gd name="connsiteX3" fmla="*/ 838762 w 843060"/>
                  <a:gd name="connsiteY3" fmla="*/ 361597 h 843058"/>
                  <a:gd name="connsiteX4" fmla="*/ 836331 w 843060"/>
                  <a:gd name="connsiteY4" fmla="*/ 346751 h 843058"/>
                  <a:gd name="connsiteX5" fmla="*/ 833437 w 843060"/>
                  <a:gd name="connsiteY5" fmla="*/ 331973 h 843058"/>
                  <a:gd name="connsiteX6" fmla="*/ 830046 w 843060"/>
                  <a:gd name="connsiteY6" fmla="*/ 317299 h 843058"/>
                  <a:gd name="connsiteX7" fmla="*/ 825988 w 843060"/>
                  <a:gd name="connsiteY7" fmla="*/ 302795 h 843058"/>
                  <a:gd name="connsiteX8" fmla="*/ 823882 w 843060"/>
                  <a:gd name="connsiteY8" fmla="*/ 295569 h 843058"/>
                  <a:gd name="connsiteX9" fmla="*/ 821485 w 843060"/>
                  <a:gd name="connsiteY9" fmla="*/ 288428 h 843058"/>
                  <a:gd name="connsiteX10" fmla="*/ 819070 w 843060"/>
                  <a:gd name="connsiteY10" fmla="*/ 281288 h 843058"/>
                  <a:gd name="connsiteX11" fmla="*/ 816536 w 843060"/>
                  <a:gd name="connsiteY11" fmla="*/ 274199 h 843058"/>
                  <a:gd name="connsiteX12" fmla="*/ 811005 w 843060"/>
                  <a:gd name="connsiteY12" fmla="*/ 260192 h 843058"/>
                  <a:gd name="connsiteX13" fmla="*/ 808043 w 843060"/>
                  <a:gd name="connsiteY13" fmla="*/ 253274 h 843058"/>
                  <a:gd name="connsiteX14" fmla="*/ 804943 w 843060"/>
                  <a:gd name="connsiteY14" fmla="*/ 246407 h 843058"/>
                  <a:gd name="connsiteX15" fmla="*/ 801827 w 843060"/>
                  <a:gd name="connsiteY15" fmla="*/ 239558 h 843058"/>
                  <a:gd name="connsiteX16" fmla="*/ 798436 w 843060"/>
                  <a:gd name="connsiteY16" fmla="*/ 232828 h 843058"/>
                  <a:gd name="connsiteX17" fmla="*/ 791518 w 843060"/>
                  <a:gd name="connsiteY17" fmla="*/ 219472 h 843058"/>
                  <a:gd name="connsiteX18" fmla="*/ 784018 w 843060"/>
                  <a:gd name="connsiteY18" fmla="*/ 206424 h 843058"/>
                  <a:gd name="connsiteX19" fmla="*/ 782135 w 843060"/>
                  <a:gd name="connsiteY19" fmla="*/ 203170 h 843058"/>
                  <a:gd name="connsiteX20" fmla="*/ 780114 w 843060"/>
                  <a:gd name="connsiteY20" fmla="*/ 199985 h 843058"/>
                  <a:gd name="connsiteX21" fmla="*/ 776056 w 843060"/>
                  <a:gd name="connsiteY21" fmla="*/ 193650 h 843058"/>
                  <a:gd name="connsiteX22" fmla="*/ 767700 w 843060"/>
                  <a:gd name="connsiteY22" fmla="*/ 181132 h 843058"/>
                  <a:gd name="connsiteX23" fmla="*/ 758949 w 843060"/>
                  <a:gd name="connsiteY23" fmla="*/ 168889 h 843058"/>
                  <a:gd name="connsiteX24" fmla="*/ 739994 w 843060"/>
                  <a:gd name="connsiteY24" fmla="*/ 145550 h 843058"/>
                  <a:gd name="connsiteX25" fmla="*/ 719582 w 843060"/>
                  <a:gd name="connsiteY25" fmla="*/ 123478 h 843058"/>
                  <a:gd name="connsiteX26" fmla="*/ 697510 w 843060"/>
                  <a:gd name="connsiteY26" fmla="*/ 103066 h 843058"/>
                  <a:gd name="connsiteX27" fmla="*/ 674171 w 843060"/>
                  <a:gd name="connsiteY27" fmla="*/ 84111 h 843058"/>
                  <a:gd name="connsiteX28" fmla="*/ 661927 w 843060"/>
                  <a:gd name="connsiteY28" fmla="*/ 75361 h 843058"/>
                  <a:gd name="connsiteX29" fmla="*/ 649410 w 843060"/>
                  <a:gd name="connsiteY29" fmla="*/ 67004 h 843058"/>
                  <a:gd name="connsiteX30" fmla="*/ 643075 w 843060"/>
                  <a:gd name="connsiteY30" fmla="*/ 62946 h 843058"/>
                  <a:gd name="connsiteX31" fmla="*/ 639890 w 843060"/>
                  <a:gd name="connsiteY31" fmla="*/ 60925 h 843058"/>
                  <a:gd name="connsiteX32" fmla="*/ 636636 w 843060"/>
                  <a:gd name="connsiteY32" fmla="*/ 59042 h 843058"/>
                  <a:gd name="connsiteX33" fmla="*/ 623588 w 843060"/>
                  <a:gd name="connsiteY33" fmla="*/ 51542 h 843058"/>
                  <a:gd name="connsiteX34" fmla="*/ 610232 w 843060"/>
                  <a:gd name="connsiteY34" fmla="*/ 44624 h 843058"/>
                  <a:gd name="connsiteX35" fmla="*/ 603502 w 843060"/>
                  <a:gd name="connsiteY35" fmla="*/ 41233 h 843058"/>
                  <a:gd name="connsiteX36" fmla="*/ 596653 w 843060"/>
                  <a:gd name="connsiteY36" fmla="*/ 38117 h 843058"/>
                  <a:gd name="connsiteX37" fmla="*/ 589786 w 843060"/>
                  <a:gd name="connsiteY37" fmla="*/ 35018 h 843058"/>
                  <a:gd name="connsiteX38" fmla="*/ 582868 w 843060"/>
                  <a:gd name="connsiteY38" fmla="*/ 32055 h 843058"/>
                  <a:gd name="connsiteX39" fmla="*/ 568861 w 843060"/>
                  <a:gd name="connsiteY39" fmla="*/ 26524 h 843058"/>
                  <a:gd name="connsiteX40" fmla="*/ 561772 w 843060"/>
                  <a:gd name="connsiteY40" fmla="*/ 23990 h 843058"/>
                  <a:gd name="connsiteX41" fmla="*/ 554631 w 843060"/>
                  <a:gd name="connsiteY41" fmla="*/ 21576 h 843058"/>
                  <a:gd name="connsiteX42" fmla="*/ 547491 w 843060"/>
                  <a:gd name="connsiteY42" fmla="*/ 19178 h 843058"/>
                  <a:gd name="connsiteX43" fmla="*/ 540265 w 843060"/>
                  <a:gd name="connsiteY43" fmla="*/ 17072 h 843058"/>
                  <a:gd name="connsiteX44" fmla="*/ 525761 w 843060"/>
                  <a:gd name="connsiteY44" fmla="*/ 13014 h 843058"/>
                  <a:gd name="connsiteX45" fmla="*/ 511086 w 843060"/>
                  <a:gd name="connsiteY45" fmla="*/ 9623 h 843058"/>
                  <a:gd name="connsiteX46" fmla="*/ 496309 w 843060"/>
                  <a:gd name="connsiteY46" fmla="*/ 6730 h 843058"/>
                  <a:gd name="connsiteX47" fmla="*/ 481463 w 843060"/>
                  <a:gd name="connsiteY47" fmla="*/ 4298 h 843058"/>
                  <a:gd name="connsiteX48" fmla="*/ 466531 w 843060"/>
                  <a:gd name="connsiteY48" fmla="*/ 2414 h 843058"/>
                  <a:gd name="connsiteX49" fmla="*/ 451548 w 843060"/>
                  <a:gd name="connsiteY49" fmla="*/ 1164 h 843058"/>
                  <a:gd name="connsiteX50" fmla="*/ 444048 w 843060"/>
                  <a:gd name="connsiteY50" fmla="*/ 599 h 843058"/>
                  <a:gd name="connsiteX51" fmla="*/ 436547 w 843060"/>
                  <a:gd name="connsiteY51" fmla="*/ 360 h 843058"/>
                  <a:gd name="connsiteX52" fmla="*/ 421530 w 843060"/>
                  <a:gd name="connsiteY52" fmla="*/ 0 h 843058"/>
                  <a:gd name="connsiteX53" fmla="*/ 406513 w 843060"/>
                  <a:gd name="connsiteY53" fmla="*/ 360 h 843058"/>
                  <a:gd name="connsiteX54" fmla="*/ 399013 w 843060"/>
                  <a:gd name="connsiteY54" fmla="*/ 599 h 843058"/>
                  <a:gd name="connsiteX55" fmla="*/ 391513 w 843060"/>
                  <a:gd name="connsiteY55" fmla="*/ 1164 h 843058"/>
                  <a:gd name="connsiteX56" fmla="*/ 376530 w 843060"/>
                  <a:gd name="connsiteY56" fmla="*/ 2414 h 843058"/>
                  <a:gd name="connsiteX57" fmla="*/ 361598 w 843060"/>
                  <a:gd name="connsiteY57" fmla="*/ 4298 h 843058"/>
                  <a:gd name="connsiteX58" fmla="*/ 346752 w 843060"/>
                  <a:gd name="connsiteY58" fmla="*/ 6730 h 843058"/>
                  <a:gd name="connsiteX59" fmla="*/ 331974 w 843060"/>
                  <a:gd name="connsiteY59" fmla="*/ 9623 h 843058"/>
                  <a:gd name="connsiteX60" fmla="*/ 317299 w 843060"/>
                  <a:gd name="connsiteY60" fmla="*/ 13014 h 843058"/>
                  <a:gd name="connsiteX61" fmla="*/ 302796 w 843060"/>
                  <a:gd name="connsiteY61" fmla="*/ 17072 h 843058"/>
                  <a:gd name="connsiteX62" fmla="*/ 295569 w 843060"/>
                  <a:gd name="connsiteY62" fmla="*/ 19178 h 843058"/>
                  <a:gd name="connsiteX63" fmla="*/ 288429 w 843060"/>
                  <a:gd name="connsiteY63" fmla="*/ 21576 h 843058"/>
                  <a:gd name="connsiteX64" fmla="*/ 281288 w 843060"/>
                  <a:gd name="connsiteY64" fmla="*/ 23990 h 843058"/>
                  <a:gd name="connsiteX65" fmla="*/ 274199 w 843060"/>
                  <a:gd name="connsiteY65" fmla="*/ 26524 h 843058"/>
                  <a:gd name="connsiteX66" fmla="*/ 260192 w 843060"/>
                  <a:gd name="connsiteY66" fmla="*/ 32055 h 843058"/>
                  <a:gd name="connsiteX67" fmla="*/ 253274 w 843060"/>
                  <a:gd name="connsiteY67" fmla="*/ 35018 h 843058"/>
                  <a:gd name="connsiteX68" fmla="*/ 246408 w 843060"/>
                  <a:gd name="connsiteY68" fmla="*/ 38117 h 843058"/>
                  <a:gd name="connsiteX69" fmla="*/ 239558 w 843060"/>
                  <a:gd name="connsiteY69" fmla="*/ 41233 h 843058"/>
                  <a:gd name="connsiteX70" fmla="*/ 232829 w 843060"/>
                  <a:gd name="connsiteY70" fmla="*/ 44624 h 843058"/>
                  <a:gd name="connsiteX71" fmla="*/ 219472 w 843060"/>
                  <a:gd name="connsiteY71" fmla="*/ 51542 h 843058"/>
                  <a:gd name="connsiteX72" fmla="*/ 206424 w 843060"/>
                  <a:gd name="connsiteY72" fmla="*/ 59042 h 843058"/>
                  <a:gd name="connsiteX73" fmla="*/ 203171 w 843060"/>
                  <a:gd name="connsiteY73" fmla="*/ 60925 h 843058"/>
                  <a:gd name="connsiteX74" fmla="*/ 199986 w 843060"/>
                  <a:gd name="connsiteY74" fmla="*/ 62946 h 843058"/>
                  <a:gd name="connsiteX75" fmla="*/ 193650 w 843060"/>
                  <a:gd name="connsiteY75" fmla="*/ 67004 h 843058"/>
                  <a:gd name="connsiteX76" fmla="*/ 181133 w 843060"/>
                  <a:gd name="connsiteY76" fmla="*/ 75361 h 843058"/>
                  <a:gd name="connsiteX77" fmla="*/ 168889 w 843060"/>
                  <a:gd name="connsiteY77" fmla="*/ 84111 h 843058"/>
                  <a:gd name="connsiteX78" fmla="*/ 145550 w 843060"/>
                  <a:gd name="connsiteY78" fmla="*/ 103066 h 843058"/>
                  <a:gd name="connsiteX79" fmla="*/ 123478 w 843060"/>
                  <a:gd name="connsiteY79" fmla="*/ 123478 h 843058"/>
                  <a:gd name="connsiteX80" fmla="*/ 103067 w 843060"/>
                  <a:gd name="connsiteY80" fmla="*/ 145550 h 843058"/>
                  <a:gd name="connsiteX81" fmla="*/ 84111 w 843060"/>
                  <a:gd name="connsiteY81" fmla="*/ 168889 h 843058"/>
                  <a:gd name="connsiteX82" fmla="*/ 75361 w 843060"/>
                  <a:gd name="connsiteY82" fmla="*/ 181132 h 843058"/>
                  <a:gd name="connsiteX83" fmla="*/ 67004 w 843060"/>
                  <a:gd name="connsiteY83" fmla="*/ 193650 h 843058"/>
                  <a:gd name="connsiteX84" fmla="*/ 62946 w 843060"/>
                  <a:gd name="connsiteY84" fmla="*/ 199985 h 843058"/>
                  <a:gd name="connsiteX85" fmla="*/ 60926 w 843060"/>
                  <a:gd name="connsiteY85" fmla="*/ 203170 h 843058"/>
                  <a:gd name="connsiteX86" fmla="*/ 59042 w 843060"/>
                  <a:gd name="connsiteY86" fmla="*/ 206424 h 843058"/>
                  <a:gd name="connsiteX87" fmla="*/ 51542 w 843060"/>
                  <a:gd name="connsiteY87" fmla="*/ 219472 h 843058"/>
                  <a:gd name="connsiteX88" fmla="*/ 44624 w 843060"/>
                  <a:gd name="connsiteY88" fmla="*/ 232828 h 843058"/>
                  <a:gd name="connsiteX89" fmla="*/ 41233 w 843060"/>
                  <a:gd name="connsiteY89" fmla="*/ 239558 h 843058"/>
                  <a:gd name="connsiteX90" fmla="*/ 38117 w 843060"/>
                  <a:gd name="connsiteY90" fmla="*/ 246407 h 843058"/>
                  <a:gd name="connsiteX91" fmla="*/ 35018 w 843060"/>
                  <a:gd name="connsiteY91" fmla="*/ 253274 h 843058"/>
                  <a:gd name="connsiteX92" fmla="*/ 32055 w 843060"/>
                  <a:gd name="connsiteY92" fmla="*/ 260192 h 843058"/>
                  <a:gd name="connsiteX93" fmla="*/ 26524 w 843060"/>
                  <a:gd name="connsiteY93" fmla="*/ 274199 h 843058"/>
                  <a:gd name="connsiteX94" fmla="*/ 23990 w 843060"/>
                  <a:gd name="connsiteY94" fmla="*/ 281288 h 843058"/>
                  <a:gd name="connsiteX95" fmla="*/ 21576 w 843060"/>
                  <a:gd name="connsiteY95" fmla="*/ 288428 h 843058"/>
                  <a:gd name="connsiteX96" fmla="*/ 19178 w 843060"/>
                  <a:gd name="connsiteY96" fmla="*/ 295569 h 843058"/>
                  <a:gd name="connsiteX97" fmla="*/ 17072 w 843060"/>
                  <a:gd name="connsiteY97" fmla="*/ 302795 h 843058"/>
                  <a:gd name="connsiteX98" fmla="*/ 13014 w 843060"/>
                  <a:gd name="connsiteY98" fmla="*/ 317299 h 843058"/>
                  <a:gd name="connsiteX99" fmla="*/ 9623 w 843060"/>
                  <a:gd name="connsiteY99" fmla="*/ 331973 h 843058"/>
                  <a:gd name="connsiteX100" fmla="*/ 6730 w 843060"/>
                  <a:gd name="connsiteY100" fmla="*/ 346751 h 843058"/>
                  <a:gd name="connsiteX101" fmla="*/ 4298 w 843060"/>
                  <a:gd name="connsiteY101" fmla="*/ 361597 h 843058"/>
                  <a:gd name="connsiteX102" fmla="*/ 2414 w 843060"/>
                  <a:gd name="connsiteY102" fmla="*/ 376529 h 843058"/>
                  <a:gd name="connsiteX103" fmla="*/ 1164 w 843060"/>
                  <a:gd name="connsiteY103" fmla="*/ 391512 h 843058"/>
                  <a:gd name="connsiteX104" fmla="*/ 599 w 843060"/>
                  <a:gd name="connsiteY104" fmla="*/ 399012 h 843058"/>
                  <a:gd name="connsiteX105" fmla="*/ 360 w 843060"/>
                  <a:gd name="connsiteY105" fmla="*/ 406512 h 843058"/>
                  <a:gd name="connsiteX106" fmla="*/ 0 w 843060"/>
                  <a:gd name="connsiteY106" fmla="*/ 421529 h 843058"/>
                  <a:gd name="connsiteX107" fmla="*/ 360 w 843060"/>
                  <a:gd name="connsiteY107" fmla="*/ 436547 h 843058"/>
                  <a:gd name="connsiteX108" fmla="*/ 599 w 843060"/>
                  <a:gd name="connsiteY108" fmla="*/ 444047 h 843058"/>
                  <a:gd name="connsiteX109" fmla="*/ 1164 w 843060"/>
                  <a:gd name="connsiteY109" fmla="*/ 451547 h 843058"/>
                  <a:gd name="connsiteX110" fmla="*/ 2414 w 843060"/>
                  <a:gd name="connsiteY110" fmla="*/ 466530 h 843058"/>
                  <a:gd name="connsiteX111" fmla="*/ 4298 w 843060"/>
                  <a:gd name="connsiteY111" fmla="*/ 481462 h 843058"/>
                  <a:gd name="connsiteX112" fmla="*/ 6730 w 843060"/>
                  <a:gd name="connsiteY112" fmla="*/ 496308 h 843058"/>
                  <a:gd name="connsiteX113" fmla="*/ 9623 w 843060"/>
                  <a:gd name="connsiteY113" fmla="*/ 511085 h 843058"/>
                  <a:gd name="connsiteX114" fmla="*/ 13014 w 843060"/>
                  <a:gd name="connsiteY114" fmla="*/ 525760 h 843058"/>
                  <a:gd name="connsiteX115" fmla="*/ 17072 w 843060"/>
                  <a:gd name="connsiteY115" fmla="*/ 540264 h 843058"/>
                  <a:gd name="connsiteX116" fmla="*/ 19178 w 843060"/>
                  <a:gd name="connsiteY116" fmla="*/ 547490 h 843058"/>
                  <a:gd name="connsiteX117" fmla="*/ 21576 w 843060"/>
                  <a:gd name="connsiteY117" fmla="*/ 554630 h 843058"/>
                  <a:gd name="connsiteX118" fmla="*/ 23990 w 843060"/>
                  <a:gd name="connsiteY118" fmla="*/ 561771 h 843058"/>
                  <a:gd name="connsiteX119" fmla="*/ 26524 w 843060"/>
                  <a:gd name="connsiteY119" fmla="*/ 568860 h 843058"/>
                  <a:gd name="connsiteX120" fmla="*/ 32055 w 843060"/>
                  <a:gd name="connsiteY120" fmla="*/ 582867 h 843058"/>
                  <a:gd name="connsiteX121" fmla="*/ 35018 w 843060"/>
                  <a:gd name="connsiteY121" fmla="*/ 589785 h 843058"/>
                  <a:gd name="connsiteX122" fmla="*/ 38117 w 843060"/>
                  <a:gd name="connsiteY122" fmla="*/ 596652 h 843058"/>
                  <a:gd name="connsiteX123" fmla="*/ 41233 w 843060"/>
                  <a:gd name="connsiteY123" fmla="*/ 603501 h 843058"/>
                  <a:gd name="connsiteX124" fmla="*/ 44624 w 843060"/>
                  <a:gd name="connsiteY124" fmla="*/ 610230 h 843058"/>
                  <a:gd name="connsiteX125" fmla="*/ 51542 w 843060"/>
                  <a:gd name="connsiteY125" fmla="*/ 623587 h 843058"/>
                  <a:gd name="connsiteX126" fmla="*/ 59042 w 843060"/>
                  <a:gd name="connsiteY126" fmla="*/ 636635 h 843058"/>
                  <a:gd name="connsiteX127" fmla="*/ 60926 w 843060"/>
                  <a:gd name="connsiteY127" fmla="*/ 639888 h 843058"/>
                  <a:gd name="connsiteX128" fmla="*/ 62946 w 843060"/>
                  <a:gd name="connsiteY128" fmla="*/ 643073 h 843058"/>
                  <a:gd name="connsiteX129" fmla="*/ 67004 w 843060"/>
                  <a:gd name="connsiteY129" fmla="*/ 649409 h 843058"/>
                  <a:gd name="connsiteX130" fmla="*/ 75361 w 843060"/>
                  <a:gd name="connsiteY130" fmla="*/ 661926 h 843058"/>
                  <a:gd name="connsiteX131" fmla="*/ 84111 w 843060"/>
                  <a:gd name="connsiteY131" fmla="*/ 674170 h 843058"/>
                  <a:gd name="connsiteX132" fmla="*/ 103067 w 843060"/>
                  <a:gd name="connsiteY132" fmla="*/ 697509 h 843058"/>
                  <a:gd name="connsiteX133" fmla="*/ 123478 w 843060"/>
                  <a:gd name="connsiteY133" fmla="*/ 719581 h 843058"/>
                  <a:gd name="connsiteX134" fmla="*/ 145550 w 843060"/>
                  <a:gd name="connsiteY134" fmla="*/ 739992 h 843058"/>
                  <a:gd name="connsiteX135" fmla="*/ 168889 w 843060"/>
                  <a:gd name="connsiteY135" fmla="*/ 758948 h 843058"/>
                  <a:gd name="connsiteX136" fmla="*/ 181133 w 843060"/>
                  <a:gd name="connsiteY136" fmla="*/ 767698 h 843058"/>
                  <a:gd name="connsiteX137" fmla="*/ 193650 w 843060"/>
                  <a:gd name="connsiteY137" fmla="*/ 776055 h 843058"/>
                  <a:gd name="connsiteX138" fmla="*/ 199986 w 843060"/>
                  <a:gd name="connsiteY138" fmla="*/ 780113 h 843058"/>
                  <a:gd name="connsiteX139" fmla="*/ 203171 w 843060"/>
                  <a:gd name="connsiteY139" fmla="*/ 782133 h 843058"/>
                  <a:gd name="connsiteX140" fmla="*/ 206424 w 843060"/>
                  <a:gd name="connsiteY140" fmla="*/ 784017 h 843058"/>
                  <a:gd name="connsiteX141" fmla="*/ 219472 w 843060"/>
                  <a:gd name="connsiteY141" fmla="*/ 791517 h 843058"/>
                  <a:gd name="connsiteX142" fmla="*/ 232829 w 843060"/>
                  <a:gd name="connsiteY142" fmla="*/ 798435 h 843058"/>
                  <a:gd name="connsiteX143" fmla="*/ 239558 w 843060"/>
                  <a:gd name="connsiteY143" fmla="*/ 801825 h 843058"/>
                  <a:gd name="connsiteX144" fmla="*/ 246408 w 843060"/>
                  <a:gd name="connsiteY144" fmla="*/ 804942 h 843058"/>
                  <a:gd name="connsiteX145" fmla="*/ 253274 w 843060"/>
                  <a:gd name="connsiteY145" fmla="*/ 808041 h 843058"/>
                  <a:gd name="connsiteX146" fmla="*/ 260192 w 843060"/>
                  <a:gd name="connsiteY146" fmla="*/ 811004 h 843058"/>
                  <a:gd name="connsiteX147" fmla="*/ 274199 w 843060"/>
                  <a:gd name="connsiteY147" fmla="*/ 816534 h 843058"/>
                  <a:gd name="connsiteX148" fmla="*/ 281288 w 843060"/>
                  <a:gd name="connsiteY148" fmla="*/ 819069 h 843058"/>
                  <a:gd name="connsiteX149" fmla="*/ 288429 w 843060"/>
                  <a:gd name="connsiteY149" fmla="*/ 821483 h 843058"/>
                  <a:gd name="connsiteX150" fmla="*/ 295569 w 843060"/>
                  <a:gd name="connsiteY150" fmla="*/ 823880 h 843058"/>
                  <a:gd name="connsiteX151" fmla="*/ 302796 w 843060"/>
                  <a:gd name="connsiteY151" fmla="*/ 825987 h 843058"/>
                  <a:gd name="connsiteX152" fmla="*/ 317299 w 843060"/>
                  <a:gd name="connsiteY152" fmla="*/ 830045 h 843058"/>
                  <a:gd name="connsiteX153" fmla="*/ 331974 w 843060"/>
                  <a:gd name="connsiteY153" fmla="*/ 833435 h 843058"/>
                  <a:gd name="connsiteX154" fmla="*/ 346752 w 843060"/>
                  <a:gd name="connsiteY154" fmla="*/ 836329 h 843058"/>
                  <a:gd name="connsiteX155" fmla="*/ 361598 w 843060"/>
                  <a:gd name="connsiteY155" fmla="*/ 838761 h 843058"/>
                  <a:gd name="connsiteX156" fmla="*/ 376530 w 843060"/>
                  <a:gd name="connsiteY156" fmla="*/ 840644 h 843058"/>
                  <a:gd name="connsiteX157" fmla="*/ 391513 w 843060"/>
                  <a:gd name="connsiteY157" fmla="*/ 841894 h 843058"/>
                  <a:gd name="connsiteX158" fmla="*/ 399013 w 843060"/>
                  <a:gd name="connsiteY158" fmla="*/ 842459 h 843058"/>
                  <a:gd name="connsiteX159" fmla="*/ 406513 w 843060"/>
                  <a:gd name="connsiteY159" fmla="*/ 842699 h 843058"/>
                  <a:gd name="connsiteX160" fmla="*/ 421530 w 843060"/>
                  <a:gd name="connsiteY160" fmla="*/ 843059 h 843058"/>
                  <a:gd name="connsiteX161" fmla="*/ 436547 w 843060"/>
                  <a:gd name="connsiteY161" fmla="*/ 842699 h 843058"/>
                  <a:gd name="connsiteX162" fmla="*/ 444048 w 843060"/>
                  <a:gd name="connsiteY162" fmla="*/ 842459 h 843058"/>
                  <a:gd name="connsiteX163" fmla="*/ 451548 w 843060"/>
                  <a:gd name="connsiteY163" fmla="*/ 841894 h 843058"/>
                  <a:gd name="connsiteX164" fmla="*/ 466531 w 843060"/>
                  <a:gd name="connsiteY164" fmla="*/ 840644 h 843058"/>
                  <a:gd name="connsiteX165" fmla="*/ 481463 w 843060"/>
                  <a:gd name="connsiteY165" fmla="*/ 838761 h 843058"/>
                  <a:gd name="connsiteX166" fmla="*/ 496309 w 843060"/>
                  <a:gd name="connsiteY166" fmla="*/ 836329 h 843058"/>
                  <a:gd name="connsiteX167" fmla="*/ 511086 w 843060"/>
                  <a:gd name="connsiteY167" fmla="*/ 833435 h 843058"/>
                  <a:gd name="connsiteX168" fmla="*/ 525761 w 843060"/>
                  <a:gd name="connsiteY168" fmla="*/ 830045 h 843058"/>
                  <a:gd name="connsiteX169" fmla="*/ 540265 w 843060"/>
                  <a:gd name="connsiteY169" fmla="*/ 825987 h 843058"/>
                  <a:gd name="connsiteX170" fmla="*/ 547491 w 843060"/>
                  <a:gd name="connsiteY170" fmla="*/ 823880 h 843058"/>
                  <a:gd name="connsiteX171" fmla="*/ 554631 w 843060"/>
                  <a:gd name="connsiteY171" fmla="*/ 821483 h 843058"/>
                  <a:gd name="connsiteX172" fmla="*/ 561772 w 843060"/>
                  <a:gd name="connsiteY172" fmla="*/ 819069 h 843058"/>
                  <a:gd name="connsiteX173" fmla="*/ 568861 w 843060"/>
                  <a:gd name="connsiteY173" fmla="*/ 816534 h 843058"/>
                  <a:gd name="connsiteX174" fmla="*/ 582868 w 843060"/>
                  <a:gd name="connsiteY174" fmla="*/ 811004 h 843058"/>
                  <a:gd name="connsiteX175" fmla="*/ 589786 w 843060"/>
                  <a:gd name="connsiteY175" fmla="*/ 808041 h 843058"/>
                  <a:gd name="connsiteX176" fmla="*/ 596653 w 843060"/>
                  <a:gd name="connsiteY176" fmla="*/ 804942 h 843058"/>
                  <a:gd name="connsiteX177" fmla="*/ 603502 w 843060"/>
                  <a:gd name="connsiteY177" fmla="*/ 801825 h 843058"/>
                  <a:gd name="connsiteX178" fmla="*/ 610232 w 843060"/>
                  <a:gd name="connsiteY178" fmla="*/ 798435 h 843058"/>
                  <a:gd name="connsiteX179" fmla="*/ 623588 w 843060"/>
                  <a:gd name="connsiteY179" fmla="*/ 791517 h 843058"/>
                  <a:gd name="connsiteX180" fmla="*/ 636636 w 843060"/>
                  <a:gd name="connsiteY180" fmla="*/ 784017 h 843058"/>
                  <a:gd name="connsiteX181" fmla="*/ 639890 w 843060"/>
                  <a:gd name="connsiteY181" fmla="*/ 782133 h 843058"/>
                  <a:gd name="connsiteX182" fmla="*/ 643075 w 843060"/>
                  <a:gd name="connsiteY182" fmla="*/ 780113 h 843058"/>
                  <a:gd name="connsiteX183" fmla="*/ 649410 w 843060"/>
                  <a:gd name="connsiteY183" fmla="*/ 776055 h 843058"/>
                  <a:gd name="connsiteX184" fmla="*/ 661927 w 843060"/>
                  <a:gd name="connsiteY184" fmla="*/ 767698 h 843058"/>
                  <a:gd name="connsiteX185" fmla="*/ 674171 w 843060"/>
                  <a:gd name="connsiteY185" fmla="*/ 758948 h 843058"/>
                  <a:gd name="connsiteX186" fmla="*/ 697510 w 843060"/>
                  <a:gd name="connsiteY186" fmla="*/ 739992 h 843058"/>
                  <a:gd name="connsiteX187" fmla="*/ 719582 w 843060"/>
                  <a:gd name="connsiteY187" fmla="*/ 719581 h 843058"/>
                  <a:gd name="connsiteX188" fmla="*/ 739994 w 843060"/>
                  <a:gd name="connsiteY188" fmla="*/ 697509 h 843058"/>
                  <a:gd name="connsiteX189" fmla="*/ 758949 w 843060"/>
                  <a:gd name="connsiteY189" fmla="*/ 674170 h 843058"/>
                  <a:gd name="connsiteX190" fmla="*/ 767700 w 843060"/>
                  <a:gd name="connsiteY190" fmla="*/ 661926 h 843058"/>
                  <a:gd name="connsiteX191" fmla="*/ 776056 w 843060"/>
                  <a:gd name="connsiteY191" fmla="*/ 649409 h 843058"/>
                  <a:gd name="connsiteX192" fmla="*/ 780114 w 843060"/>
                  <a:gd name="connsiteY192" fmla="*/ 643073 h 843058"/>
                  <a:gd name="connsiteX193" fmla="*/ 782135 w 843060"/>
                  <a:gd name="connsiteY193" fmla="*/ 639888 h 843058"/>
                  <a:gd name="connsiteX194" fmla="*/ 784018 w 843060"/>
                  <a:gd name="connsiteY194" fmla="*/ 636635 h 843058"/>
                  <a:gd name="connsiteX195" fmla="*/ 791518 w 843060"/>
                  <a:gd name="connsiteY195" fmla="*/ 623587 h 843058"/>
                  <a:gd name="connsiteX196" fmla="*/ 798436 w 843060"/>
                  <a:gd name="connsiteY196" fmla="*/ 610230 h 843058"/>
                  <a:gd name="connsiteX197" fmla="*/ 801827 w 843060"/>
                  <a:gd name="connsiteY197" fmla="*/ 603501 h 843058"/>
                  <a:gd name="connsiteX198" fmla="*/ 804943 w 843060"/>
                  <a:gd name="connsiteY198" fmla="*/ 596652 h 843058"/>
                  <a:gd name="connsiteX199" fmla="*/ 808043 w 843060"/>
                  <a:gd name="connsiteY199" fmla="*/ 589785 h 843058"/>
                  <a:gd name="connsiteX200" fmla="*/ 811005 w 843060"/>
                  <a:gd name="connsiteY200" fmla="*/ 582867 h 843058"/>
                  <a:gd name="connsiteX201" fmla="*/ 816536 w 843060"/>
                  <a:gd name="connsiteY201" fmla="*/ 568860 h 843058"/>
                  <a:gd name="connsiteX202" fmla="*/ 819070 w 843060"/>
                  <a:gd name="connsiteY202" fmla="*/ 561771 h 843058"/>
                  <a:gd name="connsiteX203" fmla="*/ 821485 w 843060"/>
                  <a:gd name="connsiteY203" fmla="*/ 554630 h 843058"/>
                  <a:gd name="connsiteX204" fmla="*/ 823882 w 843060"/>
                  <a:gd name="connsiteY204" fmla="*/ 547490 h 843058"/>
                  <a:gd name="connsiteX205" fmla="*/ 825988 w 843060"/>
                  <a:gd name="connsiteY205" fmla="*/ 540264 h 843058"/>
                  <a:gd name="connsiteX206" fmla="*/ 830046 w 843060"/>
                  <a:gd name="connsiteY206" fmla="*/ 525760 h 843058"/>
                  <a:gd name="connsiteX207" fmla="*/ 833437 w 843060"/>
                  <a:gd name="connsiteY207" fmla="*/ 511085 h 843058"/>
                  <a:gd name="connsiteX208" fmla="*/ 836331 w 843060"/>
                  <a:gd name="connsiteY208" fmla="*/ 496308 h 843058"/>
                  <a:gd name="connsiteX209" fmla="*/ 838762 w 843060"/>
                  <a:gd name="connsiteY209" fmla="*/ 481462 h 843058"/>
                  <a:gd name="connsiteX210" fmla="*/ 840646 w 843060"/>
                  <a:gd name="connsiteY210" fmla="*/ 466530 h 843058"/>
                  <a:gd name="connsiteX211" fmla="*/ 841896 w 843060"/>
                  <a:gd name="connsiteY211" fmla="*/ 451547 h 843058"/>
                  <a:gd name="connsiteX212" fmla="*/ 842461 w 843060"/>
                  <a:gd name="connsiteY212" fmla="*/ 444047 h 843058"/>
                  <a:gd name="connsiteX213" fmla="*/ 842701 w 843060"/>
                  <a:gd name="connsiteY213" fmla="*/ 436547 h 843058"/>
                  <a:gd name="connsiteX214" fmla="*/ 843060 w 843060"/>
                  <a:gd name="connsiteY214" fmla="*/ 421529 h 843058"/>
                  <a:gd name="connsiteX215" fmla="*/ 842701 w 843060"/>
                  <a:gd name="connsiteY215" fmla="*/ 406512 h 843058"/>
                  <a:gd name="connsiteX216" fmla="*/ 842461 w 843060"/>
                  <a:gd name="connsiteY216" fmla="*/ 399012 h 843058"/>
                  <a:gd name="connsiteX217" fmla="*/ 807906 w 843060"/>
                  <a:gd name="connsiteY217" fmla="*/ 435314 h 843058"/>
                  <a:gd name="connsiteX218" fmla="*/ 807683 w 843060"/>
                  <a:gd name="connsiteY218" fmla="*/ 442215 h 843058"/>
                  <a:gd name="connsiteX219" fmla="*/ 807169 w 843060"/>
                  <a:gd name="connsiteY219" fmla="*/ 449098 h 843058"/>
                  <a:gd name="connsiteX220" fmla="*/ 806022 w 843060"/>
                  <a:gd name="connsiteY220" fmla="*/ 462848 h 843058"/>
                  <a:gd name="connsiteX221" fmla="*/ 804275 w 843060"/>
                  <a:gd name="connsiteY221" fmla="*/ 476547 h 843058"/>
                  <a:gd name="connsiteX222" fmla="*/ 802049 w 843060"/>
                  <a:gd name="connsiteY222" fmla="*/ 490160 h 843058"/>
                  <a:gd name="connsiteX223" fmla="*/ 799412 w 843060"/>
                  <a:gd name="connsiteY223" fmla="*/ 503705 h 843058"/>
                  <a:gd name="connsiteX224" fmla="*/ 796296 w 843060"/>
                  <a:gd name="connsiteY224" fmla="*/ 517164 h 843058"/>
                  <a:gd name="connsiteX225" fmla="*/ 792580 w 843060"/>
                  <a:gd name="connsiteY225" fmla="*/ 530469 h 843058"/>
                  <a:gd name="connsiteX226" fmla="*/ 790662 w 843060"/>
                  <a:gd name="connsiteY226" fmla="*/ 537096 h 843058"/>
                  <a:gd name="connsiteX227" fmla="*/ 788453 w 843060"/>
                  <a:gd name="connsiteY227" fmla="*/ 543637 h 843058"/>
                  <a:gd name="connsiteX228" fmla="*/ 786244 w 843060"/>
                  <a:gd name="connsiteY228" fmla="*/ 550178 h 843058"/>
                  <a:gd name="connsiteX229" fmla="*/ 783916 w 843060"/>
                  <a:gd name="connsiteY229" fmla="*/ 556685 h 843058"/>
                  <a:gd name="connsiteX230" fmla="*/ 778847 w 843060"/>
                  <a:gd name="connsiteY230" fmla="*/ 569528 h 843058"/>
                  <a:gd name="connsiteX231" fmla="*/ 776124 w 843060"/>
                  <a:gd name="connsiteY231" fmla="*/ 575864 h 843058"/>
                  <a:gd name="connsiteX232" fmla="*/ 773282 w 843060"/>
                  <a:gd name="connsiteY232" fmla="*/ 582148 h 843058"/>
                  <a:gd name="connsiteX233" fmla="*/ 770439 w 843060"/>
                  <a:gd name="connsiteY233" fmla="*/ 588432 h 843058"/>
                  <a:gd name="connsiteX234" fmla="*/ 767323 w 843060"/>
                  <a:gd name="connsiteY234" fmla="*/ 594597 h 843058"/>
                  <a:gd name="connsiteX235" fmla="*/ 760970 w 843060"/>
                  <a:gd name="connsiteY235" fmla="*/ 606857 h 843058"/>
                  <a:gd name="connsiteX236" fmla="*/ 754086 w 843060"/>
                  <a:gd name="connsiteY236" fmla="*/ 618826 h 843058"/>
                  <a:gd name="connsiteX237" fmla="*/ 752357 w 843060"/>
                  <a:gd name="connsiteY237" fmla="*/ 621823 h 843058"/>
                  <a:gd name="connsiteX238" fmla="*/ 750508 w 843060"/>
                  <a:gd name="connsiteY238" fmla="*/ 624734 h 843058"/>
                  <a:gd name="connsiteX239" fmla="*/ 746792 w 843060"/>
                  <a:gd name="connsiteY239" fmla="*/ 630539 h 843058"/>
                  <a:gd name="connsiteX240" fmla="*/ 739138 w 843060"/>
                  <a:gd name="connsiteY240" fmla="*/ 642012 h 843058"/>
                  <a:gd name="connsiteX241" fmla="*/ 731124 w 843060"/>
                  <a:gd name="connsiteY241" fmla="*/ 653245 h 843058"/>
                  <a:gd name="connsiteX242" fmla="*/ 713726 w 843060"/>
                  <a:gd name="connsiteY242" fmla="*/ 674666 h 843058"/>
                  <a:gd name="connsiteX243" fmla="*/ 694993 w 843060"/>
                  <a:gd name="connsiteY243" fmla="*/ 694923 h 843058"/>
                  <a:gd name="connsiteX244" fmla="*/ 674736 w 843060"/>
                  <a:gd name="connsiteY244" fmla="*/ 713656 h 843058"/>
                  <a:gd name="connsiteX245" fmla="*/ 653314 w 843060"/>
                  <a:gd name="connsiteY245" fmla="*/ 731054 h 843058"/>
                  <a:gd name="connsiteX246" fmla="*/ 642081 w 843060"/>
                  <a:gd name="connsiteY246" fmla="*/ 739068 h 843058"/>
                  <a:gd name="connsiteX247" fmla="*/ 630609 w 843060"/>
                  <a:gd name="connsiteY247" fmla="*/ 746722 h 843058"/>
                  <a:gd name="connsiteX248" fmla="*/ 624804 w 843060"/>
                  <a:gd name="connsiteY248" fmla="*/ 750438 h 843058"/>
                  <a:gd name="connsiteX249" fmla="*/ 621893 w 843060"/>
                  <a:gd name="connsiteY249" fmla="*/ 752287 h 843058"/>
                  <a:gd name="connsiteX250" fmla="*/ 618896 w 843060"/>
                  <a:gd name="connsiteY250" fmla="*/ 754017 h 843058"/>
                  <a:gd name="connsiteX251" fmla="*/ 606927 w 843060"/>
                  <a:gd name="connsiteY251" fmla="*/ 760900 h 843058"/>
                  <a:gd name="connsiteX252" fmla="*/ 594666 w 843060"/>
                  <a:gd name="connsiteY252" fmla="*/ 767253 h 843058"/>
                  <a:gd name="connsiteX253" fmla="*/ 588502 w 843060"/>
                  <a:gd name="connsiteY253" fmla="*/ 770369 h 843058"/>
                  <a:gd name="connsiteX254" fmla="*/ 582217 w 843060"/>
                  <a:gd name="connsiteY254" fmla="*/ 773212 h 843058"/>
                  <a:gd name="connsiteX255" fmla="*/ 366581 w 843060"/>
                  <a:gd name="connsiteY255" fmla="*/ 804206 h 843058"/>
                  <a:gd name="connsiteX256" fmla="*/ 352967 w 843060"/>
                  <a:gd name="connsiteY256" fmla="*/ 801979 h 843058"/>
                  <a:gd name="connsiteX257" fmla="*/ 339423 w 843060"/>
                  <a:gd name="connsiteY257" fmla="*/ 799342 h 843058"/>
                  <a:gd name="connsiteX258" fmla="*/ 325964 w 843060"/>
                  <a:gd name="connsiteY258" fmla="*/ 796226 h 843058"/>
                  <a:gd name="connsiteX259" fmla="*/ 312659 w 843060"/>
                  <a:gd name="connsiteY259" fmla="*/ 792510 h 843058"/>
                  <a:gd name="connsiteX260" fmla="*/ 306032 w 843060"/>
                  <a:gd name="connsiteY260" fmla="*/ 790592 h 843058"/>
                  <a:gd name="connsiteX261" fmla="*/ 299491 w 843060"/>
                  <a:gd name="connsiteY261" fmla="*/ 788383 h 843058"/>
                  <a:gd name="connsiteX262" fmla="*/ 292949 w 843060"/>
                  <a:gd name="connsiteY262" fmla="*/ 786175 h 843058"/>
                  <a:gd name="connsiteX263" fmla="*/ 286443 w 843060"/>
                  <a:gd name="connsiteY263" fmla="*/ 783846 h 843058"/>
                  <a:gd name="connsiteX264" fmla="*/ 273600 w 843060"/>
                  <a:gd name="connsiteY264" fmla="*/ 778777 h 843058"/>
                  <a:gd name="connsiteX265" fmla="*/ 267264 w 843060"/>
                  <a:gd name="connsiteY265" fmla="*/ 776055 h 843058"/>
                  <a:gd name="connsiteX266" fmla="*/ 260980 w 843060"/>
                  <a:gd name="connsiteY266" fmla="*/ 773212 h 843058"/>
                  <a:gd name="connsiteX267" fmla="*/ 254696 w 843060"/>
                  <a:gd name="connsiteY267" fmla="*/ 770369 h 843058"/>
                  <a:gd name="connsiteX268" fmla="*/ 248531 w 843060"/>
                  <a:gd name="connsiteY268" fmla="*/ 767253 h 843058"/>
                  <a:gd name="connsiteX269" fmla="*/ 236271 w 843060"/>
                  <a:gd name="connsiteY269" fmla="*/ 760900 h 843058"/>
                  <a:gd name="connsiteX270" fmla="*/ 224301 w 843060"/>
                  <a:gd name="connsiteY270" fmla="*/ 754017 h 843058"/>
                  <a:gd name="connsiteX271" fmla="*/ 221305 w 843060"/>
                  <a:gd name="connsiteY271" fmla="*/ 752287 h 843058"/>
                  <a:gd name="connsiteX272" fmla="*/ 218394 w 843060"/>
                  <a:gd name="connsiteY272" fmla="*/ 750438 h 843058"/>
                  <a:gd name="connsiteX273" fmla="*/ 212589 w 843060"/>
                  <a:gd name="connsiteY273" fmla="*/ 746722 h 843058"/>
                  <a:gd name="connsiteX274" fmla="*/ 201116 w 843060"/>
                  <a:gd name="connsiteY274" fmla="*/ 739068 h 843058"/>
                  <a:gd name="connsiteX275" fmla="*/ 189883 w 843060"/>
                  <a:gd name="connsiteY275" fmla="*/ 731054 h 843058"/>
                  <a:gd name="connsiteX276" fmla="*/ 168461 w 843060"/>
                  <a:gd name="connsiteY276" fmla="*/ 713656 h 843058"/>
                  <a:gd name="connsiteX277" fmla="*/ 148204 w 843060"/>
                  <a:gd name="connsiteY277" fmla="*/ 694923 h 843058"/>
                  <a:gd name="connsiteX278" fmla="*/ 129471 w 843060"/>
                  <a:gd name="connsiteY278" fmla="*/ 674666 h 843058"/>
                  <a:gd name="connsiteX279" fmla="*/ 112074 w 843060"/>
                  <a:gd name="connsiteY279" fmla="*/ 653245 h 843058"/>
                  <a:gd name="connsiteX280" fmla="*/ 104060 w 843060"/>
                  <a:gd name="connsiteY280" fmla="*/ 642012 h 843058"/>
                  <a:gd name="connsiteX281" fmla="*/ 96406 w 843060"/>
                  <a:gd name="connsiteY281" fmla="*/ 630539 h 843058"/>
                  <a:gd name="connsiteX282" fmla="*/ 92690 w 843060"/>
                  <a:gd name="connsiteY282" fmla="*/ 624734 h 843058"/>
                  <a:gd name="connsiteX283" fmla="*/ 90840 w 843060"/>
                  <a:gd name="connsiteY283" fmla="*/ 621823 h 843058"/>
                  <a:gd name="connsiteX284" fmla="*/ 89111 w 843060"/>
                  <a:gd name="connsiteY284" fmla="*/ 618826 h 843058"/>
                  <a:gd name="connsiteX285" fmla="*/ 82227 w 843060"/>
                  <a:gd name="connsiteY285" fmla="*/ 606857 h 843058"/>
                  <a:gd name="connsiteX286" fmla="*/ 75874 w 843060"/>
                  <a:gd name="connsiteY286" fmla="*/ 594597 h 843058"/>
                  <a:gd name="connsiteX287" fmla="*/ 72758 w 843060"/>
                  <a:gd name="connsiteY287" fmla="*/ 588432 h 843058"/>
                  <a:gd name="connsiteX288" fmla="*/ 69915 w 843060"/>
                  <a:gd name="connsiteY288" fmla="*/ 582148 h 843058"/>
                  <a:gd name="connsiteX289" fmla="*/ 67073 w 843060"/>
                  <a:gd name="connsiteY289" fmla="*/ 575864 h 843058"/>
                  <a:gd name="connsiteX290" fmla="*/ 64350 w 843060"/>
                  <a:gd name="connsiteY290" fmla="*/ 569528 h 843058"/>
                  <a:gd name="connsiteX291" fmla="*/ 59282 w 843060"/>
                  <a:gd name="connsiteY291" fmla="*/ 556685 h 843058"/>
                  <a:gd name="connsiteX292" fmla="*/ 56953 w 843060"/>
                  <a:gd name="connsiteY292" fmla="*/ 550178 h 843058"/>
                  <a:gd name="connsiteX293" fmla="*/ 54744 w 843060"/>
                  <a:gd name="connsiteY293" fmla="*/ 543637 h 843058"/>
                  <a:gd name="connsiteX294" fmla="*/ 52535 w 843060"/>
                  <a:gd name="connsiteY294" fmla="*/ 537096 h 843058"/>
                  <a:gd name="connsiteX295" fmla="*/ 50617 w 843060"/>
                  <a:gd name="connsiteY295" fmla="*/ 530469 h 843058"/>
                  <a:gd name="connsiteX296" fmla="*/ 46901 w 843060"/>
                  <a:gd name="connsiteY296" fmla="*/ 517164 h 843058"/>
                  <a:gd name="connsiteX297" fmla="*/ 43785 w 843060"/>
                  <a:gd name="connsiteY297" fmla="*/ 503705 h 843058"/>
                  <a:gd name="connsiteX298" fmla="*/ 41148 w 843060"/>
                  <a:gd name="connsiteY298" fmla="*/ 490160 h 843058"/>
                  <a:gd name="connsiteX299" fmla="*/ 38922 w 843060"/>
                  <a:gd name="connsiteY299" fmla="*/ 476547 h 843058"/>
                  <a:gd name="connsiteX300" fmla="*/ 37175 w 843060"/>
                  <a:gd name="connsiteY300" fmla="*/ 462848 h 843058"/>
                  <a:gd name="connsiteX301" fmla="*/ 36028 w 843060"/>
                  <a:gd name="connsiteY301" fmla="*/ 449098 h 843058"/>
                  <a:gd name="connsiteX302" fmla="*/ 35514 w 843060"/>
                  <a:gd name="connsiteY302" fmla="*/ 442215 h 843058"/>
                  <a:gd name="connsiteX303" fmla="*/ 35292 w 843060"/>
                  <a:gd name="connsiteY303" fmla="*/ 435314 h 843058"/>
                  <a:gd name="connsiteX304" fmla="*/ 34949 w 843060"/>
                  <a:gd name="connsiteY304" fmla="*/ 421529 h 843058"/>
                  <a:gd name="connsiteX305" fmla="*/ 35292 w 843060"/>
                  <a:gd name="connsiteY305" fmla="*/ 407745 h 843058"/>
                  <a:gd name="connsiteX306" fmla="*/ 35514 w 843060"/>
                  <a:gd name="connsiteY306" fmla="*/ 400844 h 843058"/>
                  <a:gd name="connsiteX307" fmla="*/ 36028 w 843060"/>
                  <a:gd name="connsiteY307" fmla="*/ 393961 h 843058"/>
                  <a:gd name="connsiteX308" fmla="*/ 37175 w 843060"/>
                  <a:gd name="connsiteY308" fmla="*/ 380210 h 843058"/>
                  <a:gd name="connsiteX309" fmla="*/ 38922 w 843060"/>
                  <a:gd name="connsiteY309" fmla="*/ 366512 h 843058"/>
                  <a:gd name="connsiteX310" fmla="*/ 41148 w 843060"/>
                  <a:gd name="connsiteY310" fmla="*/ 352898 h 843058"/>
                  <a:gd name="connsiteX311" fmla="*/ 43785 w 843060"/>
                  <a:gd name="connsiteY311" fmla="*/ 339354 h 843058"/>
                  <a:gd name="connsiteX312" fmla="*/ 46901 w 843060"/>
                  <a:gd name="connsiteY312" fmla="*/ 325895 h 843058"/>
                  <a:gd name="connsiteX313" fmla="*/ 50617 w 843060"/>
                  <a:gd name="connsiteY313" fmla="*/ 312590 h 843058"/>
                  <a:gd name="connsiteX314" fmla="*/ 52535 w 843060"/>
                  <a:gd name="connsiteY314" fmla="*/ 305963 h 843058"/>
                  <a:gd name="connsiteX315" fmla="*/ 54744 w 843060"/>
                  <a:gd name="connsiteY315" fmla="*/ 299422 h 843058"/>
                  <a:gd name="connsiteX316" fmla="*/ 56953 w 843060"/>
                  <a:gd name="connsiteY316" fmla="*/ 292880 h 843058"/>
                  <a:gd name="connsiteX317" fmla="*/ 59282 w 843060"/>
                  <a:gd name="connsiteY317" fmla="*/ 286374 h 843058"/>
                  <a:gd name="connsiteX318" fmla="*/ 64350 w 843060"/>
                  <a:gd name="connsiteY318" fmla="*/ 273531 h 843058"/>
                  <a:gd name="connsiteX319" fmla="*/ 67073 w 843060"/>
                  <a:gd name="connsiteY319" fmla="*/ 267195 h 843058"/>
                  <a:gd name="connsiteX320" fmla="*/ 69915 w 843060"/>
                  <a:gd name="connsiteY320" fmla="*/ 260911 h 843058"/>
                  <a:gd name="connsiteX321" fmla="*/ 72758 w 843060"/>
                  <a:gd name="connsiteY321" fmla="*/ 254627 h 843058"/>
                  <a:gd name="connsiteX322" fmla="*/ 75874 w 843060"/>
                  <a:gd name="connsiteY322" fmla="*/ 248462 h 843058"/>
                  <a:gd name="connsiteX323" fmla="*/ 82227 w 843060"/>
                  <a:gd name="connsiteY323" fmla="*/ 236202 h 843058"/>
                  <a:gd name="connsiteX324" fmla="*/ 89111 w 843060"/>
                  <a:gd name="connsiteY324" fmla="*/ 224232 h 843058"/>
                  <a:gd name="connsiteX325" fmla="*/ 90840 w 843060"/>
                  <a:gd name="connsiteY325" fmla="*/ 221236 h 843058"/>
                  <a:gd name="connsiteX326" fmla="*/ 92690 w 843060"/>
                  <a:gd name="connsiteY326" fmla="*/ 218325 h 843058"/>
                  <a:gd name="connsiteX327" fmla="*/ 96406 w 843060"/>
                  <a:gd name="connsiteY327" fmla="*/ 212520 h 843058"/>
                  <a:gd name="connsiteX328" fmla="*/ 104060 w 843060"/>
                  <a:gd name="connsiteY328" fmla="*/ 201047 h 843058"/>
                  <a:gd name="connsiteX329" fmla="*/ 112074 w 843060"/>
                  <a:gd name="connsiteY329" fmla="*/ 189814 h 843058"/>
                  <a:gd name="connsiteX330" fmla="*/ 129471 w 843060"/>
                  <a:gd name="connsiteY330" fmla="*/ 168393 h 843058"/>
                  <a:gd name="connsiteX331" fmla="*/ 148204 w 843060"/>
                  <a:gd name="connsiteY331" fmla="*/ 148135 h 843058"/>
                  <a:gd name="connsiteX332" fmla="*/ 168461 w 843060"/>
                  <a:gd name="connsiteY332" fmla="*/ 129402 h 843058"/>
                  <a:gd name="connsiteX333" fmla="*/ 189883 w 843060"/>
                  <a:gd name="connsiteY333" fmla="*/ 112005 h 843058"/>
                  <a:gd name="connsiteX334" fmla="*/ 201116 w 843060"/>
                  <a:gd name="connsiteY334" fmla="*/ 103991 h 843058"/>
                  <a:gd name="connsiteX335" fmla="*/ 212589 w 843060"/>
                  <a:gd name="connsiteY335" fmla="*/ 96337 h 843058"/>
                  <a:gd name="connsiteX336" fmla="*/ 218394 w 843060"/>
                  <a:gd name="connsiteY336" fmla="*/ 92621 h 843058"/>
                  <a:gd name="connsiteX337" fmla="*/ 221305 w 843060"/>
                  <a:gd name="connsiteY337" fmla="*/ 90772 h 843058"/>
                  <a:gd name="connsiteX338" fmla="*/ 224301 w 843060"/>
                  <a:gd name="connsiteY338" fmla="*/ 89042 h 843058"/>
                  <a:gd name="connsiteX339" fmla="*/ 236271 w 843060"/>
                  <a:gd name="connsiteY339" fmla="*/ 82159 h 843058"/>
                  <a:gd name="connsiteX340" fmla="*/ 248531 w 843060"/>
                  <a:gd name="connsiteY340" fmla="*/ 75806 h 843058"/>
                  <a:gd name="connsiteX341" fmla="*/ 254696 w 843060"/>
                  <a:gd name="connsiteY341" fmla="*/ 72689 h 843058"/>
                  <a:gd name="connsiteX342" fmla="*/ 260980 w 843060"/>
                  <a:gd name="connsiteY342" fmla="*/ 69847 h 843058"/>
                  <a:gd name="connsiteX343" fmla="*/ 267264 w 843060"/>
                  <a:gd name="connsiteY343" fmla="*/ 67004 h 843058"/>
                  <a:gd name="connsiteX344" fmla="*/ 273600 w 843060"/>
                  <a:gd name="connsiteY344" fmla="*/ 64282 h 843058"/>
                  <a:gd name="connsiteX345" fmla="*/ 286443 w 843060"/>
                  <a:gd name="connsiteY345" fmla="*/ 59213 h 843058"/>
                  <a:gd name="connsiteX346" fmla="*/ 292949 w 843060"/>
                  <a:gd name="connsiteY346" fmla="*/ 56884 h 843058"/>
                  <a:gd name="connsiteX347" fmla="*/ 299491 w 843060"/>
                  <a:gd name="connsiteY347" fmla="*/ 54675 h 843058"/>
                  <a:gd name="connsiteX348" fmla="*/ 306032 w 843060"/>
                  <a:gd name="connsiteY348" fmla="*/ 52466 h 843058"/>
                  <a:gd name="connsiteX349" fmla="*/ 312659 w 843060"/>
                  <a:gd name="connsiteY349" fmla="*/ 50549 h 843058"/>
                  <a:gd name="connsiteX350" fmla="*/ 325964 w 843060"/>
                  <a:gd name="connsiteY350" fmla="*/ 46833 h 843058"/>
                  <a:gd name="connsiteX351" fmla="*/ 339423 w 843060"/>
                  <a:gd name="connsiteY351" fmla="*/ 43716 h 843058"/>
                  <a:gd name="connsiteX352" fmla="*/ 352967 w 843060"/>
                  <a:gd name="connsiteY352" fmla="*/ 41079 h 843058"/>
                  <a:gd name="connsiteX353" fmla="*/ 366581 w 843060"/>
                  <a:gd name="connsiteY353" fmla="*/ 38853 h 843058"/>
                  <a:gd name="connsiteX354" fmla="*/ 582217 w 843060"/>
                  <a:gd name="connsiteY354" fmla="*/ 69847 h 843058"/>
                  <a:gd name="connsiteX355" fmla="*/ 588502 w 843060"/>
                  <a:gd name="connsiteY355" fmla="*/ 72689 h 843058"/>
                  <a:gd name="connsiteX356" fmla="*/ 594666 w 843060"/>
                  <a:gd name="connsiteY356" fmla="*/ 75806 h 843058"/>
                  <a:gd name="connsiteX357" fmla="*/ 606927 w 843060"/>
                  <a:gd name="connsiteY357" fmla="*/ 82159 h 843058"/>
                  <a:gd name="connsiteX358" fmla="*/ 618896 w 843060"/>
                  <a:gd name="connsiteY358" fmla="*/ 89042 h 843058"/>
                  <a:gd name="connsiteX359" fmla="*/ 621893 w 843060"/>
                  <a:gd name="connsiteY359" fmla="*/ 90772 h 843058"/>
                  <a:gd name="connsiteX360" fmla="*/ 624804 w 843060"/>
                  <a:gd name="connsiteY360" fmla="*/ 92621 h 843058"/>
                  <a:gd name="connsiteX361" fmla="*/ 630609 w 843060"/>
                  <a:gd name="connsiteY361" fmla="*/ 96337 h 843058"/>
                  <a:gd name="connsiteX362" fmla="*/ 642081 w 843060"/>
                  <a:gd name="connsiteY362" fmla="*/ 103991 h 843058"/>
                  <a:gd name="connsiteX363" fmla="*/ 653314 w 843060"/>
                  <a:gd name="connsiteY363" fmla="*/ 112005 h 843058"/>
                  <a:gd name="connsiteX364" fmla="*/ 674736 w 843060"/>
                  <a:gd name="connsiteY364" fmla="*/ 129402 h 843058"/>
                  <a:gd name="connsiteX365" fmla="*/ 694993 w 843060"/>
                  <a:gd name="connsiteY365" fmla="*/ 148135 h 843058"/>
                  <a:gd name="connsiteX366" fmla="*/ 713726 w 843060"/>
                  <a:gd name="connsiteY366" fmla="*/ 168393 h 843058"/>
                  <a:gd name="connsiteX367" fmla="*/ 731124 w 843060"/>
                  <a:gd name="connsiteY367" fmla="*/ 189814 h 843058"/>
                  <a:gd name="connsiteX368" fmla="*/ 739138 w 843060"/>
                  <a:gd name="connsiteY368" fmla="*/ 201047 h 843058"/>
                  <a:gd name="connsiteX369" fmla="*/ 746792 w 843060"/>
                  <a:gd name="connsiteY369" fmla="*/ 212520 h 843058"/>
                  <a:gd name="connsiteX370" fmla="*/ 750508 w 843060"/>
                  <a:gd name="connsiteY370" fmla="*/ 218325 h 843058"/>
                  <a:gd name="connsiteX371" fmla="*/ 752357 w 843060"/>
                  <a:gd name="connsiteY371" fmla="*/ 221236 h 843058"/>
                  <a:gd name="connsiteX372" fmla="*/ 754086 w 843060"/>
                  <a:gd name="connsiteY372" fmla="*/ 224232 h 843058"/>
                  <a:gd name="connsiteX373" fmla="*/ 760970 w 843060"/>
                  <a:gd name="connsiteY373" fmla="*/ 236202 h 843058"/>
                  <a:gd name="connsiteX374" fmla="*/ 767323 w 843060"/>
                  <a:gd name="connsiteY374" fmla="*/ 248462 h 843058"/>
                  <a:gd name="connsiteX375" fmla="*/ 770439 w 843060"/>
                  <a:gd name="connsiteY375" fmla="*/ 254627 h 843058"/>
                  <a:gd name="connsiteX376" fmla="*/ 773282 w 843060"/>
                  <a:gd name="connsiteY376" fmla="*/ 260911 h 843058"/>
                  <a:gd name="connsiteX377" fmla="*/ 776124 w 843060"/>
                  <a:gd name="connsiteY377" fmla="*/ 267195 h 843058"/>
                  <a:gd name="connsiteX378" fmla="*/ 778847 w 843060"/>
                  <a:gd name="connsiteY378" fmla="*/ 273531 h 843058"/>
                  <a:gd name="connsiteX379" fmla="*/ 783916 w 843060"/>
                  <a:gd name="connsiteY379" fmla="*/ 286374 h 843058"/>
                  <a:gd name="connsiteX380" fmla="*/ 786244 w 843060"/>
                  <a:gd name="connsiteY380" fmla="*/ 292880 h 843058"/>
                  <a:gd name="connsiteX381" fmla="*/ 788453 w 843060"/>
                  <a:gd name="connsiteY381" fmla="*/ 299422 h 843058"/>
                  <a:gd name="connsiteX382" fmla="*/ 790662 w 843060"/>
                  <a:gd name="connsiteY382" fmla="*/ 305963 h 843058"/>
                  <a:gd name="connsiteX383" fmla="*/ 792580 w 843060"/>
                  <a:gd name="connsiteY383" fmla="*/ 312590 h 843058"/>
                  <a:gd name="connsiteX384" fmla="*/ 796296 w 843060"/>
                  <a:gd name="connsiteY384" fmla="*/ 325895 h 843058"/>
                  <a:gd name="connsiteX385" fmla="*/ 799412 w 843060"/>
                  <a:gd name="connsiteY385" fmla="*/ 339354 h 843058"/>
                  <a:gd name="connsiteX386" fmla="*/ 802049 w 843060"/>
                  <a:gd name="connsiteY386" fmla="*/ 352898 h 843058"/>
                  <a:gd name="connsiteX387" fmla="*/ 804275 w 843060"/>
                  <a:gd name="connsiteY387" fmla="*/ 366512 h 843058"/>
                  <a:gd name="connsiteX388" fmla="*/ 806022 w 843060"/>
                  <a:gd name="connsiteY388" fmla="*/ 380210 h 843058"/>
                  <a:gd name="connsiteX389" fmla="*/ 807169 w 843060"/>
                  <a:gd name="connsiteY389" fmla="*/ 393961 h 843058"/>
                  <a:gd name="connsiteX390" fmla="*/ 807683 w 843060"/>
                  <a:gd name="connsiteY390" fmla="*/ 400844 h 843058"/>
                  <a:gd name="connsiteX391" fmla="*/ 807906 w 843060"/>
                  <a:gd name="connsiteY391" fmla="*/ 407745 h 843058"/>
                  <a:gd name="connsiteX392" fmla="*/ 808248 w 843060"/>
                  <a:gd name="connsiteY392" fmla="*/ 421529 h 843058"/>
                  <a:gd name="connsiteX393" fmla="*/ 807906 w 843060"/>
                  <a:gd name="connsiteY393" fmla="*/ 435314 h 843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</a:cxnLst>
                <a:rect l="l" t="t" r="r" b="b"/>
                <a:pathLst>
                  <a:path w="843060" h="843058">
                    <a:moveTo>
                      <a:pt x="842461" y="399012"/>
                    </a:moveTo>
                    <a:lnTo>
                      <a:pt x="841896" y="391512"/>
                    </a:lnTo>
                    <a:cubicBezTo>
                      <a:pt x="841485" y="386512"/>
                      <a:pt x="841211" y="381512"/>
                      <a:pt x="840646" y="376529"/>
                    </a:cubicBezTo>
                    <a:lnTo>
                      <a:pt x="838762" y="361597"/>
                    </a:lnTo>
                    <a:cubicBezTo>
                      <a:pt x="838231" y="356614"/>
                      <a:pt x="837153" y="351700"/>
                      <a:pt x="836331" y="346751"/>
                    </a:cubicBezTo>
                    <a:cubicBezTo>
                      <a:pt x="835423" y="341819"/>
                      <a:pt x="834670" y="336854"/>
                      <a:pt x="833437" y="331973"/>
                    </a:cubicBezTo>
                    <a:lnTo>
                      <a:pt x="830046" y="317299"/>
                    </a:lnTo>
                    <a:cubicBezTo>
                      <a:pt x="828779" y="312436"/>
                      <a:pt x="827358" y="307624"/>
                      <a:pt x="825988" y="302795"/>
                    </a:cubicBezTo>
                    <a:cubicBezTo>
                      <a:pt x="825286" y="300381"/>
                      <a:pt x="824635" y="297966"/>
                      <a:pt x="823882" y="295569"/>
                    </a:cubicBezTo>
                    <a:lnTo>
                      <a:pt x="821485" y="288428"/>
                    </a:lnTo>
                    <a:lnTo>
                      <a:pt x="819070" y="281288"/>
                    </a:lnTo>
                    <a:cubicBezTo>
                      <a:pt x="818248" y="278908"/>
                      <a:pt x="817495" y="276528"/>
                      <a:pt x="816536" y="274199"/>
                    </a:cubicBezTo>
                    <a:lnTo>
                      <a:pt x="811005" y="260192"/>
                    </a:lnTo>
                    <a:cubicBezTo>
                      <a:pt x="810115" y="257846"/>
                      <a:pt x="809070" y="255551"/>
                      <a:pt x="808043" y="253274"/>
                    </a:cubicBezTo>
                    <a:lnTo>
                      <a:pt x="804943" y="246407"/>
                    </a:lnTo>
                    <a:lnTo>
                      <a:pt x="801827" y="239558"/>
                    </a:lnTo>
                    <a:cubicBezTo>
                      <a:pt x="800765" y="237280"/>
                      <a:pt x="799566" y="235072"/>
                      <a:pt x="798436" y="232828"/>
                    </a:cubicBezTo>
                    <a:cubicBezTo>
                      <a:pt x="796125" y="228376"/>
                      <a:pt x="793916" y="223873"/>
                      <a:pt x="791518" y="219472"/>
                    </a:cubicBezTo>
                    <a:lnTo>
                      <a:pt x="784018" y="206424"/>
                    </a:lnTo>
                    <a:lnTo>
                      <a:pt x="782135" y="203170"/>
                    </a:lnTo>
                    <a:lnTo>
                      <a:pt x="780114" y="199985"/>
                    </a:lnTo>
                    <a:lnTo>
                      <a:pt x="776056" y="193650"/>
                    </a:lnTo>
                    <a:cubicBezTo>
                      <a:pt x="773350" y="189420"/>
                      <a:pt x="770679" y="185174"/>
                      <a:pt x="767700" y="181132"/>
                    </a:cubicBezTo>
                    <a:cubicBezTo>
                      <a:pt x="764789" y="177040"/>
                      <a:pt x="761912" y="172947"/>
                      <a:pt x="758949" y="168889"/>
                    </a:cubicBezTo>
                    <a:cubicBezTo>
                      <a:pt x="752751" y="161012"/>
                      <a:pt x="746706" y="152999"/>
                      <a:pt x="739994" y="145550"/>
                    </a:cubicBezTo>
                    <a:cubicBezTo>
                      <a:pt x="733572" y="137844"/>
                      <a:pt x="726483" y="130755"/>
                      <a:pt x="719582" y="123478"/>
                    </a:cubicBezTo>
                    <a:cubicBezTo>
                      <a:pt x="712305" y="116577"/>
                      <a:pt x="705216" y="109488"/>
                      <a:pt x="697510" y="103066"/>
                    </a:cubicBezTo>
                    <a:cubicBezTo>
                      <a:pt x="690044" y="96354"/>
                      <a:pt x="682048" y="90309"/>
                      <a:pt x="674171" y="84111"/>
                    </a:cubicBezTo>
                    <a:cubicBezTo>
                      <a:pt x="670113" y="81165"/>
                      <a:pt x="666020" y="78272"/>
                      <a:pt x="661927" y="75361"/>
                    </a:cubicBezTo>
                    <a:cubicBezTo>
                      <a:pt x="657886" y="72381"/>
                      <a:pt x="653640" y="69710"/>
                      <a:pt x="649410" y="67004"/>
                    </a:cubicBezTo>
                    <a:lnTo>
                      <a:pt x="643075" y="62946"/>
                    </a:lnTo>
                    <a:lnTo>
                      <a:pt x="639890" y="60925"/>
                    </a:lnTo>
                    <a:lnTo>
                      <a:pt x="636636" y="59042"/>
                    </a:lnTo>
                    <a:lnTo>
                      <a:pt x="623588" y="51542"/>
                    </a:lnTo>
                    <a:cubicBezTo>
                      <a:pt x="619187" y="49144"/>
                      <a:pt x="614684" y="46918"/>
                      <a:pt x="610232" y="44624"/>
                    </a:cubicBezTo>
                    <a:cubicBezTo>
                      <a:pt x="607988" y="43494"/>
                      <a:pt x="605779" y="42312"/>
                      <a:pt x="603502" y="41233"/>
                    </a:cubicBezTo>
                    <a:lnTo>
                      <a:pt x="596653" y="38117"/>
                    </a:lnTo>
                    <a:lnTo>
                      <a:pt x="589786" y="35018"/>
                    </a:lnTo>
                    <a:cubicBezTo>
                      <a:pt x="587491" y="33990"/>
                      <a:pt x="585214" y="32946"/>
                      <a:pt x="582868" y="32055"/>
                    </a:cubicBezTo>
                    <a:lnTo>
                      <a:pt x="568861" y="26524"/>
                    </a:lnTo>
                    <a:cubicBezTo>
                      <a:pt x="566532" y="25565"/>
                      <a:pt x="564152" y="24812"/>
                      <a:pt x="561772" y="23990"/>
                    </a:cubicBezTo>
                    <a:lnTo>
                      <a:pt x="554631" y="21576"/>
                    </a:lnTo>
                    <a:lnTo>
                      <a:pt x="547491" y="19178"/>
                    </a:lnTo>
                    <a:cubicBezTo>
                      <a:pt x="545094" y="18425"/>
                      <a:pt x="542662" y="17774"/>
                      <a:pt x="540265" y="17072"/>
                    </a:cubicBezTo>
                    <a:cubicBezTo>
                      <a:pt x="535436" y="15719"/>
                      <a:pt x="530624" y="14281"/>
                      <a:pt x="525761" y="13014"/>
                    </a:cubicBezTo>
                    <a:lnTo>
                      <a:pt x="511086" y="9623"/>
                    </a:lnTo>
                    <a:cubicBezTo>
                      <a:pt x="506206" y="8408"/>
                      <a:pt x="501240" y="7654"/>
                      <a:pt x="496309" y="6730"/>
                    </a:cubicBezTo>
                    <a:cubicBezTo>
                      <a:pt x="491360" y="5908"/>
                      <a:pt x="486445" y="4829"/>
                      <a:pt x="481463" y="4298"/>
                    </a:cubicBezTo>
                    <a:lnTo>
                      <a:pt x="466531" y="2414"/>
                    </a:lnTo>
                    <a:cubicBezTo>
                      <a:pt x="461548" y="1849"/>
                      <a:pt x="456548" y="1575"/>
                      <a:pt x="451548" y="1164"/>
                    </a:cubicBezTo>
                    <a:lnTo>
                      <a:pt x="444048" y="599"/>
                    </a:lnTo>
                    <a:cubicBezTo>
                      <a:pt x="441548" y="445"/>
                      <a:pt x="439048" y="445"/>
                      <a:pt x="436547" y="360"/>
                    </a:cubicBezTo>
                    <a:lnTo>
                      <a:pt x="421530" y="0"/>
                    </a:lnTo>
                    <a:lnTo>
                      <a:pt x="406513" y="360"/>
                    </a:lnTo>
                    <a:cubicBezTo>
                      <a:pt x="404013" y="445"/>
                      <a:pt x="401513" y="462"/>
                      <a:pt x="399013" y="599"/>
                    </a:cubicBezTo>
                    <a:lnTo>
                      <a:pt x="391513" y="1164"/>
                    </a:lnTo>
                    <a:cubicBezTo>
                      <a:pt x="386512" y="1575"/>
                      <a:pt x="381512" y="1849"/>
                      <a:pt x="376530" y="2414"/>
                    </a:cubicBezTo>
                    <a:lnTo>
                      <a:pt x="361598" y="4298"/>
                    </a:lnTo>
                    <a:cubicBezTo>
                      <a:pt x="356615" y="4829"/>
                      <a:pt x="351700" y="5908"/>
                      <a:pt x="346752" y="6730"/>
                    </a:cubicBezTo>
                    <a:cubicBezTo>
                      <a:pt x="341820" y="7637"/>
                      <a:pt x="336854" y="8391"/>
                      <a:pt x="331974" y="9623"/>
                    </a:cubicBezTo>
                    <a:lnTo>
                      <a:pt x="317299" y="13014"/>
                    </a:lnTo>
                    <a:cubicBezTo>
                      <a:pt x="312436" y="14281"/>
                      <a:pt x="307624" y="15702"/>
                      <a:pt x="302796" y="17072"/>
                    </a:cubicBezTo>
                    <a:cubicBezTo>
                      <a:pt x="300381" y="17774"/>
                      <a:pt x="297967" y="18425"/>
                      <a:pt x="295569" y="19178"/>
                    </a:cubicBezTo>
                    <a:lnTo>
                      <a:pt x="288429" y="21576"/>
                    </a:lnTo>
                    <a:lnTo>
                      <a:pt x="281288" y="23990"/>
                    </a:lnTo>
                    <a:cubicBezTo>
                      <a:pt x="278908" y="24812"/>
                      <a:pt x="276528" y="25565"/>
                      <a:pt x="274199" y="26524"/>
                    </a:cubicBezTo>
                    <a:lnTo>
                      <a:pt x="260192" y="32055"/>
                    </a:lnTo>
                    <a:cubicBezTo>
                      <a:pt x="257846" y="32946"/>
                      <a:pt x="255552" y="33990"/>
                      <a:pt x="253274" y="35018"/>
                    </a:cubicBezTo>
                    <a:lnTo>
                      <a:pt x="246408" y="38117"/>
                    </a:lnTo>
                    <a:lnTo>
                      <a:pt x="239558" y="41233"/>
                    </a:lnTo>
                    <a:cubicBezTo>
                      <a:pt x="237281" y="42295"/>
                      <a:pt x="235072" y="43494"/>
                      <a:pt x="232829" y="44624"/>
                    </a:cubicBezTo>
                    <a:cubicBezTo>
                      <a:pt x="228377" y="46936"/>
                      <a:pt x="223873" y="49144"/>
                      <a:pt x="219472" y="51542"/>
                    </a:cubicBezTo>
                    <a:lnTo>
                      <a:pt x="206424" y="59042"/>
                    </a:lnTo>
                    <a:lnTo>
                      <a:pt x="203171" y="60925"/>
                    </a:lnTo>
                    <a:lnTo>
                      <a:pt x="199986" y="62946"/>
                    </a:lnTo>
                    <a:lnTo>
                      <a:pt x="193650" y="67004"/>
                    </a:lnTo>
                    <a:cubicBezTo>
                      <a:pt x="189421" y="69710"/>
                      <a:pt x="185174" y="72381"/>
                      <a:pt x="181133" y="75361"/>
                    </a:cubicBezTo>
                    <a:cubicBezTo>
                      <a:pt x="177040" y="78272"/>
                      <a:pt x="172948" y="81148"/>
                      <a:pt x="168889" y="84111"/>
                    </a:cubicBezTo>
                    <a:cubicBezTo>
                      <a:pt x="161013" y="90309"/>
                      <a:pt x="152999" y="96354"/>
                      <a:pt x="145550" y="103066"/>
                    </a:cubicBezTo>
                    <a:cubicBezTo>
                      <a:pt x="137844" y="109488"/>
                      <a:pt x="130755" y="116577"/>
                      <a:pt x="123478" y="123478"/>
                    </a:cubicBezTo>
                    <a:cubicBezTo>
                      <a:pt x="116577" y="130755"/>
                      <a:pt x="109488" y="137844"/>
                      <a:pt x="103067" y="145550"/>
                    </a:cubicBezTo>
                    <a:cubicBezTo>
                      <a:pt x="96354" y="153016"/>
                      <a:pt x="90310" y="161012"/>
                      <a:pt x="84111" y="168889"/>
                    </a:cubicBezTo>
                    <a:cubicBezTo>
                      <a:pt x="81166" y="172947"/>
                      <a:pt x="78272" y="177040"/>
                      <a:pt x="75361" y="181132"/>
                    </a:cubicBezTo>
                    <a:cubicBezTo>
                      <a:pt x="72381" y="185174"/>
                      <a:pt x="69710" y="189420"/>
                      <a:pt x="67004" y="193650"/>
                    </a:cubicBezTo>
                    <a:lnTo>
                      <a:pt x="62946" y="199985"/>
                    </a:lnTo>
                    <a:lnTo>
                      <a:pt x="60926" y="203170"/>
                    </a:lnTo>
                    <a:lnTo>
                      <a:pt x="59042" y="206424"/>
                    </a:lnTo>
                    <a:lnTo>
                      <a:pt x="51542" y="219472"/>
                    </a:lnTo>
                    <a:cubicBezTo>
                      <a:pt x="49145" y="223873"/>
                      <a:pt x="46918" y="228376"/>
                      <a:pt x="44624" y="232828"/>
                    </a:cubicBezTo>
                    <a:cubicBezTo>
                      <a:pt x="43494" y="235072"/>
                      <a:pt x="42312" y="237280"/>
                      <a:pt x="41233" y="239558"/>
                    </a:cubicBezTo>
                    <a:lnTo>
                      <a:pt x="38117" y="246407"/>
                    </a:lnTo>
                    <a:lnTo>
                      <a:pt x="35018" y="253274"/>
                    </a:lnTo>
                    <a:cubicBezTo>
                      <a:pt x="33990" y="255568"/>
                      <a:pt x="32946" y="257846"/>
                      <a:pt x="32055" y="260192"/>
                    </a:cubicBezTo>
                    <a:lnTo>
                      <a:pt x="26524" y="274199"/>
                    </a:lnTo>
                    <a:cubicBezTo>
                      <a:pt x="25565" y="276528"/>
                      <a:pt x="24812" y="278908"/>
                      <a:pt x="23990" y="281288"/>
                    </a:cubicBezTo>
                    <a:lnTo>
                      <a:pt x="21576" y="288428"/>
                    </a:lnTo>
                    <a:lnTo>
                      <a:pt x="19178" y="295569"/>
                    </a:lnTo>
                    <a:cubicBezTo>
                      <a:pt x="18425" y="297966"/>
                      <a:pt x="17774" y="300398"/>
                      <a:pt x="17072" y="302795"/>
                    </a:cubicBezTo>
                    <a:cubicBezTo>
                      <a:pt x="15719" y="307624"/>
                      <a:pt x="14281" y="312436"/>
                      <a:pt x="13014" y="317299"/>
                    </a:cubicBezTo>
                    <a:lnTo>
                      <a:pt x="9623" y="331973"/>
                    </a:lnTo>
                    <a:cubicBezTo>
                      <a:pt x="8408" y="336854"/>
                      <a:pt x="7654" y="341819"/>
                      <a:pt x="6730" y="346751"/>
                    </a:cubicBezTo>
                    <a:cubicBezTo>
                      <a:pt x="5908" y="351700"/>
                      <a:pt x="4829" y="356614"/>
                      <a:pt x="4298" y="361597"/>
                    </a:cubicBezTo>
                    <a:lnTo>
                      <a:pt x="2414" y="376529"/>
                    </a:lnTo>
                    <a:cubicBezTo>
                      <a:pt x="1849" y="381512"/>
                      <a:pt x="1575" y="386512"/>
                      <a:pt x="1164" y="391512"/>
                    </a:cubicBezTo>
                    <a:lnTo>
                      <a:pt x="599" y="399012"/>
                    </a:lnTo>
                    <a:cubicBezTo>
                      <a:pt x="445" y="401512"/>
                      <a:pt x="445" y="404012"/>
                      <a:pt x="360" y="406512"/>
                    </a:cubicBezTo>
                    <a:lnTo>
                      <a:pt x="0" y="421529"/>
                    </a:lnTo>
                    <a:lnTo>
                      <a:pt x="360" y="436547"/>
                    </a:lnTo>
                    <a:cubicBezTo>
                      <a:pt x="445" y="439047"/>
                      <a:pt x="462" y="441547"/>
                      <a:pt x="599" y="444047"/>
                    </a:cubicBezTo>
                    <a:lnTo>
                      <a:pt x="1164" y="451547"/>
                    </a:lnTo>
                    <a:cubicBezTo>
                      <a:pt x="1575" y="456547"/>
                      <a:pt x="1849" y="461547"/>
                      <a:pt x="2414" y="466530"/>
                    </a:cubicBezTo>
                    <a:lnTo>
                      <a:pt x="4298" y="481462"/>
                    </a:lnTo>
                    <a:cubicBezTo>
                      <a:pt x="4829" y="486445"/>
                      <a:pt x="5908" y="491359"/>
                      <a:pt x="6730" y="496308"/>
                    </a:cubicBezTo>
                    <a:cubicBezTo>
                      <a:pt x="7637" y="501239"/>
                      <a:pt x="8391" y="506205"/>
                      <a:pt x="9623" y="511085"/>
                    </a:cubicBezTo>
                    <a:lnTo>
                      <a:pt x="13014" y="525760"/>
                    </a:lnTo>
                    <a:cubicBezTo>
                      <a:pt x="14281" y="530623"/>
                      <a:pt x="15702" y="535435"/>
                      <a:pt x="17072" y="540264"/>
                    </a:cubicBezTo>
                    <a:cubicBezTo>
                      <a:pt x="17774" y="542678"/>
                      <a:pt x="18425" y="545093"/>
                      <a:pt x="19178" y="547490"/>
                    </a:cubicBezTo>
                    <a:lnTo>
                      <a:pt x="21576" y="554630"/>
                    </a:lnTo>
                    <a:lnTo>
                      <a:pt x="23990" y="561771"/>
                    </a:lnTo>
                    <a:cubicBezTo>
                      <a:pt x="24812" y="564151"/>
                      <a:pt x="25565" y="566531"/>
                      <a:pt x="26524" y="568860"/>
                    </a:cubicBezTo>
                    <a:lnTo>
                      <a:pt x="32055" y="582867"/>
                    </a:lnTo>
                    <a:cubicBezTo>
                      <a:pt x="32946" y="585213"/>
                      <a:pt x="33990" y="587508"/>
                      <a:pt x="35018" y="589785"/>
                    </a:cubicBezTo>
                    <a:lnTo>
                      <a:pt x="38117" y="596652"/>
                    </a:lnTo>
                    <a:lnTo>
                      <a:pt x="41233" y="603501"/>
                    </a:lnTo>
                    <a:cubicBezTo>
                      <a:pt x="42295" y="605778"/>
                      <a:pt x="43494" y="607987"/>
                      <a:pt x="44624" y="610230"/>
                    </a:cubicBezTo>
                    <a:cubicBezTo>
                      <a:pt x="46936" y="614683"/>
                      <a:pt x="49145" y="619186"/>
                      <a:pt x="51542" y="623587"/>
                    </a:cubicBezTo>
                    <a:lnTo>
                      <a:pt x="59042" y="636635"/>
                    </a:lnTo>
                    <a:lnTo>
                      <a:pt x="60926" y="639888"/>
                    </a:lnTo>
                    <a:lnTo>
                      <a:pt x="62946" y="643073"/>
                    </a:lnTo>
                    <a:lnTo>
                      <a:pt x="67004" y="649409"/>
                    </a:lnTo>
                    <a:cubicBezTo>
                      <a:pt x="69710" y="653639"/>
                      <a:pt x="72381" y="657885"/>
                      <a:pt x="75361" y="661926"/>
                    </a:cubicBezTo>
                    <a:cubicBezTo>
                      <a:pt x="78272" y="666019"/>
                      <a:pt x="81148" y="670111"/>
                      <a:pt x="84111" y="674170"/>
                    </a:cubicBezTo>
                    <a:cubicBezTo>
                      <a:pt x="90310" y="682046"/>
                      <a:pt x="96354" y="690060"/>
                      <a:pt x="103067" y="697509"/>
                    </a:cubicBezTo>
                    <a:cubicBezTo>
                      <a:pt x="109488" y="705215"/>
                      <a:pt x="116577" y="712304"/>
                      <a:pt x="123478" y="719581"/>
                    </a:cubicBezTo>
                    <a:cubicBezTo>
                      <a:pt x="130755" y="726482"/>
                      <a:pt x="137844" y="733571"/>
                      <a:pt x="145550" y="739992"/>
                    </a:cubicBezTo>
                    <a:cubicBezTo>
                      <a:pt x="153016" y="746705"/>
                      <a:pt x="161013" y="752749"/>
                      <a:pt x="168889" y="758948"/>
                    </a:cubicBezTo>
                    <a:cubicBezTo>
                      <a:pt x="172948" y="761893"/>
                      <a:pt x="177040" y="764787"/>
                      <a:pt x="181133" y="767698"/>
                    </a:cubicBezTo>
                    <a:cubicBezTo>
                      <a:pt x="185174" y="770678"/>
                      <a:pt x="189421" y="773349"/>
                      <a:pt x="193650" y="776055"/>
                    </a:cubicBezTo>
                    <a:lnTo>
                      <a:pt x="199986" y="780113"/>
                    </a:lnTo>
                    <a:lnTo>
                      <a:pt x="203171" y="782133"/>
                    </a:lnTo>
                    <a:lnTo>
                      <a:pt x="206424" y="784017"/>
                    </a:lnTo>
                    <a:lnTo>
                      <a:pt x="219472" y="791517"/>
                    </a:lnTo>
                    <a:cubicBezTo>
                      <a:pt x="223873" y="793914"/>
                      <a:pt x="228377" y="796140"/>
                      <a:pt x="232829" y="798435"/>
                    </a:cubicBezTo>
                    <a:cubicBezTo>
                      <a:pt x="235072" y="799565"/>
                      <a:pt x="237281" y="800747"/>
                      <a:pt x="239558" y="801825"/>
                    </a:cubicBezTo>
                    <a:lnTo>
                      <a:pt x="246408" y="804942"/>
                    </a:lnTo>
                    <a:lnTo>
                      <a:pt x="253274" y="808041"/>
                    </a:lnTo>
                    <a:cubicBezTo>
                      <a:pt x="255569" y="809069"/>
                      <a:pt x="257846" y="810113"/>
                      <a:pt x="260192" y="811004"/>
                    </a:cubicBezTo>
                    <a:lnTo>
                      <a:pt x="274199" y="816534"/>
                    </a:lnTo>
                    <a:cubicBezTo>
                      <a:pt x="276528" y="817493"/>
                      <a:pt x="278908" y="818247"/>
                      <a:pt x="281288" y="819069"/>
                    </a:cubicBezTo>
                    <a:lnTo>
                      <a:pt x="288429" y="821483"/>
                    </a:lnTo>
                    <a:lnTo>
                      <a:pt x="295569" y="823880"/>
                    </a:lnTo>
                    <a:cubicBezTo>
                      <a:pt x="297967" y="824634"/>
                      <a:pt x="300398" y="825285"/>
                      <a:pt x="302796" y="825987"/>
                    </a:cubicBezTo>
                    <a:cubicBezTo>
                      <a:pt x="307624" y="827339"/>
                      <a:pt x="312436" y="828778"/>
                      <a:pt x="317299" y="830045"/>
                    </a:cubicBezTo>
                    <a:lnTo>
                      <a:pt x="331974" y="833435"/>
                    </a:lnTo>
                    <a:cubicBezTo>
                      <a:pt x="336854" y="834651"/>
                      <a:pt x="341820" y="835405"/>
                      <a:pt x="346752" y="836329"/>
                    </a:cubicBezTo>
                    <a:cubicBezTo>
                      <a:pt x="351700" y="837151"/>
                      <a:pt x="356615" y="838230"/>
                      <a:pt x="361598" y="838761"/>
                    </a:cubicBezTo>
                    <a:lnTo>
                      <a:pt x="376530" y="840644"/>
                    </a:lnTo>
                    <a:cubicBezTo>
                      <a:pt x="381512" y="841209"/>
                      <a:pt x="386512" y="841483"/>
                      <a:pt x="391513" y="841894"/>
                    </a:cubicBezTo>
                    <a:lnTo>
                      <a:pt x="399013" y="842459"/>
                    </a:lnTo>
                    <a:cubicBezTo>
                      <a:pt x="401513" y="842614"/>
                      <a:pt x="404013" y="842614"/>
                      <a:pt x="406513" y="842699"/>
                    </a:cubicBezTo>
                    <a:lnTo>
                      <a:pt x="421530" y="843059"/>
                    </a:lnTo>
                    <a:lnTo>
                      <a:pt x="436547" y="842699"/>
                    </a:lnTo>
                    <a:cubicBezTo>
                      <a:pt x="439048" y="842614"/>
                      <a:pt x="441548" y="842596"/>
                      <a:pt x="444048" y="842459"/>
                    </a:cubicBezTo>
                    <a:lnTo>
                      <a:pt x="451548" y="841894"/>
                    </a:lnTo>
                    <a:cubicBezTo>
                      <a:pt x="456548" y="841483"/>
                      <a:pt x="461548" y="841209"/>
                      <a:pt x="466531" y="840644"/>
                    </a:cubicBezTo>
                    <a:lnTo>
                      <a:pt x="481463" y="838761"/>
                    </a:lnTo>
                    <a:cubicBezTo>
                      <a:pt x="486445" y="838230"/>
                      <a:pt x="491360" y="837151"/>
                      <a:pt x="496309" y="836329"/>
                    </a:cubicBezTo>
                    <a:cubicBezTo>
                      <a:pt x="501240" y="835422"/>
                      <a:pt x="506206" y="834668"/>
                      <a:pt x="511086" y="833435"/>
                    </a:cubicBezTo>
                    <a:lnTo>
                      <a:pt x="525761" y="830045"/>
                    </a:lnTo>
                    <a:cubicBezTo>
                      <a:pt x="530624" y="828778"/>
                      <a:pt x="535436" y="827357"/>
                      <a:pt x="540265" y="825987"/>
                    </a:cubicBezTo>
                    <a:cubicBezTo>
                      <a:pt x="542679" y="825285"/>
                      <a:pt x="545094" y="824634"/>
                      <a:pt x="547491" y="823880"/>
                    </a:cubicBezTo>
                    <a:lnTo>
                      <a:pt x="554631" y="821483"/>
                    </a:lnTo>
                    <a:lnTo>
                      <a:pt x="561772" y="819069"/>
                    </a:lnTo>
                    <a:cubicBezTo>
                      <a:pt x="564152" y="818247"/>
                      <a:pt x="566532" y="817493"/>
                      <a:pt x="568861" y="816534"/>
                    </a:cubicBezTo>
                    <a:lnTo>
                      <a:pt x="582868" y="811004"/>
                    </a:lnTo>
                    <a:cubicBezTo>
                      <a:pt x="585214" y="810113"/>
                      <a:pt x="587509" y="809069"/>
                      <a:pt x="589786" y="808041"/>
                    </a:cubicBezTo>
                    <a:lnTo>
                      <a:pt x="596653" y="804942"/>
                    </a:lnTo>
                    <a:lnTo>
                      <a:pt x="603502" y="801825"/>
                    </a:lnTo>
                    <a:cubicBezTo>
                      <a:pt x="605779" y="800764"/>
                      <a:pt x="607988" y="799565"/>
                      <a:pt x="610232" y="798435"/>
                    </a:cubicBezTo>
                    <a:cubicBezTo>
                      <a:pt x="614684" y="796123"/>
                      <a:pt x="619187" y="793914"/>
                      <a:pt x="623588" y="791517"/>
                    </a:cubicBezTo>
                    <a:lnTo>
                      <a:pt x="636636" y="784017"/>
                    </a:lnTo>
                    <a:lnTo>
                      <a:pt x="639890" y="782133"/>
                    </a:lnTo>
                    <a:lnTo>
                      <a:pt x="643075" y="780113"/>
                    </a:lnTo>
                    <a:lnTo>
                      <a:pt x="649410" y="776055"/>
                    </a:lnTo>
                    <a:cubicBezTo>
                      <a:pt x="653640" y="773349"/>
                      <a:pt x="657886" y="770678"/>
                      <a:pt x="661927" y="767698"/>
                    </a:cubicBezTo>
                    <a:cubicBezTo>
                      <a:pt x="666020" y="764787"/>
                      <a:pt x="670113" y="761910"/>
                      <a:pt x="674171" y="758948"/>
                    </a:cubicBezTo>
                    <a:cubicBezTo>
                      <a:pt x="682048" y="752749"/>
                      <a:pt x="690062" y="746705"/>
                      <a:pt x="697510" y="739992"/>
                    </a:cubicBezTo>
                    <a:cubicBezTo>
                      <a:pt x="705216" y="733571"/>
                      <a:pt x="712305" y="726482"/>
                      <a:pt x="719582" y="719581"/>
                    </a:cubicBezTo>
                    <a:cubicBezTo>
                      <a:pt x="726483" y="712304"/>
                      <a:pt x="733572" y="705215"/>
                      <a:pt x="739994" y="697509"/>
                    </a:cubicBezTo>
                    <a:cubicBezTo>
                      <a:pt x="746706" y="690043"/>
                      <a:pt x="752751" y="682046"/>
                      <a:pt x="758949" y="674170"/>
                    </a:cubicBezTo>
                    <a:cubicBezTo>
                      <a:pt x="761895" y="670111"/>
                      <a:pt x="764789" y="666019"/>
                      <a:pt x="767700" y="661926"/>
                    </a:cubicBezTo>
                    <a:cubicBezTo>
                      <a:pt x="770679" y="657885"/>
                      <a:pt x="773350" y="653639"/>
                      <a:pt x="776056" y="649409"/>
                    </a:cubicBezTo>
                    <a:lnTo>
                      <a:pt x="780114" y="643073"/>
                    </a:lnTo>
                    <a:lnTo>
                      <a:pt x="782135" y="639888"/>
                    </a:lnTo>
                    <a:lnTo>
                      <a:pt x="784018" y="636635"/>
                    </a:lnTo>
                    <a:lnTo>
                      <a:pt x="791518" y="623587"/>
                    </a:lnTo>
                    <a:cubicBezTo>
                      <a:pt x="793916" y="619186"/>
                      <a:pt x="796142" y="614683"/>
                      <a:pt x="798436" y="610230"/>
                    </a:cubicBezTo>
                    <a:cubicBezTo>
                      <a:pt x="799566" y="607987"/>
                      <a:pt x="800748" y="605778"/>
                      <a:pt x="801827" y="603501"/>
                    </a:cubicBezTo>
                    <a:lnTo>
                      <a:pt x="804943" y="596652"/>
                    </a:lnTo>
                    <a:lnTo>
                      <a:pt x="808043" y="589785"/>
                    </a:lnTo>
                    <a:cubicBezTo>
                      <a:pt x="809070" y="587490"/>
                      <a:pt x="810115" y="585213"/>
                      <a:pt x="811005" y="582867"/>
                    </a:cubicBezTo>
                    <a:lnTo>
                      <a:pt x="816536" y="568860"/>
                    </a:lnTo>
                    <a:cubicBezTo>
                      <a:pt x="817495" y="566531"/>
                      <a:pt x="818248" y="564151"/>
                      <a:pt x="819070" y="561771"/>
                    </a:cubicBezTo>
                    <a:lnTo>
                      <a:pt x="821485" y="554630"/>
                    </a:lnTo>
                    <a:lnTo>
                      <a:pt x="823882" y="547490"/>
                    </a:lnTo>
                    <a:cubicBezTo>
                      <a:pt x="824635" y="545093"/>
                      <a:pt x="825286" y="542661"/>
                      <a:pt x="825988" y="540264"/>
                    </a:cubicBezTo>
                    <a:cubicBezTo>
                      <a:pt x="827341" y="535435"/>
                      <a:pt x="828779" y="530623"/>
                      <a:pt x="830046" y="525760"/>
                    </a:cubicBezTo>
                    <a:lnTo>
                      <a:pt x="833437" y="511085"/>
                    </a:lnTo>
                    <a:cubicBezTo>
                      <a:pt x="834653" y="506205"/>
                      <a:pt x="835406" y="501239"/>
                      <a:pt x="836331" y="496308"/>
                    </a:cubicBezTo>
                    <a:cubicBezTo>
                      <a:pt x="837153" y="491359"/>
                      <a:pt x="838231" y="486445"/>
                      <a:pt x="838762" y="481462"/>
                    </a:cubicBezTo>
                    <a:lnTo>
                      <a:pt x="840646" y="466530"/>
                    </a:lnTo>
                    <a:cubicBezTo>
                      <a:pt x="841211" y="461547"/>
                      <a:pt x="841485" y="456547"/>
                      <a:pt x="841896" y="451547"/>
                    </a:cubicBezTo>
                    <a:lnTo>
                      <a:pt x="842461" y="444047"/>
                    </a:lnTo>
                    <a:cubicBezTo>
                      <a:pt x="842615" y="441547"/>
                      <a:pt x="842615" y="439047"/>
                      <a:pt x="842701" y="436547"/>
                    </a:cubicBezTo>
                    <a:lnTo>
                      <a:pt x="843060" y="421529"/>
                    </a:lnTo>
                    <a:lnTo>
                      <a:pt x="842701" y="406512"/>
                    </a:lnTo>
                    <a:cubicBezTo>
                      <a:pt x="842615" y="404012"/>
                      <a:pt x="842598" y="401512"/>
                      <a:pt x="842461" y="399012"/>
                    </a:cubicBezTo>
                    <a:close/>
                    <a:moveTo>
                      <a:pt x="807906" y="435314"/>
                    </a:moveTo>
                    <a:cubicBezTo>
                      <a:pt x="807837" y="437608"/>
                      <a:pt x="807820" y="439920"/>
                      <a:pt x="807683" y="442215"/>
                    </a:cubicBezTo>
                    <a:lnTo>
                      <a:pt x="807169" y="449098"/>
                    </a:lnTo>
                    <a:cubicBezTo>
                      <a:pt x="806775" y="453687"/>
                      <a:pt x="806553" y="458276"/>
                      <a:pt x="806022" y="462848"/>
                    </a:cubicBezTo>
                    <a:lnTo>
                      <a:pt x="804275" y="476547"/>
                    </a:lnTo>
                    <a:cubicBezTo>
                      <a:pt x="803796" y="481119"/>
                      <a:pt x="802803" y="485623"/>
                      <a:pt x="802049" y="490160"/>
                    </a:cubicBezTo>
                    <a:cubicBezTo>
                      <a:pt x="801210" y="494681"/>
                      <a:pt x="800543" y="499236"/>
                      <a:pt x="799412" y="503705"/>
                    </a:cubicBezTo>
                    <a:lnTo>
                      <a:pt x="796296" y="517164"/>
                    </a:lnTo>
                    <a:cubicBezTo>
                      <a:pt x="795132" y="521616"/>
                      <a:pt x="793813" y="526034"/>
                      <a:pt x="792580" y="530469"/>
                    </a:cubicBezTo>
                    <a:cubicBezTo>
                      <a:pt x="791947" y="532678"/>
                      <a:pt x="791347" y="534904"/>
                      <a:pt x="790662" y="537096"/>
                    </a:cubicBezTo>
                    <a:lnTo>
                      <a:pt x="788453" y="543637"/>
                    </a:lnTo>
                    <a:lnTo>
                      <a:pt x="786244" y="550178"/>
                    </a:lnTo>
                    <a:cubicBezTo>
                      <a:pt x="785491" y="552353"/>
                      <a:pt x="784806" y="554545"/>
                      <a:pt x="783916" y="556685"/>
                    </a:cubicBezTo>
                    <a:lnTo>
                      <a:pt x="778847" y="569528"/>
                    </a:lnTo>
                    <a:cubicBezTo>
                      <a:pt x="778042" y="571685"/>
                      <a:pt x="777083" y="573775"/>
                      <a:pt x="776124" y="575864"/>
                    </a:cubicBezTo>
                    <a:lnTo>
                      <a:pt x="773282" y="582148"/>
                    </a:lnTo>
                    <a:lnTo>
                      <a:pt x="770439" y="588432"/>
                    </a:lnTo>
                    <a:cubicBezTo>
                      <a:pt x="769463" y="590521"/>
                      <a:pt x="768367" y="592542"/>
                      <a:pt x="767323" y="594597"/>
                    </a:cubicBezTo>
                    <a:cubicBezTo>
                      <a:pt x="765200" y="598689"/>
                      <a:pt x="763179" y="602816"/>
                      <a:pt x="760970" y="606857"/>
                    </a:cubicBezTo>
                    <a:lnTo>
                      <a:pt x="754086" y="618826"/>
                    </a:lnTo>
                    <a:lnTo>
                      <a:pt x="752357" y="621823"/>
                    </a:lnTo>
                    <a:lnTo>
                      <a:pt x="750508" y="624734"/>
                    </a:lnTo>
                    <a:lnTo>
                      <a:pt x="746792" y="630539"/>
                    </a:lnTo>
                    <a:cubicBezTo>
                      <a:pt x="744309" y="634409"/>
                      <a:pt x="741860" y="638313"/>
                      <a:pt x="739138" y="642012"/>
                    </a:cubicBezTo>
                    <a:lnTo>
                      <a:pt x="731124" y="653245"/>
                    </a:lnTo>
                    <a:cubicBezTo>
                      <a:pt x="725422" y="660471"/>
                      <a:pt x="719891" y="667817"/>
                      <a:pt x="713726" y="674666"/>
                    </a:cubicBezTo>
                    <a:cubicBezTo>
                      <a:pt x="707836" y="681755"/>
                      <a:pt x="701312" y="688245"/>
                      <a:pt x="694993" y="694923"/>
                    </a:cubicBezTo>
                    <a:cubicBezTo>
                      <a:pt x="688298" y="701242"/>
                      <a:pt x="681808" y="707766"/>
                      <a:pt x="674736" y="713656"/>
                    </a:cubicBezTo>
                    <a:cubicBezTo>
                      <a:pt x="667904" y="719821"/>
                      <a:pt x="660540" y="725352"/>
                      <a:pt x="653314" y="731054"/>
                    </a:cubicBezTo>
                    <a:lnTo>
                      <a:pt x="642081" y="739068"/>
                    </a:lnTo>
                    <a:cubicBezTo>
                      <a:pt x="638383" y="741807"/>
                      <a:pt x="634478" y="744256"/>
                      <a:pt x="630609" y="746722"/>
                    </a:cubicBezTo>
                    <a:lnTo>
                      <a:pt x="624804" y="750438"/>
                    </a:lnTo>
                    <a:lnTo>
                      <a:pt x="621893" y="752287"/>
                    </a:lnTo>
                    <a:lnTo>
                      <a:pt x="618896" y="754017"/>
                    </a:lnTo>
                    <a:lnTo>
                      <a:pt x="606927" y="760900"/>
                    </a:lnTo>
                    <a:cubicBezTo>
                      <a:pt x="602886" y="763092"/>
                      <a:pt x="598759" y="765130"/>
                      <a:pt x="594666" y="767253"/>
                    </a:cubicBezTo>
                    <a:cubicBezTo>
                      <a:pt x="592611" y="768280"/>
                      <a:pt x="590591" y="769376"/>
                      <a:pt x="588502" y="770369"/>
                    </a:cubicBezTo>
                    <a:lnTo>
                      <a:pt x="582217" y="773212"/>
                    </a:lnTo>
                    <a:cubicBezTo>
                      <a:pt x="515264" y="803914"/>
                      <a:pt x="439424" y="814839"/>
                      <a:pt x="366581" y="804206"/>
                    </a:cubicBezTo>
                    <a:cubicBezTo>
                      <a:pt x="362009" y="803726"/>
                      <a:pt x="357505" y="802733"/>
                      <a:pt x="352967" y="801979"/>
                    </a:cubicBezTo>
                    <a:cubicBezTo>
                      <a:pt x="348447" y="801140"/>
                      <a:pt x="343892" y="800473"/>
                      <a:pt x="339423" y="799342"/>
                    </a:cubicBezTo>
                    <a:lnTo>
                      <a:pt x="325964" y="796226"/>
                    </a:lnTo>
                    <a:cubicBezTo>
                      <a:pt x="321512" y="795062"/>
                      <a:pt x="317094" y="793743"/>
                      <a:pt x="312659" y="792510"/>
                    </a:cubicBezTo>
                    <a:cubicBezTo>
                      <a:pt x="310450" y="791877"/>
                      <a:pt x="308224" y="791277"/>
                      <a:pt x="306032" y="790592"/>
                    </a:cubicBezTo>
                    <a:lnTo>
                      <a:pt x="299491" y="788383"/>
                    </a:lnTo>
                    <a:lnTo>
                      <a:pt x="292949" y="786175"/>
                    </a:lnTo>
                    <a:cubicBezTo>
                      <a:pt x="290775" y="785421"/>
                      <a:pt x="288583" y="784736"/>
                      <a:pt x="286443" y="783846"/>
                    </a:cubicBezTo>
                    <a:lnTo>
                      <a:pt x="273600" y="778777"/>
                    </a:lnTo>
                    <a:cubicBezTo>
                      <a:pt x="271442" y="777972"/>
                      <a:pt x="269353" y="777013"/>
                      <a:pt x="267264" y="776055"/>
                    </a:cubicBezTo>
                    <a:lnTo>
                      <a:pt x="260980" y="773212"/>
                    </a:lnTo>
                    <a:lnTo>
                      <a:pt x="254696" y="770369"/>
                    </a:lnTo>
                    <a:cubicBezTo>
                      <a:pt x="252606" y="769393"/>
                      <a:pt x="250586" y="768298"/>
                      <a:pt x="248531" y="767253"/>
                    </a:cubicBezTo>
                    <a:cubicBezTo>
                      <a:pt x="244439" y="765130"/>
                      <a:pt x="240312" y="763109"/>
                      <a:pt x="236271" y="760900"/>
                    </a:cubicBezTo>
                    <a:lnTo>
                      <a:pt x="224301" y="754017"/>
                    </a:lnTo>
                    <a:lnTo>
                      <a:pt x="221305" y="752287"/>
                    </a:lnTo>
                    <a:lnTo>
                      <a:pt x="218394" y="750438"/>
                    </a:lnTo>
                    <a:lnTo>
                      <a:pt x="212589" y="746722"/>
                    </a:lnTo>
                    <a:cubicBezTo>
                      <a:pt x="208719" y="744239"/>
                      <a:pt x="204815" y="741790"/>
                      <a:pt x="201116" y="739068"/>
                    </a:cubicBezTo>
                    <a:lnTo>
                      <a:pt x="189883" y="731054"/>
                    </a:lnTo>
                    <a:cubicBezTo>
                      <a:pt x="182657" y="725352"/>
                      <a:pt x="175311" y="719821"/>
                      <a:pt x="168461" y="713656"/>
                    </a:cubicBezTo>
                    <a:cubicBezTo>
                      <a:pt x="161372" y="707766"/>
                      <a:pt x="154882" y="701242"/>
                      <a:pt x="148204" y="694923"/>
                    </a:cubicBezTo>
                    <a:cubicBezTo>
                      <a:pt x="141886" y="688228"/>
                      <a:pt x="135362" y="681738"/>
                      <a:pt x="129471" y="674666"/>
                    </a:cubicBezTo>
                    <a:cubicBezTo>
                      <a:pt x="123307" y="667834"/>
                      <a:pt x="117776" y="660471"/>
                      <a:pt x="112074" y="653245"/>
                    </a:cubicBezTo>
                    <a:lnTo>
                      <a:pt x="104060" y="642012"/>
                    </a:lnTo>
                    <a:cubicBezTo>
                      <a:pt x="101320" y="638313"/>
                      <a:pt x="98871" y="634409"/>
                      <a:pt x="96406" y="630539"/>
                    </a:cubicBezTo>
                    <a:lnTo>
                      <a:pt x="92690" y="624734"/>
                    </a:lnTo>
                    <a:lnTo>
                      <a:pt x="90840" y="621823"/>
                    </a:lnTo>
                    <a:lnTo>
                      <a:pt x="89111" y="618826"/>
                    </a:lnTo>
                    <a:lnTo>
                      <a:pt x="82227" y="606857"/>
                    </a:lnTo>
                    <a:cubicBezTo>
                      <a:pt x="80035" y="602816"/>
                      <a:pt x="77998" y="598689"/>
                      <a:pt x="75874" y="594597"/>
                    </a:cubicBezTo>
                    <a:cubicBezTo>
                      <a:pt x="74847" y="592542"/>
                      <a:pt x="73751" y="590521"/>
                      <a:pt x="72758" y="588432"/>
                    </a:cubicBezTo>
                    <a:lnTo>
                      <a:pt x="69915" y="582148"/>
                    </a:lnTo>
                    <a:lnTo>
                      <a:pt x="67073" y="575864"/>
                    </a:lnTo>
                    <a:cubicBezTo>
                      <a:pt x="66114" y="573775"/>
                      <a:pt x="65155" y="571685"/>
                      <a:pt x="64350" y="569528"/>
                    </a:cubicBezTo>
                    <a:lnTo>
                      <a:pt x="59282" y="556685"/>
                    </a:lnTo>
                    <a:cubicBezTo>
                      <a:pt x="58391" y="554562"/>
                      <a:pt x="57706" y="552370"/>
                      <a:pt x="56953" y="550178"/>
                    </a:cubicBezTo>
                    <a:lnTo>
                      <a:pt x="54744" y="543637"/>
                    </a:lnTo>
                    <a:lnTo>
                      <a:pt x="52535" y="537096"/>
                    </a:lnTo>
                    <a:cubicBezTo>
                      <a:pt x="51850" y="534904"/>
                      <a:pt x="51251" y="532678"/>
                      <a:pt x="50617" y="530469"/>
                    </a:cubicBezTo>
                    <a:cubicBezTo>
                      <a:pt x="49384" y="526034"/>
                      <a:pt x="48049" y="521616"/>
                      <a:pt x="46901" y="517164"/>
                    </a:cubicBezTo>
                    <a:lnTo>
                      <a:pt x="43785" y="503705"/>
                    </a:lnTo>
                    <a:cubicBezTo>
                      <a:pt x="42655" y="499236"/>
                      <a:pt x="41987" y="494681"/>
                      <a:pt x="41148" y="490160"/>
                    </a:cubicBezTo>
                    <a:cubicBezTo>
                      <a:pt x="40394" y="485623"/>
                      <a:pt x="39401" y="481119"/>
                      <a:pt x="38922" y="476547"/>
                    </a:cubicBezTo>
                    <a:lnTo>
                      <a:pt x="37175" y="462848"/>
                    </a:lnTo>
                    <a:cubicBezTo>
                      <a:pt x="36644" y="458276"/>
                      <a:pt x="36422" y="453687"/>
                      <a:pt x="36028" y="449098"/>
                    </a:cubicBezTo>
                    <a:lnTo>
                      <a:pt x="35514" y="442215"/>
                    </a:lnTo>
                    <a:cubicBezTo>
                      <a:pt x="35377" y="439920"/>
                      <a:pt x="35377" y="437625"/>
                      <a:pt x="35292" y="435314"/>
                    </a:cubicBezTo>
                    <a:lnTo>
                      <a:pt x="34949" y="421529"/>
                    </a:lnTo>
                    <a:lnTo>
                      <a:pt x="35292" y="407745"/>
                    </a:lnTo>
                    <a:cubicBezTo>
                      <a:pt x="35360" y="405450"/>
                      <a:pt x="35377" y="403139"/>
                      <a:pt x="35514" y="400844"/>
                    </a:cubicBezTo>
                    <a:lnTo>
                      <a:pt x="36028" y="393961"/>
                    </a:lnTo>
                    <a:cubicBezTo>
                      <a:pt x="36422" y="389371"/>
                      <a:pt x="36644" y="384782"/>
                      <a:pt x="37175" y="380210"/>
                    </a:cubicBezTo>
                    <a:lnTo>
                      <a:pt x="38922" y="366512"/>
                    </a:lnTo>
                    <a:cubicBezTo>
                      <a:pt x="39401" y="361940"/>
                      <a:pt x="40394" y="357436"/>
                      <a:pt x="41148" y="352898"/>
                    </a:cubicBezTo>
                    <a:cubicBezTo>
                      <a:pt x="41987" y="348378"/>
                      <a:pt x="42655" y="343823"/>
                      <a:pt x="43785" y="339354"/>
                    </a:cubicBezTo>
                    <a:lnTo>
                      <a:pt x="46901" y="325895"/>
                    </a:lnTo>
                    <a:cubicBezTo>
                      <a:pt x="48066" y="321442"/>
                      <a:pt x="49384" y="317025"/>
                      <a:pt x="50617" y="312590"/>
                    </a:cubicBezTo>
                    <a:cubicBezTo>
                      <a:pt x="51251" y="310381"/>
                      <a:pt x="51850" y="308155"/>
                      <a:pt x="52535" y="305963"/>
                    </a:cubicBezTo>
                    <a:lnTo>
                      <a:pt x="54744" y="299422"/>
                    </a:lnTo>
                    <a:lnTo>
                      <a:pt x="56953" y="292880"/>
                    </a:lnTo>
                    <a:cubicBezTo>
                      <a:pt x="57706" y="290706"/>
                      <a:pt x="58391" y="288514"/>
                      <a:pt x="59282" y="286374"/>
                    </a:cubicBezTo>
                    <a:lnTo>
                      <a:pt x="64350" y="273531"/>
                    </a:lnTo>
                    <a:cubicBezTo>
                      <a:pt x="65155" y="271373"/>
                      <a:pt x="66114" y="269284"/>
                      <a:pt x="67073" y="267195"/>
                    </a:cubicBezTo>
                    <a:lnTo>
                      <a:pt x="69915" y="260911"/>
                    </a:lnTo>
                    <a:lnTo>
                      <a:pt x="72758" y="254627"/>
                    </a:lnTo>
                    <a:cubicBezTo>
                      <a:pt x="73734" y="252538"/>
                      <a:pt x="74830" y="250517"/>
                      <a:pt x="75874" y="248462"/>
                    </a:cubicBezTo>
                    <a:cubicBezTo>
                      <a:pt x="77998" y="244370"/>
                      <a:pt x="80018" y="240243"/>
                      <a:pt x="82227" y="236202"/>
                    </a:cubicBezTo>
                    <a:lnTo>
                      <a:pt x="89111" y="224232"/>
                    </a:lnTo>
                    <a:lnTo>
                      <a:pt x="90840" y="221236"/>
                    </a:lnTo>
                    <a:lnTo>
                      <a:pt x="92690" y="218325"/>
                    </a:lnTo>
                    <a:lnTo>
                      <a:pt x="96406" y="212520"/>
                    </a:lnTo>
                    <a:cubicBezTo>
                      <a:pt x="98888" y="208650"/>
                      <a:pt x="101337" y="204746"/>
                      <a:pt x="104060" y="201047"/>
                    </a:cubicBezTo>
                    <a:lnTo>
                      <a:pt x="112074" y="189814"/>
                    </a:lnTo>
                    <a:cubicBezTo>
                      <a:pt x="117776" y="182588"/>
                      <a:pt x="123307" y="175242"/>
                      <a:pt x="129471" y="168393"/>
                    </a:cubicBezTo>
                    <a:cubicBezTo>
                      <a:pt x="135362" y="161303"/>
                      <a:pt x="141886" y="154814"/>
                      <a:pt x="148204" y="148135"/>
                    </a:cubicBezTo>
                    <a:cubicBezTo>
                      <a:pt x="154900" y="141817"/>
                      <a:pt x="161389" y="135293"/>
                      <a:pt x="168461" y="129402"/>
                    </a:cubicBezTo>
                    <a:cubicBezTo>
                      <a:pt x="175294" y="123238"/>
                      <a:pt x="182657" y="117707"/>
                      <a:pt x="189883" y="112005"/>
                    </a:cubicBezTo>
                    <a:lnTo>
                      <a:pt x="201116" y="103991"/>
                    </a:lnTo>
                    <a:cubicBezTo>
                      <a:pt x="204815" y="101251"/>
                      <a:pt x="208719" y="98803"/>
                      <a:pt x="212589" y="96337"/>
                    </a:cubicBezTo>
                    <a:lnTo>
                      <a:pt x="218394" y="92621"/>
                    </a:lnTo>
                    <a:lnTo>
                      <a:pt x="221305" y="90772"/>
                    </a:lnTo>
                    <a:lnTo>
                      <a:pt x="224301" y="89042"/>
                    </a:lnTo>
                    <a:lnTo>
                      <a:pt x="236271" y="82159"/>
                    </a:lnTo>
                    <a:cubicBezTo>
                      <a:pt x="240312" y="79967"/>
                      <a:pt x="244439" y="77929"/>
                      <a:pt x="248531" y="75806"/>
                    </a:cubicBezTo>
                    <a:cubicBezTo>
                      <a:pt x="250586" y="74778"/>
                      <a:pt x="252606" y="73682"/>
                      <a:pt x="254696" y="72689"/>
                    </a:cubicBezTo>
                    <a:lnTo>
                      <a:pt x="260980" y="69847"/>
                    </a:lnTo>
                    <a:lnTo>
                      <a:pt x="267264" y="67004"/>
                    </a:lnTo>
                    <a:cubicBezTo>
                      <a:pt x="269353" y="66045"/>
                      <a:pt x="271442" y="65086"/>
                      <a:pt x="273600" y="64282"/>
                    </a:cubicBezTo>
                    <a:lnTo>
                      <a:pt x="286443" y="59213"/>
                    </a:lnTo>
                    <a:cubicBezTo>
                      <a:pt x="288566" y="58323"/>
                      <a:pt x="290758" y="57638"/>
                      <a:pt x="292949" y="56884"/>
                    </a:cubicBezTo>
                    <a:lnTo>
                      <a:pt x="299491" y="54675"/>
                    </a:lnTo>
                    <a:lnTo>
                      <a:pt x="306032" y="52466"/>
                    </a:lnTo>
                    <a:cubicBezTo>
                      <a:pt x="308224" y="51781"/>
                      <a:pt x="310450" y="51182"/>
                      <a:pt x="312659" y="50549"/>
                    </a:cubicBezTo>
                    <a:cubicBezTo>
                      <a:pt x="317094" y="49316"/>
                      <a:pt x="321512" y="47980"/>
                      <a:pt x="325964" y="46833"/>
                    </a:cubicBezTo>
                    <a:lnTo>
                      <a:pt x="339423" y="43716"/>
                    </a:lnTo>
                    <a:cubicBezTo>
                      <a:pt x="343892" y="42586"/>
                      <a:pt x="348447" y="41918"/>
                      <a:pt x="352967" y="41079"/>
                    </a:cubicBezTo>
                    <a:cubicBezTo>
                      <a:pt x="357505" y="40326"/>
                      <a:pt x="362009" y="39333"/>
                      <a:pt x="366581" y="38853"/>
                    </a:cubicBezTo>
                    <a:cubicBezTo>
                      <a:pt x="439424" y="28220"/>
                      <a:pt x="515264" y="39144"/>
                      <a:pt x="582217" y="69847"/>
                    </a:cubicBezTo>
                    <a:lnTo>
                      <a:pt x="588502" y="72689"/>
                    </a:lnTo>
                    <a:cubicBezTo>
                      <a:pt x="590591" y="73665"/>
                      <a:pt x="592611" y="74761"/>
                      <a:pt x="594666" y="75806"/>
                    </a:cubicBezTo>
                    <a:cubicBezTo>
                      <a:pt x="598759" y="77929"/>
                      <a:pt x="602886" y="79950"/>
                      <a:pt x="606927" y="82159"/>
                    </a:cubicBezTo>
                    <a:lnTo>
                      <a:pt x="618896" y="89042"/>
                    </a:lnTo>
                    <a:lnTo>
                      <a:pt x="621893" y="90772"/>
                    </a:lnTo>
                    <a:lnTo>
                      <a:pt x="624804" y="92621"/>
                    </a:lnTo>
                    <a:lnTo>
                      <a:pt x="630609" y="96337"/>
                    </a:lnTo>
                    <a:cubicBezTo>
                      <a:pt x="634478" y="98820"/>
                      <a:pt x="638383" y="101268"/>
                      <a:pt x="642081" y="103991"/>
                    </a:cubicBezTo>
                    <a:lnTo>
                      <a:pt x="653314" y="112005"/>
                    </a:lnTo>
                    <a:cubicBezTo>
                      <a:pt x="660540" y="117707"/>
                      <a:pt x="667887" y="123238"/>
                      <a:pt x="674736" y="129402"/>
                    </a:cubicBezTo>
                    <a:cubicBezTo>
                      <a:pt x="681825" y="135293"/>
                      <a:pt x="688315" y="141817"/>
                      <a:pt x="694993" y="148135"/>
                    </a:cubicBezTo>
                    <a:cubicBezTo>
                      <a:pt x="701312" y="154831"/>
                      <a:pt x="707836" y="161321"/>
                      <a:pt x="713726" y="168393"/>
                    </a:cubicBezTo>
                    <a:cubicBezTo>
                      <a:pt x="719891" y="175225"/>
                      <a:pt x="725422" y="182588"/>
                      <a:pt x="731124" y="189814"/>
                    </a:cubicBezTo>
                    <a:lnTo>
                      <a:pt x="739138" y="201047"/>
                    </a:lnTo>
                    <a:cubicBezTo>
                      <a:pt x="741877" y="204746"/>
                      <a:pt x="744326" y="208650"/>
                      <a:pt x="746792" y="212520"/>
                    </a:cubicBezTo>
                    <a:lnTo>
                      <a:pt x="750508" y="218325"/>
                    </a:lnTo>
                    <a:lnTo>
                      <a:pt x="752357" y="221236"/>
                    </a:lnTo>
                    <a:lnTo>
                      <a:pt x="754086" y="224232"/>
                    </a:lnTo>
                    <a:lnTo>
                      <a:pt x="760970" y="236202"/>
                    </a:lnTo>
                    <a:cubicBezTo>
                      <a:pt x="763162" y="240243"/>
                      <a:pt x="765200" y="244370"/>
                      <a:pt x="767323" y="248462"/>
                    </a:cubicBezTo>
                    <a:cubicBezTo>
                      <a:pt x="768350" y="250517"/>
                      <a:pt x="769446" y="252538"/>
                      <a:pt x="770439" y="254627"/>
                    </a:cubicBezTo>
                    <a:lnTo>
                      <a:pt x="773282" y="260911"/>
                    </a:lnTo>
                    <a:lnTo>
                      <a:pt x="776124" y="267195"/>
                    </a:lnTo>
                    <a:cubicBezTo>
                      <a:pt x="777083" y="269284"/>
                      <a:pt x="778042" y="271373"/>
                      <a:pt x="778847" y="273531"/>
                    </a:cubicBezTo>
                    <a:lnTo>
                      <a:pt x="783916" y="286374"/>
                    </a:lnTo>
                    <a:cubicBezTo>
                      <a:pt x="784806" y="288497"/>
                      <a:pt x="785491" y="290689"/>
                      <a:pt x="786244" y="292880"/>
                    </a:cubicBezTo>
                    <a:lnTo>
                      <a:pt x="788453" y="299422"/>
                    </a:lnTo>
                    <a:lnTo>
                      <a:pt x="790662" y="305963"/>
                    </a:lnTo>
                    <a:cubicBezTo>
                      <a:pt x="791347" y="308155"/>
                      <a:pt x="791947" y="310381"/>
                      <a:pt x="792580" y="312590"/>
                    </a:cubicBezTo>
                    <a:cubicBezTo>
                      <a:pt x="793813" y="317025"/>
                      <a:pt x="795149" y="321442"/>
                      <a:pt x="796296" y="325895"/>
                    </a:cubicBezTo>
                    <a:lnTo>
                      <a:pt x="799412" y="339354"/>
                    </a:lnTo>
                    <a:cubicBezTo>
                      <a:pt x="800543" y="343823"/>
                      <a:pt x="801210" y="348378"/>
                      <a:pt x="802049" y="352898"/>
                    </a:cubicBezTo>
                    <a:cubicBezTo>
                      <a:pt x="802803" y="357436"/>
                      <a:pt x="803796" y="361940"/>
                      <a:pt x="804275" y="366512"/>
                    </a:cubicBezTo>
                    <a:lnTo>
                      <a:pt x="806022" y="380210"/>
                    </a:lnTo>
                    <a:cubicBezTo>
                      <a:pt x="806553" y="384782"/>
                      <a:pt x="806775" y="389371"/>
                      <a:pt x="807169" y="393961"/>
                    </a:cubicBezTo>
                    <a:lnTo>
                      <a:pt x="807683" y="400844"/>
                    </a:lnTo>
                    <a:cubicBezTo>
                      <a:pt x="807820" y="403139"/>
                      <a:pt x="807820" y="405433"/>
                      <a:pt x="807906" y="407745"/>
                    </a:cubicBezTo>
                    <a:lnTo>
                      <a:pt x="808248" y="421529"/>
                    </a:lnTo>
                    <a:lnTo>
                      <a:pt x="807906" y="435314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95" name="Freeform 9">
                <a:extLst>
                  <a:ext uri="{FF2B5EF4-FFF2-40B4-BE49-F238E27FC236}">
                    <a16:creationId xmlns:a16="http://schemas.microsoft.com/office/drawing/2014/main" id="{9611F37B-6137-8E8C-759B-DD0F58D1B11A}"/>
                  </a:ext>
                </a:extLst>
              </p:cNvPr>
              <p:cNvSpPr/>
              <p:nvPr/>
            </p:nvSpPr>
            <p:spPr>
              <a:xfrm>
                <a:off x="2595335" y="2915981"/>
                <a:ext cx="705986" cy="705948"/>
              </a:xfrm>
              <a:custGeom>
                <a:avLst/>
                <a:gdLst>
                  <a:gd name="connsiteX0" fmla="*/ 705473 w 705986"/>
                  <a:gd name="connsiteY0" fmla="*/ 334053 h 705948"/>
                  <a:gd name="connsiteX1" fmla="*/ 704993 w 705986"/>
                  <a:gd name="connsiteY1" fmla="*/ 327768 h 705948"/>
                  <a:gd name="connsiteX2" fmla="*/ 703966 w 705986"/>
                  <a:gd name="connsiteY2" fmla="*/ 315200 h 705948"/>
                  <a:gd name="connsiteX3" fmla="*/ 702373 w 705986"/>
                  <a:gd name="connsiteY3" fmla="*/ 302700 h 705948"/>
                  <a:gd name="connsiteX4" fmla="*/ 700336 w 705986"/>
                  <a:gd name="connsiteY4" fmla="*/ 290268 h 705948"/>
                  <a:gd name="connsiteX5" fmla="*/ 697921 w 705986"/>
                  <a:gd name="connsiteY5" fmla="*/ 277905 h 705948"/>
                  <a:gd name="connsiteX6" fmla="*/ 695096 w 705986"/>
                  <a:gd name="connsiteY6" fmla="*/ 265627 h 705948"/>
                  <a:gd name="connsiteX7" fmla="*/ 691688 w 705986"/>
                  <a:gd name="connsiteY7" fmla="*/ 253504 h 705948"/>
                  <a:gd name="connsiteX8" fmla="*/ 689942 w 705986"/>
                  <a:gd name="connsiteY8" fmla="*/ 247459 h 705948"/>
                  <a:gd name="connsiteX9" fmla="*/ 687921 w 705986"/>
                  <a:gd name="connsiteY9" fmla="*/ 241500 h 705948"/>
                  <a:gd name="connsiteX10" fmla="*/ 685900 w 705986"/>
                  <a:gd name="connsiteY10" fmla="*/ 235541 h 705948"/>
                  <a:gd name="connsiteX11" fmla="*/ 683777 w 705986"/>
                  <a:gd name="connsiteY11" fmla="*/ 229616 h 705948"/>
                  <a:gd name="connsiteX12" fmla="*/ 679154 w 705986"/>
                  <a:gd name="connsiteY12" fmla="*/ 217904 h 705948"/>
                  <a:gd name="connsiteX13" fmla="*/ 676671 w 705986"/>
                  <a:gd name="connsiteY13" fmla="*/ 212116 h 705948"/>
                  <a:gd name="connsiteX14" fmla="*/ 674068 w 705986"/>
                  <a:gd name="connsiteY14" fmla="*/ 206380 h 705948"/>
                  <a:gd name="connsiteX15" fmla="*/ 671482 w 705986"/>
                  <a:gd name="connsiteY15" fmla="*/ 200643 h 705948"/>
                  <a:gd name="connsiteX16" fmla="*/ 668640 w 705986"/>
                  <a:gd name="connsiteY16" fmla="*/ 195027 h 705948"/>
                  <a:gd name="connsiteX17" fmla="*/ 662852 w 705986"/>
                  <a:gd name="connsiteY17" fmla="*/ 183828 h 705948"/>
                  <a:gd name="connsiteX18" fmla="*/ 656568 w 705986"/>
                  <a:gd name="connsiteY18" fmla="*/ 172903 h 705948"/>
                  <a:gd name="connsiteX19" fmla="*/ 654992 w 705986"/>
                  <a:gd name="connsiteY19" fmla="*/ 170164 h 705948"/>
                  <a:gd name="connsiteX20" fmla="*/ 653297 w 705986"/>
                  <a:gd name="connsiteY20" fmla="*/ 167509 h 705948"/>
                  <a:gd name="connsiteX21" fmla="*/ 649890 w 705986"/>
                  <a:gd name="connsiteY21" fmla="*/ 162201 h 705948"/>
                  <a:gd name="connsiteX22" fmla="*/ 642903 w 705986"/>
                  <a:gd name="connsiteY22" fmla="*/ 151722 h 705948"/>
                  <a:gd name="connsiteX23" fmla="*/ 635592 w 705986"/>
                  <a:gd name="connsiteY23" fmla="*/ 141465 h 705948"/>
                  <a:gd name="connsiteX24" fmla="*/ 619684 w 705986"/>
                  <a:gd name="connsiteY24" fmla="*/ 121910 h 705948"/>
                  <a:gd name="connsiteX25" fmla="*/ 602577 w 705986"/>
                  <a:gd name="connsiteY25" fmla="*/ 103399 h 705948"/>
                  <a:gd name="connsiteX26" fmla="*/ 584067 w 705986"/>
                  <a:gd name="connsiteY26" fmla="*/ 86293 h 705948"/>
                  <a:gd name="connsiteX27" fmla="*/ 564512 w 705986"/>
                  <a:gd name="connsiteY27" fmla="*/ 70385 h 705948"/>
                  <a:gd name="connsiteX28" fmla="*/ 554255 w 705986"/>
                  <a:gd name="connsiteY28" fmla="*/ 63073 h 705948"/>
                  <a:gd name="connsiteX29" fmla="*/ 543775 w 705986"/>
                  <a:gd name="connsiteY29" fmla="*/ 56087 h 705948"/>
                  <a:gd name="connsiteX30" fmla="*/ 538467 w 705986"/>
                  <a:gd name="connsiteY30" fmla="*/ 52679 h 705948"/>
                  <a:gd name="connsiteX31" fmla="*/ 535813 w 705986"/>
                  <a:gd name="connsiteY31" fmla="*/ 50984 h 705948"/>
                  <a:gd name="connsiteX32" fmla="*/ 533073 w 705986"/>
                  <a:gd name="connsiteY32" fmla="*/ 49409 h 705948"/>
                  <a:gd name="connsiteX33" fmla="*/ 522148 w 705986"/>
                  <a:gd name="connsiteY33" fmla="*/ 43124 h 705948"/>
                  <a:gd name="connsiteX34" fmla="*/ 510949 w 705986"/>
                  <a:gd name="connsiteY34" fmla="*/ 37337 h 705948"/>
                  <a:gd name="connsiteX35" fmla="*/ 505333 w 705986"/>
                  <a:gd name="connsiteY35" fmla="*/ 34494 h 705948"/>
                  <a:gd name="connsiteX36" fmla="*/ 499596 w 705986"/>
                  <a:gd name="connsiteY36" fmla="*/ 31908 h 705948"/>
                  <a:gd name="connsiteX37" fmla="*/ 302710 w 705986"/>
                  <a:gd name="connsiteY37" fmla="*/ 3620 h 705948"/>
                  <a:gd name="connsiteX38" fmla="*/ 290278 w 705986"/>
                  <a:gd name="connsiteY38" fmla="*/ 5658 h 705948"/>
                  <a:gd name="connsiteX39" fmla="*/ 277915 w 705986"/>
                  <a:gd name="connsiteY39" fmla="*/ 8072 h 705948"/>
                  <a:gd name="connsiteX40" fmla="*/ 265637 w 705986"/>
                  <a:gd name="connsiteY40" fmla="*/ 10898 h 705948"/>
                  <a:gd name="connsiteX41" fmla="*/ 253514 w 705986"/>
                  <a:gd name="connsiteY41" fmla="*/ 14305 h 705948"/>
                  <a:gd name="connsiteX42" fmla="*/ 247469 w 705986"/>
                  <a:gd name="connsiteY42" fmla="*/ 16052 h 705948"/>
                  <a:gd name="connsiteX43" fmla="*/ 241510 w 705986"/>
                  <a:gd name="connsiteY43" fmla="*/ 18073 h 705948"/>
                  <a:gd name="connsiteX44" fmla="*/ 235551 w 705986"/>
                  <a:gd name="connsiteY44" fmla="*/ 20093 h 705948"/>
                  <a:gd name="connsiteX45" fmla="*/ 229627 w 705986"/>
                  <a:gd name="connsiteY45" fmla="*/ 22216 h 705948"/>
                  <a:gd name="connsiteX46" fmla="*/ 217914 w 705986"/>
                  <a:gd name="connsiteY46" fmla="*/ 26840 h 705948"/>
                  <a:gd name="connsiteX47" fmla="*/ 212126 w 705986"/>
                  <a:gd name="connsiteY47" fmla="*/ 29323 h 705948"/>
                  <a:gd name="connsiteX48" fmla="*/ 206390 w 705986"/>
                  <a:gd name="connsiteY48" fmla="*/ 31925 h 705948"/>
                  <a:gd name="connsiteX49" fmla="*/ 200654 w 705986"/>
                  <a:gd name="connsiteY49" fmla="*/ 34511 h 705948"/>
                  <a:gd name="connsiteX50" fmla="*/ 195037 w 705986"/>
                  <a:gd name="connsiteY50" fmla="*/ 37354 h 705948"/>
                  <a:gd name="connsiteX51" fmla="*/ 183838 w 705986"/>
                  <a:gd name="connsiteY51" fmla="*/ 43141 h 705948"/>
                  <a:gd name="connsiteX52" fmla="*/ 172914 w 705986"/>
                  <a:gd name="connsiteY52" fmla="*/ 49426 h 705948"/>
                  <a:gd name="connsiteX53" fmla="*/ 170174 w 705986"/>
                  <a:gd name="connsiteY53" fmla="*/ 51001 h 705948"/>
                  <a:gd name="connsiteX54" fmla="*/ 167520 w 705986"/>
                  <a:gd name="connsiteY54" fmla="*/ 52696 h 705948"/>
                  <a:gd name="connsiteX55" fmla="*/ 162211 w 705986"/>
                  <a:gd name="connsiteY55" fmla="*/ 56104 h 705948"/>
                  <a:gd name="connsiteX56" fmla="*/ 151732 w 705986"/>
                  <a:gd name="connsiteY56" fmla="*/ 63090 h 705948"/>
                  <a:gd name="connsiteX57" fmla="*/ 141475 w 705986"/>
                  <a:gd name="connsiteY57" fmla="*/ 70402 h 705948"/>
                  <a:gd name="connsiteX58" fmla="*/ 121920 w 705986"/>
                  <a:gd name="connsiteY58" fmla="*/ 86310 h 705948"/>
                  <a:gd name="connsiteX59" fmla="*/ 103409 w 705986"/>
                  <a:gd name="connsiteY59" fmla="*/ 103416 h 705948"/>
                  <a:gd name="connsiteX60" fmla="*/ 86303 w 705986"/>
                  <a:gd name="connsiteY60" fmla="*/ 121927 h 705948"/>
                  <a:gd name="connsiteX61" fmla="*/ 70395 w 705986"/>
                  <a:gd name="connsiteY61" fmla="*/ 141482 h 705948"/>
                  <a:gd name="connsiteX62" fmla="*/ 63083 w 705986"/>
                  <a:gd name="connsiteY62" fmla="*/ 151739 h 705948"/>
                  <a:gd name="connsiteX63" fmla="*/ 56097 w 705986"/>
                  <a:gd name="connsiteY63" fmla="*/ 162218 h 705948"/>
                  <a:gd name="connsiteX64" fmla="*/ 52689 w 705986"/>
                  <a:gd name="connsiteY64" fmla="*/ 167527 h 705948"/>
                  <a:gd name="connsiteX65" fmla="*/ 50994 w 705986"/>
                  <a:gd name="connsiteY65" fmla="*/ 170181 h 705948"/>
                  <a:gd name="connsiteX66" fmla="*/ 49419 w 705986"/>
                  <a:gd name="connsiteY66" fmla="*/ 172920 h 705948"/>
                  <a:gd name="connsiteX67" fmla="*/ 43134 w 705986"/>
                  <a:gd name="connsiteY67" fmla="*/ 183845 h 705948"/>
                  <a:gd name="connsiteX68" fmla="*/ 37346 w 705986"/>
                  <a:gd name="connsiteY68" fmla="*/ 195044 h 705948"/>
                  <a:gd name="connsiteX69" fmla="*/ 34504 w 705986"/>
                  <a:gd name="connsiteY69" fmla="*/ 200661 h 705948"/>
                  <a:gd name="connsiteX70" fmla="*/ 31918 w 705986"/>
                  <a:gd name="connsiteY70" fmla="*/ 206397 h 705948"/>
                  <a:gd name="connsiteX71" fmla="*/ 29316 w 705986"/>
                  <a:gd name="connsiteY71" fmla="*/ 212133 h 705948"/>
                  <a:gd name="connsiteX72" fmla="*/ 26833 w 705986"/>
                  <a:gd name="connsiteY72" fmla="*/ 217921 h 705948"/>
                  <a:gd name="connsiteX73" fmla="*/ 22209 w 705986"/>
                  <a:gd name="connsiteY73" fmla="*/ 229634 h 705948"/>
                  <a:gd name="connsiteX74" fmla="*/ 20086 w 705986"/>
                  <a:gd name="connsiteY74" fmla="*/ 235558 h 705948"/>
                  <a:gd name="connsiteX75" fmla="*/ 18065 w 705986"/>
                  <a:gd name="connsiteY75" fmla="*/ 241517 h 705948"/>
                  <a:gd name="connsiteX76" fmla="*/ 16045 w 705986"/>
                  <a:gd name="connsiteY76" fmla="*/ 247476 h 705948"/>
                  <a:gd name="connsiteX77" fmla="*/ 14298 w 705986"/>
                  <a:gd name="connsiteY77" fmla="*/ 253521 h 705948"/>
                  <a:gd name="connsiteX78" fmla="*/ 10891 w 705986"/>
                  <a:gd name="connsiteY78" fmla="*/ 265644 h 705948"/>
                  <a:gd name="connsiteX79" fmla="*/ 8065 w 705986"/>
                  <a:gd name="connsiteY79" fmla="*/ 277922 h 705948"/>
                  <a:gd name="connsiteX80" fmla="*/ 5651 w 705986"/>
                  <a:gd name="connsiteY80" fmla="*/ 290285 h 705948"/>
                  <a:gd name="connsiteX81" fmla="*/ 3613 w 705986"/>
                  <a:gd name="connsiteY81" fmla="*/ 302717 h 705948"/>
                  <a:gd name="connsiteX82" fmla="*/ 2021 w 705986"/>
                  <a:gd name="connsiteY82" fmla="*/ 315217 h 705948"/>
                  <a:gd name="connsiteX83" fmla="*/ 993 w 705986"/>
                  <a:gd name="connsiteY83" fmla="*/ 327785 h 705948"/>
                  <a:gd name="connsiteX84" fmla="*/ 514 w 705986"/>
                  <a:gd name="connsiteY84" fmla="*/ 334070 h 705948"/>
                  <a:gd name="connsiteX85" fmla="*/ 325 w 705986"/>
                  <a:gd name="connsiteY85" fmla="*/ 340371 h 705948"/>
                  <a:gd name="connsiteX86" fmla="*/ 0 w 705986"/>
                  <a:gd name="connsiteY86" fmla="*/ 352974 h 705948"/>
                  <a:gd name="connsiteX87" fmla="*/ 325 w 705986"/>
                  <a:gd name="connsiteY87" fmla="*/ 365577 h 705948"/>
                  <a:gd name="connsiteX88" fmla="*/ 514 w 705986"/>
                  <a:gd name="connsiteY88" fmla="*/ 371879 h 705948"/>
                  <a:gd name="connsiteX89" fmla="*/ 993 w 705986"/>
                  <a:gd name="connsiteY89" fmla="*/ 378163 h 705948"/>
                  <a:gd name="connsiteX90" fmla="*/ 2021 w 705986"/>
                  <a:gd name="connsiteY90" fmla="*/ 390731 h 705948"/>
                  <a:gd name="connsiteX91" fmla="*/ 3613 w 705986"/>
                  <a:gd name="connsiteY91" fmla="*/ 403232 h 705948"/>
                  <a:gd name="connsiteX92" fmla="*/ 5651 w 705986"/>
                  <a:gd name="connsiteY92" fmla="*/ 415663 h 705948"/>
                  <a:gd name="connsiteX93" fmla="*/ 8065 w 705986"/>
                  <a:gd name="connsiteY93" fmla="*/ 428026 h 705948"/>
                  <a:gd name="connsiteX94" fmla="*/ 10891 w 705986"/>
                  <a:gd name="connsiteY94" fmla="*/ 440304 h 705948"/>
                  <a:gd name="connsiteX95" fmla="*/ 14298 w 705986"/>
                  <a:gd name="connsiteY95" fmla="*/ 452427 h 705948"/>
                  <a:gd name="connsiteX96" fmla="*/ 16045 w 705986"/>
                  <a:gd name="connsiteY96" fmla="*/ 458472 h 705948"/>
                  <a:gd name="connsiteX97" fmla="*/ 18065 w 705986"/>
                  <a:gd name="connsiteY97" fmla="*/ 464431 h 705948"/>
                  <a:gd name="connsiteX98" fmla="*/ 20086 w 705986"/>
                  <a:gd name="connsiteY98" fmla="*/ 470390 h 705948"/>
                  <a:gd name="connsiteX99" fmla="*/ 22209 w 705986"/>
                  <a:gd name="connsiteY99" fmla="*/ 476315 h 705948"/>
                  <a:gd name="connsiteX100" fmla="*/ 26833 w 705986"/>
                  <a:gd name="connsiteY100" fmla="*/ 488027 h 705948"/>
                  <a:gd name="connsiteX101" fmla="*/ 29316 w 705986"/>
                  <a:gd name="connsiteY101" fmla="*/ 493815 h 705948"/>
                  <a:gd name="connsiteX102" fmla="*/ 31918 w 705986"/>
                  <a:gd name="connsiteY102" fmla="*/ 499551 h 705948"/>
                  <a:gd name="connsiteX103" fmla="*/ 34504 w 705986"/>
                  <a:gd name="connsiteY103" fmla="*/ 505288 h 705948"/>
                  <a:gd name="connsiteX104" fmla="*/ 37346 w 705986"/>
                  <a:gd name="connsiteY104" fmla="*/ 510904 h 705948"/>
                  <a:gd name="connsiteX105" fmla="*/ 43134 w 705986"/>
                  <a:gd name="connsiteY105" fmla="*/ 522103 h 705948"/>
                  <a:gd name="connsiteX106" fmla="*/ 49419 w 705986"/>
                  <a:gd name="connsiteY106" fmla="*/ 533028 h 705948"/>
                  <a:gd name="connsiteX107" fmla="*/ 50994 w 705986"/>
                  <a:gd name="connsiteY107" fmla="*/ 535768 h 705948"/>
                  <a:gd name="connsiteX108" fmla="*/ 52689 w 705986"/>
                  <a:gd name="connsiteY108" fmla="*/ 538422 h 705948"/>
                  <a:gd name="connsiteX109" fmla="*/ 56097 w 705986"/>
                  <a:gd name="connsiteY109" fmla="*/ 543730 h 705948"/>
                  <a:gd name="connsiteX110" fmla="*/ 63083 w 705986"/>
                  <a:gd name="connsiteY110" fmla="*/ 554210 h 705948"/>
                  <a:gd name="connsiteX111" fmla="*/ 70395 w 705986"/>
                  <a:gd name="connsiteY111" fmla="*/ 564467 h 705948"/>
                  <a:gd name="connsiteX112" fmla="*/ 86303 w 705986"/>
                  <a:gd name="connsiteY112" fmla="*/ 584022 h 705948"/>
                  <a:gd name="connsiteX113" fmla="*/ 103409 w 705986"/>
                  <a:gd name="connsiteY113" fmla="*/ 602532 h 705948"/>
                  <a:gd name="connsiteX114" fmla="*/ 121920 w 705986"/>
                  <a:gd name="connsiteY114" fmla="*/ 619639 h 705948"/>
                  <a:gd name="connsiteX115" fmla="*/ 141475 w 705986"/>
                  <a:gd name="connsiteY115" fmla="*/ 635546 h 705948"/>
                  <a:gd name="connsiteX116" fmla="*/ 151732 w 705986"/>
                  <a:gd name="connsiteY116" fmla="*/ 642858 h 705948"/>
                  <a:gd name="connsiteX117" fmla="*/ 162211 w 705986"/>
                  <a:gd name="connsiteY117" fmla="*/ 649844 h 705948"/>
                  <a:gd name="connsiteX118" fmla="*/ 167520 w 705986"/>
                  <a:gd name="connsiteY118" fmla="*/ 653252 h 705948"/>
                  <a:gd name="connsiteX119" fmla="*/ 170174 w 705986"/>
                  <a:gd name="connsiteY119" fmla="*/ 654947 h 705948"/>
                  <a:gd name="connsiteX120" fmla="*/ 172914 w 705986"/>
                  <a:gd name="connsiteY120" fmla="*/ 656523 h 705948"/>
                  <a:gd name="connsiteX121" fmla="*/ 183838 w 705986"/>
                  <a:gd name="connsiteY121" fmla="*/ 662807 h 705948"/>
                  <a:gd name="connsiteX122" fmla="*/ 195037 w 705986"/>
                  <a:gd name="connsiteY122" fmla="*/ 668595 h 705948"/>
                  <a:gd name="connsiteX123" fmla="*/ 200654 w 705986"/>
                  <a:gd name="connsiteY123" fmla="*/ 671437 h 705948"/>
                  <a:gd name="connsiteX124" fmla="*/ 206390 w 705986"/>
                  <a:gd name="connsiteY124" fmla="*/ 674023 h 705948"/>
                  <a:gd name="connsiteX125" fmla="*/ 212126 w 705986"/>
                  <a:gd name="connsiteY125" fmla="*/ 676626 h 705948"/>
                  <a:gd name="connsiteX126" fmla="*/ 217914 w 705986"/>
                  <a:gd name="connsiteY126" fmla="*/ 679108 h 705948"/>
                  <a:gd name="connsiteX127" fmla="*/ 229627 w 705986"/>
                  <a:gd name="connsiteY127" fmla="*/ 683732 h 705948"/>
                  <a:gd name="connsiteX128" fmla="*/ 235551 w 705986"/>
                  <a:gd name="connsiteY128" fmla="*/ 685855 h 705948"/>
                  <a:gd name="connsiteX129" fmla="*/ 241510 w 705986"/>
                  <a:gd name="connsiteY129" fmla="*/ 687876 h 705948"/>
                  <a:gd name="connsiteX130" fmla="*/ 247469 w 705986"/>
                  <a:gd name="connsiteY130" fmla="*/ 689896 h 705948"/>
                  <a:gd name="connsiteX131" fmla="*/ 253514 w 705986"/>
                  <a:gd name="connsiteY131" fmla="*/ 691643 h 705948"/>
                  <a:gd name="connsiteX132" fmla="*/ 265637 w 705986"/>
                  <a:gd name="connsiteY132" fmla="*/ 695050 h 705948"/>
                  <a:gd name="connsiteX133" fmla="*/ 277915 w 705986"/>
                  <a:gd name="connsiteY133" fmla="*/ 697876 h 705948"/>
                  <a:gd name="connsiteX134" fmla="*/ 290278 w 705986"/>
                  <a:gd name="connsiteY134" fmla="*/ 700290 h 705948"/>
                  <a:gd name="connsiteX135" fmla="*/ 302710 w 705986"/>
                  <a:gd name="connsiteY135" fmla="*/ 702328 h 705948"/>
                  <a:gd name="connsiteX136" fmla="*/ 499596 w 705986"/>
                  <a:gd name="connsiteY136" fmla="*/ 674040 h 705948"/>
                  <a:gd name="connsiteX137" fmla="*/ 505333 w 705986"/>
                  <a:gd name="connsiteY137" fmla="*/ 671454 h 705948"/>
                  <a:gd name="connsiteX138" fmla="*/ 510949 w 705986"/>
                  <a:gd name="connsiteY138" fmla="*/ 668612 h 705948"/>
                  <a:gd name="connsiteX139" fmla="*/ 522148 w 705986"/>
                  <a:gd name="connsiteY139" fmla="*/ 662824 h 705948"/>
                  <a:gd name="connsiteX140" fmla="*/ 533073 w 705986"/>
                  <a:gd name="connsiteY140" fmla="*/ 656540 h 705948"/>
                  <a:gd name="connsiteX141" fmla="*/ 535813 w 705986"/>
                  <a:gd name="connsiteY141" fmla="*/ 654964 h 705948"/>
                  <a:gd name="connsiteX142" fmla="*/ 538467 w 705986"/>
                  <a:gd name="connsiteY142" fmla="*/ 653269 h 705948"/>
                  <a:gd name="connsiteX143" fmla="*/ 543775 w 705986"/>
                  <a:gd name="connsiteY143" fmla="*/ 649862 h 705948"/>
                  <a:gd name="connsiteX144" fmla="*/ 554255 w 705986"/>
                  <a:gd name="connsiteY144" fmla="*/ 642875 h 705948"/>
                  <a:gd name="connsiteX145" fmla="*/ 564512 w 705986"/>
                  <a:gd name="connsiteY145" fmla="*/ 635563 h 705948"/>
                  <a:gd name="connsiteX146" fmla="*/ 584067 w 705986"/>
                  <a:gd name="connsiteY146" fmla="*/ 619656 h 705948"/>
                  <a:gd name="connsiteX147" fmla="*/ 602577 w 705986"/>
                  <a:gd name="connsiteY147" fmla="*/ 602549 h 705948"/>
                  <a:gd name="connsiteX148" fmla="*/ 619684 w 705986"/>
                  <a:gd name="connsiteY148" fmla="*/ 584039 h 705948"/>
                  <a:gd name="connsiteX149" fmla="*/ 635592 w 705986"/>
                  <a:gd name="connsiteY149" fmla="*/ 564484 h 705948"/>
                  <a:gd name="connsiteX150" fmla="*/ 642903 w 705986"/>
                  <a:gd name="connsiteY150" fmla="*/ 554227 h 705948"/>
                  <a:gd name="connsiteX151" fmla="*/ 649890 w 705986"/>
                  <a:gd name="connsiteY151" fmla="*/ 543747 h 705948"/>
                  <a:gd name="connsiteX152" fmla="*/ 653297 w 705986"/>
                  <a:gd name="connsiteY152" fmla="*/ 538439 h 705948"/>
                  <a:gd name="connsiteX153" fmla="*/ 654992 w 705986"/>
                  <a:gd name="connsiteY153" fmla="*/ 535785 h 705948"/>
                  <a:gd name="connsiteX154" fmla="*/ 656568 w 705986"/>
                  <a:gd name="connsiteY154" fmla="*/ 533045 h 705948"/>
                  <a:gd name="connsiteX155" fmla="*/ 662852 w 705986"/>
                  <a:gd name="connsiteY155" fmla="*/ 522120 h 705948"/>
                  <a:gd name="connsiteX156" fmla="*/ 668640 w 705986"/>
                  <a:gd name="connsiteY156" fmla="*/ 510921 h 705948"/>
                  <a:gd name="connsiteX157" fmla="*/ 671482 w 705986"/>
                  <a:gd name="connsiteY157" fmla="*/ 505305 h 705948"/>
                  <a:gd name="connsiteX158" fmla="*/ 674068 w 705986"/>
                  <a:gd name="connsiteY158" fmla="*/ 499568 h 705948"/>
                  <a:gd name="connsiteX159" fmla="*/ 676671 w 705986"/>
                  <a:gd name="connsiteY159" fmla="*/ 493832 h 705948"/>
                  <a:gd name="connsiteX160" fmla="*/ 679154 w 705986"/>
                  <a:gd name="connsiteY160" fmla="*/ 488044 h 705948"/>
                  <a:gd name="connsiteX161" fmla="*/ 683777 w 705986"/>
                  <a:gd name="connsiteY161" fmla="*/ 476332 h 705948"/>
                  <a:gd name="connsiteX162" fmla="*/ 685900 w 705986"/>
                  <a:gd name="connsiteY162" fmla="*/ 470407 h 705948"/>
                  <a:gd name="connsiteX163" fmla="*/ 687921 w 705986"/>
                  <a:gd name="connsiteY163" fmla="*/ 464448 h 705948"/>
                  <a:gd name="connsiteX164" fmla="*/ 689942 w 705986"/>
                  <a:gd name="connsiteY164" fmla="*/ 458489 h 705948"/>
                  <a:gd name="connsiteX165" fmla="*/ 691688 w 705986"/>
                  <a:gd name="connsiteY165" fmla="*/ 452445 h 705948"/>
                  <a:gd name="connsiteX166" fmla="*/ 695096 w 705986"/>
                  <a:gd name="connsiteY166" fmla="*/ 440321 h 705948"/>
                  <a:gd name="connsiteX167" fmla="*/ 697921 w 705986"/>
                  <a:gd name="connsiteY167" fmla="*/ 428044 h 705948"/>
                  <a:gd name="connsiteX168" fmla="*/ 700336 w 705986"/>
                  <a:gd name="connsiteY168" fmla="*/ 415680 h 705948"/>
                  <a:gd name="connsiteX169" fmla="*/ 702373 w 705986"/>
                  <a:gd name="connsiteY169" fmla="*/ 403249 h 705948"/>
                  <a:gd name="connsiteX170" fmla="*/ 703966 w 705986"/>
                  <a:gd name="connsiteY170" fmla="*/ 390749 h 705948"/>
                  <a:gd name="connsiteX171" fmla="*/ 704993 w 705986"/>
                  <a:gd name="connsiteY171" fmla="*/ 378180 h 705948"/>
                  <a:gd name="connsiteX172" fmla="*/ 705473 w 705986"/>
                  <a:gd name="connsiteY172" fmla="*/ 371896 h 705948"/>
                  <a:gd name="connsiteX173" fmla="*/ 705661 w 705986"/>
                  <a:gd name="connsiteY173" fmla="*/ 365594 h 705948"/>
                  <a:gd name="connsiteX174" fmla="*/ 705986 w 705986"/>
                  <a:gd name="connsiteY174" fmla="*/ 352991 h 705948"/>
                  <a:gd name="connsiteX175" fmla="*/ 705661 w 705986"/>
                  <a:gd name="connsiteY175" fmla="*/ 340388 h 705948"/>
                  <a:gd name="connsiteX176" fmla="*/ 705473 w 705986"/>
                  <a:gd name="connsiteY176" fmla="*/ 334087 h 705948"/>
                  <a:gd name="connsiteX177" fmla="*/ 670866 w 705986"/>
                  <a:gd name="connsiteY177" fmla="*/ 364344 h 705948"/>
                  <a:gd name="connsiteX178" fmla="*/ 670695 w 705986"/>
                  <a:gd name="connsiteY178" fmla="*/ 370029 h 705948"/>
                  <a:gd name="connsiteX179" fmla="*/ 670250 w 705986"/>
                  <a:gd name="connsiteY179" fmla="*/ 375697 h 705948"/>
                  <a:gd name="connsiteX180" fmla="*/ 669325 w 705986"/>
                  <a:gd name="connsiteY180" fmla="*/ 387033 h 705948"/>
                  <a:gd name="connsiteX181" fmla="*/ 667886 w 705986"/>
                  <a:gd name="connsiteY181" fmla="*/ 398300 h 705948"/>
                  <a:gd name="connsiteX182" fmla="*/ 666037 w 705986"/>
                  <a:gd name="connsiteY182" fmla="*/ 409499 h 705948"/>
                  <a:gd name="connsiteX183" fmla="*/ 663862 w 705986"/>
                  <a:gd name="connsiteY183" fmla="*/ 420629 h 705948"/>
                  <a:gd name="connsiteX184" fmla="*/ 661311 w 705986"/>
                  <a:gd name="connsiteY184" fmla="*/ 431691 h 705948"/>
                  <a:gd name="connsiteX185" fmla="*/ 658246 w 705986"/>
                  <a:gd name="connsiteY185" fmla="*/ 442616 h 705948"/>
                  <a:gd name="connsiteX186" fmla="*/ 656688 w 705986"/>
                  <a:gd name="connsiteY186" fmla="*/ 448061 h 705948"/>
                  <a:gd name="connsiteX187" fmla="*/ 654855 w 705986"/>
                  <a:gd name="connsiteY187" fmla="*/ 453438 h 705948"/>
                  <a:gd name="connsiteX188" fmla="*/ 653040 w 705986"/>
                  <a:gd name="connsiteY188" fmla="*/ 458815 h 705948"/>
                  <a:gd name="connsiteX189" fmla="*/ 651140 w 705986"/>
                  <a:gd name="connsiteY189" fmla="*/ 464157 h 705948"/>
                  <a:gd name="connsiteX190" fmla="*/ 646979 w 705986"/>
                  <a:gd name="connsiteY190" fmla="*/ 474705 h 705948"/>
                  <a:gd name="connsiteX191" fmla="*/ 644735 w 705986"/>
                  <a:gd name="connsiteY191" fmla="*/ 479911 h 705948"/>
                  <a:gd name="connsiteX192" fmla="*/ 642390 w 705986"/>
                  <a:gd name="connsiteY192" fmla="*/ 485082 h 705948"/>
                  <a:gd name="connsiteX193" fmla="*/ 640061 w 705986"/>
                  <a:gd name="connsiteY193" fmla="*/ 490253 h 705948"/>
                  <a:gd name="connsiteX194" fmla="*/ 637492 w 705986"/>
                  <a:gd name="connsiteY194" fmla="*/ 495322 h 705948"/>
                  <a:gd name="connsiteX195" fmla="*/ 632287 w 705986"/>
                  <a:gd name="connsiteY195" fmla="*/ 505408 h 705948"/>
                  <a:gd name="connsiteX196" fmla="*/ 626619 w 705986"/>
                  <a:gd name="connsiteY196" fmla="*/ 515254 h 705948"/>
                  <a:gd name="connsiteX197" fmla="*/ 625215 w 705986"/>
                  <a:gd name="connsiteY197" fmla="*/ 517719 h 705948"/>
                  <a:gd name="connsiteX198" fmla="*/ 623691 w 705986"/>
                  <a:gd name="connsiteY198" fmla="*/ 520117 h 705948"/>
                  <a:gd name="connsiteX199" fmla="*/ 620626 w 705986"/>
                  <a:gd name="connsiteY199" fmla="*/ 524894 h 705948"/>
                  <a:gd name="connsiteX200" fmla="*/ 614324 w 705986"/>
                  <a:gd name="connsiteY200" fmla="*/ 534346 h 705948"/>
                  <a:gd name="connsiteX201" fmla="*/ 607732 w 705986"/>
                  <a:gd name="connsiteY201" fmla="*/ 543610 h 705948"/>
                  <a:gd name="connsiteX202" fmla="*/ 593382 w 705986"/>
                  <a:gd name="connsiteY202" fmla="*/ 561247 h 705948"/>
                  <a:gd name="connsiteX203" fmla="*/ 577971 w 705986"/>
                  <a:gd name="connsiteY203" fmla="*/ 577960 h 705948"/>
                  <a:gd name="connsiteX204" fmla="*/ 561258 w 705986"/>
                  <a:gd name="connsiteY204" fmla="*/ 593371 h 705948"/>
                  <a:gd name="connsiteX205" fmla="*/ 543621 w 705986"/>
                  <a:gd name="connsiteY205" fmla="*/ 607721 h 705948"/>
                  <a:gd name="connsiteX206" fmla="*/ 534357 w 705986"/>
                  <a:gd name="connsiteY206" fmla="*/ 614313 h 705948"/>
                  <a:gd name="connsiteX207" fmla="*/ 524905 w 705986"/>
                  <a:gd name="connsiteY207" fmla="*/ 620615 h 705948"/>
                  <a:gd name="connsiteX208" fmla="*/ 520127 w 705986"/>
                  <a:gd name="connsiteY208" fmla="*/ 623680 h 705948"/>
                  <a:gd name="connsiteX209" fmla="*/ 517730 w 705986"/>
                  <a:gd name="connsiteY209" fmla="*/ 625204 h 705948"/>
                  <a:gd name="connsiteX210" fmla="*/ 515264 w 705986"/>
                  <a:gd name="connsiteY210" fmla="*/ 626608 h 705948"/>
                  <a:gd name="connsiteX211" fmla="*/ 505418 w 705986"/>
                  <a:gd name="connsiteY211" fmla="*/ 632276 h 705948"/>
                  <a:gd name="connsiteX212" fmla="*/ 495333 w 705986"/>
                  <a:gd name="connsiteY212" fmla="*/ 637481 h 705948"/>
                  <a:gd name="connsiteX213" fmla="*/ 490264 w 705986"/>
                  <a:gd name="connsiteY213" fmla="*/ 640050 h 705948"/>
                  <a:gd name="connsiteX214" fmla="*/ 485093 w 705986"/>
                  <a:gd name="connsiteY214" fmla="*/ 642379 h 705948"/>
                  <a:gd name="connsiteX215" fmla="*/ 479921 w 705986"/>
                  <a:gd name="connsiteY215" fmla="*/ 644724 h 705948"/>
                  <a:gd name="connsiteX216" fmla="*/ 474716 w 705986"/>
                  <a:gd name="connsiteY216" fmla="*/ 646968 h 705948"/>
                  <a:gd name="connsiteX217" fmla="*/ 464168 w 705986"/>
                  <a:gd name="connsiteY217" fmla="*/ 651129 h 705948"/>
                  <a:gd name="connsiteX218" fmla="*/ 458825 w 705986"/>
                  <a:gd name="connsiteY218" fmla="*/ 653029 h 705948"/>
                  <a:gd name="connsiteX219" fmla="*/ 453448 w 705986"/>
                  <a:gd name="connsiteY219" fmla="*/ 654844 h 705948"/>
                  <a:gd name="connsiteX220" fmla="*/ 448072 w 705986"/>
                  <a:gd name="connsiteY220" fmla="*/ 656677 h 705948"/>
                  <a:gd name="connsiteX221" fmla="*/ 442626 w 705986"/>
                  <a:gd name="connsiteY221" fmla="*/ 658235 h 705948"/>
                  <a:gd name="connsiteX222" fmla="*/ 431702 w 705986"/>
                  <a:gd name="connsiteY222" fmla="*/ 661300 h 705948"/>
                  <a:gd name="connsiteX223" fmla="*/ 420640 w 705986"/>
                  <a:gd name="connsiteY223" fmla="*/ 663851 h 705948"/>
                  <a:gd name="connsiteX224" fmla="*/ 409509 w 705986"/>
                  <a:gd name="connsiteY224" fmla="*/ 666026 h 705948"/>
                  <a:gd name="connsiteX225" fmla="*/ 398311 w 705986"/>
                  <a:gd name="connsiteY225" fmla="*/ 667875 h 705948"/>
                  <a:gd name="connsiteX226" fmla="*/ 387043 w 705986"/>
                  <a:gd name="connsiteY226" fmla="*/ 669314 h 705948"/>
                  <a:gd name="connsiteX227" fmla="*/ 375708 w 705986"/>
                  <a:gd name="connsiteY227" fmla="*/ 670239 h 705948"/>
                  <a:gd name="connsiteX228" fmla="*/ 370040 w 705986"/>
                  <a:gd name="connsiteY228" fmla="*/ 670684 h 705948"/>
                  <a:gd name="connsiteX229" fmla="*/ 364355 w 705986"/>
                  <a:gd name="connsiteY229" fmla="*/ 670855 h 705948"/>
                  <a:gd name="connsiteX230" fmla="*/ 352968 w 705986"/>
                  <a:gd name="connsiteY230" fmla="*/ 671163 h 705948"/>
                  <a:gd name="connsiteX231" fmla="*/ 341580 w 705986"/>
                  <a:gd name="connsiteY231" fmla="*/ 670855 h 705948"/>
                  <a:gd name="connsiteX232" fmla="*/ 335895 w 705986"/>
                  <a:gd name="connsiteY232" fmla="*/ 670684 h 705948"/>
                  <a:gd name="connsiteX233" fmla="*/ 330227 w 705986"/>
                  <a:gd name="connsiteY233" fmla="*/ 670239 h 705948"/>
                  <a:gd name="connsiteX234" fmla="*/ 318892 w 705986"/>
                  <a:gd name="connsiteY234" fmla="*/ 669314 h 705948"/>
                  <a:gd name="connsiteX235" fmla="*/ 307624 w 705986"/>
                  <a:gd name="connsiteY235" fmla="*/ 667875 h 705948"/>
                  <a:gd name="connsiteX236" fmla="*/ 296426 w 705986"/>
                  <a:gd name="connsiteY236" fmla="*/ 666026 h 705948"/>
                  <a:gd name="connsiteX237" fmla="*/ 285295 w 705986"/>
                  <a:gd name="connsiteY237" fmla="*/ 663851 h 705948"/>
                  <a:gd name="connsiteX238" fmla="*/ 274233 w 705986"/>
                  <a:gd name="connsiteY238" fmla="*/ 661300 h 705948"/>
                  <a:gd name="connsiteX239" fmla="*/ 263309 w 705986"/>
                  <a:gd name="connsiteY239" fmla="*/ 658235 h 705948"/>
                  <a:gd name="connsiteX240" fmla="*/ 257863 w 705986"/>
                  <a:gd name="connsiteY240" fmla="*/ 656677 h 705948"/>
                  <a:gd name="connsiteX241" fmla="*/ 252487 w 705986"/>
                  <a:gd name="connsiteY241" fmla="*/ 654844 h 705948"/>
                  <a:gd name="connsiteX242" fmla="*/ 247110 w 705986"/>
                  <a:gd name="connsiteY242" fmla="*/ 653029 h 705948"/>
                  <a:gd name="connsiteX243" fmla="*/ 241767 w 705986"/>
                  <a:gd name="connsiteY243" fmla="*/ 651129 h 705948"/>
                  <a:gd name="connsiteX244" fmla="*/ 231219 w 705986"/>
                  <a:gd name="connsiteY244" fmla="*/ 646968 h 705948"/>
                  <a:gd name="connsiteX245" fmla="*/ 226014 w 705986"/>
                  <a:gd name="connsiteY245" fmla="*/ 644724 h 705948"/>
                  <a:gd name="connsiteX246" fmla="*/ 220842 w 705986"/>
                  <a:gd name="connsiteY246" fmla="*/ 642379 h 705948"/>
                  <a:gd name="connsiteX247" fmla="*/ 215671 w 705986"/>
                  <a:gd name="connsiteY247" fmla="*/ 640050 h 705948"/>
                  <a:gd name="connsiteX248" fmla="*/ 210602 w 705986"/>
                  <a:gd name="connsiteY248" fmla="*/ 637481 h 705948"/>
                  <a:gd name="connsiteX249" fmla="*/ 200517 w 705986"/>
                  <a:gd name="connsiteY249" fmla="*/ 632276 h 705948"/>
                  <a:gd name="connsiteX250" fmla="*/ 190671 w 705986"/>
                  <a:gd name="connsiteY250" fmla="*/ 626608 h 705948"/>
                  <a:gd name="connsiteX251" fmla="*/ 188205 w 705986"/>
                  <a:gd name="connsiteY251" fmla="*/ 625204 h 705948"/>
                  <a:gd name="connsiteX252" fmla="*/ 185808 w 705986"/>
                  <a:gd name="connsiteY252" fmla="*/ 623680 h 705948"/>
                  <a:gd name="connsiteX253" fmla="*/ 181030 w 705986"/>
                  <a:gd name="connsiteY253" fmla="*/ 620615 h 705948"/>
                  <a:gd name="connsiteX254" fmla="*/ 171578 w 705986"/>
                  <a:gd name="connsiteY254" fmla="*/ 614313 h 705948"/>
                  <a:gd name="connsiteX255" fmla="*/ 162314 w 705986"/>
                  <a:gd name="connsiteY255" fmla="*/ 607721 h 705948"/>
                  <a:gd name="connsiteX256" fmla="*/ 144677 w 705986"/>
                  <a:gd name="connsiteY256" fmla="*/ 593371 h 705948"/>
                  <a:gd name="connsiteX257" fmla="*/ 127964 w 705986"/>
                  <a:gd name="connsiteY257" fmla="*/ 577960 h 705948"/>
                  <a:gd name="connsiteX258" fmla="*/ 112553 w 705986"/>
                  <a:gd name="connsiteY258" fmla="*/ 561247 h 705948"/>
                  <a:gd name="connsiteX259" fmla="*/ 98203 w 705986"/>
                  <a:gd name="connsiteY259" fmla="*/ 543610 h 705948"/>
                  <a:gd name="connsiteX260" fmla="*/ 91611 w 705986"/>
                  <a:gd name="connsiteY260" fmla="*/ 534346 h 705948"/>
                  <a:gd name="connsiteX261" fmla="*/ 85309 w 705986"/>
                  <a:gd name="connsiteY261" fmla="*/ 524894 h 705948"/>
                  <a:gd name="connsiteX262" fmla="*/ 82244 w 705986"/>
                  <a:gd name="connsiteY262" fmla="*/ 520117 h 705948"/>
                  <a:gd name="connsiteX263" fmla="*/ 80720 w 705986"/>
                  <a:gd name="connsiteY263" fmla="*/ 517719 h 705948"/>
                  <a:gd name="connsiteX264" fmla="*/ 79316 w 705986"/>
                  <a:gd name="connsiteY264" fmla="*/ 515254 h 705948"/>
                  <a:gd name="connsiteX265" fmla="*/ 73648 w 705986"/>
                  <a:gd name="connsiteY265" fmla="*/ 505408 h 705948"/>
                  <a:gd name="connsiteX266" fmla="*/ 68443 w 705986"/>
                  <a:gd name="connsiteY266" fmla="*/ 495322 h 705948"/>
                  <a:gd name="connsiteX267" fmla="*/ 65874 w 705986"/>
                  <a:gd name="connsiteY267" fmla="*/ 490253 h 705948"/>
                  <a:gd name="connsiteX268" fmla="*/ 63545 w 705986"/>
                  <a:gd name="connsiteY268" fmla="*/ 485082 h 705948"/>
                  <a:gd name="connsiteX269" fmla="*/ 61200 w 705986"/>
                  <a:gd name="connsiteY269" fmla="*/ 479911 h 705948"/>
                  <a:gd name="connsiteX270" fmla="*/ 58956 w 705986"/>
                  <a:gd name="connsiteY270" fmla="*/ 474705 h 705948"/>
                  <a:gd name="connsiteX271" fmla="*/ 54795 w 705986"/>
                  <a:gd name="connsiteY271" fmla="*/ 464157 h 705948"/>
                  <a:gd name="connsiteX272" fmla="*/ 52895 w 705986"/>
                  <a:gd name="connsiteY272" fmla="*/ 458815 h 705948"/>
                  <a:gd name="connsiteX273" fmla="*/ 51080 w 705986"/>
                  <a:gd name="connsiteY273" fmla="*/ 453438 h 705948"/>
                  <a:gd name="connsiteX274" fmla="*/ 49247 w 705986"/>
                  <a:gd name="connsiteY274" fmla="*/ 448061 h 705948"/>
                  <a:gd name="connsiteX275" fmla="*/ 47689 w 705986"/>
                  <a:gd name="connsiteY275" fmla="*/ 442616 h 705948"/>
                  <a:gd name="connsiteX276" fmla="*/ 44624 w 705986"/>
                  <a:gd name="connsiteY276" fmla="*/ 431691 h 705948"/>
                  <a:gd name="connsiteX277" fmla="*/ 42073 w 705986"/>
                  <a:gd name="connsiteY277" fmla="*/ 420629 h 705948"/>
                  <a:gd name="connsiteX278" fmla="*/ 39898 w 705986"/>
                  <a:gd name="connsiteY278" fmla="*/ 409499 h 705948"/>
                  <a:gd name="connsiteX279" fmla="*/ 38049 w 705986"/>
                  <a:gd name="connsiteY279" fmla="*/ 398300 h 705948"/>
                  <a:gd name="connsiteX280" fmla="*/ 36610 w 705986"/>
                  <a:gd name="connsiteY280" fmla="*/ 387033 h 705948"/>
                  <a:gd name="connsiteX281" fmla="*/ 35685 w 705986"/>
                  <a:gd name="connsiteY281" fmla="*/ 375697 h 705948"/>
                  <a:gd name="connsiteX282" fmla="*/ 35240 w 705986"/>
                  <a:gd name="connsiteY282" fmla="*/ 370029 h 705948"/>
                  <a:gd name="connsiteX283" fmla="*/ 35069 w 705986"/>
                  <a:gd name="connsiteY283" fmla="*/ 364344 h 705948"/>
                  <a:gd name="connsiteX284" fmla="*/ 34761 w 705986"/>
                  <a:gd name="connsiteY284" fmla="*/ 352957 h 705948"/>
                  <a:gd name="connsiteX285" fmla="*/ 35069 w 705986"/>
                  <a:gd name="connsiteY285" fmla="*/ 341570 h 705948"/>
                  <a:gd name="connsiteX286" fmla="*/ 35240 w 705986"/>
                  <a:gd name="connsiteY286" fmla="*/ 335885 h 705948"/>
                  <a:gd name="connsiteX287" fmla="*/ 35685 w 705986"/>
                  <a:gd name="connsiteY287" fmla="*/ 330217 h 705948"/>
                  <a:gd name="connsiteX288" fmla="*/ 36610 w 705986"/>
                  <a:gd name="connsiteY288" fmla="*/ 318881 h 705948"/>
                  <a:gd name="connsiteX289" fmla="*/ 38049 w 705986"/>
                  <a:gd name="connsiteY289" fmla="*/ 307614 h 705948"/>
                  <a:gd name="connsiteX290" fmla="*/ 39898 w 705986"/>
                  <a:gd name="connsiteY290" fmla="*/ 296415 h 705948"/>
                  <a:gd name="connsiteX291" fmla="*/ 42073 w 705986"/>
                  <a:gd name="connsiteY291" fmla="*/ 285285 h 705948"/>
                  <a:gd name="connsiteX292" fmla="*/ 44624 w 705986"/>
                  <a:gd name="connsiteY292" fmla="*/ 274223 h 705948"/>
                  <a:gd name="connsiteX293" fmla="*/ 47689 w 705986"/>
                  <a:gd name="connsiteY293" fmla="*/ 263298 h 705948"/>
                  <a:gd name="connsiteX294" fmla="*/ 49247 w 705986"/>
                  <a:gd name="connsiteY294" fmla="*/ 257853 h 705948"/>
                  <a:gd name="connsiteX295" fmla="*/ 51080 w 705986"/>
                  <a:gd name="connsiteY295" fmla="*/ 252476 h 705948"/>
                  <a:gd name="connsiteX296" fmla="*/ 52895 w 705986"/>
                  <a:gd name="connsiteY296" fmla="*/ 247099 h 705948"/>
                  <a:gd name="connsiteX297" fmla="*/ 54795 w 705986"/>
                  <a:gd name="connsiteY297" fmla="*/ 241757 h 705948"/>
                  <a:gd name="connsiteX298" fmla="*/ 58956 w 705986"/>
                  <a:gd name="connsiteY298" fmla="*/ 231209 h 705948"/>
                  <a:gd name="connsiteX299" fmla="*/ 61200 w 705986"/>
                  <a:gd name="connsiteY299" fmla="*/ 226003 h 705948"/>
                  <a:gd name="connsiteX300" fmla="*/ 63545 w 705986"/>
                  <a:gd name="connsiteY300" fmla="*/ 220832 h 705948"/>
                  <a:gd name="connsiteX301" fmla="*/ 65874 w 705986"/>
                  <a:gd name="connsiteY301" fmla="*/ 215661 h 705948"/>
                  <a:gd name="connsiteX302" fmla="*/ 68443 w 705986"/>
                  <a:gd name="connsiteY302" fmla="*/ 210592 h 705948"/>
                  <a:gd name="connsiteX303" fmla="*/ 73648 w 705986"/>
                  <a:gd name="connsiteY303" fmla="*/ 200506 h 705948"/>
                  <a:gd name="connsiteX304" fmla="*/ 79316 w 705986"/>
                  <a:gd name="connsiteY304" fmla="*/ 190660 h 705948"/>
                  <a:gd name="connsiteX305" fmla="*/ 80720 w 705986"/>
                  <a:gd name="connsiteY305" fmla="*/ 188195 h 705948"/>
                  <a:gd name="connsiteX306" fmla="*/ 82244 w 705986"/>
                  <a:gd name="connsiteY306" fmla="*/ 185797 h 705948"/>
                  <a:gd name="connsiteX307" fmla="*/ 85309 w 705986"/>
                  <a:gd name="connsiteY307" fmla="*/ 181020 h 705948"/>
                  <a:gd name="connsiteX308" fmla="*/ 91611 w 705986"/>
                  <a:gd name="connsiteY308" fmla="*/ 171568 h 705948"/>
                  <a:gd name="connsiteX309" fmla="*/ 98203 w 705986"/>
                  <a:gd name="connsiteY309" fmla="*/ 162304 h 705948"/>
                  <a:gd name="connsiteX310" fmla="*/ 112553 w 705986"/>
                  <a:gd name="connsiteY310" fmla="*/ 144667 h 705948"/>
                  <a:gd name="connsiteX311" fmla="*/ 127964 w 705986"/>
                  <a:gd name="connsiteY311" fmla="*/ 127954 h 705948"/>
                  <a:gd name="connsiteX312" fmla="*/ 144677 w 705986"/>
                  <a:gd name="connsiteY312" fmla="*/ 112543 h 705948"/>
                  <a:gd name="connsiteX313" fmla="*/ 162314 w 705986"/>
                  <a:gd name="connsiteY313" fmla="*/ 98193 h 705948"/>
                  <a:gd name="connsiteX314" fmla="*/ 171578 w 705986"/>
                  <a:gd name="connsiteY314" fmla="*/ 91601 h 705948"/>
                  <a:gd name="connsiteX315" fmla="*/ 181030 w 705986"/>
                  <a:gd name="connsiteY315" fmla="*/ 85299 h 705948"/>
                  <a:gd name="connsiteX316" fmla="*/ 185808 w 705986"/>
                  <a:gd name="connsiteY316" fmla="*/ 82234 h 705948"/>
                  <a:gd name="connsiteX317" fmla="*/ 188205 w 705986"/>
                  <a:gd name="connsiteY317" fmla="*/ 80710 h 705948"/>
                  <a:gd name="connsiteX318" fmla="*/ 190671 w 705986"/>
                  <a:gd name="connsiteY318" fmla="*/ 79306 h 705948"/>
                  <a:gd name="connsiteX319" fmla="*/ 200517 w 705986"/>
                  <a:gd name="connsiteY319" fmla="*/ 73638 h 705948"/>
                  <a:gd name="connsiteX320" fmla="*/ 210602 w 705986"/>
                  <a:gd name="connsiteY320" fmla="*/ 68433 h 705948"/>
                  <a:gd name="connsiteX321" fmla="*/ 215671 w 705986"/>
                  <a:gd name="connsiteY321" fmla="*/ 65864 h 705948"/>
                  <a:gd name="connsiteX322" fmla="*/ 220842 w 705986"/>
                  <a:gd name="connsiteY322" fmla="*/ 63535 h 705948"/>
                  <a:gd name="connsiteX323" fmla="*/ 226014 w 705986"/>
                  <a:gd name="connsiteY323" fmla="*/ 61190 h 705948"/>
                  <a:gd name="connsiteX324" fmla="*/ 231219 w 705986"/>
                  <a:gd name="connsiteY324" fmla="*/ 58946 h 705948"/>
                  <a:gd name="connsiteX325" fmla="*/ 241767 w 705986"/>
                  <a:gd name="connsiteY325" fmla="*/ 54785 h 705948"/>
                  <a:gd name="connsiteX326" fmla="*/ 247110 w 705986"/>
                  <a:gd name="connsiteY326" fmla="*/ 52885 h 705948"/>
                  <a:gd name="connsiteX327" fmla="*/ 252487 w 705986"/>
                  <a:gd name="connsiteY327" fmla="*/ 51070 h 705948"/>
                  <a:gd name="connsiteX328" fmla="*/ 257863 w 705986"/>
                  <a:gd name="connsiteY328" fmla="*/ 49237 h 705948"/>
                  <a:gd name="connsiteX329" fmla="*/ 263309 w 705986"/>
                  <a:gd name="connsiteY329" fmla="*/ 47679 h 705948"/>
                  <a:gd name="connsiteX330" fmla="*/ 274233 w 705986"/>
                  <a:gd name="connsiteY330" fmla="*/ 44614 h 705948"/>
                  <a:gd name="connsiteX331" fmla="*/ 285295 w 705986"/>
                  <a:gd name="connsiteY331" fmla="*/ 42063 h 705948"/>
                  <a:gd name="connsiteX332" fmla="*/ 296426 w 705986"/>
                  <a:gd name="connsiteY332" fmla="*/ 39888 h 705948"/>
                  <a:gd name="connsiteX333" fmla="*/ 307624 w 705986"/>
                  <a:gd name="connsiteY333" fmla="*/ 38039 h 705948"/>
                  <a:gd name="connsiteX334" fmla="*/ 318892 w 705986"/>
                  <a:gd name="connsiteY334" fmla="*/ 36600 h 705948"/>
                  <a:gd name="connsiteX335" fmla="*/ 330227 w 705986"/>
                  <a:gd name="connsiteY335" fmla="*/ 35676 h 705948"/>
                  <a:gd name="connsiteX336" fmla="*/ 335895 w 705986"/>
                  <a:gd name="connsiteY336" fmla="*/ 35230 h 705948"/>
                  <a:gd name="connsiteX337" fmla="*/ 341580 w 705986"/>
                  <a:gd name="connsiteY337" fmla="*/ 35059 h 705948"/>
                  <a:gd name="connsiteX338" fmla="*/ 352968 w 705986"/>
                  <a:gd name="connsiteY338" fmla="*/ 34751 h 705948"/>
                  <a:gd name="connsiteX339" fmla="*/ 364355 w 705986"/>
                  <a:gd name="connsiteY339" fmla="*/ 35059 h 705948"/>
                  <a:gd name="connsiteX340" fmla="*/ 370040 w 705986"/>
                  <a:gd name="connsiteY340" fmla="*/ 35230 h 705948"/>
                  <a:gd name="connsiteX341" fmla="*/ 375708 w 705986"/>
                  <a:gd name="connsiteY341" fmla="*/ 35676 h 705948"/>
                  <a:gd name="connsiteX342" fmla="*/ 387043 w 705986"/>
                  <a:gd name="connsiteY342" fmla="*/ 36600 h 705948"/>
                  <a:gd name="connsiteX343" fmla="*/ 398311 w 705986"/>
                  <a:gd name="connsiteY343" fmla="*/ 38039 h 705948"/>
                  <a:gd name="connsiteX344" fmla="*/ 409509 w 705986"/>
                  <a:gd name="connsiteY344" fmla="*/ 39888 h 705948"/>
                  <a:gd name="connsiteX345" fmla="*/ 420640 w 705986"/>
                  <a:gd name="connsiteY345" fmla="*/ 42063 h 705948"/>
                  <a:gd name="connsiteX346" fmla="*/ 431702 w 705986"/>
                  <a:gd name="connsiteY346" fmla="*/ 44614 h 705948"/>
                  <a:gd name="connsiteX347" fmla="*/ 442626 w 705986"/>
                  <a:gd name="connsiteY347" fmla="*/ 47679 h 705948"/>
                  <a:gd name="connsiteX348" fmla="*/ 448072 w 705986"/>
                  <a:gd name="connsiteY348" fmla="*/ 49237 h 705948"/>
                  <a:gd name="connsiteX349" fmla="*/ 453448 w 705986"/>
                  <a:gd name="connsiteY349" fmla="*/ 51070 h 705948"/>
                  <a:gd name="connsiteX350" fmla="*/ 458825 w 705986"/>
                  <a:gd name="connsiteY350" fmla="*/ 52885 h 705948"/>
                  <a:gd name="connsiteX351" fmla="*/ 464168 w 705986"/>
                  <a:gd name="connsiteY351" fmla="*/ 54785 h 705948"/>
                  <a:gd name="connsiteX352" fmla="*/ 474716 w 705986"/>
                  <a:gd name="connsiteY352" fmla="*/ 58946 h 705948"/>
                  <a:gd name="connsiteX353" fmla="*/ 479921 w 705986"/>
                  <a:gd name="connsiteY353" fmla="*/ 61190 h 705948"/>
                  <a:gd name="connsiteX354" fmla="*/ 485093 w 705986"/>
                  <a:gd name="connsiteY354" fmla="*/ 63535 h 705948"/>
                  <a:gd name="connsiteX355" fmla="*/ 490264 w 705986"/>
                  <a:gd name="connsiteY355" fmla="*/ 65864 h 705948"/>
                  <a:gd name="connsiteX356" fmla="*/ 495333 w 705986"/>
                  <a:gd name="connsiteY356" fmla="*/ 68433 h 705948"/>
                  <a:gd name="connsiteX357" fmla="*/ 505418 w 705986"/>
                  <a:gd name="connsiteY357" fmla="*/ 73638 h 705948"/>
                  <a:gd name="connsiteX358" fmla="*/ 515264 w 705986"/>
                  <a:gd name="connsiteY358" fmla="*/ 79306 h 705948"/>
                  <a:gd name="connsiteX359" fmla="*/ 517730 w 705986"/>
                  <a:gd name="connsiteY359" fmla="*/ 80710 h 705948"/>
                  <a:gd name="connsiteX360" fmla="*/ 520127 w 705986"/>
                  <a:gd name="connsiteY360" fmla="*/ 82234 h 705948"/>
                  <a:gd name="connsiteX361" fmla="*/ 524905 w 705986"/>
                  <a:gd name="connsiteY361" fmla="*/ 85299 h 705948"/>
                  <a:gd name="connsiteX362" fmla="*/ 534357 w 705986"/>
                  <a:gd name="connsiteY362" fmla="*/ 91601 h 705948"/>
                  <a:gd name="connsiteX363" fmla="*/ 543621 w 705986"/>
                  <a:gd name="connsiteY363" fmla="*/ 98193 h 705948"/>
                  <a:gd name="connsiteX364" fmla="*/ 561258 w 705986"/>
                  <a:gd name="connsiteY364" fmla="*/ 112543 h 705948"/>
                  <a:gd name="connsiteX365" fmla="*/ 577971 w 705986"/>
                  <a:gd name="connsiteY365" fmla="*/ 127954 h 705948"/>
                  <a:gd name="connsiteX366" fmla="*/ 593382 w 705986"/>
                  <a:gd name="connsiteY366" fmla="*/ 144667 h 705948"/>
                  <a:gd name="connsiteX367" fmla="*/ 607732 w 705986"/>
                  <a:gd name="connsiteY367" fmla="*/ 162304 h 705948"/>
                  <a:gd name="connsiteX368" fmla="*/ 614324 w 705986"/>
                  <a:gd name="connsiteY368" fmla="*/ 171568 h 705948"/>
                  <a:gd name="connsiteX369" fmla="*/ 620626 w 705986"/>
                  <a:gd name="connsiteY369" fmla="*/ 181020 h 705948"/>
                  <a:gd name="connsiteX370" fmla="*/ 623691 w 705986"/>
                  <a:gd name="connsiteY370" fmla="*/ 185797 h 705948"/>
                  <a:gd name="connsiteX371" fmla="*/ 625215 w 705986"/>
                  <a:gd name="connsiteY371" fmla="*/ 188195 h 705948"/>
                  <a:gd name="connsiteX372" fmla="*/ 626619 w 705986"/>
                  <a:gd name="connsiteY372" fmla="*/ 190660 h 705948"/>
                  <a:gd name="connsiteX373" fmla="*/ 632287 w 705986"/>
                  <a:gd name="connsiteY373" fmla="*/ 200506 h 705948"/>
                  <a:gd name="connsiteX374" fmla="*/ 637492 w 705986"/>
                  <a:gd name="connsiteY374" fmla="*/ 210592 h 705948"/>
                  <a:gd name="connsiteX375" fmla="*/ 640061 w 705986"/>
                  <a:gd name="connsiteY375" fmla="*/ 215661 h 705948"/>
                  <a:gd name="connsiteX376" fmla="*/ 642390 w 705986"/>
                  <a:gd name="connsiteY376" fmla="*/ 220832 h 705948"/>
                  <a:gd name="connsiteX377" fmla="*/ 644735 w 705986"/>
                  <a:gd name="connsiteY377" fmla="*/ 226003 h 705948"/>
                  <a:gd name="connsiteX378" fmla="*/ 646979 w 705986"/>
                  <a:gd name="connsiteY378" fmla="*/ 231209 h 705948"/>
                  <a:gd name="connsiteX379" fmla="*/ 651140 w 705986"/>
                  <a:gd name="connsiteY379" fmla="*/ 241757 h 705948"/>
                  <a:gd name="connsiteX380" fmla="*/ 653040 w 705986"/>
                  <a:gd name="connsiteY380" fmla="*/ 247099 h 705948"/>
                  <a:gd name="connsiteX381" fmla="*/ 654855 w 705986"/>
                  <a:gd name="connsiteY381" fmla="*/ 252476 h 705948"/>
                  <a:gd name="connsiteX382" fmla="*/ 656688 w 705986"/>
                  <a:gd name="connsiteY382" fmla="*/ 257853 h 705948"/>
                  <a:gd name="connsiteX383" fmla="*/ 658246 w 705986"/>
                  <a:gd name="connsiteY383" fmla="*/ 263298 h 705948"/>
                  <a:gd name="connsiteX384" fmla="*/ 661311 w 705986"/>
                  <a:gd name="connsiteY384" fmla="*/ 274223 h 705948"/>
                  <a:gd name="connsiteX385" fmla="*/ 663862 w 705986"/>
                  <a:gd name="connsiteY385" fmla="*/ 285285 h 705948"/>
                  <a:gd name="connsiteX386" fmla="*/ 666037 w 705986"/>
                  <a:gd name="connsiteY386" fmla="*/ 296415 h 705948"/>
                  <a:gd name="connsiteX387" fmla="*/ 667886 w 705986"/>
                  <a:gd name="connsiteY387" fmla="*/ 307614 h 705948"/>
                  <a:gd name="connsiteX388" fmla="*/ 669325 w 705986"/>
                  <a:gd name="connsiteY388" fmla="*/ 318881 h 705948"/>
                  <a:gd name="connsiteX389" fmla="*/ 670250 w 705986"/>
                  <a:gd name="connsiteY389" fmla="*/ 330217 h 705948"/>
                  <a:gd name="connsiteX390" fmla="*/ 670695 w 705986"/>
                  <a:gd name="connsiteY390" fmla="*/ 335885 h 705948"/>
                  <a:gd name="connsiteX391" fmla="*/ 670866 w 705986"/>
                  <a:gd name="connsiteY391" fmla="*/ 341570 h 705948"/>
                  <a:gd name="connsiteX392" fmla="*/ 671174 w 705986"/>
                  <a:gd name="connsiteY392" fmla="*/ 352957 h 705948"/>
                  <a:gd name="connsiteX393" fmla="*/ 670866 w 705986"/>
                  <a:gd name="connsiteY393" fmla="*/ 364344 h 705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</a:cxnLst>
                <a:rect l="l" t="t" r="r" b="b"/>
                <a:pathLst>
                  <a:path w="705986" h="705948">
                    <a:moveTo>
                      <a:pt x="705473" y="334053"/>
                    </a:moveTo>
                    <a:lnTo>
                      <a:pt x="704993" y="327768"/>
                    </a:lnTo>
                    <a:cubicBezTo>
                      <a:pt x="704634" y="323590"/>
                      <a:pt x="704445" y="319378"/>
                      <a:pt x="703966" y="315200"/>
                    </a:cubicBezTo>
                    <a:lnTo>
                      <a:pt x="702373" y="302700"/>
                    </a:lnTo>
                    <a:cubicBezTo>
                      <a:pt x="701945" y="298521"/>
                      <a:pt x="701021" y="294412"/>
                      <a:pt x="700336" y="290268"/>
                    </a:cubicBezTo>
                    <a:cubicBezTo>
                      <a:pt x="699565" y="286141"/>
                      <a:pt x="698966" y="281980"/>
                      <a:pt x="697921" y="277905"/>
                    </a:cubicBezTo>
                    <a:lnTo>
                      <a:pt x="695096" y="265627"/>
                    </a:lnTo>
                    <a:cubicBezTo>
                      <a:pt x="694034" y="261569"/>
                      <a:pt x="692818" y="257545"/>
                      <a:pt x="691688" y="253504"/>
                    </a:cubicBezTo>
                    <a:cubicBezTo>
                      <a:pt x="691106" y="251483"/>
                      <a:pt x="690575" y="249463"/>
                      <a:pt x="689942" y="247459"/>
                    </a:cubicBezTo>
                    <a:lnTo>
                      <a:pt x="687921" y="241500"/>
                    </a:lnTo>
                    <a:lnTo>
                      <a:pt x="685900" y="235541"/>
                    </a:lnTo>
                    <a:cubicBezTo>
                      <a:pt x="685216" y="233555"/>
                      <a:pt x="684599" y="231551"/>
                      <a:pt x="683777" y="229616"/>
                    </a:cubicBezTo>
                    <a:lnTo>
                      <a:pt x="679154" y="217904"/>
                    </a:lnTo>
                    <a:cubicBezTo>
                      <a:pt x="678418" y="215935"/>
                      <a:pt x="677544" y="214034"/>
                      <a:pt x="676671" y="212116"/>
                    </a:cubicBezTo>
                    <a:lnTo>
                      <a:pt x="674068" y="206380"/>
                    </a:lnTo>
                    <a:lnTo>
                      <a:pt x="671482" y="200643"/>
                    </a:lnTo>
                    <a:cubicBezTo>
                      <a:pt x="670592" y="198743"/>
                      <a:pt x="669582" y="196893"/>
                      <a:pt x="668640" y="195027"/>
                    </a:cubicBezTo>
                    <a:cubicBezTo>
                      <a:pt x="666705" y="191294"/>
                      <a:pt x="664856" y="187527"/>
                      <a:pt x="662852" y="183828"/>
                    </a:cubicBezTo>
                    <a:lnTo>
                      <a:pt x="656568" y="172903"/>
                    </a:lnTo>
                    <a:lnTo>
                      <a:pt x="654992" y="170164"/>
                    </a:lnTo>
                    <a:lnTo>
                      <a:pt x="653297" y="167509"/>
                    </a:lnTo>
                    <a:lnTo>
                      <a:pt x="649890" y="162201"/>
                    </a:lnTo>
                    <a:cubicBezTo>
                      <a:pt x="647629" y="158657"/>
                      <a:pt x="645403" y="155095"/>
                      <a:pt x="642903" y="151722"/>
                    </a:cubicBezTo>
                    <a:lnTo>
                      <a:pt x="635592" y="141465"/>
                    </a:lnTo>
                    <a:cubicBezTo>
                      <a:pt x="630369" y="134889"/>
                      <a:pt x="625335" y="128142"/>
                      <a:pt x="619684" y="121910"/>
                    </a:cubicBezTo>
                    <a:cubicBezTo>
                      <a:pt x="614324" y="115437"/>
                      <a:pt x="608331" y="109512"/>
                      <a:pt x="602577" y="103399"/>
                    </a:cubicBezTo>
                    <a:cubicBezTo>
                      <a:pt x="596447" y="97646"/>
                      <a:pt x="590539" y="91652"/>
                      <a:pt x="584067" y="86293"/>
                    </a:cubicBezTo>
                    <a:cubicBezTo>
                      <a:pt x="577834" y="80642"/>
                      <a:pt x="571087" y="75625"/>
                      <a:pt x="564512" y="70385"/>
                    </a:cubicBezTo>
                    <a:lnTo>
                      <a:pt x="554255" y="63073"/>
                    </a:lnTo>
                    <a:cubicBezTo>
                      <a:pt x="550881" y="60556"/>
                      <a:pt x="547320" y="58347"/>
                      <a:pt x="543775" y="56087"/>
                    </a:cubicBezTo>
                    <a:lnTo>
                      <a:pt x="538467" y="52679"/>
                    </a:lnTo>
                    <a:lnTo>
                      <a:pt x="535813" y="50984"/>
                    </a:lnTo>
                    <a:lnTo>
                      <a:pt x="533073" y="49409"/>
                    </a:lnTo>
                    <a:lnTo>
                      <a:pt x="522148" y="43124"/>
                    </a:lnTo>
                    <a:cubicBezTo>
                      <a:pt x="518467" y="41121"/>
                      <a:pt x="514682" y="39271"/>
                      <a:pt x="510949" y="37337"/>
                    </a:cubicBezTo>
                    <a:cubicBezTo>
                      <a:pt x="509066" y="36395"/>
                      <a:pt x="507233" y="35384"/>
                      <a:pt x="505333" y="34494"/>
                    </a:cubicBezTo>
                    <a:lnTo>
                      <a:pt x="499596" y="31908"/>
                    </a:lnTo>
                    <a:cubicBezTo>
                      <a:pt x="438551" y="3911"/>
                      <a:pt x="369286" y="-6106"/>
                      <a:pt x="302710" y="3620"/>
                    </a:cubicBezTo>
                    <a:cubicBezTo>
                      <a:pt x="298532" y="4048"/>
                      <a:pt x="294422" y="4973"/>
                      <a:pt x="290278" y="5658"/>
                    </a:cubicBezTo>
                    <a:cubicBezTo>
                      <a:pt x="286151" y="6429"/>
                      <a:pt x="281990" y="7028"/>
                      <a:pt x="277915" y="8072"/>
                    </a:cubicBezTo>
                    <a:lnTo>
                      <a:pt x="265637" y="10898"/>
                    </a:lnTo>
                    <a:cubicBezTo>
                      <a:pt x="261579" y="11959"/>
                      <a:pt x="257555" y="13175"/>
                      <a:pt x="253514" y="14305"/>
                    </a:cubicBezTo>
                    <a:cubicBezTo>
                      <a:pt x="251493" y="14888"/>
                      <a:pt x="249473" y="15418"/>
                      <a:pt x="247469" y="16052"/>
                    </a:cubicBezTo>
                    <a:lnTo>
                      <a:pt x="241510" y="18073"/>
                    </a:lnTo>
                    <a:lnTo>
                      <a:pt x="235551" y="20093"/>
                    </a:lnTo>
                    <a:cubicBezTo>
                      <a:pt x="233565" y="20778"/>
                      <a:pt x="231562" y="21395"/>
                      <a:pt x="229627" y="22216"/>
                    </a:cubicBezTo>
                    <a:lnTo>
                      <a:pt x="217914" y="26840"/>
                    </a:lnTo>
                    <a:cubicBezTo>
                      <a:pt x="215945" y="27576"/>
                      <a:pt x="214044" y="28449"/>
                      <a:pt x="212126" y="29323"/>
                    </a:cubicBezTo>
                    <a:lnTo>
                      <a:pt x="206390" y="31925"/>
                    </a:lnTo>
                    <a:lnTo>
                      <a:pt x="200654" y="34511"/>
                    </a:lnTo>
                    <a:cubicBezTo>
                      <a:pt x="198753" y="35402"/>
                      <a:pt x="196904" y="36412"/>
                      <a:pt x="195037" y="37354"/>
                    </a:cubicBezTo>
                    <a:cubicBezTo>
                      <a:pt x="191304" y="39289"/>
                      <a:pt x="187537" y="41138"/>
                      <a:pt x="183838" y="43141"/>
                    </a:cubicBezTo>
                    <a:lnTo>
                      <a:pt x="172914" y="49426"/>
                    </a:lnTo>
                    <a:lnTo>
                      <a:pt x="170174" y="51001"/>
                    </a:lnTo>
                    <a:lnTo>
                      <a:pt x="167520" y="52696"/>
                    </a:lnTo>
                    <a:lnTo>
                      <a:pt x="162211" y="56104"/>
                    </a:lnTo>
                    <a:cubicBezTo>
                      <a:pt x="158667" y="58364"/>
                      <a:pt x="155105" y="60590"/>
                      <a:pt x="151732" y="63090"/>
                    </a:cubicBezTo>
                    <a:lnTo>
                      <a:pt x="141475" y="70402"/>
                    </a:lnTo>
                    <a:cubicBezTo>
                      <a:pt x="134899" y="75625"/>
                      <a:pt x="128153" y="80659"/>
                      <a:pt x="121920" y="86310"/>
                    </a:cubicBezTo>
                    <a:cubicBezTo>
                      <a:pt x="115447" y="91669"/>
                      <a:pt x="109522" y="97663"/>
                      <a:pt x="103409" y="103416"/>
                    </a:cubicBezTo>
                    <a:cubicBezTo>
                      <a:pt x="97656" y="109546"/>
                      <a:pt x="91662" y="115454"/>
                      <a:pt x="86303" y="121927"/>
                    </a:cubicBezTo>
                    <a:cubicBezTo>
                      <a:pt x="80652" y="128160"/>
                      <a:pt x="75635" y="134906"/>
                      <a:pt x="70395" y="141482"/>
                    </a:cubicBezTo>
                    <a:lnTo>
                      <a:pt x="63083" y="151739"/>
                    </a:lnTo>
                    <a:cubicBezTo>
                      <a:pt x="60566" y="155112"/>
                      <a:pt x="58357" y="158674"/>
                      <a:pt x="56097" y="162218"/>
                    </a:cubicBezTo>
                    <a:lnTo>
                      <a:pt x="52689" y="167527"/>
                    </a:lnTo>
                    <a:lnTo>
                      <a:pt x="50994" y="170181"/>
                    </a:lnTo>
                    <a:lnTo>
                      <a:pt x="49419" y="172920"/>
                    </a:lnTo>
                    <a:lnTo>
                      <a:pt x="43134" y="183845"/>
                    </a:lnTo>
                    <a:cubicBezTo>
                      <a:pt x="41131" y="187527"/>
                      <a:pt x="39281" y="191311"/>
                      <a:pt x="37346" y="195044"/>
                    </a:cubicBezTo>
                    <a:cubicBezTo>
                      <a:pt x="36405" y="196928"/>
                      <a:pt x="35394" y="198760"/>
                      <a:pt x="34504" y="200661"/>
                    </a:cubicBezTo>
                    <a:lnTo>
                      <a:pt x="31918" y="206397"/>
                    </a:lnTo>
                    <a:lnTo>
                      <a:pt x="29316" y="212133"/>
                    </a:lnTo>
                    <a:cubicBezTo>
                      <a:pt x="28442" y="214051"/>
                      <a:pt x="27552" y="215952"/>
                      <a:pt x="26833" y="217921"/>
                    </a:cubicBezTo>
                    <a:lnTo>
                      <a:pt x="22209" y="229634"/>
                    </a:lnTo>
                    <a:cubicBezTo>
                      <a:pt x="21387" y="231568"/>
                      <a:pt x="20771" y="233572"/>
                      <a:pt x="20086" y="235558"/>
                    </a:cubicBezTo>
                    <a:lnTo>
                      <a:pt x="18065" y="241517"/>
                    </a:lnTo>
                    <a:lnTo>
                      <a:pt x="16045" y="247476"/>
                    </a:lnTo>
                    <a:cubicBezTo>
                      <a:pt x="15411" y="249480"/>
                      <a:pt x="14880" y="251517"/>
                      <a:pt x="14298" y="253521"/>
                    </a:cubicBezTo>
                    <a:cubicBezTo>
                      <a:pt x="13168" y="257562"/>
                      <a:pt x="11952" y="261586"/>
                      <a:pt x="10891" y="265644"/>
                    </a:cubicBezTo>
                    <a:lnTo>
                      <a:pt x="8065" y="277922"/>
                    </a:lnTo>
                    <a:cubicBezTo>
                      <a:pt x="7021" y="281997"/>
                      <a:pt x="6421" y="286158"/>
                      <a:pt x="5651" y="290285"/>
                    </a:cubicBezTo>
                    <a:cubicBezTo>
                      <a:pt x="4966" y="294429"/>
                      <a:pt x="4024" y="298539"/>
                      <a:pt x="3613" y="302717"/>
                    </a:cubicBezTo>
                    <a:lnTo>
                      <a:pt x="2021" y="315217"/>
                    </a:lnTo>
                    <a:cubicBezTo>
                      <a:pt x="1541" y="319395"/>
                      <a:pt x="1336" y="323590"/>
                      <a:pt x="993" y="327785"/>
                    </a:cubicBezTo>
                    <a:lnTo>
                      <a:pt x="514" y="334070"/>
                    </a:lnTo>
                    <a:cubicBezTo>
                      <a:pt x="394" y="336159"/>
                      <a:pt x="394" y="338265"/>
                      <a:pt x="325" y="340371"/>
                    </a:cubicBezTo>
                    <a:lnTo>
                      <a:pt x="0" y="352974"/>
                    </a:lnTo>
                    <a:lnTo>
                      <a:pt x="325" y="365577"/>
                    </a:lnTo>
                    <a:cubicBezTo>
                      <a:pt x="394" y="367683"/>
                      <a:pt x="394" y="369789"/>
                      <a:pt x="514" y="371879"/>
                    </a:cubicBezTo>
                    <a:lnTo>
                      <a:pt x="993" y="378163"/>
                    </a:lnTo>
                    <a:cubicBezTo>
                      <a:pt x="1353" y="382341"/>
                      <a:pt x="1541" y="386553"/>
                      <a:pt x="2021" y="390731"/>
                    </a:cubicBezTo>
                    <a:lnTo>
                      <a:pt x="3613" y="403232"/>
                    </a:lnTo>
                    <a:cubicBezTo>
                      <a:pt x="4041" y="407410"/>
                      <a:pt x="4966" y="411519"/>
                      <a:pt x="5651" y="415663"/>
                    </a:cubicBezTo>
                    <a:cubicBezTo>
                      <a:pt x="6421" y="419790"/>
                      <a:pt x="7021" y="423951"/>
                      <a:pt x="8065" y="428026"/>
                    </a:cubicBezTo>
                    <a:lnTo>
                      <a:pt x="10891" y="440304"/>
                    </a:lnTo>
                    <a:cubicBezTo>
                      <a:pt x="11952" y="444362"/>
                      <a:pt x="13168" y="448386"/>
                      <a:pt x="14298" y="452427"/>
                    </a:cubicBezTo>
                    <a:cubicBezTo>
                      <a:pt x="14880" y="454448"/>
                      <a:pt x="15411" y="456469"/>
                      <a:pt x="16045" y="458472"/>
                    </a:cubicBezTo>
                    <a:lnTo>
                      <a:pt x="18065" y="464431"/>
                    </a:lnTo>
                    <a:lnTo>
                      <a:pt x="20086" y="470390"/>
                    </a:lnTo>
                    <a:cubicBezTo>
                      <a:pt x="20771" y="472376"/>
                      <a:pt x="21387" y="474380"/>
                      <a:pt x="22209" y="476315"/>
                    </a:cubicBezTo>
                    <a:lnTo>
                      <a:pt x="26833" y="488027"/>
                    </a:lnTo>
                    <a:cubicBezTo>
                      <a:pt x="27569" y="489996"/>
                      <a:pt x="28442" y="491897"/>
                      <a:pt x="29316" y="493815"/>
                    </a:cubicBezTo>
                    <a:lnTo>
                      <a:pt x="31918" y="499551"/>
                    </a:lnTo>
                    <a:lnTo>
                      <a:pt x="34504" y="505288"/>
                    </a:lnTo>
                    <a:cubicBezTo>
                      <a:pt x="35394" y="507188"/>
                      <a:pt x="36405" y="509038"/>
                      <a:pt x="37346" y="510904"/>
                    </a:cubicBezTo>
                    <a:cubicBezTo>
                      <a:pt x="39281" y="514637"/>
                      <a:pt x="41131" y="518404"/>
                      <a:pt x="43134" y="522103"/>
                    </a:cubicBezTo>
                    <a:lnTo>
                      <a:pt x="49419" y="533028"/>
                    </a:lnTo>
                    <a:lnTo>
                      <a:pt x="50994" y="535768"/>
                    </a:lnTo>
                    <a:lnTo>
                      <a:pt x="52689" y="538422"/>
                    </a:lnTo>
                    <a:lnTo>
                      <a:pt x="56097" y="543730"/>
                    </a:lnTo>
                    <a:cubicBezTo>
                      <a:pt x="58357" y="547275"/>
                      <a:pt x="60583" y="550836"/>
                      <a:pt x="63083" y="554210"/>
                    </a:cubicBezTo>
                    <a:lnTo>
                      <a:pt x="70395" y="564467"/>
                    </a:lnTo>
                    <a:cubicBezTo>
                      <a:pt x="75618" y="571042"/>
                      <a:pt x="80652" y="577789"/>
                      <a:pt x="86303" y="584022"/>
                    </a:cubicBezTo>
                    <a:cubicBezTo>
                      <a:pt x="91662" y="590494"/>
                      <a:pt x="97656" y="596419"/>
                      <a:pt x="103409" y="602532"/>
                    </a:cubicBezTo>
                    <a:cubicBezTo>
                      <a:pt x="109539" y="608286"/>
                      <a:pt x="115447" y="614279"/>
                      <a:pt x="121920" y="619639"/>
                    </a:cubicBezTo>
                    <a:cubicBezTo>
                      <a:pt x="128153" y="625289"/>
                      <a:pt x="134899" y="630306"/>
                      <a:pt x="141475" y="635546"/>
                    </a:cubicBezTo>
                    <a:lnTo>
                      <a:pt x="151732" y="642858"/>
                    </a:lnTo>
                    <a:cubicBezTo>
                      <a:pt x="155105" y="645375"/>
                      <a:pt x="158667" y="647584"/>
                      <a:pt x="162211" y="649844"/>
                    </a:cubicBezTo>
                    <a:lnTo>
                      <a:pt x="167520" y="653252"/>
                    </a:lnTo>
                    <a:lnTo>
                      <a:pt x="170174" y="654947"/>
                    </a:lnTo>
                    <a:lnTo>
                      <a:pt x="172914" y="656523"/>
                    </a:lnTo>
                    <a:lnTo>
                      <a:pt x="183838" y="662807"/>
                    </a:lnTo>
                    <a:cubicBezTo>
                      <a:pt x="187520" y="664810"/>
                      <a:pt x="191304" y="666660"/>
                      <a:pt x="195037" y="668595"/>
                    </a:cubicBezTo>
                    <a:cubicBezTo>
                      <a:pt x="196921" y="669536"/>
                      <a:pt x="198753" y="670547"/>
                      <a:pt x="200654" y="671437"/>
                    </a:cubicBezTo>
                    <a:lnTo>
                      <a:pt x="206390" y="674023"/>
                    </a:lnTo>
                    <a:lnTo>
                      <a:pt x="212126" y="676626"/>
                    </a:lnTo>
                    <a:cubicBezTo>
                      <a:pt x="214044" y="677499"/>
                      <a:pt x="215945" y="678389"/>
                      <a:pt x="217914" y="679108"/>
                    </a:cubicBezTo>
                    <a:lnTo>
                      <a:pt x="229627" y="683732"/>
                    </a:lnTo>
                    <a:cubicBezTo>
                      <a:pt x="231562" y="684554"/>
                      <a:pt x="233565" y="685170"/>
                      <a:pt x="235551" y="685855"/>
                    </a:cubicBezTo>
                    <a:lnTo>
                      <a:pt x="241510" y="687876"/>
                    </a:lnTo>
                    <a:lnTo>
                      <a:pt x="247469" y="689896"/>
                    </a:lnTo>
                    <a:cubicBezTo>
                      <a:pt x="249473" y="690530"/>
                      <a:pt x="251511" y="691061"/>
                      <a:pt x="253514" y="691643"/>
                    </a:cubicBezTo>
                    <a:cubicBezTo>
                      <a:pt x="257555" y="692773"/>
                      <a:pt x="261579" y="693989"/>
                      <a:pt x="265637" y="695050"/>
                    </a:cubicBezTo>
                    <a:lnTo>
                      <a:pt x="277915" y="697876"/>
                    </a:lnTo>
                    <a:cubicBezTo>
                      <a:pt x="281990" y="698920"/>
                      <a:pt x="286151" y="699520"/>
                      <a:pt x="290278" y="700290"/>
                    </a:cubicBezTo>
                    <a:cubicBezTo>
                      <a:pt x="294422" y="700975"/>
                      <a:pt x="298532" y="701917"/>
                      <a:pt x="302710" y="702328"/>
                    </a:cubicBezTo>
                    <a:cubicBezTo>
                      <a:pt x="369286" y="712054"/>
                      <a:pt x="438534" y="702037"/>
                      <a:pt x="499596" y="674040"/>
                    </a:cubicBezTo>
                    <a:lnTo>
                      <a:pt x="505333" y="671454"/>
                    </a:lnTo>
                    <a:cubicBezTo>
                      <a:pt x="507233" y="670564"/>
                      <a:pt x="509083" y="669554"/>
                      <a:pt x="510949" y="668612"/>
                    </a:cubicBezTo>
                    <a:cubicBezTo>
                      <a:pt x="514682" y="666677"/>
                      <a:pt x="518449" y="664827"/>
                      <a:pt x="522148" y="662824"/>
                    </a:cubicBezTo>
                    <a:lnTo>
                      <a:pt x="533073" y="656540"/>
                    </a:lnTo>
                    <a:lnTo>
                      <a:pt x="535813" y="654964"/>
                    </a:lnTo>
                    <a:lnTo>
                      <a:pt x="538467" y="653269"/>
                    </a:lnTo>
                    <a:lnTo>
                      <a:pt x="543775" y="649862"/>
                    </a:lnTo>
                    <a:cubicBezTo>
                      <a:pt x="547320" y="647601"/>
                      <a:pt x="550881" y="645375"/>
                      <a:pt x="554255" y="642875"/>
                    </a:cubicBezTo>
                    <a:lnTo>
                      <a:pt x="564512" y="635563"/>
                    </a:lnTo>
                    <a:cubicBezTo>
                      <a:pt x="571087" y="630341"/>
                      <a:pt x="577834" y="625306"/>
                      <a:pt x="584067" y="619656"/>
                    </a:cubicBezTo>
                    <a:cubicBezTo>
                      <a:pt x="590539" y="614296"/>
                      <a:pt x="596464" y="608303"/>
                      <a:pt x="602577" y="602549"/>
                    </a:cubicBezTo>
                    <a:cubicBezTo>
                      <a:pt x="608331" y="596419"/>
                      <a:pt x="614324" y="590511"/>
                      <a:pt x="619684" y="584039"/>
                    </a:cubicBezTo>
                    <a:cubicBezTo>
                      <a:pt x="625335" y="577806"/>
                      <a:pt x="630352" y="571059"/>
                      <a:pt x="635592" y="564484"/>
                    </a:cubicBezTo>
                    <a:lnTo>
                      <a:pt x="642903" y="554227"/>
                    </a:lnTo>
                    <a:cubicBezTo>
                      <a:pt x="645420" y="550853"/>
                      <a:pt x="647629" y="547292"/>
                      <a:pt x="649890" y="543747"/>
                    </a:cubicBezTo>
                    <a:lnTo>
                      <a:pt x="653297" y="538439"/>
                    </a:lnTo>
                    <a:lnTo>
                      <a:pt x="654992" y="535785"/>
                    </a:lnTo>
                    <a:lnTo>
                      <a:pt x="656568" y="533045"/>
                    </a:lnTo>
                    <a:lnTo>
                      <a:pt x="662852" y="522120"/>
                    </a:lnTo>
                    <a:cubicBezTo>
                      <a:pt x="664856" y="518439"/>
                      <a:pt x="666705" y="514654"/>
                      <a:pt x="668640" y="510921"/>
                    </a:cubicBezTo>
                    <a:cubicBezTo>
                      <a:pt x="669582" y="509038"/>
                      <a:pt x="670592" y="507206"/>
                      <a:pt x="671482" y="505305"/>
                    </a:cubicBezTo>
                    <a:lnTo>
                      <a:pt x="674068" y="499568"/>
                    </a:lnTo>
                    <a:lnTo>
                      <a:pt x="676671" y="493832"/>
                    </a:lnTo>
                    <a:cubicBezTo>
                      <a:pt x="677544" y="491914"/>
                      <a:pt x="678435" y="490014"/>
                      <a:pt x="679154" y="488044"/>
                    </a:cubicBezTo>
                    <a:lnTo>
                      <a:pt x="683777" y="476332"/>
                    </a:lnTo>
                    <a:cubicBezTo>
                      <a:pt x="684599" y="474397"/>
                      <a:pt x="685216" y="472393"/>
                      <a:pt x="685900" y="470407"/>
                    </a:cubicBezTo>
                    <a:lnTo>
                      <a:pt x="687921" y="464448"/>
                    </a:lnTo>
                    <a:lnTo>
                      <a:pt x="689942" y="458489"/>
                    </a:lnTo>
                    <a:cubicBezTo>
                      <a:pt x="690575" y="456486"/>
                      <a:pt x="691106" y="454448"/>
                      <a:pt x="691688" y="452445"/>
                    </a:cubicBezTo>
                    <a:cubicBezTo>
                      <a:pt x="692818" y="448403"/>
                      <a:pt x="694034" y="444379"/>
                      <a:pt x="695096" y="440321"/>
                    </a:cubicBezTo>
                    <a:lnTo>
                      <a:pt x="697921" y="428044"/>
                    </a:lnTo>
                    <a:cubicBezTo>
                      <a:pt x="698966" y="423968"/>
                      <a:pt x="699565" y="419807"/>
                      <a:pt x="700336" y="415680"/>
                    </a:cubicBezTo>
                    <a:cubicBezTo>
                      <a:pt x="701021" y="411537"/>
                      <a:pt x="701962" y="407427"/>
                      <a:pt x="702373" y="403249"/>
                    </a:cubicBezTo>
                    <a:lnTo>
                      <a:pt x="703966" y="390749"/>
                    </a:lnTo>
                    <a:cubicBezTo>
                      <a:pt x="704445" y="386570"/>
                      <a:pt x="704651" y="382375"/>
                      <a:pt x="704993" y="378180"/>
                    </a:cubicBezTo>
                    <a:lnTo>
                      <a:pt x="705473" y="371896"/>
                    </a:lnTo>
                    <a:cubicBezTo>
                      <a:pt x="705593" y="369807"/>
                      <a:pt x="705593" y="367700"/>
                      <a:pt x="705661" y="365594"/>
                    </a:cubicBezTo>
                    <a:lnTo>
                      <a:pt x="705986" y="352991"/>
                    </a:lnTo>
                    <a:lnTo>
                      <a:pt x="705661" y="340388"/>
                    </a:lnTo>
                    <a:cubicBezTo>
                      <a:pt x="705593" y="338282"/>
                      <a:pt x="705593" y="336176"/>
                      <a:pt x="705473" y="334087"/>
                    </a:cubicBezTo>
                    <a:close/>
                    <a:moveTo>
                      <a:pt x="670866" y="364344"/>
                    </a:moveTo>
                    <a:cubicBezTo>
                      <a:pt x="670798" y="366245"/>
                      <a:pt x="670815" y="368146"/>
                      <a:pt x="670695" y="370029"/>
                    </a:cubicBezTo>
                    <a:lnTo>
                      <a:pt x="670250" y="375697"/>
                    </a:lnTo>
                    <a:cubicBezTo>
                      <a:pt x="669924" y="379464"/>
                      <a:pt x="669770" y="383266"/>
                      <a:pt x="669325" y="387033"/>
                    </a:cubicBezTo>
                    <a:lnTo>
                      <a:pt x="667886" y="398300"/>
                    </a:lnTo>
                    <a:cubicBezTo>
                      <a:pt x="667527" y="402067"/>
                      <a:pt x="666654" y="405766"/>
                      <a:pt x="666037" y="409499"/>
                    </a:cubicBezTo>
                    <a:cubicBezTo>
                      <a:pt x="665335" y="413215"/>
                      <a:pt x="664821" y="416982"/>
                      <a:pt x="663862" y="420629"/>
                    </a:cubicBezTo>
                    <a:lnTo>
                      <a:pt x="661311" y="431691"/>
                    </a:lnTo>
                    <a:cubicBezTo>
                      <a:pt x="660352" y="435355"/>
                      <a:pt x="659256" y="438968"/>
                      <a:pt x="658246" y="442616"/>
                    </a:cubicBezTo>
                    <a:cubicBezTo>
                      <a:pt x="657715" y="444431"/>
                      <a:pt x="657253" y="446263"/>
                      <a:pt x="656688" y="448061"/>
                    </a:cubicBezTo>
                    <a:lnTo>
                      <a:pt x="654855" y="453438"/>
                    </a:lnTo>
                    <a:lnTo>
                      <a:pt x="653040" y="458815"/>
                    </a:lnTo>
                    <a:cubicBezTo>
                      <a:pt x="652424" y="460595"/>
                      <a:pt x="651876" y="462410"/>
                      <a:pt x="651140" y="464157"/>
                    </a:cubicBezTo>
                    <a:lnTo>
                      <a:pt x="646979" y="474705"/>
                    </a:lnTo>
                    <a:cubicBezTo>
                      <a:pt x="646328" y="476486"/>
                      <a:pt x="645523" y="478198"/>
                      <a:pt x="644735" y="479911"/>
                    </a:cubicBezTo>
                    <a:lnTo>
                      <a:pt x="642390" y="485082"/>
                    </a:lnTo>
                    <a:lnTo>
                      <a:pt x="640061" y="490253"/>
                    </a:lnTo>
                    <a:cubicBezTo>
                      <a:pt x="639256" y="491966"/>
                      <a:pt x="638348" y="493627"/>
                      <a:pt x="637492" y="495322"/>
                    </a:cubicBezTo>
                    <a:cubicBezTo>
                      <a:pt x="635746" y="498678"/>
                      <a:pt x="634085" y="502086"/>
                      <a:pt x="632287" y="505408"/>
                    </a:cubicBezTo>
                    <a:lnTo>
                      <a:pt x="626619" y="515254"/>
                    </a:lnTo>
                    <a:lnTo>
                      <a:pt x="625215" y="517719"/>
                    </a:lnTo>
                    <a:lnTo>
                      <a:pt x="623691" y="520117"/>
                    </a:lnTo>
                    <a:lnTo>
                      <a:pt x="620626" y="524894"/>
                    </a:lnTo>
                    <a:cubicBezTo>
                      <a:pt x="618588" y="528079"/>
                      <a:pt x="616602" y="531315"/>
                      <a:pt x="614324" y="534346"/>
                    </a:cubicBezTo>
                    <a:lnTo>
                      <a:pt x="607732" y="543610"/>
                    </a:lnTo>
                    <a:cubicBezTo>
                      <a:pt x="603005" y="549535"/>
                      <a:pt x="598485" y="555631"/>
                      <a:pt x="593382" y="561247"/>
                    </a:cubicBezTo>
                    <a:cubicBezTo>
                      <a:pt x="588553" y="567104"/>
                      <a:pt x="583142" y="572412"/>
                      <a:pt x="577971" y="577960"/>
                    </a:cubicBezTo>
                    <a:cubicBezTo>
                      <a:pt x="572423" y="583131"/>
                      <a:pt x="567115" y="588559"/>
                      <a:pt x="561258" y="593371"/>
                    </a:cubicBezTo>
                    <a:cubicBezTo>
                      <a:pt x="555642" y="598474"/>
                      <a:pt x="549546" y="602995"/>
                      <a:pt x="543621" y="607721"/>
                    </a:cubicBezTo>
                    <a:lnTo>
                      <a:pt x="534357" y="614313"/>
                    </a:lnTo>
                    <a:cubicBezTo>
                      <a:pt x="531326" y="616591"/>
                      <a:pt x="528090" y="618577"/>
                      <a:pt x="524905" y="620615"/>
                    </a:cubicBezTo>
                    <a:lnTo>
                      <a:pt x="520127" y="623680"/>
                    </a:lnTo>
                    <a:lnTo>
                      <a:pt x="517730" y="625204"/>
                    </a:lnTo>
                    <a:lnTo>
                      <a:pt x="515264" y="626608"/>
                    </a:lnTo>
                    <a:lnTo>
                      <a:pt x="505418" y="632276"/>
                    </a:lnTo>
                    <a:cubicBezTo>
                      <a:pt x="502096" y="634074"/>
                      <a:pt x="498689" y="635735"/>
                      <a:pt x="495333" y="637481"/>
                    </a:cubicBezTo>
                    <a:cubicBezTo>
                      <a:pt x="493637" y="638337"/>
                      <a:pt x="491976" y="639245"/>
                      <a:pt x="490264" y="640050"/>
                    </a:cubicBezTo>
                    <a:lnTo>
                      <a:pt x="485093" y="642379"/>
                    </a:lnTo>
                    <a:lnTo>
                      <a:pt x="479921" y="644724"/>
                    </a:lnTo>
                    <a:cubicBezTo>
                      <a:pt x="478209" y="645512"/>
                      <a:pt x="476480" y="646317"/>
                      <a:pt x="474716" y="646968"/>
                    </a:cubicBezTo>
                    <a:lnTo>
                      <a:pt x="464168" y="651129"/>
                    </a:lnTo>
                    <a:cubicBezTo>
                      <a:pt x="462421" y="651865"/>
                      <a:pt x="460623" y="652413"/>
                      <a:pt x="458825" y="653029"/>
                    </a:cubicBezTo>
                    <a:lnTo>
                      <a:pt x="453448" y="654844"/>
                    </a:lnTo>
                    <a:lnTo>
                      <a:pt x="448072" y="656677"/>
                    </a:lnTo>
                    <a:cubicBezTo>
                      <a:pt x="446274" y="657242"/>
                      <a:pt x="444441" y="657704"/>
                      <a:pt x="442626" y="658235"/>
                    </a:cubicBezTo>
                    <a:cubicBezTo>
                      <a:pt x="438979" y="659245"/>
                      <a:pt x="435366" y="660341"/>
                      <a:pt x="431702" y="661300"/>
                    </a:cubicBezTo>
                    <a:lnTo>
                      <a:pt x="420640" y="663851"/>
                    </a:lnTo>
                    <a:cubicBezTo>
                      <a:pt x="416975" y="664810"/>
                      <a:pt x="413225" y="665324"/>
                      <a:pt x="409509" y="666026"/>
                    </a:cubicBezTo>
                    <a:cubicBezTo>
                      <a:pt x="405777" y="666643"/>
                      <a:pt x="402078" y="667499"/>
                      <a:pt x="398311" y="667875"/>
                    </a:cubicBezTo>
                    <a:lnTo>
                      <a:pt x="387043" y="669314"/>
                    </a:lnTo>
                    <a:cubicBezTo>
                      <a:pt x="383276" y="669759"/>
                      <a:pt x="379492" y="669913"/>
                      <a:pt x="375708" y="670239"/>
                    </a:cubicBezTo>
                    <a:lnTo>
                      <a:pt x="370040" y="670684"/>
                    </a:lnTo>
                    <a:cubicBezTo>
                      <a:pt x="368156" y="670804"/>
                      <a:pt x="366238" y="670786"/>
                      <a:pt x="364355" y="670855"/>
                    </a:cubicBezTo>
                    <a:lnTo>
                      <a:pt x="352968" y="671163"/>
                    </a:lnTo>
                    <a:lnTo>
                      <a:pt x="341580" y="670855"/>
                    </a:lnTo>
                    <a:cubicBezTo>
                      <a:pt x="339680" y="670786"/>
                      <a:pt x="337779" y="670804"/>
                      <a:pt x="335895" y="670684"/>
                    </a:cubicBezTo>
                    <a:lnTo>
                      <a:pt x="330227" y="670239"/>
                    </a:lnTo>
                    <a:cubicBezTo>
                      <a:pt x="326460" y="669913"/>
                      <a:pt x="322659" y="669759"/>
                      <a:pt x="318892" y="669314"/>
                    </a:cubicBezTo>
                    <a:lnTo>
                      <a:pt x="307624" y="667875"/>
                    </a:lnTo>
                    <a:cubicBezTo>
                      <a:pt x="303857" y="667516"/>
                      <a:pt x="300159" y="666643"/>
                      <a:pt x="296426" y="666026"/>
                    </a:cubicBezTo>
                    <a:cubicBezTo>
                      <a:pt x="292710" y="665324"/>
                      <a:pt x="288943" y="664810"/>
                      <a:pt x="285295" y="663851"/>
                    </a:cubicBezTo>
                    <a:lnTo>
                      <a:pt x="274233" y="661300"/>
                    </a:lnTo>
                    <a:cubicBezTo>
                      <a:pt x="270569" y="660341"/>
                      <a:pt x="266956" y="659245"/>
                      <a:pt x="263309" y="658235"/>
                    </a:cubicBezTo>
                    <a:cubicBezTo>
                      <a:pt x="261494" y="657704"/>
                      <a:pt x="259661" y="657242"/>
                      <a:pt x="257863" y="656677"/>
                    </a:cubicBezTo>
                    <a:lnTo>
                      <a:pt x="252487" y="654844"/>
                    </a:lnTo>
                    <a:lnTo>
                      <a:pt x="247110" y="653029"/>
                    </a:lnTo>
                    <a:cubicBezTo>
                      <a:pt x="245329" y="652413"/>
                      <a:pt x="243514" y="651865"/>
                      <a:pt x="241767" y="651129"/>
                    </a:cubicBezTo>
                    <a:lnTo>
                      <a:pt x="231219" y="646968"/>
                    </a:lnTo>
                    <a:cubicBezTo>
                      <a:pt x="229438" y="646317"/>
                      <a:pt x="227726" y="645512"/>
                      <a:pt x="226014" y="644724"/>
                    </a:cubicBezTo>
                    <a:lnTo>
                      <a:pt x="220842" y="642379"/>
                    </a:lnTo>
                    <a:lnTo>
                      <a:pt x="215671" y="640050"/>
                    </a:lnTo>
                    <a:cubicBezTo>
                      <a:pt x="213959" y="639245"/>
                      <a:pt x="212298" y="638337"/>
                      <a:pt x="210602" y="637481"/>
                    </a:cubicBezTo>
                    <a:cubicBezTo>
                      <a:pt x="207246" y="635735"/>
                      <a:pt x="203839" y="634074"/>
                      <a:pt x="200517" y="632276"/>
                    </a:cubicBezTo>
                    <a:lnTo>
                      <a:pt x="190671" y="626608"/>
                    </a:lnTo>
                    <a:lnTo>
                      <a:pt x="188205" y="625204"/>
                    </a:lnTo>
                    <a:lnTo>
                      <a:pt x="185808" y="623680"/>
                    </a:lnTo>
                    <a:lnTo>
                      <a:pt x="181030" y="620615"/>
                    </a:lnTo>
                    <a:cubicBezTo>
                      <a:pt x="177845" y="618577"/>
                      <a:pt x="174609" y="616591"/>
                      <a:pt x="171578" y="614313"/>
                    </a:cubicBezTo>
                    <a:lnTo>
                      <a:pt x="162314" y="607721"/>
                    </a:lnTo>
                    <a:cubicBezTo>
                      <a:pt x="156389" y="602995"/>
                      <a:pt x="150293" y="598474"/>
                      <a:pt x="144677" y="593371"/>
                    </a:cubicBezTo>
                    <a:cubicBezTo>
                      <a:pt x="138821" y="588542"/>
                      <a:pt x="133512" y="583131"/>
                      <a:pt x="127964" y="577960"/>
                    </a:cubicBezTo>
                    <a:cubicBezTo>
                      <a:pt x="122793" y="572412"/>
                      <a:pt x="117365" y="567104"/>
                      <a:pt x="112553" y="561247"/>
                    </a:cubicBezTo>
                    <a:cubicBezTo>
                      <a:pt x="107450" y="555631"/>
                      <a:pt x="102930" y="549535"/>
                      <a:pt x="98203" y="543610"/>
                    </a:cubicBezTo>
                    <a:lnTo>
                      <a:pt x="91611" y="534346"/>
                    </a:lnTo>
                    <a:cubicBezTo>
                      <a:pt x="89334" y="531315"/>
                      <a:pt x="87347" y="528079"/>
                      <a:pt x="85309" y="524894"/>
                    </a:cubicBezTo>
                    <a:lnTo>
                      <a:pt x="82244" y="520117"/>
                    </a:lnTo>
                    <a:lnTo>
                      <a:pt x="80720" y="517719"/>
                    </a:lnTo>
                    <a:lnTo>
                      <a:pt x="79316" y="515254"/>
                    </a:lnTo>
                    <a:lnTo>
                      <a:pt x="73648" y="505408"/>
                    </a:lnTo>
                    <a:cubicBezTo>
                      <a:pt x="71850" y="502086"/>
                      <a:pt x="70189" y="498678"/>
                      <a:pt x="68443" y="495322"/>
                    </a:cubicBezTo>
                    <a:cubicBezTo>
                      <a:pt x="67587" y="493627"/>
                      <a:pt x="66679" y="491966"/>
                      <a:pt x="65874" y="490253"/>
                    </a:cubicBezTo>
                    <a:lnTo>
                      <a:pt x="63545" y="485082"/>
                    </a:lnTo>
                    <a:lnTo>
                      <a:pt x="61200" y="479911"/>
                    </a:lnTo>
                    <a:cubicBezTo>
                      <a:pt x="60412" y="478198"/>
                      <a:pt x="59607" y="476469"/>
                      <a:pt x="58956" y="474705"/>
                    </a:cubicBezTo>
                    <a:lnTo>
                      <a:pt x="54795" y="464157"/>
                    </a:lnTo>
                    <a:cubicBezTo>
                      <a:pt x="54059" y="462410"/>
                      <a:pt x="53511" y="460612"/>
                      <a:pt x="52895" y="458815"/>
                    </a:cubicBezTo>
                    <a:lnTo>
                      <a:pt x="51080" y="453438"/>
                    </a:lnTo>
                    <a:lnTo>
                      <a:pt x="49247" y="448061"/>
                    </a:lnTo>
                    <a:cubicBezTo>
                      <a:pt x="48682" y="446263"/>
                      <a:pt x="48220" y="444431"/>
                      <a:pt x="47689" y="442616"/>
                    </a:cubicBezTo>
                    <a:cubicBezTo>
                      <a:pt x="46679" y="438968"/>
                      <a:pt x="45583" y="435355"/>
                      <a:pt x="44624" y="431691"/>
                    </a:cubicBezTo>
                    <a:lnTo>
                      <a:pt x="42073" y="420629"/>
                    </a:lnTo>
                    <a:cubicBezTo>
                      <a:pt x="41114" y="416965"/>
                      <a:pt x="40600" y="413215"/>
                      <a:pt x="39898" y="409499"/>
                    </a:cubicBezTo>
                    <a:cubicBezTo>
                      <a:pt x="39281" y="405766"/>
                      <a:pt x="38425" y="402067"/>
                      <a:pt x="38049" y="398300"/>
                    </a:cubicBezTo>
                    <a:lnTo>
                      <a:pt x="36610" y="387033"/>
                    </a:lnTo>
                    <a:cubicBezTo>
                      <a:pt x="36165" y="383266"/>
                      <a:pt x="36011" y="379481"/>
                      <a:pt x="35685" y="375697"/>
                    </a:cubicBezTo>
                    <a:lnTo>
                      <a:pt x="35240" y="370029"/>
                    </a:lnTo>
                    <a:cubicBezTo>
                      <a:pt x="35120" y="368128"/>
                      <a:pt x="35138" y="366228"/>
                      <a:pt x="35069" y="364344"/>
                    </a:cubicBezTo>
                    <a:lnTo>
                      <a:pt x="34761" y="352957"/>
                    </a:lnTo>
                    <a:lnTo>
                      <a:pt x="35069" y="341570"/>
                    </a:lnTo>
                    <a:cubicBezTo>
                      <a:pt x="35138" y="339669"/>
                      <a:pt x="35120" y="337768"/>
                      <a:pt x="35240" y="335885"/>
                    </a:cubicBezTo>
                    <a:lnTo>
                      <a:pt x="35685" y="330217"/>
                    </a:lnTo>
                    <a:cubicBezTo>
                      <a:pt x="36011" y="326450"/>
                      <a:pt x="36165" y="322648"/>
                      <a:pt x="36610" y="318881"/>
                    </a:cubicBezTo>
                    <a:lnTo>
                      <a:pt x="38049" y="307614"/>
                    </a:lnTo>
                    <a:cubicBezTo>
                      <a:pt x="38408" y="303847"/>
                      <a:pt x="39281" y="300148"/>
                      <a:pt x="39898" y="296415"/>
                    </a:cubicBezTo>
                    <a:cubicBezTo>
                      <a:pt x="40600" y="292699"/>
                      <a:pt x="41114" y="288932"/>
                      <a:pt x="42073" y="285285"/>
                    </a:cubicBezTo>
                    <a:lnTo>
                      <a:pt x="44624" y="274223"/>
                    </a:lnTo>
                    <a:cubicBezTo>
                      <a:pt x="45583" y="270559"/>
                      <a:pt x="46679" y="266946"/>
                      <a:pt x="47689" y="263298"/>
                    </a:cubicBezTo>
                    <a:cubicBezTo>
                      <a:pt x="48220" y="261483"/>
                      <a:pt x="48682" y="259651"/>
                      <a:pt x="49247" y="257853"/>
                    </a:cubicBezTo>
                    <a:lnTo>
                      <a:pt x="51080" y="252476"/>
                    </a:lnTo>
                    <a:lnTo>
                      <a:pt x="52895" y="247099"/>
                    </a:lnTo>
                    <a:cubicBezTo>
                      <a:pt x="53511" y="245319"/>
                      <a:pt x="54059" y="243504"/>
                      <a:pt x="54795" y="241757"/>
                    </a:cubicBezTo>
                    <a:lnTo>
                      <a:pt x="58956" y="231209"/>
                    </a:lnTo>
                    <a:cubicBezTo>
                      <a:pt x="59607" y="229428"/>
                      <a:pt x="60412" y="227716"/>
                      <a:pt x="61200" y="226003"/>
                    </a:cubicBezTo>
                    <a:lnTo>
                      <a:pt x="63545" y="220832"/>
                    </a:lnTo>
                    <a:lnTo>
                      <a:pt x="65874" y="215661"/>
                    </a:lnTo>
                    <a:cubicBezTo>
                      <a:pt x="66679" y="213948"/>
                      <a:pt x="67587" y="212287"/>
                      <a:pt x="68443" y="210592"/>
                    </a:cubicBezTo>
                    <a:cubicBezTo>
                      <a:pt x="70189" y="207236"/>
                      <a:pt x="71850" y="203828"/>
                      <a:pt x="73648" y="200506"/>
                    </a:cubicBezTo>
                    <a:lnTo>
                      <a:pt x="79316" y="190660"/>
                    </a:lnTo>
                    <a:lnTo>
                      <a:pt x="80720" y="188195"/>
                    </a:lnTo>
                    <a:lnTo>
                      <a:pt x="82244" y="185797"/>
                    </a:lnTo>
                    <a:lnTo>
                      <a:pt x="85309" y="181020"/>
                    </a:lnTo>
                    <a:cubicBezTo>
                      <a:pt x="87347" y="177835"/>
                      <a:pt x="89334" y="174599"/>
                      <a:pt x="91611" y="171568"/>
                    </a:cubicBezTo>
                    <a:lnTo>
                      <a:pt x="98203" y="162304"/>
                    </a:lnTo>
                    <a:cubicBezTo>
                      <a:pt x="102930" y="156379"/>
                      <a:pt x="107450" y="150283"/>
                      <a:pt x="112553" y="144667"/>
                    </a:cubicBezTo>
                    <a:cubicBezTo>
                      <a:pt x="117382" y="138810"/>
                      <a:pt x="122793" y="133502"/>
                      <a:pt x="127964" y="127954"/>
                    </a:cubicBezTo>
                    <a:cubicBezTo>
                      <a:pt x="133512" y="122783"/>
                      <a:pt x="138821" y="117355"/>
                      <a:pt x="144677" y="112543"/>
                    </a:cubicBezTo>
                    <a:cubicBezTo>
                      <a:pt x="150293" y="107440"/>
                      <a:pt x="156389" y="102920"/>
                      <a:pt x="162314" y="98193"/>
                    </a:cubicBezTo>
                    <a:lnTo>
                      <a:pt x="171578" y="91601"/>
                    </a:lnTo>
                    <a:cubicBezTo>
                      <a:pt x="174609" y="89323"/>
                      <a:pt x="177845" y="87337"/>
                      <a:pt x="181030" y="85299"/>
                    </a:cubicBezTo>
                    <a:lnTo>
                      <a:pt x="185808" y="82234"/>
                    </a:lnTo>
                    <a:lnTo>
                      <a:pt x="188205" y="80710"/>
                    </a:lnTo>
                    <a:lnTo>
                      <a:pt x="190671" y="79306"/>
                    </a:lnTo>
                    <a:lnTo>
                      <a:pt x="200517" y="73638"/>
                    </a:lnTo>
                    <a:cubicBezTo>
                      <a:pt x="203839" y="71840"/>
                      <a:pt x="207246" y="70179"/>
                      <a:pt x="210602" y="68433"/>
                    </a:cubicBezTo>
                    <a:cubicBezTo>
                      <a:pt x="212298" y="67577"/>
                      <a:pt x="213959" y="66669"/>
                      <a:pt x="215671" y="65864"/>
                    </a:cubicBezTo>
                    <a:lnTo>
                      <a:pt x="220842" y="63535"/>
                    </a:lnTo>
                    <a:lnTo>
                      <a:pt x="226014" y="61190"/>
                    </a:lnTo>
                    <a:cubicBezTo>
                      <a:pt x="227726" y="60402"/>
                      <a:pt x="229455" y="59597"/>
                      <a:pt x="231219" y="58946"/>
                    </a:cubicBezTo>
                    <a:lnTo>
                      <a:pt x="241767" y="54785"/>
                    </a:lnTo>
                    <a:cubicBezTo>
                      <a:pt x="243514" y="54049"/>
                      <a:pt x="245312" y="53501"/>
                      <a:pt x="247110" y="52885"/>
                    </a:cubicBezTo>
                    <a:lnTo>
                      <a:pt x="252487" y="51070"/>
                    </a:lnTo>
                    <a:lnTo>
                      <a:pt x="257863" y="49237"/>
                    </a:lnTo>
                    <a:cubicBezTo>
                      <a:pt x="259661" y="48672"/>
                      <a:pt x="261494" y="48210"/>
                      <a:pt x="263309" y="47679"/>
                    </a:cubicBezTo>
                    <a:cubicBezTo>
                      <a:pt x="266956" y="46669"/>
                      <a:pt x="270569" y="45573"/>
                      <a:pt x="274233" y="44614"/>
                    </a:cubicBezTo>
                    <a:lnTo>
                      <a:pt x="285295" y="42063"/>
                    </a:lnTo>
                    <a:cubicBezTo>
                      <a:pt x="288960" y="41104"/>
                      <a:pt x="292710" y="40590"/>
                      <a:pt x="296426" y="39888"/>
                    </a:cubicBezTo>
                    <a:cubicBezTo>
                      <a:pt x="300159" y="39271"/>
                      <a:pt x="303857" y="38415"/>
                      <a:pt x="307624" y="38039"/>
                    </a:cubicBezTo>
                    <a:lnTo>
                      <a:pt x="318892" y="36600"/>
                    </a:lnTo>
                    <a:cubicBezTo>
                      <a:pt x="322659" y="36155"/>
                      <a:pt x="326443" y="36001"/>
                      <a:pt x="330227" y="35676"/>
                    </a:cubicBezTo>
                    <a:lnTo>
                      <a:pt x="335895" y="35230"/>
                    </a:lnTo>
                    <a:cubicBezTo>
                      <a:pt x="337796" y="35110"/>
                      <a:pt x="339697" y="35128"/>
                      <a:pt x="341580" y="35059"/>
                    </a:cubicBezTo>
                    <a:lnTo>
                      <a:pt x="352968" y="34751"/>
                    </a:lnTo>
                    <a:lnTo>
                      <a:pt x="364355" y="35059"/>
                    </a:lnTo>
                    <a:cubicBezTo>
                      <a:pt x="366255" y="35128"/>
                      <a:pt x="368156" y="35110"/>
                      <a:pt x="370040" y="35230"/>
                    </a:cubicBezTo>
                    <a:lnTo>
                      <a:pt x="375708" y="35676"/>
                    </a:lnTo>
                    <a:cubicBezTo>
                      <a:pt x="379475" y="36001"/>
                      <a:pt x="383276" y="36155"/>
                      <a:pt x="387043" y="36600"/>
                    </a:cubicBezTo>
                    <a:lnTo>
                      <a:pt x="398311" y="38039"/>
                    </a:lnTo>
                    <a:cubicBezTo>
                      <a:pt x="402078" y="38398"/>
                      <a:pt x="405777" y="39271"/>
                      <a:pt x="409509" y="39888"/>
                    </a:cubicBezTo>
                    <a:cubicBezTo>
                      <a:pt x="413225" y="40590"/>
                      <a:pt x="416992" y="41104"/>
                      <a:pt x="420640" y="42063"/>
                    </a:cubicBezTo>
                    <a:lnTo>
                      <a:pt x="431702" y="44614"/>
                    </a:lnTo>
                    <a:cubicBezTo>
                      <a:pt x="435366" y="45573"/>
                      <a:pt x="438979" y="46669"/>
                      <a:pt x="442626" y="47679"/>
                    </a:cubicBezTo>
                    <a:cubicBezTo>
                      <a:pt x="444441" y="48210"/>
                      <a:pt x="446274" y="48672"/>
                      <a:pt x="448072" y="49237"/>
                    </a:cubicBezTo>
                    <a:lnTo>
                      <a:pt x="453448" y="51070"/>
                    </a:lnTo>
                    <a:lnTo>
                      <a:pt x="458825" y="52885"/>
                    </a:lnTo>
                    <a:cubicBezTo>
                      <a:pt x="460606" y="53501"/>
                      <a:pt x="462421" y="54049"/>
                      <a:pt x="464168" y="54785"/>
                    </a:cubicBezTo>
                    <a:lnTo>
                      <a:pt x="474716" y="58946"/>
                    </a:lnTo>
                    <a:cubicBezTo>
                      <a:pt x="476497" y="59597"/>
                      <a:pt x="478209" y="60402"/>
                      <a:pt x="479921" y="61190"/>
                    </a:cubicBezTo>
                    <a:lnTo>
                      <a:pt x="485093" y="63535"/>
                    </a:lnTo>
                    <a:lnTo>
                      <a:pt x="490264" y="65864"/>
                    </a:lnTo>
                    <a:cubicBezTo>
                      <a:pt x="491976" y="66669"/>
                      <a:pt x="493637" y="67577"/>
                      <a:pt x="495333" y="68433"/>
                    </a:cubicBezTo>
                    <a:cubicBezTo>
                      <a:pt x="498689" y="70179"/>
                      <a:pt x="502096" y="71840"/>
                      <a:pt x="505418" y="73638"/>
                    </a:cubicBezTo>
                    <a:lnTo>
                      <a:pt x="515264" y="79306"/>
                    </a:lnTo>
                    <a:lnTo>
                      <a:pt x="517730" y="80710"/>
                    </a:lnTo>
                    <a:lnTo>
                      <a:pt x="520127" y="82234"/>
                    </a:lnTo>
                    <a:lnTo>
                      <a:pt x="524905" y="85299"/>
                    </a:lnTo>
                    <a:cubicBezTo>
                      <a:pt x="528090" y="87337"/>
                      <a:pt x="531326" y="89323"/>
                      <a:pt x="534357" y="91601"/>
                    </a:cubicBezTo>
                    <a:lnTo>
                      <a:pt x="543621" y="98193"/>
                    </a:lnTo>
                    <a:cubicBezTo>
                      <a:pt x="549546" y="102920"/>
                      <a:pt x="555642" y="107440"/>
                      <a:pt x="561258" y="112543"/>
                    </a:cubicBezTo>
                    <a:cubicBezTo>
                      <a:pt x="567115" y="117372"/>
                      <a:pt x="572423" y="122783"/>
                      <a:pt x="577971" y="127954"/>
                    </a:cubicBezTo>
                    <a:cubicBezTo>
                      <a:pt x="583142" y="133502"/>
                      <a:pt x="588570" y="138810"/>
                      <a:pt x="593382" y="144667"/>
                    </a:cubicBezTo>
                    <a:cubicBezTo>
                      <a:pt x="598485" y="150283"/>
                      <a:pt x="603005" y="156379"/>
                      <a:pt x="607732" y="162304"/>
                    </a:cubicBezTo>
                    <a:lnTo>
                      <a:pt x="614324" y="171568"/>
                    </a:lnTo>
                    <a:cubicBezTo>
                      <a:pt x="616602" y="174599"/>
                      <a:pt x="618588" y="177835"/>
                      <a:pt x="620626" y="181020"/>
                    </a:cubicBezTo>
                    <a:lnTo>
                      <a:pt x="623691" y="185797"/>
                    </a:lnTo>
                    <a:lnTo>
                      <a:pt x="625215" y="188195"/>
                    </a:lnTo>
                    <a:lnTo>
                      <a:pt x="626619" y="190660"/>
                    </a:lnTo>
                    <a:lnTo>
                      <a:pt x="632287" y="200506"/>
                    </a:lnTo>
                    <a:cubicBezTo>
                      <a:pt x="634085" y="203828"/>
                      <a:pt x="635746" y="207236"/>
                      <a:pt x="637492" y="210592"/>
                    </a:cubicBezTo>
                    <a:cubicBezTo>
                      <a:pt x="638348" y="212287"/>
                      <a:pt x="639256" y="213948"/>
                      <a:pt x="640061" y="215661"/>
                    </a:cubicBezTo>
                    <a:lnTo>
                      <a:pt x="642390" y="220832"/>
                    </a:lnTo>
                    <a:lnTo>
                      <a:pt x="644735" y="226003"/>
                    </a:lnTo>
                    <a:cubicBezTo>
                      <a:pt x="645523" y="227716"/>
                      <a:pt x="646328" y="229445"/>
                      <a:pt x="646979" y="231209"/>
                    </a:cubicBezTo>
                    <a:lnTo>
                      <a:pt x="651140" y="241757"/>
                    </a:lnTo>
                    <a:cubicBezTo>
                      <a:pt x="651876" y="243504"/>
                      <a:pt x="652424" y="245302"/>
                      <a:pt x="653040" y="247099"/>
                    </a:cubicBezTo>
                    <a:lnTo>
                      <a:pt x="654855" y="252476"/>
                    </a:lnTo>
                    <a:lnTo>
                      <a:pt x="656688" y="257853"/>
                    </a:lnTo>
                    <a:cubicBezTo>
                      <a:pt x="657253" y="259651"/>
                      <a:pt x="657715" y="261483"/>
                      <a:pt x="658246" y="263298"/>
                    </a:cubicBezTo>
                    <a:cubicBezTo>
                      <a:pt x="659256" y="266946"/>
                      <a:pt x="660352" y="270559"/>
                      <a:pt x="661311" y="274223"/>
                    </a:cubicBezTo>
                    <a:lnTo>
                      <a:pt x="663862" y="285285"/>
                    </a:lnTo>
                    <a:cubicBezTo>
                      <a:pt x="664821" y="288949"/>
                      <a:pt x="665335" y="292699"/>
                      <a:pt x="666037" y="296415"/>
                    </a:cubicBezTo>
                    <a:cubicBezTo>
                      <a:pt x="666654" y="300148"/>
                      <a:pt x="667510" y="303847"/>
                      <a:pt x="667886" y="307614"/>
                    </a:cubicBezTo>
                    <a:lnTo>
                      <a:pt x="669325" y="318881"/>
                    </a:lnTo>
                    <a:cubicBezTo>
                      <a:pt x="669770" y="322648"/>
                      <a:pt x="669924" y="326433"/>
                      <a:pt x="670250" y="330217"/>
                    </a:cubicBezTo>
                    <a:lnTo>
                      <a:pt x="670695" y="335885"/>
                    </a:lnTo>
                    <a:cubicBezTo>
                      <a:pt x="670815" y="337786"/>
                      <a:pt x="670798" y="339686"/>
                      <a:pt x="670866" y="341570"/>
                    </a:cubicBezTo>
                    <a:lnTo>
                      <a:pt x="671174" y="352957"/>
                    </a:lnTo>
                    <a:lnTo>
                      <a:pt x="670866" y="364344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96" name="Freeform 10">
                <a:extLst>
                  <a:ext uri="{FF2B5EF4-FFF2-40B4-BE49-F238E27FC236}">
                    <a16:creationId xmlns:a16="http://schemas.microsoft.com/office/drawing/2014/main" id="{863A82BB-4AAE-A887-6E66-4FCA71DA1867}"/>
                  </a:ext>
                </a:extLst>
              </p:cNvPr>
              <p:cNvSpPr/>
              <p:nvPr/>
            </p:nvSpPr>
            <p:spPr>
              <a:xfrm>
                <a:off x="2526755" y="3775913"/>
                <a:ext cx="843060" cy="843058"/>
              </a:xfrm>
              <a:custGeom>
                <a:avLst/>
                <a:gdLst>
                  <a:gd name="connsiteX0" fmla="*/ 842461 w 843060"/>
                  <a:gd name="connsiteY0" fmla="*/ 399012 h 843058"/>
                  <a:gd name="connsiteX1" fmla="*/ 841896 w 843060"/>
                  <a:gd name="connsiteY1" fmla="*/ 391512 h 843058"/>
                  <a:gd name="connsiteX2" fmla="*/ 840646 w 843060"/>
                  <a:gd name="connsiteY2" fmla="*/ 376529 h 843058"/>
                  <a:gd name="connsiteX3" fmla="*/ 838762 w 843060"/>
                  <a:gd name="connsiteY3" fmla="*/ 361597 h 843058"/>
                  <a:gd name="connsiteX4" fmla="*/ 836331 w 843060"/>
                  <a:gd name="connsiteY4" fmla="*/ 346751 h 843058"/>
                  <a:gd name="connsiteX5" fmla="*/ 833437 w 843060"/>
                  <a:gd name="connsiteY5" fmla="*/ 331974 h 843058"/>
                  <a:gd name="connsiteX6" fmla="*/ 830046 w 843060"/>
                  <a:gd name="connsiteY6" fmla="*/ 317299 h 843058"/>
                  <a:gd name="connsiteX7" fmla="*/ 825988 w 843060"/>
                  <a:gd name="connsiteY7" fmla="*/ 302795 h 843058"/>
                  <a:gd name="connsiteX8" fmla="*/ 823882 w 843060"/>
                  <a:gd name="connsiteY8" fmla="*/ 295569 h 843058"/>
                  <a:gd name="connsiteX9" fmla="*/ 821485 w 843060"/>
                  <a:gd name="connsiteY9" fmla="*/ 288428 h 843058"/>
                  <a:gd name="connsiteX10" fmla="*/ 819070 w 843060"/>
                  <a:gd name="connsiteY10" fmla="*/ 281288 h 843058"/>
                  <a:gd name="connsiteX11" fmla="*/ 816536 w 843060"/>
                  <a:gd name="connsiteY11" fmla="*/ 274199 h 843058"/>
                  <a:gd name="connsiteX12" fmla="*/ 811005 w 843060"/>
                  <a:gd name="connsiteY12" fmla="*/ 260192 h 843058"/>
                  <a:gd name="connsiteX13" fmla="*/ 808043 w 843060"/>
                  <a:gd name="connsiteY13" fmla="*/ 253274 h 843058"/>
                  <a:gd name="connsiteX14" fmla="*/ 804943 w 843060"/>
                  <a:gd name="connsiteY14" fmla="*/ 246407 h 843058"/>
                  <a:gd name="connsiteX15" fmla="*/ 801827 w 843060"/>
                  <a:gd name="connsiteY15" fmla="*/ 239558 h 843058"/>
                  <a:gd name="connsiteX16" fmla="*/ 798436 w 843060"/>
                  <a:gd name="connsiteY16" fmla="*/ 232828 h 843058"/>
                  <a:gd name="connsiteX17" fmla="*/ 791518 w 843060"/>
                  <a:gd name="connsiteY17" fmla="*/ 219472 h 843058"/>
                  <a:gd name="connsiteX18" fmla="*/ 784018 w 843060"/>
                  <a:gd name="connsiteY18" fmla="*/ 206424 h 843058"/>
                  <a:gd name="connsiteX19" fmla="*/ 782135 w 843060"/>
                  <a:gd name="connsiteY19" fmla="*/ 203170 h 843058"/>
                  <a:gd name="connsiteX20" fmla="*/ 780114 w 843060"/>
                  <a:gd name="connsiteY20" fmla="*/ 199986 h 843058"/>
                  <a:gd name="connsiteX21" fmla="*/ 776056 w 843060"/>
                  <a:gd name="connsiteY21" fmla="*/ 193650 h 843058"/>
                  <a:gd name="connsiteX22" fmla="*/ 767700 w 843060"/>
                  <a:gd name="connsiteY22" fmla="*/ 181133 h 843058"/>
                  <a:gd name="connsiteX23" fmla="*/ 758949 w 843060"/>
                  <a:gd name="connsiteY23" fmla="*/ 168889 h 843058"/>
                  <a:gd name="connsiteX24" fmla="*/ 739994 w 843060"/>
                  <a:gd name="connsiteY24" fmla="*/ 145550 h 843058"/>
                  <a:gd name="connsiteX25" fmla="*/ 719582 w 843060"/>
                  <a:gd name="connsiteY25" fmla="*/ 123478 h 843058"/>
                  <a:gd name="connsiteX26" fmla="*/ 697510 w 843060"/>
                  <a:gd name="connsiteY26" fmla="*/ 103066 h 843058"/>
                  <a:gd name="connsiteX27" fmla="*/ 674171 w 843060"/>
                  <a:gd name="connsiteY27" fmla="*/ 84111 h 843058"/>
                  <a:gd name="connsiteX28" fmla="*/ 661927 w 843060"/>
                  <a:gd name="connsiteY28" fmla="*/ 75361 h 843058"/>
                  <a:gd name="connsiteX29" fmla="*/ 649410 w 843060"/>
                  <a:gd name="connsiteY29" fmla="*/ 67004 h 843058"/>
                  <a:gd name="connsiteX30" fmla="*/ 643075 w 843060"/>
                  <a:gd name="connsiteY30" fmla="*/ 62946 h 843058"/>
                  <a:gd name="connsiteX31" fmla="*/ 639890 w 843060"/>
                  <a:gd name="connsiteY31" fmla="*/ 60925 h 843058"/>
                  <a:gd name="connsiteX32" fmla="*/ 636636 w 843060"/>
                  <a:gd name="connsiteY32" fmla="*/ 59042 h 843058"/>
                  <a:gd name="connsiteX33" fmla="*/ 623588 w 843060"/>
                  <a:gd name="connsiteY33" fmla="*/ 51542 h 843058"/>
                  <a:gd name="connsiteX34" fmla="*/ 610232 w 843060"/>
                  <a:gd name="connsiteY34" fmla="*/ 44624 h 843058"/>
                  <a:gd name="connsiteX35" fmla="*/ 603502 w 843060"/>
                  <a:gd name="connsiteY35" fmla="*/ 41233 h 843058"/>
                  <a:gd name="connsiteX36" fmla="*/ 596653 w 843060"/>
                  <a:gd name="connsiteY36" fmla="*/ 38117 h 843058"/>
                  <a:gd name="connsiteX37" fmla="*/ 589786 w 843060"/>
                  <a:gd name="connsiteY37" fmla="*/ 35018 h 843058"/>
                  <a:gd name="connsiteX38" fmla="*/ 582868 w 843060"/>
                  <a:gd name="connsiteY38" fmla="*/ 32055 h 843058"/>
                  <a:gd name="connsiteX39" fmla="*/ 568861 w 843060"/>
                  <a:gd name="connsiteY39" fmla="*/ 26524 h 843058"/>
                  <a:gd name="connsiteX40" fmla="*/ 561772 w 843060"/>
                  <a:gd name="connsiteY40" fmla="*/ 23990 h 843058"/>
                  <a:gd name="connsiteX41" fmla="*/ 554631 w 843060"/>
                  <a:gd name="connsiteY41" fmla="*/ 21576 h 843058"/>
                  <a:gd name="connsiteX42" fmla="*/ 547491 w 843060"/>
                  <a:gd name="connsiteY42" fmla="*/ 19178 h 843058"/>
                  <a:gd name="connsiteX43" fmla="*/ 540265 w 843060"/>
                  <a:gd name="connsiteY43" fmla="*/ 17072 h 843058"/>
                  <a:gd name="connsiteX44" fmla="*/ 525761 w 843060"/>
                  <a:gd name="connsiteY44" fmla="*/ 13014 h 843058"/>
                  <a:gd name="connsiteX45" fmla="*/ 511086 w 843060"/>
                  <a:gd name="connsiteY45" fmla="*/ 9624 h 843058"/>
                  <a:gd name="connsiteX46" fmla="*/ 496309 w 843060"/>
                  <a:gd name="connsiteY46" fmla="*/ 6730 h 843058"/>
                  <a:gd name="connsiteX47" fmla="*/ 481463 w 843060"/>
                  <a:gd name="connsiteY47" fmla="*/ 4298 h 843058"/>
                  <a:gd name="connsiteX48" fmla="*/ 466531 w 843060"/>
                  <a:gd name="connsiteY48" fmla="*/ 2414 h 843058"/>
                  <a:gd name="connsiteX49" fmla="*/ 451548 w 843060"/>
                  <a:gd name="connsiteY49" fmla="*/ 1164 h 843058"/>
                  <a:gd name="connsiteX50" fmla="*/ 444048 w 843060"/>
                  <a:gd name="connsiteY50" fmla="*/ 599 h 843058"/>
                  <a:gd name="connsiteX51" fmla="*/ 436547 w 843060"/>
                  <a:gd name="connsiteY51" fmla="*/ 360 h 843058"/>
                  <a:gd name="connsiteX52" fmla="*/ 421530 w 843060"/>
                  <a:gd name="connsiteY52" fmla="*/ 0 h 843058"/>
                  <a:gd name="connsiteX53" fmla="*/ 406513 w 843060"/>
                  <a:gd name="connsiteY53" fmla="*/ 360 h 843058"/>
                  <a:gd name="connsiteX54" fmla="*/ 399013 w 843060"/>
                  <a:gd name="connsiteY54" fmla="*/ 599 h 843058"/>
                  <a:gd name="connsiteX55" fmla="*/ 391513 w 843060"/>
                  <a:gd name="connsiteY55" fmla="*/ 1164 h 843058"/>
                  <a:gd name="connsiteX56" fmla="*/ 376530 w 843060"/>
                  <a:gd name="connsiteY56" fmla="*/ 2414 h 843058"/>
                  <a:gd name="connsiteX57" fmla="*/ 361598 w 843060"/>
                  <a:gd name="connsiteY57" fmla="*/ 4298 h 843058"/>
                  <a:gd name="connsiteX58" fmla="*/ 346752 w 843060"/>
                  <a:gd name="connsiteY58" fmla="*/ 6730 h 843058"/>
                  <a:gd name="connsiteX59" fmla="*/ 331974 w 843060"/>
                  <a:gd name="connsiteY59" fmla="*/ 9624 h 843058"/>
                  <a:gd name="connsiteX60" fmla="*/ 317299 w 843060"/>
                  <a:gd name="connsiteY60" fmla="*/ 13014 h 843058"/>
                  <a:gd name="connsiteX61" fmla="*/ 302796 w 843060"/>
                  <a:gd name="connsiteY61" fmla="*/ 17072 h 843058"/>
                  <a:gd name="connsiteX62" fmla="*/ 295569 w 843060"/>
                  <a:gd name="connsiteY62" fmla="*/ 19178 h 843058"/>
                  <a:gd name="connsiteX63" fmla="*/ 288429 w 843060"/>
                  <a:gd name="connsiteY63" fmla="*/ 21576 h 843058"/>
                  <a:gd name="connsiteX64" fmla="*/ 281288 w 843060"/>
                  <a:gd name="connsiteY64" fmla="*/ 23990 h 843058"/>
                  <a:gd name="connsiteX65" fmla="*/ 274199 w 843060"/>
                  <a:gd name="connsiteY65" fmla="*/ 26524 h 843058"/>
                  <a:gd name="connsiteX66" fmla="*/ 260192 w 843060"/>
                  <a:gd name="connsiteY66" fmla="*/ 32055 h 843058"/>
                  <a:gd name="connsiteX67" fmla="*/ 253274 w 843060"/>
                  <a:gd name="connsiteY67" fmla="*/ 35018 h 843058"/>
                  <a:gd name="connsiteX68" fmla="*/ 246408 w 843060"/>
                  <a:gd name="connsiteY68" fmla="*/ 38117 h 843058"/>
                  <a:gd name="connsiteX69" fmla="*/ 239558 w 843060"/>
                  <a:gd name="connsiteY69" fmla="*/ 41233 h 843058"/>
                  <a:gd name="connsiteX70" fmla="*/ 232829 w 843060"/>
                  <a:gd name="connsiteY70" fmla="*/ 44624 h 843058"/>
                  <a:gd name="connsiteX71" fmla="*/ 219472 w 843060"/>
                  <a:gd name="connsiteY71" fmla="*/ 51542 h 843058"/>
                  <a:gd name="connsiteX72" fmla="*/ 206424 w 843060"/>
                  <a:gd name="connsiteY72" fmla="*/ 59042 h 843058"/>
                  <a:gd name="connsiteX73" fmla="*/ 203171 w 843060"/>
                  <a:gd name="connsiteY73" fmla="*/ 60925 h 843058"/>
                  <a:gd name="connsiteX74" fmla="*/ 199986 w 843060"/>
                  <a:gd name="connsiteY74" fmla="*/ 62946 h 843058"/>
                  <a:gd name="connsiteX75" fmla="*/ 193650 w 843060"/>
                  <a:gd name="connsiteY75" fmla="*/ 67004 h 843058"/>
                  <a:gd name="connsiteX76" fmla="*/ 181133 w 843060"/>
                  <a:gd name="connsiteY76" fmla="*/ 75361 h 843058"/>
                  <a:gd name="connsiteX77" fmla="*/ 168889 w 843060"/>
                  <a:gd name="connsiteY77" fmla="*/ 84111 h 843058"/>
                  <a:gd name="connsiteX78" fmla="*/ 145550 w 843060"/>
                  <a:gd name="connsiteY78" fmla="*/ 103066 h 843058"/>
                  <a:gd name="connsiteX79" fmla="*/ 123478 w 843060"/>
                  <a:gd name="connsiteY79" fmla="*/ 123478 h 843058"/>
                  <a:gd name="connsiteX80" fmla="*/ 103067 w 843060"/>
                  <a:gd name="connsiteY80" fmla="*/ 145550 h 843058"/>
                  <a:gd name="connsiteX81" fmla="*/ 84111 w 843060"/>
                  <a:gd name="connsiteY81" fmla="*/ 168889 h 843058"/>
                  <a:gd name="connsiteX82" fmla="*/ 75361 w 843060"/>
                  <a:gd name="connsiteY82" fmla="*/ 181133 h 843058"/>
                  <a:gd name="connsiteX83" fmla="*/ 67004 w 843060"/>
                  <a:gd name="connsiteY83" fmla="*/ 193650 h 843058"/>
                  <a:gd name="connsiteX84" fmla="*/ 62946 w 843060"/>
                  <a:gd name="connsiteY84" fmla="*/ 199986 h 843058"/>
                  <a:gd name="connsiteX85" fmla="*/ 60926 w 843060"/>
                  <a:gd name="connsiteY85" fmla="*/ 203170 h 843058"/>
                  <a:gd name="connsiteX86" fmla="*/ 59042 w 843060"/>
                  <a:gd name="connsiteY86" fmla="*/ 206424 h 843058"/>
                  <a:gd name="connsiteX87" fmla="*/ 51542 w 843060"/>
                  <a:gd name="connsiteY87" fmla="*/ 219472 h 843058"/>
                  <a:gd name="connsiteX88" fmla="*/ 44624 w 843060"/>
                  <a:gd name="connsiteY88" fmla="*/ 232828 h 843058"/>
                  <a:gd name="connsiteX89" fmla="*/ 41233 w 843060"/>
                  <a:gd name="connsiteY89" fmla="*/ 239558 h 843058"/>
                  <a:gd name="connsiteX90" fmla="*/ 38117 w 843060"/>
                  <a:gd name="connsiteY90" fmla="*/ 246407 h 843058"/>
                  <a:gd name="connsiteX91" fmla="*/ 35018 w 843060"/>
                  <a:gd name="connsiteY91" fmla="*/ 253274 h 843058"/>
                  <a:gd name="connsiteX92" fmla="*/ 32055 w 843060"/>
                  <a:gd name="connsiteY92" fmla="*/ 260192 h 843058"/>
                  <a:gd name="connsiteX93" fmla="*/ 26524 w 843060"/>
                  <a:gd name="connsiteY93" fmla="*/ 274199 h 843058"/>
                  <a:gd name="connsiteX94" fmla="*/ 23990 w 843060"/>
                  <a:gd name="connsiteY94" fmla="*/ 281288 h 843058"/>
                  <a:gd name="connsiteX95" fmla="*/ 21576 w 843060"/>
                  <a:gd name="connsiteY95" fmla="*/ 288428 h 843058"/>
                  <a:gd name="connsiteX96" fmla="*/ 19178 w 843060"/>
                  <a:gd name="connsiteY96" fmla="*/ 295569 h 843058"/>
                  <a:gd name="connsiteX97" fmla="*/ 17072 w 843060"/>
                  <a:gd name="connsiteY97" fmla="*/ 302795 h 843058"/>
                  <a:gd name="connsiteX98" fmla="*/ 13014 w 843060"/>
                  <a:gd name="connsiteY98" fmla="*/ 317299 h 843058"/>
                  <a:gd name="connsiteX99" fmla="*/ 9623 w 843060"/>
                  <a:gd name="connsiteY99" fmla="*/ 331974 h 843058"/>
                  <a:gd name="connsiteX100" fmla="*/ 6730 w 843060"/>
                  <a:gd name="connsiteY100" fmla="*/ 346751 h 843058"/>
                  <a:gd name="connsiteX101" fmla="*/ 4298 w 843060"/>
                  <a:gd name="connsiteY101" fmla="*/ 361597 h 843058"/>
                  <a:gd name="connsiteX102" fmla="*/ 2414 w 843060"/>
                  <a:gd name="connsiteY102" fmla="*/ 376529 h 843058"/>
                  <a:gd name="connsiteX103" fmla="*/ 1164 w 843060"/>
                  <a:gd name="connsiteY103" fmla="*/ 391512 h 843058"/>
                  <a:gd name="connsiteX104" fmla="*/ 599 w 843060"/>
                  <a:gd name="connsiteY104" fmla="*/ 399012 h 843058"/>
                  <a:gd name="connsiteX105" fmla="*/ 360 w 843060"/>
                  <a:gd name="connsiteY105" fmla="*/ 406512 h 843058"/>
                  <a:gd name="connsiteX106" fmla="*/ 0 w 843060"/>
                  <a:gd name="connsiteY106" fmla="*/ 421529 h 843058"/>
                  <a:gd name="connsiteX107" fmla="*/ 360 w 843060"/>
                  <a:gd name="connsiteY107" fmla="*/ 436547 h 843058"/>
                  <a:gd name="connsiteX108" fmla="*/ 599 w 843060"/>
                  <a:gd name="connsiteY108" fmla="*/ 444047 h 843058"/>
                  <a:gd name="connsiteX109" fmla="*/ 1164 w 843060"/>
                  <a:gd name="connsiteY109" fmla="*/ 451547 h 843058"/>
                  <a:gd name="connsiteX110" fmla="*/ 2414 w 843060"/>
                  <a:gd name="connsiteY110" fmla="*/ 466530 h 843058"/>
                  <a:gd name="connsiteX111" fmla="*/ 4298 w 843060"/>
                  <a:gd name="connsiteY111" fmla="*/ 481462 h 843058"/>
                  <a:gd name="connsiteX112" fmla="*/ 6730 w 843060"/>
                  <a:gd name="connsiteY112" fmla="*/ 496308 h 843058"/>
                  <a:gd name="connsiteX113" fmla="*/ 9623 w 843060"/>
                  <a:gd name="connsiteY113" fmla="*/ 511085 h 843058"/>
                  <a:gd name="connsiteX114" fmla="*/ 13014 w 843060"/>
                  <a:gd name="connsiteY114" fmla="*/ 525760 h 843058"/>
                  <a:gd name="connsiteX115" fmla="*/ 17072 w 843060"/>
                  <a:gd name="connsiteY115" fmla="*/ 540264 h 843058"/>
                  <a:gd name="connsiteX116" fmla="*/ 19178 w 843060"/>
                  <a:gd name="connsiteY116" fmla="*/ 547490 h 843058"/>
                  <a:gd name="connsiteX117" fmla="*/ 21576 w 843060"/>
                  <a:gd name="connsiteY117" fmla="*/ 554630 h 843058"/>
                  <a:gd name="connsiteX118" fmla="*/ 23990 w 843060"/>
                  <a:gd name="connsiteY118" fmla="*/ 561771 h 843058"/>
                  <a:gd name="connsiteX119" fmla="*/ 26524 w 843060"/>
                  <a:gd name="connsiteY119" fmla="*/ 568860 h 843058"/>
                  <a:gd name="connsiteX120" fmla="*/ 32055 w 843060"/>
                  <a:gd name="connsiteY120" fmla="*/ 582867 h 843058"/>
                  <a:gd name="connsiteX121" fmla="*/ 35018 w 843060"/>
                  <a:gd name="connsiteY121" fmla="*/ 589785 h 843058"/>
                  <a:gd name="connsiteX122" fmla="*/ 38117 w 843060"/>
                  <a:gd name="connsiteY122" fmla="*/ 596652 h 843058"/>
                  <a:gd name="connsiteX123" fmla="*/ 41233 w 843060"/>
                  <a:gd name="connsiteY123" fmla="*/ 603501 h 843058"/>
                  <a:gd name="connsiteX124" fmla="*/ 44624 w 843060"/>
                  <a:gd name="connsiteY124" fmla="*/ 610231 h 843058"/>
                  <a:gd name="connsiteX125" fmla="*/ 51542 w 843060"/>
                  <a:gd name="connsiteY125" fmla="*/ 623587 h 843058"/>
                  <a:gd name="connsiteX126" fmla="*/ 59042 w 843060"/>
                  <a:gd name="connsiteY126" fmla="*/ 636635 h 843058"/>
                  <a:gd name="connsiteX127" fmla="*/ 60926 w 843060"/>
                  <a:gd name="connsiteY127" fmla="*/ 639888 h 843058"/>
                  <a:gd name="connsiteX128" fmla="*/ 62946 w 843060"/>
                  <a:gd name="connsiteY128" fmla="*/ 643073 h 843058"/>
                  <a:gd name="connsiteX129" fmla="*/ 67004 w 843060"/>
                  <a:gd name="connsiteY129" fmla="*/ 649409 h 843058"/>
                  <a:gd name="connsiteX130" fmla="*/ 75361 w 843060"/>
                  <a:gd name="connsiteY130" fmla="*/ 661926 h 843058"/>
                  <a:gd name="connsiteX131" fmla="*/ 84111 w 843060"/>
                  <a:gd name="connsiteY131" fmla="*/ 674170 h 843058"/>
                  <a:gd name="connsiteX132" fmla="*/ 103067 w 843060"/>
                  <a:gd name="connsiteY132" fmla="*/ 697509 h 843058"/>
                  <a:gd name="connsiteX133" fmla="*/ 123478 w 843060"/>
                  <a:gd name="connsiteY133" fmla="*/ 719581 h 843058"/>
                  <a:gd name="connsiteX134" fmla="*/ 145550 w 843060"/>
                  <a:gd name="connsiteY134" fmla="*/ 739992 h 843058"/>
                  <a:gd name="connsiteX135" fmla="*/ 168889 w 843060"/>
                  <a:gd name="connsiteY135" fmla="*/ 758948 h 843058"/>
                  <a:gd name="connsiteX136" fmla="*/ 181133 w 843060"/>
                  <a:gd name="connsiteY136" fmla="*/ 767698 h 843058"/>
                  <a:gd name="connsiteX137" fmla="*/ 193650 w 843060"/>
                  <a:gd name="connsiteY137" fmla="*/ 776055 h 843058"/>
                  <a:gd name="connsiteX138" fmla="*/ 199986 w 843060"/>
                  <a:gd name="connsiteY138" fmla="*/ 780113 h 843058"/>
                  <a:gd name="connsiteX139" fmla="*/ 203171 w 843060"/>
                  <a:gd name="connsiteY139" fmla="*/ 782133 h 843058"/>
                  <a:gd name="connsiteX140" fmla="*/ 206424 w 843060"/>
                  <a:gd name="connsiteY140" fmla="*/ 784017 h 843058"/>
                  <a:gd name="connsiteX141" fmla="*/ 219472 w 843060"/>
                  <a:gd name="connsiteY141" fmla="*/ 791517 h 843058"/>
                  <a:gd name="connsiteX142" fmla="*/ 232829 w 843060"/>
                  <a:gd name="connsiteY142" fmla="*/ 798435 h 843058"/>
                  <a:gd name="connsiteX143" fmla="*/ 239558 w 843060"/>
                  <a:gd name="connsiteY143" fmla="*/ 801825 h 843058"/>
                  <a:gd name="connsiteX144" fmla="*/ 246408 w 843060"/>
                  <a:gd name="connsiteY144" fmla="*/ 804942 h 843058"/>
                  <a:gd name="connsiteX145" fmla="*/ 253274 w 843060"/>
                  <a:gd name="connsiteY145" fmla="*/ 808041 h 843058"/>
                  <a:gd name="connsiteX146" fmla="*/ 260192 w 843060"/>
                  <a:gd name="connsiteY146" fmla="*/ 811004 h 843058"/>
                  <a:gd name="connsiteX147" fmla="*/ 274199 w 843060"/>
                  <a:gd name="connsiteY147" fmla="*/ 816535 h 843058"/>
                  <a:gd name="connsiteX148" fmla="*/ 281288 w 843060"/>
                  <a:gd name="connsiteY148" fmla="*/ 819069 h 843058"/>
                  <a:gd name="connsiteX149" fmla="*/ 288429 w 843060"/>
                  <a:gd name="connsiteY149" fmla="*/ 821483 h 843058"/>
                  <a:gd name="connsiteX150" fmla="*/ 295569 w 843060"/>
                  <a:gd name="connsiteY150" fmla="*/ 823880 h 843058"/>
                  <a:gd name="connsiteX151" fmla="*/ 302796 w 843060"/>
                  <a:gd name="connsiteY151" fmla="*/ 825987 h 843058"/>
                  <a:gd name="connsiteX152" fmla="*/ 317299 w 843060"/>
                  <a:gd name="connsiteY152" fmla="*/ 830045 h 843058"/>
                  <a:gd name="connsiteX153" fmla="*/ 331974 w 843060"/>
                  <a:gd name="connsiteY153" fmla="*/ 833435 h 843058"/>
                  <a:gd name="connsiteX154" fmla="*/ 346752 w 843060"/>
                  <a:gd name="connsiteY154" fmla="*/ 836329 h 843058"/>
                  <a:gd name="connsiteX155" fmla="*/ 361598 w 843060"/>
                  <a:gd name="connsiteY155" fmla="*/ 838761 h 843058"/>
                  <a:gd name="connsiteX156" fmla="*/ 376530 w 843060"/>
                  <a:gd name="connsiteY156" fmla="*/ 840644 h 843058"/>
                  <a:gd name="connsiteX157" fmla="*/ 391513 w 843060"/>
                  <a:gd name="connsiteY157" fmla="*/ 841894 h 843058"/>
                  <a:gd name="connsiteX158" fmla="*/ 399013 w 843060"/>
                  <a:gd name="connsiteY158" fmla="*/ 842459 h 843058"/>
                  <a:gd name="connsiteX159" fmla="*/ 406513 w 843060"/>
                  <a:gd name="connsiteY159" fmla="*/ 842699 h 843058"/>
                  <a:gd name="connsiteX160" fmla="*/ 421530 w 843060"/>
                  <a:gd name="connsiteY160" fmla="*/ 843059 h 843058"/>
                  <a:gd name="connsiteX161" fmla="*/ 436547 w 843060"/>
                  <a:gd name="connsiteY161" fmla="*/ 842699 h 843058"/>
                  <a:gd name="connsiteX162" fmla="*/ 444048 w 843060"/>
                  <a:gd name="connsiteY162" fmla="*/ 842459 h 843058"/>
                  <a:gd name="connsiteX163" fmla="*/ 451548 w 843060"/>
                  <a:gd name="connsiteY163" fmla="*/ 841894 h 843058"/>
                  <a:gd name="connsiteX164" fmla="*/ 466531 w 843060"/>
                  <a:gd name="connsiteY164" fmla="*/ 840644 h 843058"/>
                  <a:gd name="connsiteX165" fmla="*/ 481463 w 843060"/>
                  <a:gd name="connsiteY165" fmla="*/ 838761 h 843058"/>
                  <a:gd name="connsiteX166" fmla="*/ 496309 w 843060"/>
                  <a:gd name="connsiteY166" fmla="*/ 836329 h 843058"/>
                  <a:gd name="connsiteX167" fmla="*/ 511086 w 843060"/>
                  <a:gd name="connsiteY167" fmla="*/ 833435 h 843058"/>
                  <a:gd name="connsiteX168" fmla="*/ 525761 w 843060"/>
                  <a:gd name="connsiteY168" fmla="*/ 830045 h 843058"/>
                  <a:gd name="connsiteX169" fmla="*/ 540265 w 843060"/>
                  <a:gd name="connsiteY169" fmla="*/ 825987 h 843058"/>
                  <a:gd name="connsiteX170" fmla="*/ 547491 w 843060"/>
                  <a:gd name="connsiteY170" fmla="*/ 823880 h 843058"/>
                  <a:gd name="connsiteX171" fmla="*/ 554631 w 843060"/>
                  <a:gd name="connsiteY171" fmla="*/ 821483 h 843058"/>
                  <a:gd name="connsiteX172" fmla="*/ 561772 w 843060"/>
                  <a:gd name="connsiteY172" fmla="*/ 819069 h 843058"/>
                  <a:gd name="connsiteX173" fmla="*/ 568861 w 843060"/>
                  <a:gd name="connsiteY173" fmla="*/ 816535 h 843058"/>
                  <a:gd name="connsiteX174" fmla="*/ 582868 w 843060"/>
                  <a:gd name="connsiteY174" fmla="*/ 811004 h 843058"/>
                  <a:gd name="connsiteX175" fmla="*/ 589786 w 843060"/>
                  <a:gd name="connsiteY175" fmla="*/ 808041 h 843058"/>
                  <a:gd name="connsiteX176" fmla="*/ 596653 w 843060"/>
                  <a:gd name="connsiteY176" fmla="*/ 804942 h 843058"/>
                  <a:gd name="connsiteX177" fmla="*/ 603502 w 843060"/>
                  <a:gd name="connsiteY177" fmla="*/ 801825 h 843058"/>
                  <a:gd name="connsiteX178" fmla="*/ 610232 w 843060"/>
                  <a:gd name="connsiteY178" fmla="*/ 798435 h 843058"/>
                  <a:gd name="connsiteX179" fmla="*/ 623588 w 843060"/>
                  <a:gd name="connsiteY179" fmla="*/ 791517 h 843058"/>
                  <a:gd name="connsiteX180" fmla="*/ 636636 w 843060"/>
                  <a:gd name="connsiteY180" fmla="*/ 784017 h 843058"/>
                  <a:gd name="connsiteX181" fmla="*/ 639890 w 843060"/>
                  <a:gd name="connsiteY181" fmla="*/ 782133 h 843058"/>
                  <a:gd name="connsiteX182" fmla="*/ 643075 w 843060"/>
                  <a:gd name="connsiteY182" fmla="*/ 780113 h 843058"/>
                  <a:gd name="connsiteX183" fmla="*/ 649410 w 843060"/>
                  <a:gd name="connsiteY183" fmla="*/ 776055 h 843058"/>
                  <a:gd name="connsiteX184" fmla="*/ 661927 w 843060"/>
                  <a:gd name="connsiteY184" fmla="*/ 767698 h 843058"/>
                  <a:gd name="connsiteX185" fmla="*/ 674171 w 843060"/>
                  <a:gd name="connsiteY185" fmla="*/ 758948 h 843058"/>
                  <a:gd name="connsiteX186" fmla="*/ 697510 w 843060"/>
                  <a:gd name="connsiteY186" fmla="*/ 739992 h 843058"/>
                  <a:gd name="connsiteX187" fmla="*/ 719582 w 843060"/>
                  <a:gd name="connsiteY187" fmla="*/ 719581 h 843058"/>
                  <a:gd name="connsiteX188" fmla="*/ 739994 w 843060"/>
                  <a:gd name="connsiteY188" fmla="*/ 697509 h 843058"/>
                  <a:gd name="connsiteX189" fmla="*/ 758949 w 843060"/>
                  <a:gd name="connsiteY189" fmla="*/ 674170 h 843058"/>
                  <a:gd name="connsiteX190" fmla="*/ 767700 w 843060"/>
                  <a:gd name="connsiteY190" fmla="*/ 661926 h 843058"/>
                  <a:gd name="connsiteX191" fmla="*/ 776056 w 843060"/>
                  <a:gd name="connsiteY191" fmla="*/ 649409 h 843058"/>
                  <a:gd name="connsiteX192" fmla="*/ 780114 w 843060"/>
                  <a:gd name="connsiteY192" fmla="*/ 643073 h 843058"/>
                  <a:gd name="connsiteX193" fmla="*/ 782135 w 843060"/>
                  <a:gd name="connsiteY193" fmla="*/ 639888 h 843058"/>
                  <a:gd name="connsiteX194" fmla="*/ 784018 w 843060"/>
                  <a:gd name="connsiteY194" fmla="*/ 636635 h 843058"/>
                  <a:gd name="connsiteX195" fmla="*/ 791518 w 843060"/>
                  <a:gd name="connsiteY195" fmla="*/ 623587 h 843058"/>
                  <a:gd name="connsiteX196" fmla="*/ 798436 w 843060"/>
                  <a:gd name="connsiteY196" fmla="*/ 610231 h 843058"/>
                  <a:gd name="connsiteX197" fmla="*/ 801827 w 843060"/>
                  <a:gd name="connsiteY197" fmla="*/ 603501 h 843058"/>
                  <a:gd name="connsiteX198" fmla="*/ 804943 w 843060"/>
                  <a:gd name="connsiteY198" fmla="*/ 596652 h 843058"/>
                  <a:gd name="connsiteX199" fmla="*/ 808043 w 843060"/>
                  <a:gd name="connsiteY199" fmla="*/ 589785 h 843058"/>
                  <a:gd name="connsiteX200" fmla="*/ 811005 w 843060"/>
                  <a:gd name="connsiteY200" fmla="*/ 582867 h 843058"/>
                  <a:gd name="connsiteX201" fmla="*/ 816536 w 843060"/>
                  <a:gd name="connsiteY201" fmla="*/ 568860 h 843058"/>
                  <a:gd name="connsiteX202" fmla="*/ 819070 w 843060"/>
                  <a:gd name="connsiteY202" fmla="*/ 561771 h 843058"/>
                  <a:gd name="connsiteX203" fmla="*/ 821485 w 843060"/>
                  <a:gd name="connsiteY203" fmla="*/ 554630 h 843058"/>
                  <a:gd name="connsiteX204" fmla="*/ 823882 w 843060"/>
                  <a:gd name="connsiteY204" fmla="*/ 547490 h 843058"/>
                  <a:gd name="connsiteX205" fmla="*/ 825988 w 843060"/>
                  <a:gd name="connsiteY205" fmla="*/ 540264 h 843058"/>
                  <a:gd name="connsiteX206" fmla="*/ 830046 w 843060"/>
                  <a:gd name="connsiteY206" fmla="*/ 525760 h 843058"/>
                  <a:gd name="connsiteX207" fmla="*/ 833437 w 843060"/>
                  <a:gd name="connsiteY207" fmla="*/ 511085 h 843058"/>
                  <a:gd name="connsiteX208" fmla="*/ 836331 w 843060"/>
                  <a:gd name="connsiteY208" fmla="*/ 496308 h 843058"/>
                  <a:gd name="connsiteX209" fmla="*/ 838762 w 843060"/>
                  <a:gd name="connsiteY209" fmla="*/ 481462 h 843058"/>
                  <a:gd name="connsiteX210" fmla="*/ 840646 w 843060"/>
                  <a:gd name="connsiteY210" fmla="*/ 466530 h 843058"/>
                  <a:gd name="connsiteX211" fmla="*/ 841896 w 843060"/>
                  <a:gd name="connsiteY211" fmla="*/ 451547 h 843058"/>
                  <a:gd name="connsiteX212" fmla="*/ 842461 w 843060"/>
                  <a:gd name="connsiteY212" fmla="*/ 444047 h 843058"/>
                  <a:gd name="connsiteX213" fmla="*/ 842701 w 843060"/>
                  <a:gd name="connsiteY213" fmla="*/ 436547 h 843058"/>
                  <a:gd name="connsiteX214" fmla="*/ 843060 w 843060"/>
                  <a:gd name="connsiteY214" fmla="*/ 421529 h 843058"/>
                  <a:gd name="connsiteX215" fmla="*/ 842701 w 843060"/>
                  <a:gd name="connsiteY215" fmla="*/ 406512 h 843058"/>
                  <a:gd name="connsiteX216" fmla="*/ 842461 w 843060"/>
                  <a:gd name="connsiteY216" fmla="*/ 399012 h 843058"/>
                  <a:gd name="connsiteX217" fmla="*/ 807906 w 843060"/>
                  <a:gd name="connsiteY217" fmla="*/ 435314 h 843058"/>
                  <a:gd name="connsiteX218" fmla="*/ 807683 w 843060"/>
                  <a:gd name="connsiteY218" fmla="*/ 442215 h 843058"/>
                  <a:gd name="connsiteX219" fmla="*/ 807169 w 843060"/>
                  <a:gd name="connsiteY219" fmla="*/ 449098 h 843058"/>
                  <a:gd name="connsiteX220" fmla="*/ 806022 w 843060"/>
                  <a:gd name="connsiteY220" fmla="*/ 462849 h 843058"/>
                  <a:gd name="connsiteX221" fmla="*/ 804275 w 843060"/>
                  <a:gd name="connsiteY221" fmla="*/ 476547 h 843058"/>
                  <a:gd name="connsiteX222" fmla="*/ 802049 w 843060"/>
                  <a:gd name="connsiteY222" fmla="*/ 490160 h 843058"/>
                  <a:gd name="connsiteX223" fmla="*/ 799412 w 843060"/>
                  <a:gd name="connsiteY223" fmla="*/ 503705 h 843058"/>
                  <a:gd name="connsiteX224" fmla="*/ 796296 w 843060"/>
                  <a:gd name="connsiteY224" fmla="*/ 517164 h 843058"/>
                  <a:gd name="connsiteX225" fmla="*/ 792580 w 843060"/>
                  <a:gd name="connsiteY225" fmla="*/ 530469 h 843058"/>
                  <a:gd name="connsiteX226" fmla="*/ 790662 w 843060"/>
                  <a:gd name="connsiteY226" fmla="*/ 537096 h 843058"/>
                  <a:gd name="connsiteX227" fmla="*/ 788453 w 843060"/>
                  <a:gd name="connsiteY227" fmla="*/ 543637 h 843058"/>
                  <a:gd name="connsiteX228" fmla="*/ 786244 w 843060"/>
                  <a:gd name="connsiteY228" fmla="*/ 550178 h 843058"/>
                  <a:gd name="connsiteX229" fmla="*/ 783916 w 843060"/>
                  <a:gd name="connsiteY229" fmla="*/ 556685 h 843058"/>
                  <a:gd name="connsiteX230" fmla="*/ 778847 w 843060"/>
                  <a:gd name="connsiteY230" fmla="*/ 569528 h 843058"/>
                  <a:gd name="connsiteX231" fmla="*/ 776124 w 843060"/>
                  <a:gd name="connsiteY231" fmla="*/ 575864 h 843058"/>
                  <a:gd name="connsiteX232" fmla="*/ 773282 w 843060"/>
                  <a:gd name="connsiteY232" fmla="*/ 582148 h 843058"/>
                  <a:gd name="connsiteX233" fmla="*/ 770439 w 843060"/>
                  <a:gd name="connsiteY233" fmla="*/ 588432 h 843058"/>
                  <a:gd name="connsiteX234" fmla="*/ 767323 w 843060"/>
                  <a:gd name="connsiteY234" fmla="*/ 594597 h 843058"/>
                  <a:gd name="connsiteX235" fmla="*/ 760970 w 843060"/>
                  <a:gd name="connsiteY235" fmla="*/ 606857 h 843058"/>
                  <a:gd name="connsiteX236" fmla="*/ 754086 w 843060"/>
                  <a:gd name="connsiteY236" fmla="*/ 618826 h 843058"/>
                  <a:gd name="connsiteX237" fmla="*/ 752357 w 843060"/>
                  <a:gd name="connsiteY237" fmla="*/ 621823 h 843058"/>
                  <a:gd name="connsiteX238" fmla="*/ 750508 w 843060"/>
                  <a:gd name="connsiteY238" fmla="*/ 624734 h 843058"/>
                  <a:gd name="connsiteX239" fmla="*/ 746792 w 843060"/>
                  <a:gd name="connsiteY239" fmla="*/ 630539 h 843058"/>
                  <a:gd name="connsiteX240" fmla="*/ 739138 w 843060"/>
                  <a:gd name="connsiteY240" fmla="*/ 642012 h 843058"/>
                  <a:gd name="connsiteX241" fmla="*/ 731124 w 843060"/>
                  <a:gd name="connsiteY241" fmla="*/ 653245 h 843058"/>
                  <a:gd name="connsiteX242" fmla="*/ 713726 w 843060"/>
                  <a:gd name="connsiteY242" fmla="*/ 674666 h 843058"/>
                  <a:gd name="connsiteX243" fmla="*/ 694993 w 843060"/>
                  <a:gd name="connsiteY243" fmla="*/ 694923 h 843058"/>
                  <a:gd name="connsiteX244" fmla="*/ 674736 w 843060"/>
                  <a:gd name="connsiteY244" fmla="*/ 713656 h 843058"/>
                  <a:gd name="connsiteX245" fmla="*/ 653314 w 843060"/>
                  <a:gd name="connsiteY245" fmla="*/ 731054 h 843058"/>
                  <a:gd name="connsiteX246" fmla="*/ 642081 w 843060"/>
                  <a:gd name="connsiteY246" fmla="*/ 739068 h 843058"/>
                  <a:gd name="connsiteX247" fmla="*/ 630609 w 843060"/>
                  <a:gd name="connsiteY247" fmla="*/ 746722 h 843058"/>
                  <a:gd name="connsiteX248" fmla="*/ 624804 w 843060"/>
                  <a:gd name="connsiteY248" fmla="*/ 750438 h 843058"/>
                  <a:gd name="connsiteX249" fmla="*/ 621893 w 843060"/>
                  <a:gd name="connsiteY249" fmla="*/ 752287 h 843058"/>
                  <a:gd name="connsiteX250" fmla="*/ 618896 w 843060"/>
                  <a:gd name="connsiteY250" fmla="*/ 754017 h 843058"/>
                  <a:gd name="connsiteX251" fmla="*/ 606927 w 843060"/>
                  <a:gd name="connsiteY251" fmla="*/ 760900 h 843058"/>
                  <a:gd name="connsiteX252" fmla="*/ 594666 w 843060"/>
                  <a:gd name="connsiteY252" fmla="*/ 767253 h 843058"/>
                  <a:gd name="connsiteX253" fmla="*/ 588502 w 843060"/>
                  <a:gd name="connsiteY253" fmla="*/ 770370 h 843058"/>
                  <a:gd name="connsiteX254" fmla="*/ 582217 w 843060"/>
                  <a:gd name="connsiteY254" fmla="*/ 773212 h 843058"/>
                  <a:gd name="connsiteX255" fmla="*/ 366581 w 843060"/>
                  <a:gd name="connsiteY255" fmla="*/ 804206 h 843058"/>
                  <a:gd name="connsiteX256" fmla="*/ 352967 w 843060"/>
                  <a:gd name="connsiteY256" fmla="*/ 801980 h 843058"/>
                  <a:gd name="connsiteX257" fmla="*/ 339423 w 843060"/>
                  <a:gd name="connsiteY257" fmla="*/ 799343 h 843058"/>
                  <a:gd name="connsiteX258" fmla="*/ 325964 w 843060"/>
                  <a:gd name="connsiteY258" fmla="*/ 796226 h 843058"/>
                  <a:gd name="connsiteX259" fmla="*/ 312659 w 843060"/>
                  <a:gd name="connsiteY259" fmla="*/ 792510 h 843058"/>
                  <a:gd name="connsiteX260" fmla="*/ 306032 w 843060"/>
                  <a:gd name="connsiteY260" fmla="*/ 790592 h 843058"/>
                  <a:gd name="connsiteX261" fmla="*/ 299491 w 843060"/>
                  <a:gd name="connsiteY261" fmla="*/ 788383 h 843058"/>
                  <a:gd name="connsiteX262" fmla="*/ 292949 w 843060"/>
                  <a:gd name="connsiteY262" fmla="*/ 786175 h 843058"/>
                  <a:gd name="connsiteX263" fmla="*/ 286443 w 843060"/>
                  <a:gd name="connsiteY263" fmla="*/ 783846 h 843058"/>
                  <a:gd name="connsiteX264" fmla="*/ 273600 w 843060"/>
                  <a:gd name="connsiteY264" fmla="*/ 778777 h 843058"/>
                  <a:gd name="connsiteX265" fmla="*/ 267264 w 843060"/>
                  <a:gd name="connsiteY265" fmla="*/ 776055 h 843058"/>
                  <a:gd name="connsiteX266" fmla="*/ 260980 w 843060"/>
                  <a:gd name="connsiteY266" fmla="*/ 773212 h 843058"/>
                  <a:gd name="connsiteX267" fmla="*/ 254696 w 843060"/>
                  <a:gd name="connsiteY267" fmla="*/ 770370 h 843058"/>
                  <a:gd name="connsiteX268" fmla="*/ 248531 w 843060"/>
                  <a:gd name="connsiteY268" fmla="*/ 767253 h 843058"/>
                  <a:gd name="connsiteX269" fmla="*/ 236271 w 843060"/>
                  <a:gd name="connsiteY269" fmla="*/ 760900 h 843058"/>
                  <a:gd name="connsiteX270" fmla="*/ 224301 w 843060"/>
                  <a:gd name="connsiteY270" fmla="*/ 754017 h 843058"/>
                  <a:gd name="connsiteX271" fmla="*/ 221305 w 843060"/>
                  <a:gd name="connsiteY271" fmla="*/ 752287 h 843058"/>
                  <a:gd name="connsiteX272" fmla="*/ 218394 w 843060"/>
                  <a:gd name="connsiteY272" fmla="*/ 750438 h 843058"/>
                  <a:gd name="connsiteX273" fmla="*/ 212589 w 843060"/>
                  <a:gd name="connsiteY273" fmla="*/ 746722 h 843058"/>
                  <a:gd name="connsiteX274" fmla="*/ 201116 w 843060"/>
                  <a:gd name="connsiteY274" fmla="*/ 739068 h 843058"/>
                  <a:gd name="connsiteX275" fmla="*/ 189883 w 843060"/>
                  <a:gd name="connsiteY275" fmla="*/ 731054 h 843058"/>
                  <a:gd name="connsiteX276" fmla="*/ 168461 w 843060"/>
                  <a:gd name="connsiteY276" fmla="*/ 713656 h 843058"/>
                  <a:gd name="connsiteX277" fmla="*/ 148204 w 843060"/>
                  <a:gd name="connsiteY277" fmla="*/ 694923 h 843058"/>
                  <a:gd name="connsiteX278" fmla="*/ 129471 w 843060"/>
                  <a:gd name="connsiteY278" fmla="*/ 674666 h 843058"/>
                  <a:gd name="connsiteX279" fmla="*/ 112074 w 843060"/>
                  <a:gd name="connsiteY279" fmla="*/ 653245 h 843058"/>
                  <a:gd name="connsiteX280" fmla="*/ 104060 w 843060"/>
                  <a:gd name="connsiteY280" fmla="*/ 642012 h 843058"/>
                  <a:gd name="connsiteX281" fmla="*/ 96406 w 843060"/>
                  <a:gd name="connsiteY281" fmla="*/ 630539 h 843058"/>
                  <a:gd name="connsiteX282" fmla="*/ 92690 w 843060"/>
                  <a:gd name="connsiteY282" fmla="*/ 624734 h 843058"/>
                  <a:gd name="connsiteX283" fmla="*/ 90840 w 843060"/>
                  <a:gd name="connsiteY283" fmla="*/ 621823 h 843058"/>
                  <a:gd name="connsiteX284" fmla="*/ 89111 w 843060"/>
                  <a:gd name="connsiteY284" fmla="*/ 618826 h 843058"/>
                  <a:gd name="connsiteX285" fmla="*/ 82227 w 843060"/>
                  <a:gd name="connsiteY285" fmla="*/ 606857 h 843058"/>
                  <a:gd name="connsiteX286" fmla="*/ 75874 w 843060"/>
                  <a:gd name="connsiteY286" fmla="*/ 594597 h 843058"/>
                  <a:gd name="connsiteX287" fmla="*/ 72758 w 843060"/>
                  <a:gd name="connsiteY287" fmla="*/ 588432 h 843058"/>
                  <a:gd name="connsiteX288" fmla="*/ 69915 w 843060"/>
                  <a:gd name="connsiteY288" fmla="*/ 582148 h 843058"/>
                  <a:gd name="connsiteX289" fmla="*/ 67073 w 843060"/>
                  <a:gd name="connsiteY289" fmla="*/ 575864 h 843058"/>
                  <a:gd name="connsiteX290" fmla="*/ 64350 w 843060"/>
                  <a:gd name="connsiteY290" fmla="*/ 569528 h 843058"/>
                  <a:gd name="connsiteX291" fmla="*/ 59282 w 843060"/>
                  <a:gd name="connsiteY291" fmla="*/ 556685 h 843058"/>
                  <a:gd name="connsiteX292" fmla="*/ 56953 w 843060"/>
                  <a:gd name="connsiteY292" fmla="*/ 550178 h 843058"/>
                  <a:gd name="connsiteX293" fmla="*/ 54744 w 843060"/>
                  <a:gd name="connsiteY293" fmla="*/ 543637 h 843058"/>
                  <a:gd name="connsiteX294" fmla="*/ 52535 w 843060"/>
                  <a:gd name="connsiteY294" fmla="*/ 537096 h 843058"/>
                  <a:gd name="connsiteX295" fmla="*/ 50617 w 843060"/>
                  <a:gd name="connsiteY295" fmla="*/ 530469 h 843058"/>
                  <a:gd name="connsiteX296" fmla="*/ 46901 w 843060"/>
                  <a:gd name="connsiteY296" fmla="*/ 517164 h 843058"/>
                  <a:gd name="connsiteX297" fmla="*/ 43785 w 843060"/>
                  <a:gd name="connsiteY297" fmla="*/ 503705 h 843058"/>
                  <a:gd name="connsiteX298" fmla="*/ 41148 w 843060"/>
                  <a:gd name="connsiteY298" fmla="*/ 490160 h 843058"/>
                  <a:gd name="connsiteX299" fmla="*/ 38922 w 843060"/>
                  <a:gd name="connsiteY299" fmla="*/ 476547 h 843058"/>
                  <a:gd name="connsiteX300" fmla="*/ 37175 w 843060"/>
                  <a:gd name="connsiteY300" fmla="*/ 462849 h 843058"/>
                  <a:gd name="connsiteX301" fmla="*/ 36028 w 843060"/>
                  <a:gd name="connsiteY301" fmla="*/ 449098 h 843058"/>
                  <a:gd name="connsiteX302" fmla="*/ 35514 w 843060"/>
                  <a:gd name="connsiteY302" fmla="*/ 442215 h 843058"/>
                  <a:gd name="connsiteX303" fmla="*/ 35292 w 843060"/>
                  <a:gd name="connsiteY303" fmla="*/ 435314 h 843058"/>
                  <a:gd name="connsiteX304" fmla="*/ 34949 w 843060"/>
                  <a:gd name="connsiteY304" fmla="*/ 421529 h 843058"/>
                  <a:gd name="connsiteX305" fmla="*/ 35292 w 843060"/>
                  <a:gd name="connsiteY305" fmla="*/ 407745 h 843058"/>
                  <a:gd name="connsiteX306" fmla="*/ 35514 w 843060"/>
                  <a:gd name="connsiteY306" fmla="*/ 400844 h 843058"/>
                  <a:gd name="connsiteX307" fmla="*/ 36028 w 843060"/>
                  <a:gd name="connsiteY307" fmla="*/ 393961 h 843058"/>
                  <a:gd name="connsiteX308" fmla="*/ 37175 w 843060"/>
                  <a:gd name="connsiteY308" fmla="*/ 380210 h 843058"/>
                  <a:gd name="connsiteX309" fmla="*/ 38922 w 843060"/>
                  <a:gd name="connsiteY309" fmla="*/ 366512 h 843058"/>
                  <a:gd name="connsiteX310" fmla="*/ 41148 w 843060"/>
                  <a:gd name="connsiteY310" fmla="*/ 352898 h 843058"/>
                  <a:gd name="connsiteX311" fmla="*/ 43785 w 843060"/>
                  <a:gd name="connsiteY311" fmla="*/ 339354 h 843058"/>
                  <a:gd name="connsiteX312" fmla="*/ 46901 w 843060"/>
                  <a:gd name="connsiteY312" fmla="*/ 325895 h 843058"/>
                  <a:gd name="connsiteX313" fmla="*/ 50617 w 843060"/>
                  <a:gd name="connsiteY313" fmla="*/ 312590 h 843058"/>
                  <a:gd name="connsiteX314" fmla="*/ 52535 w 843060"/>
                  <a:gd name="connsiteY314" fmla="*/ 305963 h 843058"/>
                  <a:gd name="connsiteX315" fmla="*/ 54744 w 843060"/>
                  <a:gd name="connsiteY315" fmla="*/ 299422 h 843058"/>
                  <a:gd name="connsiteX316" fmla="*/ 56953 w 843060"/>
                  <a:gd name="connsiteY316" fmla="*/ 292881 h 843058"/>
                  <a:gd name="connsiteX317" fmla="*/ 59282 w 843060"/>
                  <a:gd name="connsiteY317" fmla="*/ 286374 h 843058"/>
                  <a:gd name="connsiteX318" fmla="*/ 64350 w 843060"/>
                  <a:gd name="connsiteY318" fmla="*/ 273531 h 843058"/>
                  <a:gd name="connsiteX319" fmla="*/ 67073 w 843060"/>
                  <a:gd name="connsiteY319" fmla="*/ 267195 h 843058"/>
                  <a:gd name="connsiteX320" fmla="*/ 69915 w 843060"/>
                  <a:gd name="connsiteY320" fmla="*/ 260911 h 843058"/>
                  <a:gd name="connsiteX321" fmla="*/ 72758 w 843060"/>
                  <a:gd name="connsiteY321" fmla="*/ 254627 h 843058"/>
                  <a:gd name="connsiteX322" fmla="*/ 75874 w 843060"/>
                  <a:gd name="connsiteY322" fmla="*/ 248462 h 843058"/>
                  <a:gd name="connsiteX323" fmla="*/ 82227 w 843060"/>
                  <a:gd name="connsiteY323" fmla="*/ 236202 h 843058"/>
                  <a:gd name="connsiteX324" fmla="*/ 89111 w 843060"/>
                  <a:gd name="connsiteY324" fmla="*/ 224232 h 843058"/>
                  <a:gd name="connsiteX325" fmla="*/ 90840 w 843060"/>
                  <a:gd name="connsiteY325" fmla="*/ 221236 h 843058"/>
                  <a:gd name="connsiteX326" fmla="*/ 92690 w 843060"/>
                  <a:gd name="connsiteY326" fmla="*/ 218325 h 843058"/>
                  <a:gd name="connsiteX327" fmla="*/ 96406 w 843060"/>
                  <a:gd name="connsiteY327" fmla="*/ 212520 h 843058"/>
                  <a:gd name="connsiteX328" fmla="*/ 104060 w 843060"/>
                  <a:gd name="connsiteY328" fmla="*/ 201047 h 843058"/>
                  <a:gd name="connsiteX329" fmla="*/ 112074 w 843060"/>
                  <a:gd name="connsiteY329" fmla="*/ 189814 h 843058"/>
                  <a:gd name="connsiteX330" fmla="*/ 129471 w 843060"/>
                  <a:gd name="connsiteY330" fmla="*/ 168393 h 843058"/>
                  <a:gd name="connsiteX331" fmla="*/ 148204 w 843060"/>
                  <a:gd name="connsiteY331" fmla="*/ 148135 h 843058"/>
                  <a:gd name="connsiteX332" fmla="*/ 168461 w 843060"/>
                  <a:gd name="connsiteY332" fmla="*/ 129402 h 843058"/>
                  <a:gd name="connsiteX333" fmla="*/ 189883 w 843060"/>
                  <a:gd name="connsiteY333" fmla="*/ 112005 h 843058"/>
                  <a:gd name="connsiteX334" fmla="*/ 201116 w 843060"/>
                  <a:gd name="connsiteY334" fmla="*/ 103991 h 843058"/>
                  <a:gd name="connsiteX335" fmla="*/ 212589 w 843060"/>
                  <a:gd name="connsiteY335" fmla="*/ 96337 h 843058"/>
                  <a:gd name="connsiteX336" fmla="*/ 218394 w 843060"/>
                  <a:gd name="connsiteY336" fmla="*/ 92621 h 843058"/>
                  <a:gd name="connsiteX337" fmla="*/ 221305 w 843060"/>
                  <a:gd name="connsiteY337" fmla="*/ 90772 h 843058"/>
                  <a:gd name="connsiteX338" fmla="*/ 224301 w 843060"/>
                  <a:gd name="connsiteY338" fmla="*/ 89042 h 843058"/>
                  <a:gd name="connsiteX339" fmla="*/ 236271 w 843060"/>
                  <a:gd name="connsiteY339" fmla="*/ 82159 h 843058"/>
                  <a:gd name="connsiteX340" fmla="*/ 248531 w 843060"/>
                  <a:gd name="connsiteY340" fmla="*/ 75806 h 843058"/>
                  <a:gd name="connsiteX341" fmla="*/ 254696 w 843060"/>
                  <a:gd name="connsiteY341" fmla="*/ 72689 h 843058"/>
                  <a:gd name="connsiteX342" fmla="*/ 260980 w 843060"/>
                  <a:gd name="connsiteY342" fmla="*/ 69847 h 843058"/>
                  <a:gd name="connsiteX343" fmla="*/ 267264 w 843060"/>
                  <a:gd name="connsiteY343" fmla="*/ 67004 h 843058"/>
                  <a:gd name="connsiteX344" fmla="*/ 273600 w 843060"/>
                  <a:gd name="connsiteY344" fmla="*/ 64282 h 843058"/>
                  <a:gd name="connsiteX345" fmla="*/ 286443 w 843060"/>
                  <a:gd name="connsiteY345" fmla="*/ 59213 h 843058"/>
                  <a:gd name="connsiteX346" fmla="*/ 292949 w 843060"/>
                  <a:gd name="connsiteY346" fmla="*/ 56884 h 843058"/>
                  <a:gd name="connsiteX347" fmla="*/ 299491 w 843060"/>
                  <a:gd name="connsiteY347" fmla="*/ 54675 h 843058"/>
                  <a:gd name="connsiteX348" fmla="*/ 306032 w 843060"/>
                  <a:gd name="connsiteY348" fmla="*/ 52466 h 843058"/>
                  <a:gd name="connsiteX349" fmla="*/ 312659 w 843060"/>
                  <a:gd name="connsiteY349" fmla="*/ 50549 h 843058"/>
                  <a:gd name="connsiteX350" fmla="*/ 325964 w 843060"/>
                  <a:gd name="connsiteY350" fmla="*/ 46833 h 843058"/>
                  <a:gd name="connsiteX351" fmla="*/ 339423 w 843060"/>
                  <a:gd name="connsiteY351" fmla="*/ 43716 h 843058"/>
                  <a:gd name="connsiteX352" fmla="*/ 352967 w 843060"/>
                  <a:gd name="connsiteY352" fmla="*/ 41079 h 843058"/>
                  <a:gd name="connsiteX353" fmla="*/ 366581 w 843060"/>
                  <a:gd name="connsiteY353" fmla="*/ 38853 h 843058"/>
                  <a:gd name="connsiteX354" fmla="*/ 582217 w 843060"/>
                  <a:gd name="connsiteY354" fmla="*/ 69847 h 843058"/>
                  <a:gd name="connsiteX355" fmla="*/ 588502 w 843060"/>
                  <a:gd name="connsiteY355" fmla="*/ 72689 h 843058"/>
                  <a:gd name="connsiteX356" fmla="*/ 594666 w 843060"/>
                  <a:gd name="connsiteY356" fmla="*/ 75806 h 843058"/>
                  <a:gd name="connsiteX357" fmla="*/ 606927 w 843060"/>
                  <a:gd name="connsiteY357" fmla="*/ 82159 h 843058"/>
                  <a:gd name="connsiteX358" fmla="*/ 618896 w 843060"/>
                  <a:gd name="connsiteY358" fmla="*/ 89042 h 843058"/>
                  <a:gd name="connsiteX359" fmla="*/ 621893 w 843060"/>
                  <a:gd name="connsiteY359" fmla="*/ 90772 h 843058"/>
                  <a:gd name="connsiteX360" fmla="*/ 624804 w 843060"/>
                  <a:gd name="connsiteY360" fmla="*/ 92621 h 843058"/>
                  <a:gd name="connsiteX361" fmla="*/ 630609 w 843060"/>
                  <a:gd name="connsiteY361" fmla="*/ 96337 h 843058"/>
                  <a:gd name="connsiteX362" fmla="*/ 642081 w 843060"/>
                  <a:gd name="connsiteY362" fmla="*/ 103991 h 843058"/>
                  <a:gd name="connsiteX363" fmla="*/ 653314 w 843060"/>
                  <a:gd name="connsiteY363" fmla="*/ 112005 h 843058"/>
                  <a:gd name="connsiteX364" fmla="*/ 674736 w 843060"/>
                  <a:gd name="connsiteY364" fmla="*/ 129402 h 843058"/>
                  <a:gd name="connsiteX365" fmla="*/ 694993 w 843060"/>
                  <a:gd name="connsiteY365" fmla="*/ 148135 h 843058"/>
                  <a:gd name="connsiteX366" fmla="*/ 713726 w 843060"/>
                  <a:gd name="connsiteY366" fmla="*/ 168393 h 843058"/>
                  <a:gd name="connsiteX367" fmla="*/ 731124 w 843060"/>
                  <a:gd name="connsiteY367" fmla="*/ 189814 h 843058"/>
                  <a:gd name="connsiteX368" fmla="*/ 739138 w 843060"/>
                  <a:gd name="connsiteY368" fmla="*/ 201047 h 843058"/>
                  <a:gd name="connsiteX369" fmla="*/ 746792 w 843060"/>
                  <a:gd name="connsiteY369" fmla="*/ 212520 h 843058"/>
                  <a:gd name="connsiteX370" fmla="*/ 750508 w 843060"/>
                  <a:gd name="connsiteY370" fmla="*/ 218325 h 843058"/>
                  <a:gd name="connsiteX371" fmla="*/ 752357 w 843060"/>
                  <a:gd name="connsiteY371" fmla="*/ 221236 h 843058"/>
                  <a:gd name="connsiteX372" fmla="*/ 754086 w 843060"/>
                  <a:gd name="connsiteY372" fmla="*/ 224232 h 843058"/>
                  <a:gd name="connsiteX373" fmla="*/ 760970 w 843060"/>
                  <a:gd name="connsiteY373" fmla="*/ 236202 h 843058"/>
                  <a:gd name="connsiteX374" fmla="*/ 767323 w 843060"/>
                  <a:gd name="connsiteY374" fmla="*/ 248462 h 843058"/>
                  <a:gd name="connsiteX375" fmla="*/ 770439 w 843060"/>
                  <a:gd name="connsiteY375" fmla="*/ 254627 h 843058"/>
                  <a:gd name="connsiteX376" fmla="*/ 773282 w 843060"/>
                  <a:gd name="connsiteY376" fmla="*/ 260911 h 843058"/>
                  <a:gd name="connsiteX377" fmla="*/ 776124 w 843060"/>
                  <a:gd name="connsiteY377" fmla="*/ 267195 h 843058"/>
                  <a:gd name="connsiteX378" fmla="*/ 778847 w 843060"/>
                  <a:gd name="connsiteY378" fmla="*/ 273531 h 843058"/>
                  <a:gd name="connsiteX379" fmla="*/ 783916 w 843060"/>
                  <a:gd name="connsiteY379" fmla="*/ 286374 h 843058"/>
                  <a:gd name="connsiteX380" fmla="*/ 786244 w 843060"/>
                  <a:gd name="connsiteY380" fmla="*/ 292881 h 843058"/>
                  <a:gd name="connsiteX381" fmla="*/ 788453 w 843060"/>
                  <a:gd name="connsiteY381" fmla="*/ 299422 h 843058"/>
                  <a:gd name="connsiteX382" fmla="*/ 790662 w 843060"/>
                  <a:gd name="connsiteY382" fmla="*/ 305963 h 843058"/>
                  <a:gd name="connsiteX383" fmla="*/ 792580 w 843060"/>
                  <a:gd name="connsiteY383" fmla="*/ 312590 h 843058"/>
                  <a:gd name="connsiteX384" fmla="*/ 796296 w 843060"/>
                  <a:gd name="connsiteY384" fmla="*/ 325895 h 843058"/>
                  <a:gd name="connsiteX385" fmla="*/ 799412 w 843060"/>
                  <a:gd name="connsiteY385" fmla="*/ 339354 h 843058"/>
                  <a:gd name="connsiteX386" fmla="*/ 802049 w 843060"/>
                  <a:gd name="connsiteY386" fmla="*/ 352898 h 843058"/>
                  <a:gd name="connsiteX387" fmla="*/ 804275 w 843060"/>
                  <a:gd name="connsiteY387" fmla="*/ 366512 h 843058"/>
                  <a:gd name="connsiteX388" fmla="*/ 806022 w 843060"/>
                  <a:gd name="connsiteY388" fmla="*/ 380210 h 843058"/>
                  <a:gd name="connsiteX389" fmla="*/ 807169 w 843060"/>
                  <a:gd name="connsiteY389" fmla="*/ 393961 h 843058"/>
                  <a:gd name="connsiteX390" fmla="*/ 807683 w 843060"/>
                  <a:gd name="connsiteY390" fmla="*/ 400844 h 843058"/>
                  <a:gd name="connsiteX391" fmla="*/ 807906 w 843060"/>
                  <a:gd name="connsiteY391" fmla="*/ 407745 h 843058"/>
                  <a:gd name="connsiteX392" fmla="*/ 808248 w 843060"/>
                  <a:gd name="connsiteY392" fmla="*/ 421529 h 843058"/>
                  <a:gd name="connsiteX393" fmla="*/ 807906 w 843060"/>
                  <a:gd name="connsiteY393" fmla="*/ 435314 h 843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</a:cxnLst>
                <a:rect l="l" t="t" r="r" b="b"/>
                <a:pathLst>
                  <a:path w="843060" h="843058">
                    <a:moveTo>
                      <a:pt x="842461" y="399012"/>
                    </a:moveTo>
                    <a:lnTo>
                      <a:pt x="841896" y="391512"/>
                    </a:lnTo>
                    <a:cubicBezTo>
                      <a:pt x="841485" y="386512"/>
                      <a:pt x="841211" y="381512"/>
                      <a:pt x="840646" y="376529"/>
                    </a:cubicBezTo>
                    <a:lnTo>
                      <a:pt x="838762" y="361597"/>
                    </a:lnTo>
                    <a:cubicBezTo>
                      <a:pt x="838231" y="356614"/>
                      <a:pt x="837153" y="351700"/>
                      <a:pt x="836331" y="346751"/>
                    </a:cubicBezTo>
                    <a:cubicBezTo>
                      <a:pt x="835423" y="341820"/>
                      <a:pt x="834670" y="336854"/>
                      <a:pt x="833437" y="331974"/>
                    </a:cubicBezTo>
                    <a:lnTo>
                      <a:pt x="830046" y="317299"/>
                    </a:lnTo>
                    <a:cubicBezTo>
                      <a:pt x="828779" y="312436"/>
                      <a:pt x="827358" y="307624"/>
                      <a:pt x="825988" y="302795"/>
                    </a:cubicBezTo>
                    <a:cubicBezTo>
                      <a:pt x="825286" y="300381"/>
                      <a:pt x="824635" y="297966"/>
                      <a:pt x="823882" y="295569"/>
                    </a:cubicBezTo>
                    <a:lnTo>
                      <a:pt x="821485" y="288428"/>
                    </a:lnTo>
                    <a:lnTo>
                      <a:pt x="819070" y="281288"/>
                    </a:lnTo>
                    <a:cubicBezTo>
                      <a:pt x="818248" y="278908"/>
                      <a:pt x="817495" y="276528"/>
                      <a:pt x="816536" y="274199"/>
                    </a:cubicBezTo>
                    <a:lnTo>
                      <a:pt x="811005" y="260192"/>
                    </a:lnTo>
                    <a:cubicBezTo>
                      <a:pt x="810115" y="257846"/>
                      <a:pt x="809070" y="255551"/>
                      <a:pt x="808043" y="253274"/>
                    </a:cubicBezTo>
                    <a:lnTo>
                      <a:pt x="804943" y="246407"/>
                    </a:lnTo>
                    <a:lnTo>
                      <a:pt x="801827" y="239558"/>
                    </a:lnTo>
                    <a:cubicBezTo>
                      <a:pt x="800765" y="237280"/>
                      <a:pt x="799566" y="235072"/>
                      <a:pt x="798436" y="232828"/>
                    </a:cubicBezTo>
                    <a:cubicBezTo>
                      <a:pt x="796125" y="228376"/>
                      <a:pt x="793916" y="223873"/>
                      <a:pt x="791518" y="219472"/>
                    </a:cubicBezTo>
                    <a:lnTo>
                      <a:pt x="784018" y="206424"/>
                    </a:lnTo>
                    <a:lnTo>
                      <a:pt x="782135" y="203170"/>
                    </a:lnTo>
                    <a:lnTo>
                      <a:pt x="780114" y="199986"/>
                    </a:lnTo>
                    <a:lnTo>
                      <a:pt x="776056" y="193650"/>
                    </a:lnTo>
                    <a:cubicBezTo>
                      <a:pt x="773350" y="189420"/>
                      <a:pt x="770679" y="185174"/>
                      <a:pt x="767700" y="181133"/>
                    </a:cubicBezTo>
                    <a:cubicBezTo>
                      <a:pt x="764789" y="177040"/>
                      <a:pt x="761912" y="172947"/>
                      <a:pt x="758949" y="168889"/>
                    </a:cubicBezTo>
                    <a:cubicBezTo>
                      <a:pt x="752751" y="161012"/>
                      <a:pt x="746706" y="152999"/>
                      <a:pt x="739994" y="145550"/>
                    </a:cubicBezTo>
                    <a:cubicBezTo>
                      <a:pt x="733572" y="137844"/>
                      <a:pt x="726483" y="130755"/>
                      <a:pt x="719582" y="123478"/>
                    </a:cubicBezTo>
                    <a:cubicBezTo>
                      <a:pt x="712305" y="116577"/>
                      <a:pt x="705216" y="109488"/>
                      <a:pt x="697510" y="103066"/>
                    </a:cubicBezTo>
                    <a:cubicBezTo>
                      <a:pt x="690044" y="96354"/>
                      <a:pt x="682048" y="90309"/>
                      <a:pt x="674171" y="84111"/>
                    </a:cubicBezTo>
                    <a:cubicBezTo>
                      <a:pt x="670113" y="81165"/>
                      <a:pt x="666020" y="78272"/>
                      <a:pt x="661927" y="75361"/>
                    </a:cubicBezTo>
                    <a:cubicBezTo>
                      <a:pt x="657886" y="72381"/>
                      <a:pt x="653640" y="69710"/>
                      <a:pt x="649410" y="67004"/>
                    </a:cubicBezTo>
                    <a:lnTo>
                      <a:pt x="643075" y="62946"/>
                    </a:lnTo>
                    <a:lnTo>
                      <a:pt x="639890" y="60925"/>
                    </a:lnTo>
                    <a:lnTo>
                      <a:pt x="636636" y="59042"/>
                    </a:lnTo>
                    <a:lnTo>
                      <a:pt x="623588" y="51542"/>
                    </a:lnTo>
                    <a:cubicBezTo>
                      <a:pt x="619187" y="49144"/>
                      <a:pt x="614684" y="46918"/>
                      <a:pt x="610232" y="44624"/>
                    </a:cubicBezTo>
                    <a:cubicBezTo>
                      <a:pt x="607988" y="43494"/>
                      <a:pt x="605779" y="42312"/>
                      <a:pt x="603502" y="41233"/>
                    </a:cubicBezTo>
                    <a:lnTo>
                      <a:pt x="596653" y="38117"/>
                    </a:lnTo>
                    <a:lnTo>
                      <a:pt x="589786" y="35018"/>
                    </a:lnTo>
                    <a:cubicBezTo>
                      <a:pt x="587491" y="33990"/>
                      <a:pt x="585214" y="32946"/>
                      <a:pt x="582868" y="32055"/>
                    </a:cubicBezTo>
                    <a:lnTo>
                      <a:pt x="568861" y="26524"/>
                    </a:lnTo>
                    <a:cubicBezTo>
                      <a:pt x="566532" y="25565"/>
                      <a:pt x="564152" y="24812"/>
                      <a:pt x="561772" y="23990"/>
                    </a:cubicBezTo>
                    <a:lnTo>
                      <a:pt x="554631" y="21576"/>
                    </a:lnTo>
                    <a:lnTo>
                      <a:pt x="547491" y="19178"/>
                    </a:lnTo>
                    <a:cubicBezTo>
                      <a:pt x="545094" y="18425"/>
                      <a:pt x="542662" y="17774"/>
                      <a:pt x="540265" y="17072"/>
                    </a:cubicBezTo>
                    <a:cubicBezTo>
                      <a:pt x="535436" y="15719"/>
                      <a:pt x="530624" y="14281"/>
                      <a:pt x="525761" y="13014"/>
                    </a:cubicBezTo>
                    <a:lnTo>
                      <a:pt x="511086" y="9624"/>
                    </a:lnTo>
                    <a:cubicBezTo>
                      <a:pt x="506206" y="8408"/>
                      <a:pt x="501240" y="7654"/>
                      <a:pt x="496309" y="6730"/>
                    </a:cubicBezTo>
                    <a:cubicBezTo>
                      <a:pt x="491360" y="5908"/>
                      <a:pt x="486445" y="4829"/>
                      <a:pt x="481463" y="4298"/>
                    </a:cubicBezTo>
                    <a:lnTo>
                      <a:pt x="466531" y="2414"/>
                    </a:lnTo>
                    <a:cubicBezTo>
                      <a:pt x="461548" y="1849"/>
                      <a:pt x="456548" y="1575"/>
                      <a:pt x="451548" y="1164"/>
                    </a:cubicBezTo>
                    <a:lnTo>
                      <a:pt x="444048" y="599"/>
                    </a:lnTo>
                    <a:cubicBezTo>
                      <a:pt x="441548" y="445"/>
                      <a:pt x="439048" y="445"/>
                      <a:pt x="436547" y="360"/>
                    </a:cubicBezTo>
                    <a:lnTo>
                      <a:pt x="421530" y="0"/>
                    </a:lnTo>
                    <a:lnTo>
                      <a:pt x="406513" y="360"/>
                    </a:lnTo>
                    <a:cubicBezTo>
                      <a:pt x="404013" y="445"/>
                      <a:pt x="401513" y="462"/>
                      <a:pt x="399013" y="599"/>
                    </a:cubicBezTo>
                    <a:lnTo>
                      <a:pt x="391513" y="1164"/>
                    </a:lnTo>
                    <a:cubicBezTo>
                      <a:pt x="386512" y="1575"/>
                      <a:pt x="381512" y="1849"/>
                      <a:pt x="376530" y="2414"/>
                    </a:cubicBezTo>
                    <a:lnTo>
                      <a:pt x="361598" y="4298"/>
                    </a:lnTo>
                    <a:cubicBezTo>
                      <a:pt x="356615" y="4829"/>
                      <a:pt x="351700" y="5908"/>
                      <a:pt x="346752" y="6730"/>
                    </a:cubicBezTo>
                    <a:cubicBezTo>
                      <a:pt x="341820" y="7637"/>
                      <a:pt x="336854" y="8391"/>
                      <a:pt x="331974" y="9624"/>
                    </a:cubicBezTo>
                    <a:lnTo>
                      <a:pt x="317299" y="13014"/>
                    </a:lnTo>
                    <a:cubicBezTo>
                      <a:pt x="312436" y="14281"/>
                      <a:pt x="307624" y="15702"/>
                      <a:pt x="302796" y="17072"/>
                    </a:cubicBezTo>
                    <a:cubicBezTo>
                      <a:pt x="300381" y="17774"/>
                      <a:pt x="297967" y="18425"/>
                      <a:pt x="295569" y="19178"/>
                    </a:cubicBezTo>
                    <a:lnTo>
                      <a:pt x="288429" y="21576"/>
                    </a:lnTo>
                    <a:lnTo>
                      <a:pt x="281288" y="23990"/>
                    </a:lnTo>
                    <a:cubicBezTo>
                      <a:pt x="278908" y="24812"/>
                      <a:pt x="276528" y="25565"/>
                      <a:pt x="274199" y="26524"/>
                    </a:cubicBezTo>
                    <a:lnTo>
                      <a:pt x="260192" y="32055"/>
                    </a:lnTo>
                    <a:cubicBezTo>
                      <a:pt x="257846" y="32946"/>
                      <a:pt x="255552" y="33990"/>
                      <a:pt x="253274" y="35018"/>
                    </a:cubicBezTo>
                    <a:lnTo>
                      <a:pt x="246408" y="38117"/>
                    </a:lnTo>
                    <a:lnTo>
                      <a:pt x="239558" y="41233"/>
                    </a:lnTo>
                    <a:cubicBezTo>
                      <a:pt x="237281" y="42295"/>
                      <a:pt x="235072" y="43494"/>
                      <a:pt x="232829" y="44624"/>
                    </a:cubicBezTo>
                    <a:cubicBezTo>
                      <a:pt x="228377" y="46936"/>
                      <a:pt x="223873" y="49144"/>
                      <a:pt x="219472" y="51542"/>
                    </a:cubicBezTo>
                    <a:lnTo>
                      <a:pt x="206424" y="59042"/>
                    </a:lnTo>
                    <a:lnTo>
                      <a:pt x="203171" y="60925"/>
                    </a:lnTo>
                    <a:lnTo>
                      <a:pt x="199986" y="62946"/>
                    </a:lnTo>
                    <a:lnTo>
                      <a:pt x="193650" y="67004"/>
                    </a:lnTo>
                    <a:cubicBezTo>
                      <a:pt x="189421" y="69710"/>
                      <a:pt x="185174" y="72381"/>
                      <a:pt x="181133" y="75361"/>
                    </a:cubicBezTo>
                    <a:cubicBezTo>
                      <a:pt x="177040" y="78272"/>
                      <a:pt x="172948" y="81148"/>
                      <a:pt x="168889" y="84111"/>
                    </a:cubicBezTo>
                    <a:cubicBezTo>
                      <a:pt x="161013" y="90309"/>
                      <a:pt x="152999" y="96354"/>
                      <a:pt x="145550" y="103066"/>
                    </a:cubicBezTo>
                    <a:cubicBezTo>
                      <a:pt x="137844" y="109488"/>
                      <a:pt x="130755" y="116577"/>
                      <a:pt x="123478" y="123478"/>
                    </a:cubicBezTo>
                    <a:cubicBezTo>
                      <a:pt x="116577" y="130755"/>
                      <a:pt x="109488" y="137844"/>
                      <a:pt x="103067" y="145550"/>
                    </a:cubicBezTo>
                    <a:cubicBezTo>
                      <a:pt x="96354" y="153016"/>
                      <a:pt x="90310" y="161012"/>
                      <a:pt x="84111" y="168889"/>
                    </a:cubicBezTo>
                    <a:cubicBezTo>
                      <a:pt x="81166" y="172947"/>
                      <a:pt x="78272" y="177040"/>
                      <a:pt x="75361" y="181133"/>
                    </a:cubicBezTo>
                    <a:cubicBezTo>
                      <a:pt x="72381" y="185174"/>
                      <a:pt x="69710" y="189420"/>
                      <a:pt x="67004" y="193650"/>
                    </a:cubicBezTo>
                    <a:lnTo>
                      <a:pt x="62946" y="199986"/>
                    </a:lnTo>
                    <a:lnTo>
                      <a:pt x="60926" y="203170"/>
                    </a:lnTo>
                    <a:lnTo>
                      <a:pt x="59042" y="206424"/>
                    </a:lnTo>
                    <a:lnTo>
                      <a:pt x="51542" y="219472"/>
                    </a:lnTo>
                    <a:cubicBezTo>
                      <a:pt x="49145" y="223873"/>
                      <a:pt x="46918" y="228376"/>
                      <a:pt x="44624" y="232828"/>
                    </a:cubicBezTo>
                    <a:cubicBezTo>
                      <a:pt x="43494" y="235072"/>
                      <a:pt x="42312" y="237280"/>
                      <a:pt x="41233" y="239558"/>
                    </a:cubicBezTo>
                    <a:lnTo>
                      <a:pt x="38117" y="246407"/>
                    </a:lnTo>
                    <a:lnTo>
                      <a:pt x="35018" y="253274"/>
                    </a:lnTo>
                    <a:cubicBezTo>
                      <a:pt x="33990" y="255568"/>
                      <a:pt x="32946" y="257846"/>
                      <a:pt x="32055" y="260192"/>
                    </a:cubicBezTo>
                    <a:lnTo>
                      <a:pt x="26524" y="274199"/>
                    </a:lnTo>
                    <a:cubicBezTo>
                      <a:pt x="25565" y="276528"/>
                      <a:pt x="24812" y="278908"/>
                      <a:pt x="23990" y="281288"/>
                    </a:cubicBezTo>
                    <a:lnTo>
                      <a:pt x="21576" y="288428"/>
                    </a:lnTo>
                    <a:lnTo>
                      <a:pt x="19178" y="295569"/>
                    </a:lnTo>
                    <a:cubicBezTo>
                      <a:pt x="18425" y="297966"/>
                      <a:pt x="17774" y="300398"/>
                      <a:pt x="17072" y="302795"/>
                    </a:cubicBezTo>
                    <a:cubicBezTo>
                      <a:pt x="15719" y="307624"/>
                      <a:pt x="14281" y="312436"/>
                      <a:pt x="13014" y="317299"/>
                    </a:cubicBezTo>
                    <a:lnTo>
                      <a:pt x="9623" y="331974"/>
                    </a:lnTo>
                    <a:cubicBezTo>
                      <a:pt x="8408" y="336854"/>
                      <a:pt x="7654" y="341820"/>
                      <a:pt x="6730" y="346751"/>
                    </a:cubicBezTo>
                    <a:cubicBezTo>
                      <a:pt x="5908" y="351700"/>
                      <a:pt x="4829" y="356614"/>
                      <a:pt x="4298" y="361597"/>
                    </a:cubicBezTo>
                    <a:lnTo>
                      <a:pt x="2414" y="376529"/>
                    </a:lnTo>
                    <a:cubicBezTo>
                      <a:pt x="1849" y="381512"/>
                      <a:pt x="1575" y="386512"/>
                      <a:pt x="1164" y="391512"/>
                    </a:cubicBezTo>
                    <a:lnTo>
                      <a:pt x="599" y="399012"/>
                    </a:lnTo>
                    <a:cubicBezTo>
                      <a:pt x="445" y="401512"/>
                      <a:pt x="445" y="404012"/>
                      <a:pt x="360" y="406512"/>
                    </a:cubicBezTo>
                    <a:lnTo>
                      <a:pt x="0" y="421529"/>
                    </a:lnTo>
                    <a:lnTo>
                      <a:pt x="360" y="436547"/>
                    </a:lnTo>
                    <a:cubicBezTo>
                      <a:pt x="445" y="439047"/>
                      <a:pt x="462" y="441547"/>
                      <a:pt x="599" y="444047"/>
                    </a:cubicBezTo>
                    <a:lnTo>
                      <a:pt x="1164" y="451547"/>
                    </a:lnTo>
                    <a:cubicBezTo>
                      <a:pt x="1575" y="456547"/>
                      <a:pt x="1849" y="461547"/>
                      <a:pt x="2414" y="466530"/>
                    </a:cubicBezTo>
                    <a:lnTo>
                      <a:pt x="4298" y="481462"/>
                    </a:lnTo>
                    <a:cubicBezTo>
                      <a:pt x="4829" y="486445"/>
                      <a:pt x="5908" y="491359"/>
                      <a:pt x="6730" y="496308"/>
                    </a:cubicBezTo>
                    <a:cubicBezTo>
                      <a:pt x="7637" y="501239"/>
                      <a:pt x="8391" y="506205"/>
                      <a:pt x="9623" y="511085"/>
                    </a:cubicBezTo>
                    <a:lnTo>
                      <a:pt x="13014" y="525760"/>
                    </a:lnTo>
                    <a:cubicBezTo>
                      <a:pt x="14281" y="530623"/>
                      <a:pt x="15702" y="535435"/>
                      <a:pt x="17072" y="540264"/>
                    </a:cubicBezTo>
                    <a:cubicBezTo>
                      <a:pt x="17774" y="542678"/>
                      <a:pt x="18425" y="545093"/>
                      <a:pt x="19178" y="547490"/>
                    </a:cubicBezTo>
                    <a:lnTo>
                      <a:pt x="21576" y="554630"/>
                    </a:lnTo>
                    <a:lnTo>
                      <a:pt x="23990" y="561771"/>
                    </a:lnTo>
                    <a:cubicBezTo>
                      <a:pt x="24812" y="564151"/>
                      <a:pt x="25565" y="566531"/>
                      <a:pt x="26524" y="568860"/>
                    </a:cubicBezTo>
                    <a:lnTo>
                      <a:pt x="32055" y="582867"/>
                    </a:lnTo>
                    <a:cubicBezTo>
                      <a:pt x="32946" y="585213"/>
                      <a:pt x="33990" y="587508"/>
                      <a:pt x="35018" y="589785"/>
                    </a:cubicBezTo>
                    <a:lnTo>
                      <a:pt x="38117" y="596652"/>
                    </a:lnTo>
                    <a:lnTo>
                      <a:pt x="41233" y="603501"/>
                    </a:lnTo>
                    <a:cubicBezTo>
                      <a:pt x="42295" y="605778"/>
                      <a:pt x="43494" y="607987"/>
                      <a:pt x="44624" y="610231"/>
                    </a:cubicBezTo>
                    <a:cubicBezTo>
                      <a:pt x="46936" y="614683"/>
                      <a:pt x="49145" y="619186"/>
                      <a:pt x="51542" y="623587"/>
                    </a:cubicBezTo>
                    <a:lnTo>
                      <a:pt x="59042" y="636635"/>
                    </a:lnTo>
                    <a:lnTo>
                      <a:pt x="60926" y="639888"/>
                    </a:lnTo>
                    <a:lnTo>
                      <a:pt x="62946" y="643073"/>
                    </a:lnTo>
                    <a:lnTo>
                      <a:pt x="67004" y="649409"/>
                    </a:lnTo>
                    <a:cubicBezTo>
                      <a:pt x="69710" y="653639"/>
                      <a:pt x="72381" y="657885"/>
                      <a:pt x="75361" y="661926"/>
                    </a:cubicBezTo>
                    <a:cubicBezTo>
                      <a:pt x="78272" y="666019"/>
                      <a:pt x="81148" y="670111"/>
                      <a:pt x="84111" y="674170"/>
                    </a:cubicBezTo>
                    <a:cubicBezTo>
                      <a:pt x="90310" y="682047"/>
                      <a:pt x="96354" y="690060"/>
                      <a:pt x="103067" y="697509"/>
                    </a:cubicBezTo>
                    <a:cubicBezTo>
                      <a:pt x="109488" y="705215"/>
                      <a:pt x="116577" y="712304"/>
                      <a:pt x="123478" y="719581"/>
                    </a:cubicBezTo>
                    <a:cubicBezTo>
                      <a:pt x="130755" y="726482"/>
                      <a:pt x="137844" y="733571"/>
                      <a:pt x="145550" y="739992"/>
                    </a:cubicBezTo>
                    <a:cubicBezTo>
                      <a:pt x="153016" y="746705"/>
                      <a:pt x="161013" y="752749"/>
                      <a:pt x="168889" y="758948"/>
                    </a:cubicBezTo>
                    <a:cubicBezTo>
                      <a:pt x="172948" y="761893"/>
                      <a:pt x="177040" y="764787"/>
                      <a:pt x="181133" y="767698"/>
                    </a:cubicBezTo>
                    <a:cubicBezTo>
                      <a:pt x="185174" y="770678"/>
                      <a:pt x="189421" y="773349"/>
                      <a:pt x="193650" y="776055"/>
                    </a:cubicBezTo>
                    <a:lnTo>
                      <a:pt x="199986" y="780113"/>
                    </a:lnTo>
                    <a:lnTo>
                      <a:pt x="203171" y="782133"/>
                    </a:lnTo>
                    <a:lnTo>
                      <a:pt x="206424" y="784017"/>
                    </a:lnTo>
                    <a:lnTo>
                      <a:pt x="219472" y="791517"/>
                    </a:lnTo>
                    <a:cubicBezTo>
                      <a:pt x="223873" y="793914"/>
                      <a:pt x="228377" y="796140"/>
                      <a:pt x="232829" y="798435"/>
                    </a:cubicBezTo>
                    <a:cubicBezTo>
                      <a:pt x="235072" y="799565"/>
                      <a:pt x="237281" y="800747"/>
                      <a:pt x="239558" y="801825"/>
                    </a:cubicBezTo>
                    <a:lnTo>
                      <a:pt x="246408" y="804942"/>
                    </a:lnTo>
                    <a:lnTo>
                      <a:pt x="253274" y="808041"/>
                    </a:lnTo>
                    <a:cubicBezTo>
                      <a:pt x="255569" y="809069"/>
                      <a:pt x="257846" y="810113"/>
                      <a:pt x="260192" y="811004"/>
                    </a:cubicBezTo>
                    <a:lnTo>
                      <a:pt x="274199" y="816535"/>
                    </a:lnTo>
                    <a:cubicBezTo>
                      <a:pt x="276528" y="817493"/>
                      <a:pt x="278908" y="818247"/>
                      <a:pt x="281288" y="819069"/>
                    </a:cubicBezTo>
                    <a:lnTo>
                      <a:pt x="288429" y="821483"/>
                    </a:lnTo>
                    <a:lnTo>
                      <a:pt x="295569" y="823880"/>
                    </a:lnTo>
                    <a:cubicBezTo>
                      <a:pt x="297967" y="824634"/>
                      <a:pt x="300398" y="825285"/>
                      <a:pt x="302796" y="825987"/>
                    </a:cubicBezTo>
                    <a:cubicBezTo>
                      <a:pt x="307624" y="827339"/>
                      <a:pt x="312436" y="828778"/>
                      <a:pt x="317299" y="830045"/>
                    </a:cubicBezTo>
                    <a:lnTo>
                      <a:pt x="331974" y="833435"/>
                    </a:lnTo>
                    <a:cubicBezTo>
                      <a:pt x="336854" y="834651"/>
                      <a:pt x="341820" y="835405"/>
                      <a:pt x="346752" y="836329"/>
                    </a:cubicBezTo>
                    <a:cubicBezTo>
                      <a:pt x="351700" y="837151"/>
                      <a:pt x="356615" y="838230"/>
                      <a:pt x="361598" y="838761"/>
                    </a:cubicBezTo>
                    <a:lnTo>
                      <a:pt x="376530" y="840644"/>
                    </a:lnTo>
                    <a:cubicBezTo>
                      <a:pt x="381512" y="841209"/>
                      <a:pt x="386512" y="841483"/>
                      <a:pt x="391513" y="841894"/>
                    </a:cubicBezTo>
                    <a:lnTo>
                      <a:pt x="399013" y="842459"/>
                    </a:lnTo>
                    <a:cubicBezTo>
                      <a:pt x="401513" y="842614"/>
                      <a:pt x="404013" y="842614"/>
                      <a:pt x="406513" y="842699"/>
                    </a:cubicBezTo>
                    <a:lnTo>
                      <a:pt x="421530" y="843059"/>
                    </a:lnTo>
                    <a:lnTo>
                      <a:pt x="436547" y="842699"/>
                    </a:lnTo>
                    <a:cubicBezTo>
                      <a:pt x="439048" y="842614"/>
                      <a:pt x="441548" y="842597"/>
                      <a:pt x="444048" y="842459"/>
                    </a:cubicBezTo>
                    <a:lnTo>
                      <a:pt x="451548" y="841894"/>
                    </a:lnTo>
                    <a:cubicBezTo>
                      <a:pt x="456548" y="841483"/>
                      <a:pt x="461548" y="841209"/>
                      <a:pt x="466531" y="840644"/>
                    </a:cubicBezTo>
                    <a:lnTo>
                      <a:pt x="481463" y="838761"/>
                    </a:lnTo>
                    <a:cubicBezTo>
                      <a:pt x="486445" y="838230"/>
                      <a:pt x="491360" y="837151"/>
                      <a:pt x="496309" y="836329"/>
                    </a:cubicBezTo>
                    <a:cubicBezTo>
                      <a:pt x="501240" y="835405"/>
                      <a:pt x="506206" y="834668"/>
                      <a:pt x="511086" y="833435"/>
                    </a:cubicBezTo>
                    <a:lnTo>
                      <a:pt x="525761" y="830045"/>
                    </a:lnTo>
                    <a:cubicBezTo>
                      <a:pt x="530624" y="828778"/>
                      <a:pt x="535436" y="827357"/>
                      <a:pt x="540265" y="825987"/>
                    </a:cubicBezTo>
                    <a:cubicBezTo>
                      <a:pt x="542679" y="825285"/>
                      <a:pt x="545094" y="824634"/>
                      <a:pt x="547491" y="823880"/>
                    </a:cubicBezTo>
                    <a:lnTo>
                      <a:pt x="554631" y="821483"/>
                    </a:lnTo>
                    <a:lnTo>
                      <a:pt x="561772" y="819069"/>
                    </a:lnTo>
                    <a:cubicBezTo>
                      <a:pt x="564152" y="818247"/>
                      <a:pt x="566532" y="817493"/>
                      <a:pt x="568861" y="816535"/>
                    </a:cubicBezTo>
                    <a:lnTo>
                      <a:pt x="582868" y="811004"/>
                    </a:lnTo>
                    <a:cubicBezTo>
                      <a:pt x="585214" y="810113"/>
                      <a:pt x="587509" y="809069"/>
                      <a:pt x="589786" y="808041"/>
                    </a:cubicBezTo>
                    <a:lnTo>
                      <a:pt x="596653" y="804942"/>
                    </a:lnTo>
                    <a:lnTo>
                      <a:pt x="603502" y="801825"/>
                    </a:lnTo>
                    <a:cubicBezTo>
                      <a:pt x="605779" y="800764"/>
                      <a:pt x="607988" y="799565"/>
                      <a:pt x="610232" y="798435"/>
                    </a:cubicBezTo>
                    <a:cubicBezTo>
                      <a:pt x="614684" y="796123"/>
                      <a:pt x="619187" y="793914"/>
                      <a:pt x="623588" y="791517"/>
                    </a:cubicBezTo>
                    <a:lnTo>
                      <a:pt x="636636" y="784017"/>
                    </a:lnTo>
                    <a:lnTo>
                      <a:pt x="639890" y="782133"/>
                    </a:lnTo>
                    <a:lnTo>
                      <a:pt x="643075" y="780113"/>
                    </a:lnTo>
                    <a:lnTo>
                      <a:pt x="649410" y="776055"/>
                    </a:lnTo>
                    <a:cubicBezTo>
                      <a:pt x="653640" y="773349"/>
                      <a:pt x="657886" y="770678"/>
                      <a:pt x="661927" y="767698"/>
                    </a:cubicBezTo>
                    <a:cubicBezTo>
                      <a:pt x="666020" y="764787"/>
                      <a:pt x="670113" y="761911"/>
                      <a:pt x="674171" y="758948"/>
                    </a:cubicBezTo>
                    <a:cubicBezTo>
                      <a:pt x="682048" y="752749"/>
                      <a:pt x="690062" y="746705"/>
                      <a:pt x="697510" y="739992"/>
                    </a:cubicBezTo>
                    <a:cubicBezTo>
                      <a:pt x="705216" y="733571"/>
                      <a:pt x="712305" y="726482"/>
                      <a:pt x="719582" y="719581"/>
                    </a:cubicBezTo>
                    <a:cubicBezTo>
                      <a:pt x="726483" y="712304"/>
                      <a:pt x="733572" y="705215"/>
                      <a:pt x="739994" y="697509"/>
                    </a:cubicBezTo>
                    <a:cubicBezTo>
                      <a:pt x="746706" y="690043"/>
                      <a:pt x="752751" y="682047"/>
                      <a:pt x="758949" y="674170"/>
                    </a:cubicBezTo>
                    <a:cubicBezTo>
                      <a:pt x="761895" y="670111"/>
                      <a:pt x="764789" y="666019"/>
                      <a:pt x="767700" y="661926"/>
                    </a:cubicBezTo>
                    <a:cubicBezTo>
                      <a:pt x="770679" y="657885"/>
                      <a:pt x="773350" y="653639"/>
                      <a:pt x="776056" y="649409"/>
                    </a:cubicBezTo>
                    <a:lnTo>
                      <a:pt x="780114" y="643073"/>
                    </a:lnTo>
                    <a:lnTo>
                      <a:pt x="782135" y="639888"/>
                    </a:lnTo>
                    <a:lnTo>
                      <a:pt x="784018" y="636635"/>
                    </a:lnTo>
                    <a:lnTo>
                      <a:pt x="791518" y="623587"/>
                    </a:lnTo>
                    <a:cubicBezTo>
                      <a:pt x="793916" y="619186"/>
                      <a:pt x="796142" y="614683"/>
                      <a:pt x="798436" y="610231"/>
                    </a:cubicBezTo>
                    <a:cubicBezTo>
                      <a:pt x="799566" y="607987"/>
                      <a:pt x="800748" y="605778"/>
                      <a:pt x="801827" y="603501"/>
                    </a:cubicBezTo>
                    <a:lnTo>
                      <a:pt x="804943" y="596652"/>
                    </a:lnTo>
                    <a:lnTo>
                      <a:pt x="808043" y="589785"/>
                    </a:lnTo>
                    <a:cubicBezTo>
                      <a:pt x="809070" y="587490"/>
                      <a:pt x="810115" y="585213"/>
                      <a:pt x="811005" y="582867"/>
                    </a:cubicBezTo>
                    <a:lnTo>
                      <a:pt x="816536" y="568860"/>
                    </a:lnTo>
                    <a:cubicBezTo>
                      <a:pt x="817495" y="566531"/>
                      <a:pt x="818248" y="564151"/>
                      <a:pt x="819070" y="561771"/>
                    </a:cubicBezTo>
                    <a:lnTo>
                      <a:pt x="821485" y="554630"/>
                    </a:lnTo>
                    <a:lnTo>
                      <a:pt x="823882" y="547490"/>
                    </a:lnTo>
                    <a:cubicBezTo>
                      <a:pt x="824635" y="545093"/>
                      <a:pt x="825286" y="542661"/>
                      <a:pt x="825988" y="540264"/>
                    </a:cubicBezTo>
                    <a:cubicBezTo>
                      <a:pt x="827341" y="535435"/>
                      <a:pt x="828779" y="530623"/>
                      <a:pt x="830046" y="525760"/>
                    </a:cubicBezTo>
                    <a:lnTo>
                      <a:pt x="833437" y="511085"/>
                    </a:lnTo>
                    <a:cubicBezTo>
                      <a:pt x="834653" y="506205"/>
                      <a:pt x="835406" y="501239"/>
                      <a:pt x="836331" y="496308"/>
                    </a:cubicBezTo>
                    <a:cubicBezTo>
                      <a:pt x="837153" y="491359"/>
                      <a:pt x="838231" y="486445"/>
                      <a:pt x="838762" y="481462"/>
                    </a:cubicBezTo>
                    <a:lnTo>
                      <a:pt x="840646" y="466530"/>
                    </a:lnTo>
                    <a:cubicBezTo>
                      <a:pt x="841211" y="461547"/>
                      <a:pt x="841485" y="456547"/>
                      <a:pt x="841896" y="451547"/>
                    </a:cubicBezTo>
                    <a:lnTo>
                      <a:pt x="842461" y="444047"/>
                    </a:lnTo>
                    <a:cubicBezTo>
                      <a:pt x="842615" y="441547"/>
                      <a:pt x="842615" y="439047"/>
                      <a:pt x="842701" y="436547"/>
                    </a:cubicBezTo>
                    <a:lnTo>
                      <a:pt x="843060" y="421529"/>
                    </a:lnTo>
                    <a:lnTo>
                      <a:pt x="842701" y="406512"/>
                    </a:lnTo>
                    <a:cubicBezTo>
                      <a:pt x="842615" y="404012"/>
                      <a:pt x="842598" y="401512"/>
                      <a:pt x="842461" y="399012"/>
                    </a:cubicBezTo>
                    <a:close/>
                    <a:moveTo>
                      <a:pt x="807906" y="435314"/>
                    </a:moveTo>
                    <a:cubicBezTo>
                      <a:pt x="807837" y="437608"/>
                      <a:pt x="807820" y="439920"/>
                      <a:pt x="807683" y="442215"/>
                    </a:cubicBezTo>
                    <a:lnTo>
                      <a:pt x="807169" y="449098"/>
                    </a:lnTo>
                    <a:cubicBezTo>
                      <a:pt x="806775" y="453687"/>
                      <a:pt x="806553" y="458276"/>
                      <a:pt x="806022" y="462849"/>
                    </a:cubicBezTo>
                    <a:lnTo>
                      <a:pt x="804275" y="476547"/>
                    </a:lnTo>
                    <a:cubicBezTo>
                      <a:pt x="803796" y="481119"/>
                      <a:pt x="802803" y="485623"/>
                      <a:pt x="802049" y="490160"/>
                    </a:cubicBezTo>
                    <a:cubicBezTo>
                      <a:pt x="801210" y="494681"/>
                      <a:pt x="800543" y="499236"/>
                      <a:pt x="799412" y="503705"/>
                    </a:cubicBezTo>
                    <a:lnTo>
                      <a:pt x="796296" y="517164"/>
                    </a:lnTo>
                    <a:cubicBezTo>
                      <a:pt x="795132" y="521616"/>
                      <a:pt x="793813" y="526034"/>
                      <a:pt x="792580" y="530469"/>
                    </a:cubicBezTo>
                    <a:cubicBezTo>
                      <a:pt x="791947" y="532678"/>
                      <a:pt x="791347" y="534904"/>
                      <a:pt x="790662" y="537096"/>
                    </a:cubicBezTo>
                    <a:lnTo>
                      <a:pt x="788453" y="543637"/>
                    </a:lnTo>
                    <a:lnTo>
                      <a:pt x="786244" y="550178"/>
                    </a:lnTo>
                    <a:cubicBezTo>
                      <a:pt x="785491" y="552353"/>
                      <a:pt x="784806" y="554545"/>
                      <a:pt x="783916" y="556685"/>
                    </a:cubicBezTo>
                    <a:lnTo>
                      <a:pt x="778847" y="569528"/>
                    </a:lnTo>
                    <a:cubicBezTo>
                      <a:pt x="778042" y="571686"/>
                      <a:pt x="777083" y="573775"/>
                      <a:pt x="776124" y="575864"/>
                    </a:cubicBezTo>
                    <a:lnTo>
                      <a:pt x="773282" y="582148"/>
                    </a:lnTo>
                    <a:lnTo>
                      <a:pt x="770439" y="588432"/>
                    </a:lnTo>
                    <a:cubicBezTo>
                      <a:pt x="769463" y="590521"/>
                      <a:pt x="768367" y="592542"/>
                      <a:pt x="767323" y="594597"/>
                    </a:cubicBezTo>
                    <a:cubicBezTo>
                      <a:pt x="765200" y="598689"/>
                      <a:pt x="763179" y="602816"/>
                      <a:pt x="760970" y="606857"/>
                    </a:cubicBezTo>
                    <a:lnTo>
                      <a:pt x="754086" y="618826"/>
                    </a:lnTo>
                    <a:lnTo>
                      <a:pt x="752357" y="621823"/>
                    </a:lnTo>
                    <a:lnTo>
                      <a:pt x="750508" y="624734"/>
                    </a:lnTo>
                    <a:lnTo>
                      <a:pt x="746792" y="630539"/>
                    </a:lnTo>
                    <a:cubicBezTo>
                      <a:pt x="744309" y="634409"/>
                      <a:pt x="741860" y="638313"/>
                      <a:pt x="739138" y="642012"/>
                    </a:cubicBezTo>
                    <a:lnTo>
                      <a:pt x="731124" y="653245"/>
                    </a:lnTo>
                    <a:cubicBezTo>
                      <a:pt x="725422" y="660471"/>
                      <a:pt x="719891" y="667817"/>
                      <a:pt x="713726" y="674666"/>
                    </a:cubicBezTo>
                    <a:cubicBezTo>
                      <a:pt x="707836" y="681755"/>
                      <a:pt x="701312" y="688245"/>
                      <a:pt x="694993" y="694923"/>
                    </a:cubicBezTo>
                    <a:cubicBezTo>
                      <a:pt x="688298" y="701242"/>
                      <a:pt x="681808" y="707766"/>
                      <a:pt x="674736" y="713656"/>
                    </a:cubicBezTo>
                    <a:cubicBezTo>
                      <a:pt x="667904" y="719821"/>
                      <a:pt x="660540" y="725352"/>
                      <a:pt x="653314" y="731054"/>
                    </a:cubicBezTo>
                    <a:lnTo>
                      <a:pt x="642081" y="739068"/>
                    </a:lnTo>
                    <a:cubicBezTo>
                      <a:pt x="638383" y="741808"/>
                      <a:pt x="634478" y="744256"/>
                      <a:pt x="630609" y="746722"/>
                    </a:cubicBezTo>
                    <a:lnTo>
                      <a:pt x="624804" y="750438"/>
                    </a:lnTo>
                    <a:lnTo>
                      <a:pt x="621893" y="752287"/>
                    </a:lnTo>
                    <a:lnTo>
                      <a:pt x="618896" y="754017"/>
                    </a:lnTo>
                    <a:lnTo>
                      <a:pt x="606927" y="760900"/>
                    </a:lnTo>
                    <a:cubicBezTo>
                      <a:pt x="602886" y="763092"/>
                      <a:pt x="598759" y="765130"/>
                      <a:pt x="594666" y="767253"/>
                    </a:cubicBezTo>
                    <a:cubicBezTo>
                      <a:pt x="592611" y="768281"/>
                      <a:pt x="590591" y="769376"/>
                      <a:pt x="588502" y="770370"/>
                    </a:cubicBezTo>
                    <a:lnTo>
                      <a:pt x="582217" y="773212"/>
                    </a:lnTo>
                    <a:cubicBezTo>
                      <a:pt x="515264" y="803915"/>
                      <a:pt x="439424" y="814839"/>
                      <a:pt x="366581" y="804206"/>
                    </a:cubicBezTo>
                    <a:cubicBezTo>
                      <a:pt x="362009" y="803726"/>
                      <a:pt x="357505" y="802733"/>
                      <a:pt x="352967" y="801980"/>
                    </a:cubicBezTo>
                    <a:cubicBezTo>
                      <a:pt x="348447" y="801141"/>
                      <a:pt x="343892" y="800473"/>
                      <a:pt x="339423" y="799343"/>
                    </a:cubicBezTo>
                    <a:lnTo>
                      <a:pt x="325964" y="796226"/>
                    </a:lnTo>
                    <a:cubicBezTo>
                      <a:pt x="321512" y="795062"/>
                      <a:pt x="317094" y="793743"/>
                      <a:pt x="312659" y="792510"/>
                    </a:cubicBezTo>
                    <a:cubicBezTo>
                      <a:pt x="310450" y="791860"/>
                      <a:pt x="308224" y="791277"/>
                      <a:pt x="306032" y="790592"/>
                    </a:cubicBezTo>
                    <a:lnTo>
                      <a:pt x="299491" y="788383"/>
                    </a:lnTo>
                    <a:lnTo>
                      <a:pt x="292949" y="786175"/>
                    </a:lnTo>
                    <a:cubicBezTo>
                      <a:pt x="290775" y="785421"/>
                      <a:pt x="288583" y="784736"/>
                      <a:pt x="286443" y="783846"/>
                    </a:cubicBezTo>
                    <a:lnTo>
                      <a:pt x="273600" y="778777"/>
                    </a:lnTo>
                    <a:cubicBezTo>
                      <a:pt x="271442" y="777972"/>
                      <a:pt x="269353" y="777013"/>
                      <a:pt x="267264" y="776055"/>
                    </a:cubicBezTo>
                    <a:lnTo>
                      <a:pt x="260980" y="773212"/>
                    </a:lnTo>
                    <a:lnTo>
                      <a:pt x="254696" y="770370"/>
                    </a:lnTo>
                    <a:cubicBezTo>
                      <a:pt x="252606" y="769393"/>
                      <a:pt x="250586" y="768298"/>
                      <a:pt x="248531" y="767253"/>
                    </a:cubicBezTo>
                    <a:cubicBezTo>
                      <a:pt x="244439" y="765130"/>
                      <a:pt x="240312" y="763109"/>
                      <a:pt x="236271" y="760900"/>
                    </a:cubicBezTo>
                    <a:lnTo>
                      <a:pt x="224301" y="754017"/>
                    </a:lnTo>
                    <a:lnTo>
                      <a:pt x="221305" y="752287"/>
                    </a:lnTo>
                    <a:lnTo>
                      <a:pt x="218394" y="750438"/>
                    </a:lnTo>
                    <a:lnTo>
                      <a:pt x="212589" y="746722"/>
                    </a:lnTo>
                    <a:cubicBezTo>
                      <a:pt x="208719" y="744239"/>
                      <a:pt x="204815" y="741790"/>
                      <a:pt x="201116" y="739068"/>
                    </a:cubicBezTo>
                    <a:lnTo>
                      <a:pt x="189883" y="731054"/>
                    </a:lnTo>
                    <a:cubicBezTo>
                      <a:pt x="182657" y="725352"/>
                      <a:pt x="175311" y="719821"/>
                      <a:pt x="168461" y="713656"/>
                    </a:cubicBezTo>
                    <a:cubicBezTo>
                      <a:pt x="161372" y="707766"/>
                      <a:pt x="154882" y="701242"/>
                      <a:pt x="148204" y="694923"/>
                    </a:cubicBezTo>
                    <a:cubicBezTo>
                      <a:pt x="141886" y="688228"/>
                      <a:pt x="135362" y="681738"/>
                      <a:pt x="129471" y="674666"/>
                    </a:cubicBezTo>
                    <a:cubicBezTo>
                      <a:pt x="123307" y="667834"/>
                      <a:pt x="117776" y="660471"/>
                      <a:pt x="112074" y="653245"/>
                    </a:cubicBezTo>
                    <a:lnTo>
                      <a:pt x="104060" y="642012"/>
                    </a:lnTo>
                    <a:cubicBezTo>
                      <a:pt x="101320" y="638313"/>
                      <a:pt x="98871" y="634409"/>
                      <a:pt x="96406" y="630539"/>
                    </a:cubicBezTo>
                    <a:lnTo>
                      <a:pt x="92690" y="624734"/>
                    </a:lnTo>
                    <a:lnTo>
                      <a:pt x="90840" y="621823"/>
                    </a:lnTo>
                    <a:lnTo>
                      <a:pt x="89111" y="618826"/>
                    </a:lnTo>
                    <a:lnTo>
                      <a:pt x="82227" y="606857"/>
                    </a:lnTo>
                    <a:cubicBezTo>
                      <a:pt x="80035" y="602816"/>
                      <a:pt x="77998" y="598689"/>
                      <a:pt x="75874" y="594597"/>
                    </a:cubicBezTo>
                    <a:cubicBezTo>
                      <a:pt x="74847" y="592542"/>
                      <a:pt x="73751" y="590521"/>
                      <a:pt x="72758" y="588432"/>
                    </a:cubicBezTo>
                    <a:lnTo>
                      <a:pt x="69915" y="582148"/>
                    </a:lnTo>
                    <a:lnTo>
                      <a:pt x="67073" y="575864"/>
                    </a:lnTo>
                    <a:cubicBezTo>
                      <a:pt x="66114" y="573775"/>
                      <a:pt x="65155" y="571686"/>
                      <a:pt x="64350" y="569528"/>
                    </a:cubicBezTo>
                    <a:lnTo>
                      <a:pt x="59282" y="556685"/>
                    </a:lnTo>
                    <a:cubicBezTo>
                      <a:pt x="58391" y="554562"/>
                      <a:pt x="57706" y="552370"/>
                      <a:pt x="56953" y="550178"/>
                    </a:cubicBezTo>
                    <a:lnTo>
                      <a:pt x="54744" y="543637"/>
                    </a:lnTo>
                    <a:lnTo>
                      <a:pt x="52535" y="537096"/>
                    </a:lnTo>
                    <a:cubicBezTo>
                      <a:pt x="51850" y="534904"/>
                      <a:pt x="51251" y="532678"/>
                      <a:pt x="50617" y="530469"/>
                    </a:cubicBezTo>
                    <a:cubicBezTo>
                      <a:pt x="49384" y="526034"/>
                      <a:pt x="48049" y="521616"/>
                      <a:pt x="46901" y="517164"/>
                    </a:cubicBezTo>
                    <a:lnTo>
                      <a:pt x="43785" y="503705"/>
                    </a:lnTo>
                    <a:cubicBezTo>
                      <a:pt x="42655" y="499236"/>
                      <a:pt x="41987" y="494681"/>
                      <a:pt x="41148" y="490160"/>
                    </a:cubicBezTo>
                    <a:cubicBezTo>
                      <a:pt x="40394" y="485623"/>
                      <a:pt x="39401" y="481119"/>
                      <a:pt x="38922" y="476547"/>
                    </a:cubicBezTo>
                    <a:lnTo>
                      <a:pt x="37175" y="462849"/>
                    </a:lnTo>
                    <a:cubicBezTo>
                      <a:pt x="36644" y="458276"/>
                      <a:pt x="36422" y="453687"/>
                      <a:pt x="36028" y="449098"/>
                    </a:cubicBezTo>
                    <a:lnTo>
                      <a:pt x="35514" y="442215"/>
                    </a:lnTo>
                    <a:cubicBezTo>
                      <a:pt x="35377" y="439920"/>
                      <a:pt x="35377" y="437626"/>
                      <a:pt x="35292" y="435314"/>
                    </a:cubicBezTo>
                    <a:lnTo>
                      <a:pt x="34949" y="421529"/>
                    </a:lnTo>
                    <a:lnTo>
                      <a:pt x="35292" y="407745"/>
                    </a:lnTo>
                    <a:cubicBezTo>
                      <a:pt x="35360" y="405450"/>
                      <a:pt x="35377" y="403139"/>
                      <a:pt x="35514" y="400844"/>
                    </a:cubicBezTo>
                    <a:lnTo>
                      <a:pt x="36028" y="393961"/>
                    </a:lnTo>
                    <a:cubicBezTo>
                      <a:pt x="36422" y="389371"/>
                      <a:pt x="36644" y="384782"/>
                      <a:pt x="37175" y="380210"/>
                    </a:cubicBezTo>
                    <a:lnTo>
                      <a:pt x="38922" y="366512"/>
                    </a:lnTo>
                    <a:cubicBezTo>
                      <a:pt x="39401" y="361940"/>
                      <a:pt x="40394" y="357436"/>
                      <a:pt x="41148" y="352898"/>
                    </a:cubicBezTo>
                    <a:cubicBezTo>
                      <a:pt x="41987" y="348378"/>
                      <a:pt x="42655" y="343823"/>
                      <a:pt x="43785" y="339354"/>
                    </a:cubicBezTo>
                    <a:lnTo>
                      <a:pt x="46901" y="325895"/>
                    </a:lnTo>
                    <a:cubicBezTo>
                      <a:pt x="48066" y="321443"/>
                      <a:pt x="49384" y="317025"/>
                      <a:pt x="50617" y="312590"/>
                    </a:cubicBezTo>
                    <a:cubicBezTo>
                      <a:pt x="51251" y="310381"/>
                      <a:pt x="51850" y="308155"/>
                      <a:pt x="52535" y="305963"/>
                    </a:cubicBezTo>
                    <a:lnTo>
                      <a:pt x="54744" y="299422"/>
                    </a:lnTo>
                    <a:lnTo>
                      <a:pt x="56953" y="292881"/>
                    </a:lnTo>
                    <a:cubicBezTo>
                      <a:pt x="57706" y="290706"/>
                      <a:pt x="58391" y="288514"/>
                      <a:pt x="59282" y="286374"/>
                    </a:cubicBezTo>
                    <a:lnTo>
                      <a:pt x="64350" y="273531"/>
                    </a:lnTo>
                    <a:cubicBezTo>
                      <a:pt x="65155" y="271373"/>
                      <a:pt x="66114" y="269284"/>
                      <a:pt x="67073" y="267195"/>
                    </a:cubicBezTo>
                    <a:lnTo>
                      <a:pt x="69915" y="260911"/>
                    </a:lnTo>
                    <a:lnTo>
                      <a:pt x="72758" y="254627"/>
                    </a:lnTo>
                    <a:cubicBezTo>
                      <a:pt x="73734" y="252538"/>
                      <a:pt x="74830" y="250517"/>
                      <a:pt x="75874" y="248462"/>
                    </a:cubicBezTo>
                    <a:cubicBezTo>
                      <a:pt x="77998" y="244370"/>
                      <a:pt x="80018" y="240243"/>
                      <a:pt x="82227" y="236202"/>
                    </a:cubicBezTo>
                    <a:lnTo>
                      <a:pt x="89111" y="224232"/>
                    </a:lnTo>
                    <a:lnTo>
                      <a:pt x="90840" y="221236"/>
                    </a:lnTo>
                    <a:lnTo>
                      <a:pt x="92690" y="218325"/>
                    </a:lnTo>
                    <a:lnTo>
                      <a:pt x="96406" y="212520"/>
                    </a:lnTo>
                    <a:cubicBezTo>
                      <a:pt x="98888" y="208650"/>
                      <a:pt x="101337" y="204746"/>
                      <a:pt x="104060" y="201047"/>
                    </a:cubicBezTo>
                    <a:lnTo>
                      <a:pt x="112074" y="189814"/>
                    </a:lnTo>
                    <a:cubicBezTo>
                      <a:pt x="117776" y="182588"/>
                      <a:pt x="123307" y="175242"/>
                      <a:pt x="129471" y="168393"/>
                    </a:cubicBezTo>
                    <a:cubicBezTo>
                      <a:pt x="135362" y="161303"/>
                      <a:pt x="141886" y="154814"/>
                      <a:pt x="148204" y="148135"/>
                    </a:cubicBezTo>
                    <a:cubicBezTo>
                      <a:pt x="154900" y="141817"/>
                      <a:pt x="161389" y="135293"/>
                      <a:pt x="168461" y="129402"/>
                    </a:cubicBezTo>
                    <a:cubicBezTo>
                      <a:pt x="175294" y="123238"/>
                      <a:pt x="182657" y="117707"/>
                      <a:pt x="189883" y="112005"/>
                    </a:cubicBezTo>
                    <a:lnTo>
                      <a:pt x="201116" y="103991"/>
                    </a:lnTo>
                    <a:cubicBezTo>
                      <a:pt x="204815" y="101251"/>
                      <a:pt x="208719" y="98803"/>
                      <a:pt x="212589" y="96337"/>
                    </a:cubicBezTo>
                    <a:lnTo>
                      <a:pt x="218394" y="92621"/>
                    </a:lnTo>
                    <a:lnTo>
                      <a:pt x="221305" y="90772"/>
                    </a:lnTo>
                    <a:lnTo>
                      <a:pt x="224301" y="89042"/>
                    </a:lnTo>
                    <a:lnTo>
                      <a:pt x="236271" y="82159"/>
                    </a:lnTo>
                    <a:cubicBezTo>
                      <a:pt x="240312" y="79967"/>
                      <a:pt x="244439" y="77929"/>
                      <a:pt x="248531" y="75806"/>
                    </a:cubicBezTo>
                    <a:cubicBezTo>
                      <a:pt x="250586" y="74778"/>
                      <a:pt x="252606" y="73683"/>
                      <a:pt x="254696" y="72689"/>
                    </a:cubicBezTo>
                    <a:lnTo>
                      <a:pt x="260980" y="69847"/>
                    </a:lnTo>
                    <a:lnTo>
                      <a:pt x="267264" y="67004"/>
                    </a:lnTo>
                    <a:cubicBezTo>
                      <a:pt x="269353" y="66045"/>
                      <a:pt x="271442" y="65086"/>
                      <a:pt x="273600" y="64282"/>
                    </a:cubicBezTo>
                    <a:lnTo>
                      <a:pt x="286443" y="59213"/>
                    </a:lnTo>
                    <a:cubicBezTo>
                      <a:pt x="288566" y="58323"/>
                      <a:pt x="290758" y="57638"/>
                      <a:pt x="292949" y="56884"/>
                    </a:cubicBezTo>
                    <a:lnTo>
                      <a:pt x="299491" y="54675"/>
                    </a:lnTo>
                    <a:lnTo>
                      <a:pt x="306032" y="52466"/>
                    </a:lnTo>
                    <a:cubicBezTo>
                      <a:pt x="308224" y="51782"/>
                      <a:pt x="310450" y="51182"/>
                      <a:pt x="312659" y="50549"/>
                    </a:cubicBezTo>
                    <a:cubicBezTo>
                      <a:pt x="317094" y="49316"/>
                      <a:pt x="321512" y="47980"/>
                      <a:pt x="325964" y="46833"/>
                    </a:cubicBezTo>
                    <a:lnTo>
                      <a:pt x="339423" y="43716"/>
                    </a:lnTo>
                    <a:cubicBezTo>
                      <a:pt x="343892" y="42586"/>
                      <a:pt x="348447" y="41918"/>
                      <a:pt x="352967" y="41079"/>
                    </a:cubicBezTo>
                    <a:cubicBezTo>
                      <a:pt x="357505" y="40326"/>
                      <a:pt x="362009" y="39333"/>
                      <a:pt x="366581" y="38853"/>
                    </a:cubicBezTo>
                    <a:cubicBezTo>
                      <a:pt x="439424" y="28220"/>
                      <a:pt x="515264" y="39144"/>
                      <a:pt x="582217" y="69847"/>
                    </a:cubicBezTo>
                    <a:lnTo>
                      <a:pt x="588502" y="72689"/>
                    </a:lnTo>
                    <a:cubicBezTo>
                      <a:pt x="590591" y="73665"/>
                      <a:pt x="592611" y="74761"/>
                      <a:pt x="594666" y="75806"/>
                    </a:cubicBezTo>
                    <a:cubicBezTo>
                      <a:pt x="598759" y="77929"/>
                      <a:pt x="602886" y="79950"/>
                      <a:pt x="606927" y="82159"/>
                    </a:cubicBezTo>
                    <a:lnTo>
                      <a:pt x="618896" y="89042"/>
                    </a:lnTo>
                    <a:lnTo>
                      <a:pt x="621893" y="90772"/>
                    </a:lnTo>
                    <a:lnTo>
                      <a:pt x="624804" y="92621"/>
                    </a:lnTo>
                    <a:lnTo>
                      <a:pt x="630609" y="96337"/>
                    </a:lnTo>
                    <a:cubicBezTo>
                      <a:pt x="634478" y="98820"/>
                      <a:pt x="638383" y="101268"/>
                      <a:pt x="642081" y="103991"/>
                    </a:cubicBezTo>
                    <a:lnTo>
                      <a:pt x="653314" y="112005"/>
                    </a:lnTo>
                    <a:cubicBezTo>
                      <a:pt x="660540" y="117707"/>
                      <a:pt x="667887" y="123238"/>
                      <a:pt x="674736" y="129402"/>
                    </a:cubicBezTo>
                    <a:cubicBezTo>
                      <a:pt x="681825" y="135293"/>
                      <a:pt x="688315" y="141817"/>
                      <a:pt x="694993" y="148135"/>
                    </a:cubicBezTo>
                    <a:cubicBezTo>
                      <a:pt x="701312" y="154831"/>
                      <a:pt x="707836" y="161321"/>
                      <a:pt x="713726" y="168393"/>
                    </a:cubicBezTo>
                    <a:cubicBezTo>
                      <a:pt x="719891" y="175225"/>
                      <a:pt x="725422" y="182588"/>
                      <a:pt x="731124" y="189814"/>
                    </a:cubicBezTo>
                    <a:lnTo>
                      <a:pt x="739138" y="201047"/>
                    </a:lnTo>
                    <a:cubicBezTo>
                      <a:pt x="741877" y="204746"/>
                      <a:pt x="744326" y="208650"/>
                      <a:pt x="746792" y="212520"/>
                    </a:cubicBezTo>
                    <a:lnTo>
                      <a:pt x="750508" y="218325"/>
                    </a:lnTo>
                    <a:lnTo>
                      <a:pt x="752357" y="221236"/>
                    </a:lnTo>
                    <a:lnTo>
                      <a:pt x="754086" y="224232"/>
                    </a:lnTo>
                    <a:lnTo>
                      <a:pt x="760970" y="236202"/>
                    </a:lnTo>
                    <a:cubicBezTo>
                      <a:pt x="763162" y="240243"/>
                      <a:pt x="765200" y="244370"/>
                      <a:pt x="767323" y="248462"/>
                    </a:cubicBezTo>
                    <a:cubicBezTo>
                      <a:pt x="768350" y="250517"/>
                      <a:pt x="769446" y="252538"/>
                      <a:pt x="770439" y="254627"/>
                    </a:cubicBezTo>
                    <a:lnTo>
                      <a:pt x="773282" y="260911"/>
                    </a:lnTo>
                    <a:lnTo>
                      <a:pt x="776124" y="267195"/>
                    </a:lnTo>
                    <a:cubicBezTo>
                      <a:pt x="777083" y="269284"/>
                      <a:pt x="778042" y="271373"/>
                      <a:pt x="778847" y="273531"/>
                    </a:cubicBezTo>
                    <a:lnTo>
                      <a:pt x="783916" y="286374"/>
                    </a:lnTo>
                    <a:cubicBezTo>
                      <a:pt x="784806" y="288497"/>
                      <a:pt x="785491" y="290689"/>
                      <a:pt x="786244" y="292881"/>
                    </a:cubicBezTo>
                    <a:lnTo>
                      <a:pt x="788453" y="299422"/>
                    </a:lnTo>
                    <a:lnTo>
                      <a:pt x="790662" y="305963"/>
                    </a:lnTo>
                    <a:cubicBezTo>
                      <a:pt x="791347" y="308155"/>
                      <a:pt x="791947" y="310381"/>
                      <a:pt x="792580" y="312590"/>
                    </a:cubicBezTo>
                    <a:cubicBezTo>
                      <a:pt x="793813" y="317025"/>
                      <a:pt x="795149" y="321443"/>
                      <a:pt x="796296" y="325895"/>
                    </a:cubicBezTo>
                    <a:lnTo>
                      <a:pt x="799412" y="339354"/>
                    </a:lnTo>
                    <a:cubicBezTo>
                      <a:pt x="800543" y="343823"/>
                      <a:pt x="801210" y="348378"/>
                      <a:pt x="802049" y="352898"/>
                    </a:cubicBezTo>
                    <a:cubicBezTo>
                      <a:pt x="802803" y="357436"/>
                      <a:pt x="803796" y="361940"/>
                      <a:pt x="804275" y="366512"/>
                    </a:cubicBezTo>
                    <a:lnTo>
                      <a:pt x="806022" y="380210"/>
                    </a:lnTo>
                    <a:cubicBezTo>
                      <a:pt x="806553" y="384782"/>
                      <a:pt x="806775" y="389371"/>
                      <a:pt x="807169" y="393961"/>
                    </a:cubicBezTo>
                    <a:lnTo>
                      <a:pt x="807683" y="400844"/>
                    </a:lnTo>
                    <a:cubicBezTo>
                      <a:pt x="807820" y="403139"/>
                      <a:pt x="807820" y="405433"/>
                      <a:pt x="807906" y="407745"/>
                    </a:cubicBezTo>
                    <a:lnTo>
                      <a:pt x="808248" y="421529"/>
                    </a:lnTo>
                    <a:lnTo>
                      <a:pt x="807906" y="435314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97" name="Freeform 12">
                <a:extLst>
                  <a:ext uri="{FF2B5EF4-FFF2-40B4-BE49-F238E27FC236}">
                    <a16:creationId xmlns:a16="http://schemas.microsoft.com/office/drawing/2014/main" id="{D83C4658-838D-BA34-3F3C-1FC09776AEFB}"/>
                  </a:ext>
                </a:extLst>
              </p:cNvPr>
              <p:cNvSpPr/>
              <p:nvPr/>
            </p:nvSpPr>
            <p:spPr>
              <a:xfrm>
                <a:off x="2595335" y="3844486"/>
                <a:ext cx="705986" cy="705948"/>
              </a:xfrm>
              <a:custGeom>
                <a:avLst/>
                <a:gdLst>
                  <a:gd name="connsiteX0" fmla="*/ 705473 w 705986"/>
                  <a:gd name="connsiteY0" fmla="*/ 334053 h 705948"/>
                  <a:gd name="connsiteX1" fmla="*/ 704993 w 705986"/>
                  <a:gd name="connsiteY1" fmla="*/ 327768 h 705948"/>
                  <a:gd name="connsiteX2" fmla="*/ 703966 w 705986"/>
                  <a:gd name="connsiteY2" fmla="*/ 315200 h 705948"/>
                  <a:gd name="connsiteX3" fmla="*/ 702373 w 705986"/>
                  <a:gd name="connsiteY3" fmla="*/ 302699 h 705948"/>
                  <a:gd name="connsiteX4" fmla="*/ 700336 w 705986"/>
                  <a:gd name="connsiteY4" fmla="*/ 290268 h 705948"/>
                  <a:gd name="connsiteX5" fmla="*/ 697921 w 705986"/>
                  <a:gd name="connsiteY5" fmla="*/ 277905 h 705948"/>
                  <a:gd name="connsiteX6" fmla="*/ 695096 w 705986"/>
                  <a:gd name="connsiteY6" fmla="*/ 265627 h 705948"/>
                  <a:gd name="connsiteX7" fmla="*/ 691688 w 705986"/>
                  <a:gd name="connsiteY7" fmla="*/ 253504 h 705948"/>
                  <a:gd name="connsiteX8" fmla="*/ 689942 w 705986"/>
                  <a:gd name="connsiteY8" fmla="*/ 247459 h 705948"/>
                  <a:gd name="connsiteX9" fmla="*/ 687921 w 705986"/>
                  <a:gd name="connsiteY9" fmla="*/ 241500 h 705948"/>
                  <a:gd name="connsiteX10" fmla="*/ 685900 w 705986"/>
                  <a:gd name="connsiteY10" fmla="*/ 235541 h 705948"/>
                  <a:gd name="connsiteX11" fmla="*/ 683777 w 705986"/>
                  <a:gd name="connsiteY11" fmla="*/ 229616 h 705948"/>
                  <a:gd name="connsiteX12" fmla="*/ 679154 w 705986"/>
                  <a:gd name="connsiteY12" fmla="*/ 217904 h 705948"/>
                  <a:gd name="connsiteX13" fmla="*/ 676671 w 705986"/>
                  <a:gd name="connsiteY13" fmla="*/ 212116 h 705948"/>
                  <a:gd name="connsiteX14" fmla="*/ 674068 w 705986"/>
                  <a:gd name="connsiteY14" fmla="*/ 206380 h 705948"/>
                  <a:gd name="connsiteX15" fmla="*/ 671482 w 705986"/>
                  <a:gd name="connsiteY15" fmla="*/ 200643 h 705948"/>
                  <a:gd name="connsiteX16" fmla="*/ 668640 w 705986"/>
                  <a:gd name="connsiteY16" fmla="*/ 195027 h 705948"/>
                  <a:gd name="connsiteX17" fmla="*/ 662852 w 705986"/>
                  <a:gd name="connsiteY17" fmla="*/ 183828 h 705948"/>
                  <a:gd name="connsiteX18" fmla="*/ 656568 w 705986"/>
                  <a:gd name="connsiteY18" fmla="*/ 172903 h 705948"/>
                  <a:gd name="connsiteX19" fmla="*/ 654992 w 705986"/>
                  <a:gd name="connsiteY19" fmla="*/ 170164 h 705948"/>
                  <a:gd name="connsiteX20" fmla="*/ 653297 w 705986"/>
                  <a:gd name="connsiteY20" fmla="*/ 167509 h 705948"/>
                  <a:gd name="connsiteX21" fmla="*/ 649890 w 705986"/>
                  <a:gd name="connsiteY21" fmla="*/ 162201 h 705948"/>
                  <a:gd name="connsiteX22" fmla="*/ 642903 w 705986"/>
                  <a:gd name="connsiteY22" fmla="*/ 151722 h 705948"/>
                  <a:gd name="connsiteX23" fmla="*/ 635592 w 705986"/>
                  <a:gd name="connsiteY23" fmla="*/ 141465 h 705948"/>
                  <a:gd name="connsiteX24" fmla="*/ 619684 w 705986"/>
                  <a:gd name="connsiteY24" fmla="*/ 121910 h 705948"/>
                  <a:gd name="connsiteX25" fmla="*/ 602577 w 705986"/>
                  <a:gd name="connsiteY25" fmla="*/ 103399 h 705948"/>
                  <a:gd name="connsiteX26" fmla="*/ 584067 w 705986"/>
                  <a:gd name="connsiteY26" fmla="*/ 86293 h 705948"/>
                  <a:gd name="connsiteX27" fmla="*/ 564512 w 705986"/>
                  <a:gd name="connsiteY27" fmla="*/ 70385 h 705948"/>
                  <a:gd name="connsiteX28" fmla="*/ 554255 w 705986"/>
                  <a:gd name="connsiteY28" fmla="*/ 63073 h 705948"/>
                  <a:gd name="connsiteX29" fmla="*/ 543775 w 705986"/>
                  <a:gd name="connsiteY29" fmla="*/ 56087 h 705948"/>
                  <a:gd name="connsiteX30" fmla="*/ 538467 w 705986"/>
                  <a:gd name="connsiteY30" fmla="*/ 52679 h 705948"/>
                  <a:gd name="connsiteX31" fmla="*/ 535813 w 705986"/>
                  <a:gd name="connsiteY31" fmla="*/ 50984 h 705948"/>
                  <a:gd name="connsiteX32" fmla="*/ 533073 w 705986"/>
                  <a:gd name="connsiteY32" fmla="*/ 49409 h 705948"/>
                  <a:gd name="connsiteX33" fmla="*/ 522148 w 705986"/>
                  <a:gd name="connsiteY33" fmla="*/ 43124 h 705948"/>
                  <a:gd name="connsiteX34" fmla="*/ 510949 w 705986"/>
                  <a:gd name="connsiteY34" fmla="*/ 37337 h 705948"/>
                  <a:gd name="connsiteX35" fmla="*/ 505333 w 705986"/>
                  <a:gd name="connsiteY35" fmla="*/ 34494 h 705948"/>
                  <a:gd name="connsiteX36" fmla="*/ 499596 w 705986"/>
                  <a:gd name="connsiteY36" fmla="*/ 31908 h 705948"/>
                  <a:gd name="connsiteX37" fmla="*/ 302710 w 705986"/>
                  <a:gd name="connsiteY37" fmla="*/ 3620 h 705948"/>
                  <a:gd name="connsiteX38" fmla="*/ 290278 w 705986"/>
                  <a:gd name="connsiteY38" fmla="*/ 5658 h 705948"/>
                  <a:gd name="connsiteX39" fmla="*/ 277915 w 705986"/>
                  <a:gd name="connsiteY39" fmla="*/ 8072 h 705948"/>
                  <a:gd name="connsiteX40" fmla="*/ 265637 w 705986"/>
                  <a:gd name="connsiteY40" fmla="*/ 10898 h 705948"/>
                  <a:gd name="connsiteX41" fmla="*/ 253514 w 705986"/>
                  <a:gd name="connsiteY41" fmla="*/ 14305 h 705948"/>
                  <a:gd name="connsiteX42" fmla="*/ 247469 w 705986"/>
                  <a:gd name="connsiteY42" fmla="*/ 16052 h 705948"/>
                  <a:gd name="connsiteX43" fmla="*/ 241510 w 705986"/>
                  <a:gd name="connsiteY43" fmla="*/ 18073 h 705948"/>
                  <a:gd name="connsiteX44" fmla="*/ 235551 w 705986"/>
                  <a:gd name="connsiteY44" fmla="*/ 20093 h 705948"/>
                  <a:gd name="connsiteX45" fmla="*/ 229627 w 705986"/>
                  <a:gd name="connsiteY45" fmla="*/ 22216 h 705948"/>
                  <a:gd name="connsiteX46" fmla="*/ 217914 w 705986"/>
                  <a:gd name="connsiteY46" fmla="*/ 26840 h 705948"/>
                  <a:gd name="connsiteX47" fmla="*/ 212126 w 705986"/>
                  <a:gd name="connsiteY47" fmla="*/ 29323 h 705948"/>
                  <a:gd name="connsiteX48" fmla="*/ 206390 w 705986"/>
                  <a:gd name="connsiteY48" fmla="*/ 31925 h 705948"/>
                  <a:gd name="connsiteX49" fmla="*/ 200654 w 705986"/>
                  <a:gd name="connsiteY49" fmla="*/ 34511 h 705948"/>
                  <a:gd name="connsiteX50" fmla="*/ 195037 w 705986"/>
                  <a:gd name="connsiteY50" fmla="*/ 37354 h 705948"/>
                  <a:gd name="connsiteX51" fmla="*/ 183838 w 705986"/>
                  <a:gd name="connsiteY51" fmla="*/ 43141 h 705948"/>
                  <a:gd name="connsiteX52" fmla="*/ 172914 w 705986"/>
                  <a:gd name="connsiteY52" fmla="*/ 49426 h 705948"/>
                  <a:gd name="connsiteX53" fmla="*/ 170174 w 705986"/>
                  <a:gd name="connsiteY53" fmla="*/ 51001 h 705948"/>
                  <a:gd name="connsiteX54" fmla="*/ 167520 w 705986"/>
                  <a:gd name="connsiteY54" fmla="*/ 52696 h 705948"/>
                  <a:gd name="connsiteX55" fmla="*/ 162211 w 705986"/>
                  <a:gd name="connsiteY55" fmla="*/ 56104 h 705948"/>
                  <a:gd name="connsiteX56" fmla="*/ 151732 w 705986"/>
                  <a:gd name="connsiteY56" fmla="*/ 63090 h 705948"/>
                  <a:gd name="connsiteX57" fmla="*/ 141475 w 705986"/>
                  <a:gd name="connsiteY57" fmla="*/ 70402 h 705948"/>
                  <a:gd name="connsiteX58" fmla="*/ 121920 w 705986"/>
                  <a:gd name="connsiteY58" fmla="*/ 86310 h 705948"/>
                  <a:gd name="connsiteX59" fmla="*/ 103409 w 705986"/>
                  <a:gd name="connsiteY59" fmla="*/ 103416 h 705948"/>
                  <a:gd name="connsiteX60" fmla="*/ 86303 w 705986"/>
                  <a:gd name="connsiteY60" fmla="*/ 121927 h 705948"/>
                  <a:gd name="connsiteX61" fmla="*/ 70395 w 705986"/>
                  <a:gd name="connsiteY61" fmla="*/ 141482 h 705948"/>
                  <a:gd name="connsiteX62" fmla="*/ 63083 w 705986"/>
                  <a:gd name="connsiteY62" fmla="*/ 151739 h 705948"/>
                  <a:gd name="connsiteX63" fmla="*/ 56097 w 705986"/>
                  <a:gd name="connsiteY63" fmla="*/ 162218 h 705948"/>
                  <a:gd name="connsiteX64" fmla="*/ 52689 w 705986"/>
                  <a:gd name="connsiteY64" fmla="*/ 167526 h 705948"/>
                  <a:gd name="connsiteX65" fmla="*/ 50994 w 705986"/>
                  <a:gd name="connsiteY65" fmla="*/ 170181 h 705948"/>
                  <a:gd name="connsiteX66" fmla="*/ 49419 w 705986"/>
                  <a:gd name="connsiteY66" fmla="*/ 172920 h 705948"/>
                  <a:gd name="connsiteX67" fmla="*/ 43134 w 705986"/>
                  <a:gd name="connsiteY67" fmla="*/ 183845 h 705948"/>
                  <a:gd name="connsiteX68" fmla="*/ 37346 w 705986"/>
                  <a:gd name="connsiteY68" fmla="*/ 195044 h 705948"/>
                  <a:gd name="connsiteX69" fmla="*/ 34504 w 705986"/>
                  <a:gd name="connsiteY69" fmla="*/ 200661 h 705948"/>
                  <a:gd name="connsiteX70" fmla="*/ 31918 w 705986"/>
                  <a:gd name="connsiteY70" fmla="*/ 206397 h 705948"/>
                  <a:gd name="connsiteX71" fmla="*/ 29316 w 705986"/>
                  <a:gd name="connsiteY71" fmla="*/ 212133 h 705948"/>
                  <a:gd name="connsiteX72" fmla="*/ 26833 w 705986"/>
                  <a:gd name="connsiteY72" fmla="*/ 217921 h 705948"/>
                  <a:gd name="connsiteX73" fmla="*/ 22209 w 705986"/>
                  <a:gd name="connsiteY73" fmla="*/ 229633 h 705948"/>
                  <a:gd name="connsiteX74" fmla="*/ 20086 w 705986"/>
                  <a:gd name="connsiteY74" fmla="*/ 235558 h 705948"/>
                  <a:gd name="connsiteX75" fmla="*/ 18065 w 705986"/>
                  <a:gd name="connsiteY75" fmla="*/ 241517 h 705948"/>
                  <a:gd name="connsiteX76" fmla="*/ 16045 w 705986"/>
                  <a:gd name="connsiteY76" fmla="*/ 247476 h 705948"/>
                  <a:gd name="connsiteX77" fmla="*/ 14298 w 705986"/>
                  <a:gd name="connsiteY77" fmla="*/ 253521 h 705948"/>
                  <a:gd name="connsiteX78" fmla="*/ 10891 w 705986"/>
                  <a:gd name="connsiteY78" fmla="*/ 265644 h 705948"/>
                  <a:gd name="connsiteX79" fmla="*/ 8065 w 705986"/>
                  <a:gd name="connsiteY79" fmla="*/ 277922 h 705948"/>
                  <a:gd name="connsiteX80" fmla="*/ 5651 w 705986"/>
                  <a:gd name="connsiteY80" fmla="*/ 290285 h 705948"/>
                  <a:gd name="connsiteX81" fmla="*/ 3613 w 705986"/>
                  <a:gd name="connsiteY81" fmla="*/ 302717 h 705948"/>
                  <a:gd name="connsiteX82" fmla="*/ 2021 w 705986"/>
                  <a:gd name="connsiteY82" fmla="*/ 315217 h 705948"/>
                  <a:gd name="connsiteX83" fmla="*/ 993 w 705986"/>
                  <a:gd name="connsiteY83" fmla="*/ 327785 h 705948"/>
                  <a:gd name="connsiteX84" fmla="*/ 514 w 705986"/>
                  <a:gd name="connsiteY84" fmla="*/ 334070 h 705948"/>
                  <a:gd name="connsiteX85" fmla="*/ 325 w 705986"/>
                  <a:gd name="connsiteY85" fmla="*/ 340371 h 705948"/>
                  <a:gd name="connsiteX86" fmla="*/ 0 w 705986"/>
                  <a:gd name="connsiteY86" fmla="*/ 352974 h 705948"/>
                  <a:gd name="connsiteX87" fmla="*/ 325 w 705986"/>
                  <a:gd name="connsiteY87" fmla="*/ 365577 h 705948"/>
                  <a:gd name="connsiteX88" fmla="*/ 514 w 705986"/>
                  <a:gd name="connsiteY88" fmla="*/ 371878 h 705948"/>
                  <a:gd name="connsiteX89" fmla="*/ 993 w 705986"/>
                  <a:gd name="connsiteY89" fmla="*/ 378163 h 705948"/>
                  <a:gd name="connsiteX90" fmla="*/ 2021 w 705986"/>
                  <a:gd name="connsiteY90" fmla="*/ 390731 h 705948"/>
                  <a:gd name="connsiteX91" fmla="*/ 3613 w 705986"/>
                  <a:gd name="connsiteY91" fmla="*/ 403232 h 705948"/>
                  <a:gd name="connsiteX92" fmla="*/ 5651 w 705986"/>
                  <a:gd name="connsiteY92" fmla="*/ 415663 h 705948"/>
                  <a:gd name="connsiteX93" fmla="*/ 8065 w 705986"/>
                  <a:gd name="connsiteY93" fmla="*/ 428026 h 705948"/>
                  <a:gd name="connsiteX94" fmla="*/ 10891 w 705986"/>
                  <a:gd name="connsiteY94" fmla="*/ 440304 h 705948"/>
                  <a:gd name="connsiteX95" fmla="*/ 14298 w 705986"/>
                  <a:gd name="connsiteY95" fmla="*/ 452427 h 705948"/>
                  <a:gd name="connsiteX96" fmla="*/ 16045 w 705986"/>
                  <a:gd name="connsiteY96" fmla="*/ 458472 h 705948"/>
                  <a:gd name="connsiteX97" fmla="*/ 18065 w 705986"/>
                  <a:gd name="connsiteY97" fmla="*/ 464431 h 705948"/>
                  <a:gd name="connsiteX98" fmla="*/ 20086 w 705986"/>
                  <a:gd name="connsiteY98" fmla="*/ 470390 h 705948"/>
                  <a:gd name="connsiteX99" fmla="*/ 22209 w 705986"/>
                  <a:gd name="connsiteY99" fmla="*/ 476315 h 705948"/>
                  <a:gd name="connsiteX100" fmla="*/ 26833 w 705986"/>
                  <a:gd name="connsiteY100" fmla="*/ 488027 h 705948"/>
                  <a:gd name="connsiteX101" fmla="*/ 29316 w 705986"/>
                  <a:gd name="connsiteY101" fmla="*/ 493815 h 705948"/>
                  <a:gd name="connsiteX102" fmla="*/ 31918 w 705986"/>
                  <a:gd name="connsiteY102" fmla="*/ 499551 h 705948"/>
                  <a:gd name="connsiteX103" fmla="*/ 34504 w 705986"/>
                  <a:gd name="connsiteY103" fmla="*/ 505288 h 705948"/>
                  <a:gd name="connsiteX104" fmla="*/ 37346 w 705986"/>
                  <a:gd name="connsiteY104" fmla="*/ 510904 h 705948"/>
                  <a:gd name="connsiteX105" fmla="*/ 43134 w 705986"/>
                  <a:gd name="connsiteY105" fmla="*/ 522103 h 705948"/>
                  <a:gd name="connsiteX106" fmla="*/ 49419 w 705986"/>
                  <a:gd name="connsiteY106" fmla="*/ 533028 h 705948"/>
                  <a:gd name="connsiteX107" fmla="*/ 50994 w 705986"/>
                  <a:gd name="connsiteY107" fmla="*/ 535768 h 705948"/>
                  <a:gd name="connsiteX108" fmla="*/ 52689 w 705986"/>
                  <a:gd name="connsiteY108" fmla="*/ 538422 h 705948"/>
                  <a:gd name="connsiteX109" fmla="*/ 56097 w 705986"/>
                  <a:gd name="connsiteY109" fmla="*/ 543730 h 705948"/>
                  <a:gd name="connsiteX110" fmla="*/ 63083 w 705986"/>
                  <a:gd name="connsiteY110" fmla="*/ 554210 h 705948"/>
                  <a:gd name="connsiteX111" fmla="*/ 70395 w 705986"/>
                  <a:gd name="connsiteY111" fmla="*/ 564467 h 705948"/>
                  <a:gd name="connsiteX112" fmla="*/ 86303 w 705986"/>
                  <a:gd name="connsiteY112" fmla="*/ 584022 h 705948"/>
                  <a:gd name="connsiteX113" fmla="*/ 103409 w 705986"/>
                  <a:gd name="connsiteY113" fmla="*/ 602532 h 705948"/>
                  <a:gd name="connsiteX114" fmla="*/ 121920 w 705986"/>
                  <a:gd name="connsiteY114" fmla="*/ 619639 h 705948"/>
                  <a:gd name="connsiteX115" fmla="*/ 141475 w 705986"/>
                  <a:gd name="connsiteY115" fmla="*/ 635546 h 705948"/>
                  <a:gd name="connsiteX116" fmla="*/ 151732 w 705986"/>
                  <a:gd name="connsiteY116" fmla="*/ 642858 h 705948"/>
                  <a:gd name="connsiteX117" fmla="*/ 162211 w 705986"/>
                  <a:gd name="connsiteY117" fmla="*/ 649844 h 705948"/>
                  <a:gd name="connsiteX118" fmla="*/ 167520 w 705986"/>
                  <a:gd name="connsiteY118" fmla="*/ 653252 h 705948"/>
                  <a:gd name="connsiteX119" fmla="*/ 170174 w 705986"/>
                  <a:gd name="connsiteY119" fmla="*/ 654947 h 705948"/>
                  <a:gd name="connsiteX120" fmla="*/ 172914 w 705986"/>
                  <a:gd name="connsiteY120" fmla="*/ 656523 h 705948"/>
                  <a:gd name="connsiteX121" fmla="*/ 183838 w 705986"/>
                  <a:gd name="connsiteY121" fmla="*/ 662807 h 705948"/>
                  <a:gd name="connsiteX122" fmla="*/ 195037 w 705986"/>
                  <a:gd name="connsiteY122" fmla="*/ 668595 h 705948"/>
                  <a:gd name="connsiteX123" fmla="*/ 200654 w 705986"/>
                  <a:gd name="connsiteY123" fmla="*/ 671437 h 705948"/>
                  <a:gd name="connsiteX124" fmla="*/ 206390 w 705986"/>
                  <a:gd name="connsiteY124" fmla="*/ 674023 h 705948"/>
                  <a:gd name="connsiteX125" fmla="*/ 212126 w 705986"/>
                  <a:gd name="connsiteY125" fmla="*/ 676626 h 705948"/>
                  <a:gd name="connsiteX126" fmla="*/ 217914 w 705986"/>
                  <a:gd name="connsiteY126" fmla="*/ 679108 h 705948"/>
                  <a:gd name="connsiteX127" fmla="*/ 229627 w 705986"/>
                  <a:gd name="connsiteY127" fmla="*/ 683732 h 705948"/>
                  <a:gd name="connsiteX128" fmla="*/ 235551 w 705986"/>
                  <a:gd name="connsiteY128" fmla="*/ 685855 h 705948"/>
                  <a:gd name="connsiteX129" fmla="*/ 241510 w 705986"/>
                  <a:gd name="connsiteY129" fmla="*/ 687876 h 705948"/>
                  <a:gd name="connsiteX130" fmla="*/ 247469 w 705986"/>
                  <a:gd name="connsiteY130" fmla="*/ 689896 h 705948"/>
                  <a:gd name="connsiteX131" fmla="*/ 253514 w 705986"/>
                  <a:gd name="connsiteY131" fmla="*/ 691643 h 705948"/>
                  <a:gd name="connsiteX132" fmla="*/ 265637 w 705986"/>
                  <a:gd name="connsiteY132" fmla="*/ 695050 h 705948"/>
                  <a:gd name="connsiteX133" fmla="*/ 277915 w 705986"/>
                  <a:gd name="connsiteY133" fmla="*/ 697876 h 705948"/>
                  <a:gd name="connsiteX134" fmla="*/ 290278 w 705986"/>
                  <a:gd name="connsiteY134" fmla="*/ 700290 h 705948"/>
                  <a:gd name="connsiteX135" fmla="*/ 302710 w 705986"/>
                  <a:gd name="connsiteY135" fmla="*/ 702328 h 705948"/>
                  <a:gd name="connsiteX136" fmla="*/ 499596 w 705986"/>
                  <a:gd name="connsiteY136" fmla="*/ 674040 h 705948"/>
                  <a:gd name="connsiteX137" fmla="*/ 505333 w 705986"/>
                  <a:gd name="connsiteY137" fmla="*/ 671454 h 705948"/>
                  <a:gd name="connsiteX138" fmla="*/ 510949 w 705986"/>
                  <a:gd name="connsiteY138" fmla="*/ 668612 h 705948"/>
                  <a:gd name="connsiteX139" fmla="*/ 522148 w 705986"/>
                  <a:gd name="connsiteY139" fmla="*/ 662824 h 705948"/>
                  <a:gd name="connsiteX140" fmla="*/ 533073 w 705986"/>
                  <a:gd name="connsiteY140" fmla="*/ 656540 h 705948"/>
                  <a:gd name="connsiteX141" fmla="*/ 535813 w 705986"/>
                  <a:gd name="connsiteY141" fmla="*/ 654964 h 705948"/>
                  <a:gd name="connsiteX142" fmla="*/ 538467 w 705986"/>
                  <a:gd name="connsiteY142" fmla="*/ 653269 h 705948"/>
                  <a:gd name="connsiteX143" fmla="*/ 543775 w 705986"/>
                  <a:gd name="connsiteY143" fmla="*/ 649862 h 705948"/>
                  <a:gd name="connsiteX144" fmla="*/ 554255 w 705986"/>
                  <a:gd name="connsiteY144" fmla="*/ 642875 h 705948"/>
                  <a:gd name="connsiteX145" fmla="*/ 564512 w 705986"/>
                  <a:gd name="connsiteY145" fmla="*/ 635563 h 705948"/>
                  <a:gd name="connsiteX146" fmla="*/ 584067 w 705986"/>
                  <a:gd name="connsiteY146" fmla="*/ 619656 h 705948"/>
                  <a:gd name="connsiteX147" fmla="*/ 602577 w 705986"/>
                  <a:gd name="connsiteY147" fmla="*/ 602549 h 705948"/>
                  <a:gd name="connsiteX148" fmla="*/ 619684 w 705986"/>
                  <a:gd name="connsiteY148" fmla="*/ 584039 h 705948"/>
                  <a:gd name="connsiteX149" fmla="*/ 635592 w 705986"/>
                  <a:gd name="connsiteY149" fmla="*/ 564484 h 705948"/>
                  <a:gd name="connsiteX150" fmla="*/ 642903 w 705986"/>
                  <a:gd name="connsiteY150" fmla="*/ 554227 h 705948"/>
                  <a:gd name="connsiteX151" fmla="*/ 649890 w 705986"/>
                  <a:gd name="connsiteY151" fmla="*/ 543747 h 705948"/>
                  <a:gd name="connsiteX152" fmla="*/ 653297 w 705986"/>
                  <a:gd name="connsiteY152" fmla="*/ 538439 h 705948"/>
                  <a:gd name="connsiteX153" fmla="*/ 654992 w 705986"/>
                  <a:gd name="connsiteY153" fmla="*/ 535785 h 705948"/>
                  <a:gd name="connsiteX154" fmla="*/ 656568 w 705986"/>
                  <a:gd name="connsiteY154" fmla="*/ 533045 h 705948"/>
                  <a:gd name="connsiteX155" fmla="*/ 662852 w 705986"/>
                  <a:gd name="connsiteY155" fmla="*/ 522120 h 705948"/>
                  <a:gd name="connsiteX156" fmla="*/ 668640 w 705986"/>
                  <a:gd name="connsiteY156" fmla="*/ 510921 h 705948"/>
                  <a:gd name="connsiteX157" fmla="*/ 671482 w 705986"/>
                  <a:gd name="connsiteY157" fmla="*/ 505305 h 705948"/>
                  <a:gd name="connsiteX158" fmla="*/ 674068 w 705986"/>
                  <a:gd name="connsiteY158" fmla="*/ 499568 h 705948"/>
                  <a:gd name="connsiteX159" fmla="*/ 676671 w 705986"/>
                  <a:gd name="connsiteY159" fmla="*/ 493832 h 705948"/>
                  <a:gd name="connsiteX160" fmla="*/ 679154 w 705986"/>
                  <a:gd name="connsiteY160" fmla="*/ 488044 h 705948"/>
                  <a:gd name="connsiteX161" fmla="*/ 683777 w 705986"/>
                  <a:gd name="connsiteY161" fmla="*/ 476332 h 705948"/>
                  <a:gd name="connsiteX162" fmla="*/ 685900 w 705986"/>
                  <a:gd name="connsiteY162" fmla="*/ 470407 h 705948"/>
                  <a:gd name="connsiteX163" fmla="*/ 687921 w 705986"/>
                  <a:gd name="connsiteY163" fmla="*/ 464448 h 705948"/>
                  <a:gd name="connsiteX164" fmla="*/ 689942 w 705986"/>
                  <a:gd name="connsiteY164" fmla="*/ 458489 h 705948"/>
                  <a:gd name="connsiteX165" fmla="*/ 691688 w 705986"/>
                  <a:gd name="connsiteY165" fmla="*/ 452445 h 705948"/>
                  <a:gd name="connsiteX166" fmla="*/ 695096 w 705986"/>
                  <a:gd name="connsiteY166" fmla="*/ 440321 h 705948"/>
                  <a:gd name="connsiteX167" fmla="*/ 697921 w 705986"/>
                  <a:gd name="connsiteY167" fmla="*/ 428044 h 705948"/>
                  <a:gd name="connsiteX168" fmla="*/ 700336 w 705986"/>
                  <a:gd name="connsiteY168" fmla="*/ 415680 h 705948"/>
                  <a:gd name="connsiteX169" fmla="*/ 702373 w 705986"/>
                  <a:gd name="connsiteY169" fmla="*/ 403249 h 705948"/>
                  <a:gd name="connsiteX170" fmla="*/ 703966 w 705986"/>
                  <a:gd name="connsiteY170" fmla="*/ 390749 h 705948"/>
                  <a:gd name="connsiteX171" fmla="*/ 704993 w 705986"/>
                  <a:gd name="connsiteY171" fmla="*/ 378180 h 705948"/>
                  <a:gd name="connsiteX172" fmla="*/ 705473 w 705986"/>
                  <a:gd name="connsiteY172" fmla="*/ 371896 h 705948"/>
                  <a:gd name="connsiteX173" fmla="*/ 705661 w 705986"/>
                  <a:gd name="connsiteY173" fmla="*/ 365594 h 705948"/>
                  <a:gd name="connsiteX174" fmla="*/ 705986 w 705986"/>
                  <a:gd name="connsiteY174" fmla="*/ 352991 h 705948"/>
                  <a:gd name="connsiteX175" fmla="*/ 705661 w 705986"/>
                  <a:gd name="connsiteY175" fmla="*/ 340388 h 705948"/>
                  <a:gd name="connsiteX176" fmla="*/ 705473 w 705986"/>
                  <a:gd name="connsiteY176" fmla="*/ 334087 h 705948"/>
                  <a:gd name="connsiteX177" fmla="*/ 670866 w 705986"/>
                  <a:gd name="connsiteY177" fmla="*/ 364344 h 705948"/>
                  <a:gd name="connsiteX178" fmla="*/ 670695 w 705986"/>
                  <a:gd name="connsiteY178" fmla="*/ 370029 h 705948"/>
                  <a:gd name="connsiteX179" fmla="*/ 670250 w 705986"/>
                  <a:gd name="connsiteY179" fmla="*/ 375697 h 705948"/>
                  <a:gd name="connsiteX180" fmla="*/ 669325 w 705986"/>
                  <a:gd name="connsiteY180" fmla="*/ 387033 h 705948"/>
                  <a:gd name="connsiteX181" fmla="*/ 667886 w 705986"/>
                  <a:gd name="connsiteY181" fmla="*/ 398300 h 705948"/>
                  <a:gd name="connsiteX182" fmla="*/ 666037 w 705986"/>
                  <a:gd name="connsiteY182" fmla="*/ 409499 h 705948"/>
                  <a:gd name="connsiteX183" fmla="*/ 663862 w 705986"/>
                  <a:gd name="connsiteY183" fmla="*/ 420629 h 705948"/>
                  <a:gd name="connsiteX184" fmla="*/ 661311 w 705986"/>
                  <a:gd name="connsiteY184" fmla="*/ 431691 h 705948"/>
                  <a:gd name="connsiteX185" fmla="*/ 658246 w 705986"/>
                  <a:gd name="connsiteY185" fmla="*/ 442616 h 705948"/>
                  <a:gd name="connsiteX186" fmla="*/ 656688 w 705986"/>
                  <a:gd name="connsiteY186" fmla="*/ 448061 h 705948"/>
                  <a:gd name="connsiteX187" fmla="*/ 654855 w 705986"/>
                  <a:gd name="connsiteY187" fmla="*/ 453438 h 705948"/>
                  <a:gd name="connsiteX188" fmla="*/ 653040 w 705986"/>
                  <a:gd name="connsiteY188" fmla="*/ 458815 h 705948"/>
                  <a:gd name="connsiteX189" fmla="*/ 651140 w 705986"/>
                  <a:gd name="connsiteY189" fmla="*/ 464157 h 705948"/>
                  <a:gd name="connsiteX190" fmla="*/ 646979 w 705986"/>
                  <a:gd name="connsiteY190" fmla="*/ 474705 h 705948"/>
                  <a:gd name="connsiteX191" fmla="*/ 644735 w 705986"/>
                  <a:gd name="connsiteY191" fmla="*/ 479911 h 705948"/>
                  <a:gd name="connsiteX192" fmla="*/ 642390 w 705986"/>
                  <a:gd name="connsiteY192" fmla="*/ 485082 h 705948"/>
                  <a:gd name="connsiteX193" fmla="*/ 640061 w 705986"/>
                  <a:gd name="connsiteY193" fmla="*/ 490253 h 705948"/>
                  <a:gd name="connsiteX194" fmla="*/ 637492 w 705986"/>
                  <a:gd name="connsiteY194" fmla="*/ 495322 h 705948"/>
                  <a:gd name="connsiteX195" fmla="*/ 632287 w 705986"/>
                  <a:gd name="connsiteY195" fmla="*/ 505408 h 705948"/>
                  <a:gd name="connsiteX196" fmla="*/ 626619 w 705986"/>
                  <a:gd name="connsiteY196" fmla="*/ 515254 h 705948"/>
                  <a:gd name="connsiteX197" fmla="*/ 625215 w 705986"/>
                  <a:gd name="connsiteY197" fmla="*/ 517719 h 705948"/>
                  <a:gd name="connsiteX198" fmla="*/ 623691 w 705986"/>
                  <a:gd name="connsiteY198" fmla="*/ 520117 h 705948"/>
                  <a:gd name="connsiteX199" fmla="*/ 620626 w 705986"/>
                  <a:gd name="connsiteY199" fmla="*/ 524894 h 705948"/>
                  <a:gd name="connsiteX200" fmla="*/ 614324 w 705986"/>
                  <a:gd name="connsiteY200" fmla="*/ 534346 h 705948"/>
                  <a:gd name="connsiteX201" fmla="*/ 607732 w 705986"/>
                  <a:gd name="connsiteY201" fmla="*/ 543610 h 705948"/>
                  <a:gd name="connsiteX202" fmla="*/ 593382 w 705986"/>
                  <a:gd name="connsiteY202" fmla="*/ 561247 h 705948"/>
                  <a:gd name="connsiteX203" fmla="*/ 577971 w 705986"/>
                  <a:gd name="connsiteY203" fmla="*/ 577960 h 705948"/>
                  <a:gd name="connsiteX204" fmla="*/ 561258 w 705986"/>
                  <a:gd name="connsiteY204" fmla="*/ 593371 h 705948"/>
                  <a:gd name="connsiteX205" fmla="*/ 543621 w 705986"/>
                  <a:gd name="connsiteY205" fmla="*/ 607721 h 705948"/>
                  <a:gd name="connsiteX206" fmla="*/ 534357 w 705986"/>
                  <a:gd name="connsiteY206" fmla="*/ 614313 h 705948"/>
                  <a:gd name="connsiteX207" fmla="*/ 524905 w 705986"/>
                  <a:gd name="connsiteY207" fmla="*/ 620615 h 705948"/>
                  <a:gd name="connsiteX208" fmla="*/ 520127 w 705986"/>
                  <a:gd name="connsiteY208" fmla="*/ 623680 h 705948"/>
                  <a:gd name="connsiteX209" fmla="*/ 517730 w 705986"/>
                  <a:gd name="connsiteY209" fmla="*/ 625204 h 705948"/>
                  <a:gd name="connsiteX210" fmla="*/ 515264 w 705986"/>
                  <a:gd name="connsiteY210" fmla="*/ 626608 h 705948"/>
                  <a:gd name="connsiteX211" fmla="*/ 505418 w 705986"/>
                  <a:gd name="connsiteY211" fmla="*/ 632276 h 705948"/>
                  <a:gd name="connsiteX212" fmla="*/ 495333 w 705986"/>
                  <a:gd name="connsiteY212" fmla="*/ 637481 h 705948"/>
                  <a:gd name="connsiteX213" fmla="*/ 490264 w 705986"/>
                  <a:gd name="connsiteY213" fmla="*/ 640050 h 705948"/>
                  <a:gd name="connsiteX214" fmla="*/ 485093 w 705986"/>
                  <a:gd name="connsiteY214" fmla="*/ 642378 h 705948"/>
                  <a:gd name="connsiteX215" fmla="*/ 479921 w 705986"/>
                  <a:gd name="connsiteY215" fmla="*/ 644725 h 705948"/>
                  <a:gd name="connsiteX216" fmla="*/ 474716 w 705986"/>
                  <a:gd name="connsiteY216" fmla="*/ 646968 h 705948"/>
                  <a:gd name="connsiteX217" fmla="*/ 464168 w 705986"/>
                  <a:gd name="connsiteY217" fmla="*/ 651129 h 705948"/>
                  <a:gd name="connsiteX218" fmla="*/ 458825 w 705986"/>
                  <a:gd name="connsiteY218" fmla="*/ 653029 h 705948"/>
                  <a:gd name="connsiteX219" fmla="*/ 453448 w 705986"/>
                  <a:gd name="connsiteY219" fmla="*/ 654844 h 705948"/>
                  <a:gd name="connsiteX220" fmla="*/ 448072 w 705986"/>
                  <a:gd name="connsiteY220" fmla="*/ 656677 h 705948"/>
                  <a:gd name="connsiteX221" fmla="*/ 442626 w 705986"/>
                  <a:gd name="connsiteY221" fmla="*/ 658235 h 705948"/>
                  <a:gd name="connsiteX222" fmla="*/ 431702 w 705986"/>
                  <a:gd name="connsiteY222" fmla="*/ 661300 h 705948"/>
                  <a:gd name="connsiteX223" fmla="*/ 420640 w 705986"/>
                  <a:gd name="connsiteY223" fmla="*/ 663851 h 705948"/>
                  <a:gd name="connsiteX224" fmla="*/ 409509 w 705986"/>
                  <a:gd name="connsiteY224" fmla="*/ 666026 h 705948"/>
                  <a:gd name="connsiteX225" fmla="*/ 398311 w 705986"/>
                  <a:gd name="connsiteY225" fmla="*/ 667875 h 705948"/>
                  <a:gd name="connsiteX226" fmla="*/ 387043 w 705986"/>
                  <a:gd name="connsiteY226" fmla="*/ 669314 h 705948"/>
                  <a:gd name="connsiteX227" fmla="*/ 375708 w 705986"/>
                  <a:gd name="connsiteY227" fmla="*/ 670238 h 705948"/>
                  <a:gd name="connsiteX228" fmla="*/ 370040 w 705986"/>
                  <a:gd name="connsiteY228" fmla="*/ 670684 h 705948"/>
                  <a:gd name="connsiteX229" fmla="*/ 364355 w 705986"/>
                  <a:gd name="connsiteY229" fmla="*/ 670855 h 705948"/>
                  <a:gd name="connsiteX230" fmla="*/ 352968 w 705986"/>
                  <a:gd name="connsiteY230" fmla="*/ 671163 h 705948"/>
                  <a:gd name="connsiteX231" fmla="*/ 341580 w 705986"/>
                  <a:gd name="connsiteY231" fmla="*/ 670855 h 705948"/>
                  <a:gd name="connsiteX232" fmla="*/ 335895 w 705986"/>
                  <a:gd name="connsiteY232" fmla="*/ 670684 h 705948"/>
                  <a:gd name="connsiteX233" fmla="*/ 330227 w 705986"/>
                  <a:gd name="connsiteY233" fmla="*/ 670238 h 705948"/>
                  <a:gd name="connsiteX234" fmla="*/ 318892 w 705986"/>
                  <a:gd name="connsiteY234" fmla="*/ 669314 h 705948"/>
                  <a:gd name="connsiteX235" fmla="*/ 307624 w 705986"/>
                  <a:gd name="connsiteY235" fmla="*/ 667875 h 705948"/>
                  <a:gd name="connsiteX236" fmla="*/ 296426 w 705986"/>
                  <a:gd name="connsiteY236" fmla="*/ 666026 h 705948"/>
                  <a:gd name="connsiteX237" fmla="*/ 285295 w 705986"/>
                  <a:gd name="connsiteY237" fmla="*/ 663851 h 705948"/>
                  <a:gd name="connsiteX238" fmla="*/ 274233 w 705986"/>
                  <a:gd name="connsiteY238" fmla="*/ 661300 h 705948"/>
                  <a:gd name="connsiteX239" fmla="*/ 263309 w 705986"/>
                  <a:gd name="connsiteY239" fmla="*/ 658235 h 705948"/>
                  <a:gd name="connsiteX240" fmla="*/ 257863 w 705986"/>
                  <a:gd name="connsiteY240" fmla="*/ 656677 h 705948"/>
                  <a:gd name="connsiteX241" fmla="*/ 252487 w 705986"/>
                  <a:gd name="connsiteY241" fmla="*/ 654844 h 705948"/>
                  <a:gd name="connsiteX242" fmla="*/ 247110 w 705986"/>
                  <a:gd name="connsiteY242" fmla="*/ 653029 h 705948"/>
                  <a:gd name="connsiteX243" fmla="*/ 241767 w 705986"/>
                  <a:gd name="connsiteY243" fmla="*/ 651129 h 705948"/>
                  <a:gd name="connsiteX244" fmla="*/ 231219 w 705986"/>
                  <a:gd name="connsiteY244" fmla="*/ 646968 h 705948"/>
                  <a:gd name="connsiteX245" fmla="*/ 226014 w 705986"/>
                  <a:gd name="connsiteY245" fmla="*/ 644725 h 705948"/>
                  <a:gd name="connsiteX246" fmla="*/ 220842 w 705986"/>
                  <a:gd name="connsiteY246" fmla="*/ 642378 h 705948"/>
                  <a:gd name="connsiteX247" fmla="*/ 215671 w 705986"/>
                  <a:gd name="connsiteY247" fmla="*/ 640050 h 705948"/>
                  <a:gd name="connsiteX248" fmla="*/ 210602 w 705986"/>
                  <a:gd name="connsiteY248" fmla="*/ 637481 h 705948"/>
                  <a:gd name="connsiteX249" fmla="*/ 200517 w 705986"/>
                  <a:gd name="connsiteY249" fmla="*/ 632276 h 705948"/>
                  <a:gd name="connsiteX250" fmla="*/ 190671 w 705986"/>
                  <a:gd name="connsiteY250" fmla="*/ 626608 h 705948"/>
                  <a:gd name="connsiteX251" fmla="*/ 188205 w 705986"/>
                  <a:gd name="connsiteY251" fmla="*/ 625204 h 705948"/>
                  <a:gd name="connsiteX252" fmla="*/ 185808 w 705986"/>
                  <a:gd name="connsiteY252" fmla="*/ 623680 h 705948"/>
                  <a:gd name="connsiteX253" fmla="*/ 181030 w 705986"/>
                  <a:gd name="connsiteY253" fmla="*/ 620615 h 705948"/>
                  <a:gd name="connsiteX254" fmla="*/ 171578 w 705986"/>
                  <a:gd name="connsiteY254" fmla="*/ 614313 h 705948"/>
                  <a:gd name="connsiteX255" fmla="*/ 162314 w 705986"/>
                  <a:gd name="connsiteY255" fmla="*/ 607721 h 705948"/>
                  <a:gd name="connsiteX256" fmla="*/ 144677 w 705986"/>
                  <a:gd name="connsiteY256" fmla="*/ 593371 h 705948"/>
                  <a:gd name="connsiteX257" fmla="*/ 127964 w 705986"/>
                  <a:gd name="connsiteY257" fmla="*/ 577960 h 705948"/>
                  <a:gd name="connsiteX258" fmla="*/ 112553 w 705986"/>
                  <a:gd name="connsiteY258" fmla="*/ 561247 h 705948"/>
                  <a:gd name="connsiteX259" fmla="*/ 98203 w 705986"/>
                  <a:gd name="connsiteY259" fmla="*/ 543610 h 705948"/>
                  <a:gd name="connsiteX260" fmla="*/ 91611 w 705986"/>
                  <a:gd name="connsiteY260" fmla="*/ 534346 h 705948"/>
                  <a:gd name="connsiteX261" fmla="*/ 85309 w 705986"/>
                  <a:gd name="connsiteY261" fmla="*/ 524894 h 705948"/>
                  <a:gd name="connsiteX262" fmla="*/ 82244 w 705986"/>
                  <a:gd name="connsiteY262" fmla="*/ 520117 h 705948"/>
                  <a:gd name="connsiteX263" fmla="*/ 80720 w 705986"/>
                  <a:gd name="connsiteY263" fmla="*/ 517719 h 705948"/>
                  <a:gd name="connsiteX264" fmla="*/ 79316 w 705986"/>
                  <a:gd name="connsiteY264" fmla="*/ 515254 h 705948"/>
                  <a:gd name="connsiteX265" fmla="*/ 73648 w 705986"/>
                  <a:gd name="connsiteY265" fmla="*/ 505408 h 705948"/>
                  <a:gd name="connsiteX266" fmla="*/ 68443 w 705986"/>
                  <a:gd name="connsiteY266" fmla="*/ 495322 h 705948"/>
                  <a:gd name="connsiteX267" fmla="*/ 65874 w 705986"/>
                  <a:gd name="connsiteY267" fmla="*/ 490253 h 705948"/>
                  <a:gd name="connsiteX268" fmla="*/ 63545 w 705986"/>
                  <a:gd name="connsiteY268" fmla="*/ 485082 h 705948"/>
                  <a:gd name="connsiteX269" fmla="*/ 61200 w 705986"/>
                  <a:gd name="connsiteY269" fmla="*/ 479911 h 705948"/>
                  <a:gd name="connsiteX270" fmla="*/ 58956 w 705986"/>
                  <a:gd name="connsiteY270" fmla="*/ 474705 h 705948"/>
                  <a:gd name="connsiteX271" fmla="*/ 54795 w 705986"/>
                  <a:gd name="connsiteY271" fmla="*/ 464157 h 705948"/>
                  <a:gd name="connsiteX272" fmla="*/ 52895 w 705986"/>
                  <a:gd name="connsiteY272" fmla="*/ 458815 h 705948"/>
                  <a:gd name="connsiteX273" fmla="*/ 51080 w 705986"/>
                  <a:gd name="connsiteY273" fmla="*/ 453438 h 705948"/>
                  <a:gd name="connsiteX274" fmla="*/ 49247 w 705986"/>
                  <a:gd name="connsiteY274" fmla="*/ 448061 h 705948"/>
                  <a:gd name="connsiteX275" fmla="*/ 47689 w 705986"/>
                  <a:gd name="connsiteY275" fmla="*/ 442616 h 705948"/>
                  <a:gd name="connsiteX276" fmla="*/ 44624 w 705986"/>
                  <a:gd name="connsiteY276" fmla="*/ 431691 h 705948"/>
                  <a:gd name="connsiteX277" fmla="*/ 42073 w 705986"/>
                  <a:gd name="connsiteY277" fmla="*/ 420629 h 705948"/>
                  <a:gd name="connsiteX278" fmla="*/ 39898 w 705986"/>
                  <a:gd name="connsiteY278" fmla="*/ 409499 h 705948"/>
                  <a:gd name="connsiteX279" fmla="*/ 38049 w 705986"/>
                  <a:gd name="connsiteY279" fmla="*/ 398300 h 705948"/>
                  <a:gd name="connsiteX280" fmla="*/ 36610 w 705986"/>
                  <a:gd name="connsiteY280" fmla="*/ 387033 h 705948"/>
                  <a:gd name="connsiteX281" fmla="*/ 35685 w 705986"/>
                  <a:gd name="connsiteY281" fmla="*/ 375697 h 705948"/>
                  <a:gd name="connsiteX282" fmla="*/ 35240 w 705986"/>
                  <a:gd name="connsiteY282" fmla="*/ 370029 h 705948"/>
                  <a:gd name="connsiteX283" fmla="*/ 35069 w 705986"/>
                  <a:gd name="connsiteY283" fmla="*/ 364344 h 705948"/>
                  <a:gd name="connsiteX284" fmla="*/ 34761 w 705986"/>
                  <a:gd name="connsiteY284" fmla="*/ 352957 h 705948"/>
                  <a:gd name="connsiteX285" fmla="*/ 35069 w 705986"/>
                  <a:gd name="connsiteY285" fmla="*/ 341570 h 705948"/>
                  <a:gd name="connsiteX286" fmla="*/ 35240 w 705986"/>
                  <a:gd name="connsiteY286" fmla="*/ 335885 h 705948"/>
                  <a:gd name="connsiteX287" fmla="*/ 35685 w 705986"/>
                  <a:gd name="connsiteY287" fmla="*/ 330217 h 705948"/>
                  <a:gd name="connsiteX288" fmla="*/ 36610 w 705986"/>
                  <a:gd name="connsiteY288" fmla="*/ 318881 h 705948"/>
                  <a:gd name="connsiteX289" fmla="*/ 38049 w 705986"/>
                  <a:gd name="connsiteY289" fmla="*/ 307614 h 705948"/>
                  <a:gd name="connsiteX290" fmla="*/ 39898 w 705986"/>
                  <a:gd name="connsiteY290" fmla="*/ 296415 h 705948"/>
                  <a:gd name="connsiteX291" fmla="*/ 42073 w 705986"/>
                  <a:gd name="connsiteY291" fmla="*/ 285285 h 705948"/>
                  <a:gd name="connsiteX292" fmla="*/ 44624 w 705986"/>
                  <a:gd name="connsiteY292" fmla="*/ 274223 h 705948"/>
                  <a:gd name="connsiteX293" fmla="*/ 47689 w 705986"/>
                  <a:gd name="connsiteY293" fmla="*/ 263298 h 705948"/>
                  <a:gd name="connsiteX294" fmla="*/ 49247 w 705986"/>
                  <a:gd name="connsiteY294" fmla="*/ 257853 h 705948"/>
                  <a:gd name="connsiteX295" fmla="*/ 51080 w 705986"/>
                  <a:gd name="connsiteY295" fmla="*/ 252476 h 705948"/>
                  <a:gd name="connsiteX296" fmla="*/ 52895 w 705986"/>
                  <a:gd name="connsiteY296" fmla="*/ 247099 h 705948"/>
                  <a:gd name="connsiteX297" fmla="*/ 54795 w 705986"/>
                  <a:gd name="connsiteY297" fmla="*/ 241757 h 705948"/>
                  <a:gd name="connsiteX298" fmla="*/ 58956 w 705986"/>
                  <a:gd name="connsiteY298" fmla="*/ 231209 h 705948"/>
                  <a:gd name="connsiteX299" fmla="*/ 61200 w 705986"/>
                  <a:gd name="connsiteY299" fmla="*/ 226003 h 705948"/>
                  <a:gd name="connsiteX300" fmla="*/ 63545 w 705986"/>
                  <a:gd name="connsiteY300" fmla="*/ 220832 h 705948"/>
                  <a:gd name="connsiteX301" fmla="*/ 65874 w 705986"/>
                  <a:gd name="connsiteY301" fmla="*/ 215661 h 705948"/>
                  <a:gd name="connsiteX302" fmla="*/ 68443 w 705986"/>
                  <a:gd name="connsiteY302" fmla="*/ 210592 h 705948"/>
                  <a:gd name="connsiteX303" fmla="*/ 73648 w 705986"/>
                  <a:gd name="connsiteY303" fmla="*/ 200506 h 705948"/>
                  <a:gd name="connsiteX304" fmla="*/ 79316 w 705986"/>
                  <a:gd name="connsiteY304" fmla="*/ 190660 h 705948"/>
                  <a:gd name="connsiteX305" fmla="*/ 80720 w 705986"/>
                  <a:gd name="connsiteY305" fmla="*/ 188195 h 705948"/>
                  <a:gd name="connsiteX306" fmla="*/ 82244 w 705986"/>
                  <a:gd name="connsiteY306" fmla="*/ 185797 h 705948"/>
                  <a:gd name="connsiteX307" fmla="*/ 85309 w 705986"/>
                  <a:gd name="connsiteY307" fmla="*/ 181020 h 705948"/>
                  <a:gd name="connsiteX308" fmla="*/ 91611 w 705986"/>
                  <a:gd name="connsiteY308" fmla="*/ 171568 h 705948"/>
                  <a:gd name="connsiteX309" fmla="*/ 98203 w 705986"/>
                  <a:gd name="connsiteY309" fmla="*/ 162304 h 705948"/>
                  <a:gd name="connsiteX310" fmla="*/ 112553 w 705986"/>
                  <a:gd name="connsiteY310" fmla="*/ 144667 h 705948"/>
                  <a:gd name="connsiteX311" fmla="*/ 127964 w 705986"/>
                  <a:gd name="connsiteY311" fmla="*/ 127954 h 705948"/>
                  <a:gd name="connsiteX312" fmla="*/ 144677 w 705986"/>
                  <a:gd name="connsiteY312" fmla="*/ 112543 h 705948"/>
                  <a:gd name="connsiteX313" fmla="*/ 162314 w 705986"/>
                  <a:gd name="connsiteY313" fmla="*/ 98193 h 705948"/>
                  <a:gd name="connsiteX314" fmla="*/ 171578 w 705986"/>
                  <a:gd name="connsiteY314" fmla="*/ 91601 h 705948"/>
                  <a:gd name="connsiteX315" fmla="*/ 181030 w 705986"/>
                  <a:gd name="connsiteY315" fmla="*/ 85299 h 705948"/>
                  <a:gd name="connsiteX316" fmla="*/ 185808 w 705986"/>
                  <a:gd name="connsiteY316" fmla="*/ 82234 h 705948"/>
                  <a:gd name="connsiteX317" fmla="*/ 188205 w 705986"/>
                  <a:gd name="connsiteY317" fmla="*/ 80710 h 705948"/>
                  <a:gd name="connsiteX318" fmla="*/ 190671 w 705986"/>
                  <a:gd name="connsiteY318" fmla="*/ 79306 h 705948"/>
                  <a:gd name="connsiteX319" fmla="*/ 200517 w 705986"/>
                  <a:gd name="connsiteY319" fmla="*/ 73638 h 705948"/>
                  <a:gd name="connsiteX320" fmla="*/ 210602 w 705986"/>
                  <a:gd name="connsiteY320" fmla="*/ 68433 h 705948"/>
                  <a:gd name="connsiteX321" fmla="*/ 215671 w 705986"/>
                  <a:gd name="connsiteY321" fmla="*/ 65864 h 705948"/>
                  <a:gd name="connsiteX322" fmla="*/ 220842 w 705986"/>
                  <a:gd name="connsiteY322" fmla="*/ 63535 h 705948"/>
                  <a:gd name="connsiteX323" fmla="*/ 226014 w 705986"/>
                  <a:gd name="connsiteY323" fmla="*/ 61190 h 705948"/>
                  <a:gd name="connsiteX324" fmla="*/ 231219 w 705986"/>
                  <a:gd name="connsiteY324" fmla="*/ 58946 h 705948"/>
                  <a:gd name="connsiteX325" fmla="*/ 241767 w 705986"/>
                  <a:gd name="connsiteY325" fmla="*/ 54785 h 705948"/>
                  <a:gd name="connsiteX326" fmla="*/ 247110 w 705986"/>
                  <a:gd name="connsiteY326" fmla="*/ 52885 h 705948"/>
                  <a:gd name="connsiteX327" fmla="*/ 252487 w 705986"/>
                  <a:gd name="connsiteY327" fmla="*/ 51070 h 705948"/>
                  <a:gd name="connsiteX328" fmla="*/ 257863 w 705986"/>
                  <a:gd name="connsiteY328" fmla="*/ 49237 h 705948"/>
                  <a:gd name="connsiteX329" fmla="*/ 263309 w 705986"/>
                  <a:gd name="connsiteY329" fmla="*/ 47679 h 705948"/>
                  <a:gd name="connsiteX330" fmla="*/ 274233 w 705986"/>
                  <a:gd name="connsiteY330" fmla="*/ 44614 h 705948"/>
                  <a:gd name="connsiteX331" fmla="*/ 285295 w 705986"/>
                  <a:gd name="connsiteY331" fmla="*/ 42063 h 705948"/>
                  <a:gd name="connsiteX332" fmla="*/ 296426 w 705986"/>
                  <a:gd name="connsiteY332" fmla="*/ 39888 h 705948"/>
                  <a:gd name="connsiteX333" fmla="*/ 307624 w 705986"/>
                  <a:gd name="connsiteY333" fmla="*/ 38039 h 705948"/>
                  <a:gd name="connsiteX334" fmla="*/ 318892 w 705986"/>
                  <a:gd name="connsiteY334" fmla="*/ 36600 h 705948"/>
                  <a:gd name="connsiteX335" fmla="*/ 330227 w 705986"/>
                  <a:gd name="connsiteY335" fmla="*/ 35675 h 705948"/>
                  <a:gd name="connsiteX336" fmla="*/ 335895 w 705986"/>
                  <a:gd name="connsiteY336" fmla="*/ 35230 h 705948"/>
                  <a:gd name="connsiteX337" fmla="*/ 341580 w 705986"/>
                  <a:gd name="connsiteY337" fmla="*/ 35059 h 705948"/>
                  <a:gd name="connsiteX338" fmla="*/ 352968 w 705986"/>
                  <a:gd name="connsiteY338" fmla="*/ 34751 h 705948"/>
                  <a:gd name="connsiteX339" fmla="*/ 364355 w 705986"/>
                  <a:gd name="connsiteY339" fmla="*/ 35059 h 705948"/>
                  <a:gd name="connsiteX340" fmla="*/ 370040 w 705986"/>
                  <a:gd name="connsiteY340" fmla="*/ 35230 h 705948"/>
                  <a:gd name="connsiteX341" fmla="*/ 375708 w 705986"/>
                  <a:gd name="connsiteY341" fmla="*/ 35675 h 705948"/>
                  <a:gd name="connsiteX342" fmla="*/ 387043 w 705986"/>
                  <a:gd name="connsiteY342" fmla="*/ 36600 h 705948"/>
                  <a:gd name="connsiteX343" fmla="*/ 398311 w 705986"/>
                  <a:gd name="connsiteY343" fmla="*/ 38039 h 705948"/>
                  <a:gd name="connsiteX344" fmla="*/ 409509 w 705986"/>
                  <a:gd name="connsiteY344" fmla="*/ 39888 h 705948"/>
                  <a:gd name="connsiteX345" fmla="*/ 420640 w 705986"/>
                  <a:gd name="connsiteY345" fmla="*/ 42063 h 705948"/>
                  <a:gd name="connsiteX346" fmla="*/ 431702 w 705986"/>
                  <a:gd name="connsiteY346" fmla="*/ 44614 h 705948"/>
                  <a:gd name="connsiteX347" fmla="*/ 442626 w 705986"/>
                  <a:gd name="connsiteY347" fmla="*/ 47679 h 705948"/>
                  <a:gd name="connsiteX348" fmla="*/ 448072 w 705986"/>
                  <a:gd name="connsiteY348" fmla="*/ 49237 h 705948"/>
                  <a:gd name="connsiteX349" fmla="*/ 453448 w 705986"/>
                  <a:gd name="connsiteY349" fmla="*/ 51070 h 705948"/>
                  <a:gd name="connsiteX350" fmla="*/ 458825 w 705986"/>
                  <a:gd name="connsiteY350" fmla="*/ 52885 h 705948"/>
                  <a:gd name="connsiteX351" fmla="*/ 464168 w 705986"/>
                  <a:gd name="connsiteY351" fmla="*/ 54785 h 705948"/>
                  <a:gd name="connsiteX352" fmla="*/ 474716 w 705986"/>
                  <a:gd name="connsiteY352" fmla="*/ 58946 h 705948"/>
                  <a:gd name="connsiteX353" fmla="*/ 479921 w 705986"/>
                  <a:gd name="connsiteY353" fmla="*/ 61190 h 705948"/>
                  <a:gd name="connsiteX354" fmla="*/ 485093 w 705986"/>
                  <a:gd name="connsiteY354" fmla="*/ 63535 h 705948"/>
                  <a:gd name="connsiteX355" fmla="*/ 490264 w 705986"/>
                  <a:gd name="connsiteY355" fmla="*/ 65864 h 705948"/>
                  <a:gd name="connsiteX356" fmla="*/ 495333 w 705986"/>
                  <a:gd name="connsiteY356" fmla="*/ 68433 h 705948"/>
                  <a:gd name="connsiteX357" fmla="*/ 505418 w 705986"/>
                  <a:gd name="connsiteY357" fmla="*/ 73638 h 705948"/>
                  <a:gd name="connsiteX358" fmla="*/ 515264 w 705986"/>
                  <a:gd name="connsiteY358" fmla="*/ 79306 h 705948"/>
                  <a:gd name="connsiteX359" fmla="*/ 517730 w 705986"/>
                  <a:gd name="connsiteY359" fmla="*/ 80710 h 705948"/>
                  <a:gd name="connsiteX360" fmla="*/ 520127 w 705986"/>
                  <a:gd name="connsiteY360" fmla="*/ 82234 h 705948"/>
                  <a:gd name="connsiteX361" fmla="*/ 524905 w 705986"/>
                  <a:gd name="connsiteY361" fmla="*/ 85299 h 705948"/>
                  <a:gd name="connsiteX362" fmla="*/ 534357 w 705986"/>
                  <a:gd name="connsiteY362" fmla="*/ 91601 h 705948"/>
                  <a:gd name="connsiteX363" fmla="*/ 543621 w 705986"/>
                  <a:gd name="connsiteY363" fmla="*/ 98193 h 705948"/>
                  <a:gd name="connsiteX364" fmla="*/ 561258 w 705986"/>
                  <a:gd name="connsiteY364" fmla="*/ 112543 h 705948"/>
                  <a:gd name="connsiteX365" fmla="*/ 577971 w 705986"/>
                  <a:gd name="connsiteY365" fmla="*/ 127954 h 705948"/>
                  <a:gd name="connsiteX366" fmla="*/ 593382 w 705986"/>
                  <a:gd name="connsiteY366" fmla="*/ 144667 h 705948"/>
                  <a:gd name="connsiteX367" fmla="*/ 607732 w 705986"/>
                  <a:gd name="connsiteY367" fmla="*/ 162304 h 705948"/>
                  <a:gd name="connsiteX368" fmla="*/ 614324 w 705986"/>
                  <a:gd name="connsiteY368" fmla="*/ 171568 h 705948"/>
                  <a:gd name="connsiteX369" fmla="*/ 620626 w 705986"/>
                  <a:gd name="connsiteY369" fmla="*/ 181020 h 705948"/>
                  <a:gd name="connsiteX370" fmla="*/ 623691 w 705986"/>
                  <a:gd name="connsiteY370" fmla="*/ 185797 h 705948"/>
                  <a:gd name="connsiteX371" fmla="*/ 625215 w 705986"/>
                  <a:gd name="connsiteY371" fmla="*/ 188195 h 705948"/>
                  <a:gd name="connsiteX372" fmla="*/ 626619 w 705986"/>
                  <a:gd name="connsiteY372" fmla="*/ 190660 h 705948"/>
                  <a:gd name="connsiteX373" fmla="*/ 632287 w 705986"/>
                  <a:gd name="connsiteY373" fmla="*/ 200506 h 705948"/>
                  <a:gd name="connsiteX374" fmla="*/ 637492 w 705986"/>
                  <a:gd name="connsiteY374" fmla="*/ 210592 h 705948"/>
                  <a:gd name="connsiteX375" fmla="*/ 640061 w 705986"/>
                  <a:gd name="connsiteY375" fmla="*/ 215661 h 705948"/>
                  <a:gd name="connsiteX376" fmla="*/ 642390 w 705986"/>
                  <a:gd name="connsiteY376" fmla="*/ 220832 h 705948"/>
                  <a:gd name="connsiteX377" fmla="*/ 644735 w 705986"/>
                  <a:gd name="connsiteY377" fmla="*/ 226003 h 705948"/>
                  <a:gd name="connsiteX378" fmla="*/ 646979 w 705986"/>
                  <a:gd name="connsiteY378" fmla="*/ 231209 h 705948"/>
                  <a:gd name="connsiteX379" fmla="*/ 651140 w 705986"/>
                  <a:gd name="connsiteY379" fmla="*/ 241757 h 705948"/>
                  <a:gd name="connsiteX380" fmla="*/ 653040 w 705986"/>
                  <a:gd name="connsiteY380" fmla="*/ 247099 h 705948"/>
                  <a:gd name="connsiteX381" fmla="*/ 654855 w 705986"/>
                  <a:gd name="connsiteY381" fmla="*/ 252476 h 705948"/>
                  <a:gd name="connsiteX382" fmla="*/ 656688 w 705986"/>
                  <a:gd name="connsiteY382" fmla="*/ 257853 h 705948"/>
                  <a:gd name="connsiteX383" fmla="*/ 658246 w 705986"/>
                  <a:gd name="connsiteY383" fmla="*/ 263298 h 705948"/>
                  <a:gd name="connsiteX384" fmla="*/ 661311 w 705986"/>
                  <a:gd name="connsiteY384" fmla="*/ 274223 h 705948"/>
                  <a:gd name="connsiteX385" fmla="*/ 663862 w 705986"/>
                  <a:gd name="connsiteY385" fmla="*/ 285285 h 705948"/>
                  <a:gd name="connsiteX386" fmla="*/ 666037 w 705986"/>
                  <a:gd name="connsiteY386" fmla="*/ 296415 h 705948"/>
                  <a:gd name="connsiteX387" fmla="*/ 667886 w 705986"/>
                  <a:gd name="connsiteY387" fmla="*/ 307614 h 705948"/>
                  <a:gd name="connsiteX388" fmla="*/ 669325 w 705986"/>
                  <a:gd name="connsiteY388" fmla="*/ 318881 h 705948"/>
                  <a:gd name="connsiteX389" fmla="*/ 670250 w 705986"/>
                  <a:gd name="connsiteY389" fmla="*/ 330217 h 705948"/>
                  <a:gd name="connsiteX390" fmla="*/ 670695 w 705986"/>
                  <a:gd name="connsiteY390" fmla="*/ 335885 h 705948"/>
                  <a:gd name="connsiteX391" fmla="*/ 670866 w 705986"/>
                  <a:gd name="connsiteY391" fmla="*/ 341570 h 705948"/>
                  <a:gd name="connsiteX392" fmla="*/ 671174 w 705986"/>
                  <a:gd name="connsiteY392" fmla="*/ 352957 h 705948"/>
                  <a:gd name="connsiteX393" fmla="*/ 670866 w 705986"/>
                  <a:gd name="connsiteY393" fmla="*/ 364344 h 705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</a:cxnLst>
                <a:rect l="l" t="t" r="r" b="b"/>
                <a:pathLst>
                  <a:path w="705986" h="705948">
                    <a:moveTo>
                      <a:pt x="705473" y="334053"/>
                    </a:moveTo>
                    <a:lnTo>
                      <a:pt x="704993" y="327768"/>
                    </a:lnTo>
                    <a:cubicBezTo>
                      <a:pt x="704634" y="323590"/>
                      <a:pt x="704445" y="319378"/>
                      <a:pt x="703966" y="315200"/>
                    </a:cubicBezTo>
                    <a:lnTo>
                      <a:pt x="702373" y="302699"/>
                    </a:lnTo>
                    <a:cubicBezTo>
                      <a:pt x="701945" y="298521"/>
                      <a:pt x="701021" y="294412"/>
                      <a:pt x="700336" y="290268"/>
                    </a:cubicBezTo>
                    <a:cubicBezTo>
                      <a:pt x="699565" y="286141"/>
                      <a:pt x="698966" y="281980"/>
                      <a:pt x="697921" y="277905"/>
                    </a:cubicBezTo>
                    <a:lnTo>
                      <a:pt x="695096" y="265627"/>
                    </a:lnTo>
                    <a:cubicBezTo>
                      <a:pt x="694034" y="261569"/>
                      <a:pt x="692818" y="257545"/>
                      <a:pt x="691688" y="253504"/>
                    </a:cubicBezTo>
                    <a:cubicBezTo>
                      <a:pt x="691106" y="251483"/>
                      <a:pt x="690575" y="249463"/>
                      <a:pt x="689942" y="247459"/>
                    </a:cubicBezTo>
                    <a:lnTo>
                      <a:pt x="687921" y="241500"/>
                    </a:lnTo>
                    <a:lnTo>
                      <a:pt x="685900" y="235541"/>
                    </a:lnTo>
                    <a:cubicBezTo>
                      <a:pt x="685216" y="233555"/>
                      <a:pt x="684599" y="231551"/>
                      <a:pt x="683777" y="229616"/>
                    </a:cubicBezTo>
                    <a:lnTo>
                      <a:pt x="679154" y="217904"/>
                    </a:lnTo>
                    <a:cubicBezTo>
                      <a:pt x="678418" y="215935"/>
                      <a:pt x="677544" y="214034"/>
                      <a:pt x="676671" y="212116"/>
                    </a:cubicBezTo>
                    <a:lnTo>
                      <a:pt x="674068" y="206380"/>
                    </a:lnTo>
                    <a:lnTo>
                      <a:pt x="671482" y="200643"/>
                    </a:lnTo>
                    <a:cubicBezTo>
                      <a:pt x="670592" y="198743"/>
                      <a:pt x="669582" y="196893"/>
                      <a:pt x="668640" y="195027"/>
                    </a:cubicBezTo>
                    <a:cubicBezTo>
                      <a:pt x="666705" y="191294"/>
                      <a:pt x="664856" y="187527"/>
                      <a:pt x="662852" y="183828"/>
                    </a:cubicBezTo>
                    <a:lnTo>
                      <a:pt x="656568" y="172903"/>
                    </a:lnTo>
                    <a:lnTo>
                      <a:pt x="654992" y="170164"/>
                    </a:lnTo>
                    <a:lnTo>
                      <a:pt x="653297" y="167509"/>
                    </a:lnTo>
                    <a:lnTo>
                      <a:pt x="649890" y="162201"/>
                    </a:lnTo>
                    <a:cubicBezTo>
                      <a:pt x="647629" y="158657"/>
                      <a:pt x="645403" y="155095"/>
                      <a:pt x="642903" y="151722"/>
                    </a:cubicBezTo>
                    <a:lnTo>
                      <a:pt x="635592" y="141465"/>
                    </a:lnTo>
                    <a:cubicBezTo>
                      <a:pt x="630369" y="134889"/>
                      <a:pt x="625335" y="128142"/>
                      <a:pt x="619684" y="121910"/>
                    </a:cubicBezTo>
                    <a:cubicBezTo>
                      <a:pt x="614324" y="115437"/>
                      <a:pt x="608331" y="109512"/>
                      <a:pt x="602577" y="103399"/>
                    </a:cubicBezTo>
                    <a:cubicBezTo>
                      <a:pt x="596447" y="97645"/>
                      <a:pt x="590539" y="91652"/>
                      <a:pt x="584067" y="86293"/>
                    </a:cubicBezTo>
                    <a:cubicBezTo>
                      <a:pt x="577834" y="80642"/>
                      <a:pt x="571087" y="75625"/>
                      <a:pt x="564512" y="70385"/>
                    </a:cubicBezTo>
                    <a:lnTo>
                      <a:pt x="554255" y="63073"/>
                    </a:lnTo>
                    <a:cubicBezTo>
                      <a:pt x="550881" y="60556"/>
                      <a:pt x="547320" y="58347"/>
                      <a:pt x="543775" y="56087"/>
                    </a:cubicBezTo>
                    <a:lnTo>
                      <a:pt x="538467" y="52679"/>
                    </a:lnTo>
                    <a:lnTo>
                      <a:pt x="535813" y="50984"/>
                    </a:lnTo>
                    <a:lnTo>
                      <a:pt x="533073" y="49409"/>
                    </a:lnTo>
                    <a:lnTo>
                      <a:pt x="522148" y="43124"/>
                    </a:lnTo>
                    <a:cubicBezTo>
                      <a:pt x="518467" y="41121"/>
                      <a:pt x="514682" y="39271"/>
                      <a:pt x="510949" y="37337"/>
                    </a:cubicBezTo>
                    <a:cubicBezTo>
                      <a:pt x="509066" y="36395"/>
                      <a:pt x="507233" y="35384"/>
                      <a:pt x="505333" y="34494"/>
                    </a:cubicBezTo>
                    <a:lnTo>
                      <a:pt x="499596" y="31908"/>
                    </a:lnTo>
                    <a:cubicBezTo>
                      <a:pt x="438551" y="3911"/>
                      <a:pt x="369286" y="-6106"/>
                      <a:pt x="302710" y="3620"/>
                    </a:cubicBezTo>
                    <a:cubicBezTo>
                      <a:pt x="298532" y="4048"/>
                      <a:pt x="294422" y="4973"/>
                      <a:pt x="290278" y="5658"/>
                    </a:cubicBezTo>
                    <a:cubicBezTo>
                      <a:pt x="286151" y="6429"/>
                      <a:pt x="281990" y="7028"/>
                      <a:pt x="277915" y="8072"/>
                    </a:cubicBezTo>
                    <a:lnTo>
                      <a:pt x="265637" y="10898"/>
                    </a:lnTo>
                    <a:cubicBezTo>
                      <a:pt x="261579" y="11959"/>
                      <a:pt x="257555" y="13175"/>
                      <a:pt x="253514" y="14305"/>
                    </a:cubicBezTo>
                    <a:cubicBezTo>
                      <a:pt x="251493" y="14888"/>
                      <a:pt x="249473" y="15418"/>
                      <a:pt x="247469" y="16052"/>
                    </a:cubicBezTo>
                    <a:lnTo>
                      <a:pt x="241510" y="18073"/>
                    </a:lnTo>
                    <a:lnTo>
                      <a:pt x="235551" y="20093"/>
                    </a:lnTo>
                    <a:cubicBezTo>
                      <a:pt x="233565" y="20778"/>
                      <a:pt x="231562" y="21395"/>
                      <a:pt x="229627" y="22216"/>
                    </a:cubicBezTo>
                    <a:lnTo>
                      <a:pt x="217914" y="26840"/>
                    </a:lnTo>
                    <a:cubicBezTo>
                      <a:pt x="215945" y="27576"/>
                      <a:pt x="214044" y="28449"/>
                      <a:pt x="212126" y="29323"/>
                    </a:cubicBezTo>
                    <a:lnTo>
                      <a:pt x="206390" y="31925"/>
                    </a:lnTo>
                    <a:lnTo>
                      <a:pt x="200654" y="34511"/>
                    </a:lnTo>
                    <a:cubicBezTo>
                      <a:pt x="198753" y="35402"/>
                      <a:pt x="196904" y="36412"/>
                      <a:pt x="195037" y="37354"/>
                    </a:cubicBezTo>
                    <a:cubicBezTo>
                      <a:pt x="191304" y="39289"/>
                      <a:pt x="187537" y="41138"/>
                      <a:pt x="183838" y="43141"/>
                    </a:cubicBezTo>
                    <a:lnTo>
                      <a:pt x="172914" y="49426"/>
                    </a:lnTo>
                    <a:lnTo>
                      <a:pt x="170174" y="51001"/>
                    </a:lnTo>
                    <a:lnTo>
                      <a:pt x="167520" y="52696"/>
                    </a:lnTo>
                    <a:lnTo>
                      <a:pt x="162211" y="56104"/>
                    </a:lnTo>
                    <a:cubicBezTo>
                      <a:pt x="158667" y="58364"/>
                      <a:pt x="155105" y="60590"/>
                      <a:pt x="151732" y="63090"/>
                    </a:cubicBezTo>
                    <a:lnTo>
                      <a:pt x="141475" y="70402"/>
                    </a:lnTo>
                    <a:cubicBezTo>
                      <a:pt x="134899" y="75625"/>
                      <a:pt x="128153" y="80659"/>
                      <a:pt x="121920" y="86310"/>
                    </a:cubicBezTo>
                    <a:cubicBezTo>
                      <a:pt x="115447" y="91669"/>
                      <a:pt x="109522" y="97663"/>
                      <a:pt x="103409" y="103416"/>
                    </a:cubicBezTo>
                    <a:cubicBezTo>
                      <a:pt x="97656" y="109546"/>
                      <a:pt x="91662" y="115454"/>
                      <a:pt x="86303" y="121927"/>
                    </a:cubicBezTo>
                    <a:cubicBezTo>
                      <a:pt x="80652" y="128160"/>
                      <a:pt x="75635" y="134906"/>
                      <a:pt x="70395" y="141482"/>
                    </a:cubicBezTo>
                    <a:lnTo>
                      <a:pt x="63083" y="151739"/>
                    </a:lnTo>
                    <a:cubicBezTo>
                      <a:pt x="60566" y="155112"/>
                      <a:pt x="58357" y="158674"/>
                      <a:pt x="56097" y="162218"/>
                    </a:cubicBezTo>
                    <a:lnTo>
                      <a:pt x="52689" y="167526"/>
                    </a:lnTo>
                    <a:lnTo>
                      <a:pt x="50994" y="170181"/>
                    </a:lnTo>
                    <a:lnTo>
                      <a:pt x="49419" y="172920"/>
                    </a:lnTo>
                    <a:lnTo>
                      <a:pt x="43134" y="183845"/>
                    </a:lnTo>
                    <a:cubicBezTo>
                      <a:pt x="41131" y="187527"/>
                      <a:pt x="39281" y="191311"/>
                      <a:pt x="37346" y="195044"/>
                    </a:cubicBezTo>
                    <a:cubicBezTo>
                      <a:pt x="36405" y="196928"/>
                      <a:pt x="35394" y="198760"/>
                      <a:pt x="34504" y="200661"/>
                    </a:cubicBezTo>
                    <a:lnTo>
                      <a:pt x="31918" y="206397"/>
                    </a:lnTo>
                    <a:lnTo>
                      <a:pt x="29316" y="212133"/>
                    </a:lnTo>
                    <a:cubicBezTo>
                      <a:pt x="28442" y="214051"/>
                      <a:pt x="27552" y="215952"/>
                      <a:pt x="26833" y="217921"/>
                    </a:cubicBezTo>
                    <a:lnTo>
                      <a:pt x="22209" y="229633"/>
                    </a:lnTo>
                    <a:cubicBezTo>
                      <a:pt x="21387" y="231568"/>
                      <a:pt x="20771" y="233572"/>
                      <a:pt x="20086" y="235558"/>
                    </a:cubicBezTo>
                    <a:lnTo>
                      <a:pt x="18065" y="241517"/>
                    </a:lnTo>
                    <a:lnTo>
                      <a:pt x="16045" y="247476"/>
                    </a:lnTo>
                    <a:cubicBezTo>
                      <a:pt x="15411" y="249480"/>
                      <a:pt x="14880" y="251517"/>
                      <a:pt x="14298" y="253521"/>
                    </a:cubicBezTo>
                    <a:cubicBezTo>
                      <a:pt x="13168" y="257562"/>
                      <a:pt x="11952" y="261586"/>
                      <a:pt x="10891" y="265644"/>
                    </a:cubicBezTo>
                    <a:lnTo>
                      <a:pt x="8065" y="277922"/>
                    </a:lnTo>
                    <a:cubicBezTo>
                      <a:pt x="7021" y="281997"/>
                      <a:pt x="6421" y="286158"/>
                      <a:pt x="5651" y="290285"/>
                    </a:cubicBezTo>
                    <a:cubicBezTo>
                      <a:pt x="4966" y="294429"/>
                      <a:pt x="4024" y="298538"/>
                      <a:pt x="3613" y="302717"/>
                    </a:cubicBezTo>
                    <a:lnTo>
                      <a:pt x="2021" y="315217"/>
                    </a:lnTo>
                    <a:cubicBezTo>
                      <a:pt x="1541" y="319395"/>
                      <a:pt x="1336" y="323590"/>
                      <a:pt x="993" y="327785"/>
                    </a:cubicBezTo>
                    <a:lnTo>
                      <a:pt x="514" y="334070"/>
                    </a:lnTo>
                    <a:cubicBezTo>
                      <a:pt x="394" y="336159"/>
                      <a:pt x="394" y="338265"/>
                      <a:pt x="325" y="340371"/>
                    </a:cubicBezTo>
                    <a:lnTo>
                      <a:pt x="0" y="352974"/>
                    </a:lnTo>
                    <a:lnTo>
                      <a:pt x="325" y="365577"/>
                    </a:lnTo>
                    <a:cubicBezTo>
                      <a:pt x="394" y="367683"/>
                      <a:pt x="394" y="369789"/>
                      <a:pt x="514" y="371878"/>
                    </a:cubicBezTo>
                    <a:lnTo>
                      <a:pt x="993" y="378163"/>
                    </a:lnTo>
                    <a:cubicBezTo>
                      <a:pt x="1353" y="382341"/>
                      <a:pt x="1541" y="386553"/>
                      <a:pt x="2021" y="390731"/>
                    </a:cubicBezTo>
                    <a:lnTo>
                      <a:pt x="3613" y="403232"/>
                    </a:lnTo>
                    <a:cubicBezTo>
                      <a:pt x="4041" y="407410"/>
                      <a:pt x="4966" y="411519"/>
                      <a:pt x="5651" y="415663"/>
                    </a:cubicBezTo>
                    <a:cubicBezTo>
                      <a:pt x="6421" y="419790"/>
                      <a:pt x="7021" y="423951"/>
                      <a:pt x="8065" y="428026"/>
                    </a:cubicBezTo>
                    <a:lnTo>
                      <a:pt x="10891" y="440304"/>
                    </a:lnTo>
                    <a:cubicBezTo>
                      <a:pt x="11952" y="444362"/>
                      <a:pt x="13168" y="448386"/>
                      <a:pt x="14298" y="452427"/>
                    </a:cubicBezTo>
                    <a:cubicBezTo>
                      <a:pt x="14880" y="454448"/>
                      <a:pt x="15411" y="456469"/>
                      <a:pt x="16045" y="458472"/>
                    </a:cubicBezTo>
                    <a:lnTo>
                      <a:pt x="18065" y="464431"/>
                    </a:lnTo>
                    <a:lnTo>
                      <a:pt x="20086" y="470390"/>
                    </a:lnTo>
                    <a:cubicBezTo>
                      <a:pt x="20771" y="472376"/>
                      <a:pt x="21387" y="474380"/>
                      <a:pt x="22209" y="476315"/>
                    </a:cubicBezTo>
                    <a:lnTo>
                      <a:pt x="26833" y="488027"/>
                    </a:lnTo>
                    <a:cubicBezTo>
                      <a:pt x="27569" y="489996"/>
                      <a:pt x="28442" y="491897"/>
                      <a:pt x="29316" y="493815"/>
                    </a:cubicBezTo>
                    <a:lnTo>
                      <a:pt x="31918" y="499551"/>
                    </a:lnTo>
                    <a:lnTo>
                      <a:pt x="34504" y="505288"/>
                    </a:lnTo>
                    <a:cubicBezTo>
                      <a:pt x="35394" y="507188"/>
                      <a:pt x="36405" y="509038"/>
                      <a:pt x="37346" y="510904"/>
                    </a:cubicBezTo>
                    <a:cubicBezTo>
                      <a:pt x="39281" y="514637"/>
                      <a:pt x="41131" y="518404"/>
                      <a:pt x="43134" y="522103"/>
                    </a:cubicBezTo>
                    <a:lnTo>
                      <a:pt x="49419" y="533028"/>
                    </a:lnTo>
                    <a:lnTo>
                      <a:pt x="50994" y="535768"/>
                    </a:lnTo>
                    <a:lnTo>
                      <a:pt x="52689" y="538422"/>
                    </a:lnTo>
                    <a:lnTo>
                      <a:pt x="56097" y="543730"/>
                    </a:lnTo>
                    <a:cubicBezTo>
                      <a:pt x="58357" y="547275"/>
                      <a:pt x="60583" y="550836"/>
                      <a:pt x="63083" y="554210"/>
                    </a:cubicBezTo>
                    <a:lnTo>
                      <a:pt x="70395" y="564467"/>
                    </a:lnTo>
                    <a:cubicBezTo>
                      <a:pt x="75618" y="571042"/>
                      <a:pt x="80652" y="577789"/>
                      <a:pt x="86303" y="584022"/>
                    </a:cubicBezTo>
                    <a:cubicBezTo>
                      <a:pt x="91662" y="590494"/>
                      <a:pt x="97656" y="596419"/>
                      <a:pt x="103409" y="602532"/>
                    </a:cubicBezTo>
                    <a:cubicBezTo>
                      <a:pt x="109539" y="608286"/>
                      <a:pt x="115447" y="614279"/>
                      <a:pt x="121920" y="619639"/>
                    </a:cubicBezTo>
                    <a:cubicBezTo>
                      <a:pt x="128153" y="625289"/>
                      <a:pt x="134899" y="630306"/>
                      <a:pt x="141475" y="635546"/>
                    </a:cubicBezTo>
                    <a:lnTo>
                      <a:pt x="151732" y="642858"/>
                    </a:lnTo>
                    <a:cubicBezTo>
                      <a:pt x="155105" y="645375"/>
                      <a:pt x="158667" y="647584"/>
                      <a:pt x="162211" y="649844"/>
                    </a:cubicBezTo>
                    <a:lnTo>
                      <a:pt x="167520" y="653252"/>
                    </a:lnTo>
                    <a:lnTo>
                      <a:pt x="170174" y="654947"/>
                    </a:lnTo>
                    <a:lnTo>
                      <a:pt x="172914" y="656523"/>
                    </a:lnTo>
                    <a:lnTo>
                      <a:pt x="183838" y="662807"/>
                    </a:lnTo>
                    <a:cubicBezTo>
                      <a:pt x="187520" y="664810"/>
                      <a:pt x="191304" y="666660"/>
                      <a:pt x="195037" y="668595"/>
                    </a:cubicBezTo>
                    <a:cubicBezTo>
                      <a:pt x="196921" y="669536"/>
                      <a:pt x="198753" y="670547"/>
                      <a:pt x="200654" y="671437"/>
                    </a:cubicBezTo>
                    <a:lnTo>
                      <a:pt x="206390" y="674023"/>
                    </a:lnTo>
                    <a:lnTo>
                      <a:pt x="212126" y="676626"/>
                    </a:lnTo>
                    <a:cubicBezTo>
                      <a:pt x="214044" y="677499"/>
                      <a:pt x="215945" y="678389"/>
                      <a:pt x="217914" y="679108"/>
                    </a:cubicBezTo>
                    <a:lnTo>
                      <a:pt x="229627" y="683732"/>
                    </a:lnTo>
                    <a:cubicBezTo>
                      <a:pt x="231562" y="684554"/>
                      <a:pt x="233565" y="685170"/>
                      <a:pt x="235551" y="685855"/>
                    </a:cubicBezTo>
                    <a:lnTo>
                      <a:pt x="241510" y="687876"/>
                    </a:lnTo>
                    <a:lnTo>
                      <a:pt x="247469" y="689896"/>
                    </a:lnTo>
                    <a:cubicBezTo>
                      <a:pt x="249473" y="690530"/>
                      <a:pt x="251511" y="691061"/>
                      <a:pt x="253514" y="691643"/>
                    </a:cubicBezTo>
                    <a:cubicBezTo>
                      <a:pt x="257555" y="692773"/>
                      <a:pt x="261579" y="693989"/>
                      <a:pt x="265637" y="695050"/>
                    </a:cubicBezTo>
                    <a:lnTo>
                      <a:pt x="277915" y="697876"/>
                    </a:lnTo>
                    <a:cubicBezTo>
                      <a:pt x="281990" y="698920"/>
                      <a:pt x="286151" y="699520"/>
                      <a:pt x="290278" y="700290"/>
                    </a:cubicBezTo>
                    <a:cubicBezTo>
                      <a:pt x="294422" y="700975"/>
                      <a:pt x="298532" y="701917"/>
                      <a:pt x="302710" y="702328"/>
                    </a:cubicBezTo>
                    <a:cubicBezTo>
                      <a:pt x="369286" y="712054"/>
                      <a:pt x="438534" y="702037"/>
                      <a:pt x="499596" y="674040"/>
                    </a:cubicBezTo>
                    <a:lnTo>
                      <a:pt x="505333" y="671454"/>
                    </a:lnTo>
                    <a:cubicBezTo>
                      <a:pt x="507233" y="670564"/>
                      <a:pt x="509083" y="669554"/>
                      <a:pt x="510949" y="668612"/>
                    </a:cubicBezTo>
                    <a:cubicBezTo>
                      <a:pt x="514682" y="666677"/>
                      <a:pt x="518449" y="664827"/>
                      <a:pt x="522148" y="662824"/>
                    </a:cubicBezTo>
                    <a:lnTo>
                      <a:pt x="533073" y="656540"/>
                    </a:lnTo>
                    <a:lnTo>
                      <a:pt x="535813" y="654964"/>
                    </a:lnTo>
                    <a:lnTo>
                      <a:pt x="538467" y="653269"/>
                    </a:lnTo>
                    <a:lnTo>
                      <a:pt x="543775" y="649862"/>
                    </a:lnTo>
                    <a:cubicBezTo>
                      <a:pt x="547320" y="647601"/>
                      <a:pt x="550881" y="645375"/>
                      <a:pt x="554255" y="642875"/>
                    </a:cubicBezTo>
                    <a:lnTo>
                      <a:pt x="564512" y="635563"/>
                    </a:lnTo>
                    <a:cubicBezTo>
                      <a:pt x="571087" y="630341"/>
                      <a:pt x="577834" y="625306"/>
                      <a:pt x="584067" y="619656"/>
                    </a:cubicBezTo>
                    <a:cubicBezTo>
                      <a:pt x="590539" y="614296"/>
                      <a:pt x="596464" y="608303"/>
                      <a:pt x="602577" y="602549"/>
                    </a:cubicBezTo>
                    <a:cubicBezTo>
                      <a:pt x="608331" y="596419"/>
                      <a:pt x="614324" y="590511"/>
                      <a:pt x="619684" y="584039"/>
                    </a:cubicBezTo>
                    <a:cubicBezTo>
                      <a:pt x="625335" y="577806"/>
                      <a:pt x="630352" y="571059"/>
                      <a:pt x="635592" y="564484"/>
                    </a:cubicBezTo>
                    <a:lnTo>
                      <a:pt x="642903" y="554227"/>
                    </a:lnTo>
                    <a:cubicBezTo>
                      <a:pt x="645420" y="550853"/>
                      <a:pt x="647629" y="547292"/>
                      <a:pt x="649890" y="543747"/>
                    </a:cubicBezTo>
                    <a:lnTo>
                      <a:pt x="653297" y="538439"/>
                    </a:lnTo>
                    <a:lnTo>
                      <a:pt x="654992" y="535785"/>
                    </a:lnTo>
                    <a:lnTo>
                      <a:pt x="656568" y="533045"/>
                    </a:lnTo>
                    <a:lnTo>
                      <a:pt x="662852" y="522120"/>
                    </a:lnTo>
                    <a:cubicBezTo>
                      <a:pt x="664856" y="518439"/>
                      <a:pt x="666705" y="514654"/>
                      <a:pt x="668640" y="510921"/>
                    </a:cubicBezTo>
                    <a:cubicBezTo>
                      <a:pt x="669582" y="509038"/>
                      <a:pt x="670592" y="507206"/>
                      <a:pt x="671482" y="505305"/>
                    </a:cubicBezTo>
                    <a:lnTo>
                      <a:pt x="674068" y="499568"/>
                    </a:lnTo>
                    <a:lnTo>
                      <a:pt x="676671" y="493832"/>
                    </a:lnTo>
                    <a:cubicBezTo>
                      <a:pt x="677544" y="491914"/>
                      <a:pt x="678435" y="490014"/>
                      <a:pt x="679154" y="488044"/>
                    </a:cubicBezTo>
                    <a:lnTo>
                      <a:pt x="683777" y="476332"/>
                    </a:lnTo>
                    <a:cubicBezTo>
                      <a:pt x="684599" y="474397"/>
                      <a:pt x="685216" y="472393"/>
                      <a:pt x="685900" y="470407"/>
                    </a:cubicBezTo>
                    <a:lnTo>
                      <a:pt x="687921" y="464448"/>
                    </a:lnTo>
                    <a:lnTo>
                      <a:pt x="689942" y="458489"/>
                    </a:lnTo>
                    <a:cubicBezTo>
                      <a:pt x="690575" y="456486"/>
                      <a:pt x="691106" y="454448"/>
                      <a:pt x="691688" y="452445"/>
                    </a:cubicBezTo>
                    <a:cubicBezTo>
                      <a:pt x="692818" y="448403"/>
                      <a:pt x="694034" y="444379"/>
                      <a:pt x="695096" y="440321"/>
                    </a:cubicBezTo>
                    <a:lnTo>
                      <a:pt x="697921" y="428044"/>
                    </a:lnTo>
                    <a:cubicBezTo>
                      <a:pt x="698966" y="423968"/>
                      <a:pt x="699565" y="419807"/>
                      <a:pt x="700336" y="415680"/>
                    </a:cubicBezTo>
                    <a:cubicBezTo>
                      <a:pt x="701021" y="411536"/>
                      <a:pt x="701962" y="407427"/>
                      <a:pt x="702373" y="403249"/>
                    </a:cubicBezTo>
                    <a:lnTo>
                      <a:pt x="703966" y="390749"/>
                    </a:lnTo>
                    <a:cubicBezTo>
                      <a:pt x="704445" y="386570"/>
                      <a:pt x="704651" y="382375"/>
                      <a:pt x="704993" y="378180"/>
                    </a:cubicBezTo>
                    <a:lnTo>
                      <a:pt x="705473" y="371896"/>
                    </a:lnTo>
                    <a:cubicBezTo>
                      <a:pt x="705593" y="369807"/>
                      <a:pt x="705593" y="367700"/>
                      <a:pt x="705661" y="365594"/>
                    </a:cubicBezTo>
                    <a:lnTo>
                      <a:pt x="705986" y="352991"/>
                    </a:lnTo>
                    <a:lnTo>
                      <a:pt x="705661" y="340388"/>
                    </a:lnTo>
                    <a:cubicBezTo>
                      <a:pt x="705593" y="338282"/>
                      <a:pt x="705593" y="336176"/>
                      <a:pt x="705473" y="334087"/>
                    </a:cubicBezTo>
                    <a:close/>
                    <a:moveTo>
                      <a:pt x="670866" y="364344"/>
                    </a:moveTo>
                    <a:cubicBezTo>
                      <a:pt x="670798" y="366245"/>
                      <a:pt x="670815" y="368146"/>
                      <a:pt x="670695" y="370029"/>
                    </a:cubicBezTo>
                    <a:lnTo>
                      <a:pt x="670250" y="375697"/>
                    </a:lnTo>
                    <a:cubicBezTo>
                      <a:pt x="669924" y="379464"/>
                      <a:pt x="669770" y="383266"/>
                      <a:pt x="669325" y="387033"/>
                    </a:cubicBezTo>
                    <a:lnTo>
                      <a:pt x="667886" y="398300"/>
                    </a:lnTo>
                    <a:cubicBezTo>
                      <a:pt x="667527" y="402067"/>
                      <a:pt x="666654" y="405766"/>
                      <a:pt x="666037" y="409499"/>
                    </a:cubicBezTo>
                    <a:cubicBezTo>
                      <a:pt x="665335" y="413215"/>
                      <a:pt x="664821" y="416982"/>
                      <a:pt x="663862" y="420629"/>
                    </a:cubicBezTo>
                    <a:lnTo>
                      <a:pt x="661311" y="431691"/>
                    </a:lnTo>
                    <a:cubicBezTo>
                      <a:pt x="660352" y="435355"/>
                      <a:pt x="659256" y="438968"/>
                      <a:pt x="658246" y="442616"/>
                    </a:cubicBezTo>
                    <a:cubicBezTo>
                      <a:pt x="657715" y="444431"/>
                      <a:pt x="657253" y="446263"/>
                      <a:pt x="656688" y="448061"/>
                    </a:cubicBezTo>
                    <a:lnTo>
                      <a:pt x="654855" y="453438"/>
                    </a:lnTo>
                    <a:lnTo>
                      <a:pt x="653040" y="458815"/>
                    </a:lnTo>
                    <a:cubicBezTo>
                      <a:pt x="652424" y="460595"/>
                      <a:pt x="651876" y="462410"/>
                      <a:pt x="651140" y="464157"/>
                    </a:cubicBezTo>
                    <a:lnTo>
                      <a:pt x="646979" y="474705"/>
                    </a:lnTo>
                    <a:cubicBezTo>
                      <a:pt x="646328" y="476486"/>
                      <a:pt x="645523" y="478198"/>
                      <a:pt x="644735" y="479911"/>
                    </a:cubicBezTo>
                    <a:lnTo>
                      <a:pt x="642390" y="485082"/>
                    </a:lnTo>
                    <a:lnTo>
                      <a:pt x="640061" y="490253"/>
                    </a:lnTo>
                    <a:cubicBezTo>
                      <a:pt x="639256" y="491966"/>
                      <a:pt x="638348" y="493627"/>
                      <a:pt x="637492" y="495322"/>
                    </a:cubicBezTo>
                    <a:cubicBezTo>
                      <a:pt x="635746" y="498678"/>
                      <a:pt x="634085" y="502086"/>
                      <a:pt x="632287" y="505408"/>
                    </a:cubicBezTo>
                    <a:lnTo>
                      <a:pt x="626619" y="515254"/>
                    </a:lnTo>
                    <a:lnTo>
                      <a:pt x="625215" y="517719"/>
                    </a:lnTo>
                    <a:lnTo>
                      <a:pt x="623691" y="520117"/>
                    </a:lnTo>
                    <a:lnTo>
                      <a:pt x="620626" y="524894"/>
                    </a:lnTo>
                    <a:cubicBezTo>
                      <a:pt x="618588" y="528079"/>
                      <a:pt x="616602" y="531315"/>
                      <a:pt x="614324" y="534346"/>
                    </a:cubicBezTo>
                    <a:lnTo>
                      <a:pt x="607732" y="543610"/>
                    </a:lnTo>
                    <a:cubicBezTo>
                      <a:pt x="603005" y="549535"/>
                      <a:pt x="598485" y="555631"/>
                      <a:pt x="593382" y="561247"/>
                    </a:cubicBezTo>
                    <a:cubicBezTo>
                      <a:pt x="588553" y="567104"/>
                      <a:pt x="583142" y="572412"/>
                      <a:pt x="577971" y="577960"/>
                    </a:cubicBezTo>
                    <a:cubicBezTo>
                      <a:pt x="572423" y="583131"/>
                      <a:pt x="567115" y="588559"/>
                      <a:pt x="561258" y="593371"/>
                    </a:cubicBezTo>
                    <a:cubicBezTo>
                      <a:pt x="555642" y="598474"/>
                      <a:pt x="549546" y="602994"/>
                      <a:pt x="543621" y="607721"/>
                    </a:cubicBezTo>
                    <a:lnTo>
                      <a:pt x="534357" y="614313"/>
                    </a:lnTo>
                    <a:cubicBezTo>
                      <a:pt x="531326" y="616591"/>
                      <a:pt x="528090" y="618577"/>
                      <a:pt x="524905" y="620615"/>
                    </a:cubicBezTo>
                    <a:lnTo>
                      <a:pt x="520127" y="623680"/>
                    </a:lnTo>
                    <a:lnTo>
                      <a:pt x="517730" y="625204"/>
                    </a:lnTo>
                    <a:lnTo>
                      <a:pt x="515264" y="626608"/>
                    </a:lnTo>
                    <a:lnTo>
                      <a:pt x="505418" y="632276"/>
                    </a:lnTo>
                    <a:cubicBezTo>
                      <a:pt x="502096" y="634074"/>
                      <a:pt x="498689" y="635735"/>
                      <a:pt x="495333" y="637481"/>
                    </a:cubicBezTo>
                    <a:cubicBezTo>
                      <a:pt x="493637" y="638337"/>
                      <a:pt x="491976" y="639245"/>
                      <a:pt x="490264" y="640050"/>
                    </a:cubicBezTo>
                    <a:lnTo>
                      <a:pt x="485093" y="642378"/>
                    </a:lnTo>
                    <a:lnTo>
                      <a:pt x="479921" y="644725"/>
                    </a:lnTo>
                    <a:cubicBezTo>
                      <a:pt x="478209" y="645512"/>
                      <a:pt x="476480" y="646317"/>
                      <a:pt x="474716" y="646968"/>
                    </a:cubicBezTo>
                    <a:lnTo>
                      <a:pt x="464168" y="651129"/>
                    </a:lnTo>
                    <a:cubicBezTo>
                      <a:pt x="462421" y="651865"/>
                      <a:pt x="460623" y="652413"/>
                      <a:pt x="458825" y="653029"/>
                    </a:cubicBezTo>
                    <a:lnTo>
                      <a:pt x="453448" y="654844"/>
                    </a:lnTo>
                    <a:lnTo>
                      <a:pt x="448072" y="656677"/>
                    </a:lnTo>
                    <a:cubicBezTo>
                      <a:pt x="446274" y="657242"/>
                      <a:pt x="444441" y="657704"/>
                      <a:pt x="442626" y="658235"/>
                    </a:cubicBezTo>
                    <a:cubicBezTo>
                      <a:pt x="438979" y="659245"/>
                      <a:pt x="435366" y="660341"/>
                      <a:pt x="431702" y="661300"/>
                    </a:cubicBezTo>
                    <a:lnTo>
                      <a:pt x="420640" y="663851"/>
                    </a:lnTo>
                    <a:cubicBezTo>
                      <a:pt x="416975" y="664810"/>
                      <a:pt x="413225" y="665324"/>
                      <a:pt x="409509" y="666026"/>
                    </a:cubicBezTo>
                    <a:cubicBezTo>
                      <a:pt x="405777" y="666643"/>
                      <a:pt x="402078" y="667499"/>
                      <a:pt x="398311" y="667875"/>
                    </a:cubicBezTo>
                    <a:lnTo>
                      <a:pt x="387043" y="669314"/>
                    </a:lnTo>
                    <a:cubicBezTo>
                      <a:pt x="383276" y="669759"/>
                      <a:pt x="379492" y="669913"/>
                      <a:pt x="375708" y="670238"/>
                    </a:cubicBezTo>
                    <a:lnTo>
                      <a:pt x="370040" y="670684"/>
                    </a:lnTo>
                    <a:cubicBezTo>
                      <a:pt x="368156" y="670804"/>
                      <a:pt x="366238" y="670786"/>
                      <a:pt x="364355" y="670855"/>
                    </a:cubicBezTo>
                    <a:lnTo>
                      <a:pt x="352968" y="671163"/>
                    </a:lnTo>
                    <a:lnTo>
                      <a:pt x="341580" y="670855"/>
                    </a:lnTo>
                    <a:cubicBezTo>
                      <a:pt x="339680" y="670786"/>
                      <a:pt x="337779" y="670804"/>
                      <a:pt x="335895" y="670684"/>
                    </a:cubicBezTo>
                    <a:lnTo>
                      <a:pt x="330227" y="670238"/>
                    </a:lnTo>
                    <a:cubicBezTo>
                      <a:pt x="326460" y="669913"/>
                      <a:pt x="322659" y="669759"/>
                      <a:pt x="318892" y="669314"/>
                    </a:cubicBezTo>
                    <a:lnTo>
                      <a:pt x="307624" y="667875"/>
                    </a:lnTo>
                    <a:cubicBezTo>
                      <a:pt x="303857" y="667516"/>
                      <a:pt x="300159" y="666643"/>
                      <a:pt x="296426" y="666026"/>
                    </a:cubicBezTo>
                    <a:cubicBezTo>
                      <a:pt x="292710" y="665324"/>
                      <a:pt x="288943" y="664810"/>
                      <a:pt x="285295" y="663851"/>
                    </a:cubicBezTo>
                    <a:lnTo>
                      <a:pt x="274233" y="661300"/>
                    </a:lnTo>
                    <a:cubicBezTo>
                      <a:pt x="270569" y="660341"/>
                      <a:pt x="266956" y="659245"/>
                      <a:pt x="263309" y="658235"/>
                    </a:cubicBezTo>
                    <a:cubicBezTo>
                      <a:pt x="261494" y="657704"/>
                      <a:pt x="259661" y="657242"/>
                      <a:pt x="257863" y="656677"/>
                    </a:cubicBezTo>
                    <a:lnTo>
                      <a:pt x="252487" y="654844"/>
                    </a:lnTo>
                    <a:lnTo>
                      <a:pt x="247110" y="653029"/>
                    </a:lnTo>
                    <a:cubicBezTo>
                      <a:pt x="245329" y="652413"/>
                      <a:pt x="243514" y="651865"/>
                      <a:pt x="241767" y="651129"/>
                    </a:cubicBezTo>
                    <a:lnTo>
                      <a:pt x="231219" y="646968"/>
                    </a:lnTo>
                    <a:cubicBezTo>
                      <a:pt x="229438" y="646317"/>
                      <a:pt x="227726" y="645512"/>
                      <a:pt x="226014" y="644725"/>
                    </a:cubicBezTo>
                    <a:lnTo>
                      <a:pt x="220842" y="642378"/>
                    </a:lnTo>
                    <a:lnTo>
                      <a:pt x="215671" y="640050"/>
                    </a:lnTo>
                    <a:cubicBezTo>
                      <a:pt x="213959" y="639245"/>
                      <a:pt x="212298" y="638337"/>
                      <a:pt x="210602" y="637481"/>
                    </a:cubicBezTo>
                    <a:cubicBezTo>
                      <a:pt x="207246" y="635735"/>
                      <a:pt x="203839" y="634074"/>
                      <a:pt x="200517" y="632276"/>
                    </a:cubicBezTo>
                    <a:lnTo>
                      <a:pt x="190671" y="626608"/>
                    </a:lnTo>
                    <a:lnTo>
                      <a:pt x="188205" y="625204"/>
                    </a:lnTo>
                    <a:lnTo>
                      <a:pt x="185808" y="623680"/>
                    </a:lnTo>
                    <a:lnTo>
                      <a:pt x="181030" y="620615"/>
                    </a:lnTo>
                    <a:cubicBezTo>
                      <a:pt x="177845" y="618577"/>
                      <a:pt x="174609" y="616591"/>
                      <a:pt x="171578" y="614313"/>
                    </a:cubicBezTo>
                    <a:lnTo>
                      <a:pt x="162314" y="607721"/>
                    </a:lnTo>
                    <a:cubicBezTo>
                      <a:pt x="156389" y="602994"/>
                      <a:pt x="150293" y="598474"/>
                      <a:pt x="144677" y="593371"/>
                    </a:cubicBezTo>
                    <a:cubicBezTo>
                      <a:pt x="138821" y="588542"/>
                      <a:pt x="133512" y="583131"/>
                      <a:pt x="127964" y="577960"/>
                    </a:cubicBezTo>
                    <a:cubicBezTo>
                      <a:pt x="122793" y="572412"/>
                      <a:pt x="117365" y="567104"/>
                      <a:pt x="112553" y="561247"/>
                    </a:cubicBezTo>
                    <a:cubicBezTo>
                      <a:pt x="107450" y="555631"/>
                      <a:pt x="102930" y="549535"/>
                      <a:pt x="98203" y="543610"/>
                    </a:cubicBezTo>
                    <a:lnTo>
                      <a:pt x="91611" y="534346"/>
                    </a:lnTo>
                    <a:cubicBezTo>
                      <a:pt x="89334" y="531315"/>
                      <a:pt x="87347" y="528079"/>
                      <a:pt x="85309" y="524894"/>
                    </a:cubicBezTo>
                    <a:lnTo>
                      <a:pt x="82244" y="520117"/>
                    </a:lnTo>
                    <a:lnTo>
                      <a:pt x="80720" y="517719"/>
                    </a:lnTo>
                    <a:lnTo>
                      <a:pt x="79316" y="515254"/>
                    </a:lnTo>
                    <a:lnTo>
                      <a:pt x="73648" y="505408"/>
                    </a:lnTo>
                    <a:cubicBezTo>
                      <a:pt x="71850" y="502086"/>
                      <a:pt x="70189" y="498678"/>
                      <a:pt x="68443" y="495322"/>
                    </a:cubicBezTo>
                    <a:cubicBezTo>
                      <a:pt x="67587" y="493627"/>
                      <a:pt x="66679" y="491966"/>
                      <a:pt x="65874" y="490253"/>
                    </a:cubicBezTo>
                    <a:lnTo>
                      <a:pt x="63545" y="485082"/>
                    </a:lnTo>
                    <a:lnTo>
                      <a:pt x="61200" y="479911"/>
                    </a:lnTo>
                    <a:cubicBezTo>
                      <a:pt x="60412" y="478198"/>
                      <a:pt x="59607" y="476469"/>
                      <a:pt x="58956" y="474705"/>
                    </a:cubicBezTo>
                    <a:lnTo>
                      <a:pt x="54795" y="464157"/>
                    </a:lnTo>
                    <a:cubicBezTo>
                      <a:pt x="54059" y="462410"/>
                      <a:pt x="53511" y="460613"/>
                      <a:pt x="52895" y="458815"/>
                    </a:cubicBezTo>
                    <a:lnTo>
                      <a:pt x="51080" y="453438"/>
                    </a:lnTo>
                    <a:lnTo>
                      <a:pt x="49247" y="448061"/>
                    </a:lnTo>
                    <a:cubicBezTo>
                      <a:pt x="48682" y="446263"/>
                      <a:pt x="48220" y="444431"/>
                      <a:pt x="47689" y="442616"/>
                    </a:cubicBezTo>
                    <a:cubicBezTo>
                      <a:pt x="46679" y="438968"/>
                      <a:pt x="45583" y="435355"/>
                      <a:pt x="44624" y="431691"/>
                    </a:cubicBezTo>
                    <a:lnTo>
                      <a:pt x="42073" y="420629"/>
                    </a:lnTo>
                    <a:cubicBezTo>
                      <a:pt x="41114" y="416965"/>
                      <a:pt x="40600" y="413215"/>
                      <a:pt x="39898" y="409499"/>
                    </a:cubicBezTo>
                    <a:cubicBezTo>
                      <a:pt x="39281" y="405766"/>
                      <a:pt x="38425" y="402067"/>
                      <a:pt x="38049" y="398300"/>
                    </a:cubicBezTo>
                    <a:lnTo>
                      <a:pt x="36610" y="387033"/>
                    </a:lnTo>
                    <a:cubicBezTo>
                      <a:pt x="36165" y="383266"/>
                      <a:pt x="36011" y="379481"/>
                      <a:pt x="35685" y="375697"/>
                    </a:cubicBezTo>
                    <a:lnTo>
                      <a:pt x="35240" y="370029"/>
                    </a:lnTo>
                    <a:cubicBezTo>
                      <a:pt x="35120" y="368128"/>
                      <a:pt x="35138" y="366228"/>
                      <a:pt x="35069" y="364344"/>
                    </a:cubicBezTo>
                    <a:lnTo>
                      <a:pt x="34761" y="352957"/>
                    </a:lnTo>
                    <a:lnTo>
                      <a:pt x="35069" y="341570"/>
                    </a:lnTo>
                    <a:cubicBezTo>
                      <a:pt x="35138" y="339669"/>
                      <a:pt x="35120" y="337768"/>
                      <a:pt x="35240" y="335885"/>
                    </a:cubicBezTo>
                    <a:lnTo>
                      <a:pt x="35685" y="330217"/>
                    </a:lnTo>
                    <a:cubicBezTo>
                      <a:pt x="36011" y="326450"/>
                      <a:pt x="36165" y="322648"/>
                      <a:pt x="36610" y="318881"/>
                    </a:cubicBezTo>
                    <a:lnTo>
                      <a:pt x="38049" y="307614"/>
                    </a:lnTo>
                    <a:cubicBezTo>
                      <a:pt x="38408" y="303847"/>
                      <a:pt x="39281" y="300148"/>
                      <a:pt x="39898" y="296415"/>
                    </a:cubicBezTo>
                    <a:cubicBezTo>
                      <a:pt x="40600" y="292699"/>
                      <a:pt x="41114" y="288932"/>
                      <a:pt x="42073" y="285285"/>
                    </a:cubicBezTo>
                    <a:lnTo>
                      <a:pt x="44624" y="274223"/>
                    </a:lnTo>
                    <a:cubicBezTo>
                      <a:pt x="45583" y="270559"/>
                      <a:pt x="46679" y="266946"/>
                      <a:pt x="47689" y="263298"/>
                    </a:cubicBezTo>
                    <a:cubicBezTo>
                      <a:pt x="48220" y="261483"/>
                      <a:pt x="48682" y="259651"/>
                      <a:pt x="49247" y="257853"/>
                    </a:cubicBezTo>
                    <a:lnTo>
                      <a:pt x="51080" y="252476"/>
                    </a:lnTo>
                    <a:lnTo>
                      <a:pt x="52895" y="247099"/>
                    </a:lnTo>
                    <a:cubicBezTo>
                      <a:pt x="53511" y="245319"/>
                      <a:pt x="54059" y="243503"/>
                      <a:pt x="54795" y="241757"/>
                    </a:cubicBezTo>
                    <a:lnTo>
                      <a:pt x="58956" y="231209"/>
                    </a:lnTo>
                    <a:cubicBezTo>
                      <a:pt x="59607" y="229428"/>
                      <a:pt x="60412" y="227716"/>
                      <a:pt x="61200" y="226003"/>
                    </a:cubicBezTo>
                    <a:lnTo>
                      <a:pt x="63545" y="220832"/>
                    </a:lnTo>
                    <a:lnTo>
                      <a:pt x="65874" y="215661"/>
                    </a:lnTo>
                    <a:cubicBezTo>
                      <a:pt x="66679" y="213948"/>
                      <a:pt x="67587" y="212287"/>
                      <a:pt x="68443" y="210592"/>
                    </a:cubicBezTo>
                    <a:cubicBezTo>
                      <a:pt x="70189" y="207236"/>
                      <a:pt x="71850" y="203828"/>
                      <a:pt x="73648" y="200506"/>
                    </a:cubicBezTo>
                    <a:lnTo>
                      <a:pt x="79316" y="190660"/>
                    </a:lnTo>
                    <a:lnTo>
                      <a:pt x="80720" y="188195"/>
                    </a:lnTo>
                    <a:lnTo>
                      <a:pt x="82244" y="185797"/>
                    </a:lnTo>
                    <a:lnTo>
                      <a:pt x="85309" y="181020"/>
                    </a:lnTo>
                    <a:cubicBezTo>
                      <a:pt x="87347" y="177835"/>
                      <a:pt x="89334" y="174599"/>
                      <a:pt x="91611" y="171568"/>
                    </a:cubicBezTo>
                    <a:lnTo>
                      <a:pt x="98203" y="162304"/>
                    </a:lnTo>
                    <a:cubicBezTo>
                      <a:pt x="102930" y="156379"/>
                      <a:pt x="107450" y="150283"/>
                      <a:pt x="112553" y="144667"/>
                    </a:cubicBezTo>
                    <a:cubicBezTo>
                      <a:pt x="117382" y="138810"/>
                      <a:pt x="122793" y="133502"/>
                      <a:pt x="127964" y="127954"/>
                    </a:cubicBezTo>
                    <a:cubicBezTo>
                      <a:pt x="133512" y="122783"/>
                      <a:pt x="138821" y="117355"/>
                      <a:pt x="144677" y="112543"/>
                    </a:cubicBezTo>
                    <a:cubicBezTo>
                      <a:pt x="150293" y="107440"/>
                      <a:pt x="156389" y="102920"/>
                      <a:pt x="162314" y="98193"/>
                    </a:cubicBezTo>
                    <a:lnTo>
                      <a:pt x="171578" y="91601"/>
                    </a:lnTo>
                    <a:cubicBezTo>
                      <a:pt x="174609" y="89323"/>
                      <a:pt x="177845" y="87337"/>
                      <a:pt x="181030" y="85299"/>
                    </a:cubicBezTo>
                    <a:lnTo>
                      <a:pt x="185808" y="82234"/>
                    </a:lnTo>
                    <a:lnTo>
                      <a:pt x="188205" y="80710"/>
                    </a:lnTo>
                    <a:lnTo>
                      <a:pt x="190671" y="79306"/>
                    </a:lnTo>
                    <a:lnTo>
                      <a:pt x="200517" y="73638"/>
                    </a:lnTo>
                    <a:cubicBezTo>
                      <a:pt x="203839" y="71840"/>
                      <a:pt x="207246" y="70179"/>
                      <a:pt x="210602" y="68433"/>
                    </a:cubicBezTo>
                    <a:cubicBezTo>
                      <a:pt x="212298" y="67577"/>
                      <a:pt x="213959" y="66669"/>
                      <a:pt x="215671" y="65864"/>
                    </a:cubicBezTo>
                    <a:lnTo>
                      <a:pt x="220842" y="63535"/>
                    </a:lnTo>
                    <a:lnTo>
                      <a:pt x="226014" y="61190"/>
                    </a:lnTo>
                    <a:cubicBezTo>
                      <a:pt x="227726" y="60402"/>
                      <a:pt x="229455" y="59597"/>
                      <a:pt x="231219" y="58946"/>
                    </a:cubicBezTo>
                    <a:lnTo>
                      <a:pt x="241767" y="54785"/>
                    </a:lnTo>
                    <a:cubicBezTo>
                      <a:pt x="243514" y="54049"/>
                      <a:pt x="245312" y="53501"/>
                      <a:pt x="247110" y="52885"/>
                    </a:cubicBezTo>
                    <a:lnTo>
                      <a:pt x="252487" y="51070"/>
                    </a:lnTo>
                    <a:lnTo>
                      <a:pt x="257863" y="49237"/>
                    </a:lnTo>
                    <a:cubicBezTo>
                      <a:pt x="259661" y="48672"/>
                      <a:pt x="261494" y="48210"/>
                      <a:pt x="263309" y="47679"/>
                    </a:cubicBezTo>
                    <a:cubicBezTo>
                      <a:pt x="266956" y="46669"/>
                      <a:pt x="270569" y="45573"/>
                      <a:pt x="274233" y="44614"/>
                    </a:cubicBezTo>
                    <a:lnTo>
                      <a:pt x="285295" y="42063"/>
                    </a:lnTo>
                    <a:cubicBezTo>
                      <a:pt x="288960" y="41104"/>
                      <a:pt x="292710" y="40590"/>
                      <a:pt x="296426" y="39888"/>
                    </a:cubicBezTo>
                    <a:cubicBezTo>
                      <a:pt x="300159" y="39271"/>
                      <a:pt x="303857" y="38415"/>
                      <a:pt x="307624" y="38039"/>
                    </a:cubicBezTo>
                    <a:lnTo>
                      <a:pt x="318892" y="36600"/>
                    </a:lnTo>
                    <a:cubicBezTo>
                      <a:pt x="322659" y="36155"/>
                      <a:pt x="326443" y="36001"/>
                      <a:pt x="330227" y="35675"/>
                    </a:cubicBezTo>
                    <a:lnTo>
                      <a:pt x="335895" y="35230"/>
                    </a:lnTo>
                    <a:cubicBezTo>
                      <a:pt x="337796" y="35110"/>
                      <a:pt x="339697" y="35128"/>
                      <a:pt x="341580" y="35059"/>
                    </a:cubicBezTo>
                    <a:lnTo>
                      <a:pt x="352968" y="34751"/>
                    </a:lnTo>
                    <a:lnTo>
                      <a:pt x="364355" y="35059"/>
                    </a:lnTo>
                    <a:cubicBezTo>
                      <a:pt x="366255" y="35128"/>
                      <a:pt x="368156" y="35110"/>
                      <a:pt x="370040" y="35230"/>
                    </a:cubicBezTo>
                    <a:lnTo>
                      <a:pt x="375708" y="35675"/>
                    </a:lnTo>
                    <a:cubicBezTo>
                      <a:pt x="379475" y="36001"/>
                      <a:pt x="383276" y="36155"/>
                      <a:pt x="387043" y="36600"/>
                    </a:cubicBezTo>
                    <a:lnTo>
                      <a:pt x="398311" y="38039"/>
                    </a:lnTo>
                    <a:cubicBezTo>
                      <a:pt x="402078" y="38398"/>
                      <a:pt x="405777" y="39271"/>
                      <a:pt x="409509" y="39888"/>
                    </a:cubicBezTo>
                    <a:cubicBezTo>
                      <a:pt x="413225" y="40590"/>
                      <a:pt x="416992" y="41104"/>
                      <a:pt x="420640" y="42063"/>
                    </a:cubicBezTo>
                    <a:lnTo>
                      <a:pt x="431702" y="44614"/>
                    </a:lnTo>
                    <a:cubicBezTo>
                      <a:pt x="435366" y="45573"/>
                      <a:pt x="438979" y="46669"/>
                      <a:pt x="442626" y="47679"/>
                    </a:cubicBezTo>
                    <a:cubicBezTo>
                      <a:pt x="444441" y="48210"/>
                      <a:pt x="446274" y="48672"/>
                      <a:pt x="448072" y="49237"/>
                    </a:cubicBezTo>
                    <a:lnTo>
                      <a:pt x="453448" y="51070"/>
                    </a:lnTo>
                    <a:lnTo>
                      <a:pt x="458825" y="52885"/>
                    </a:lnTo>
                    <a:cubicBezTo>
                      <a:pt x="460606" y="53501"/>
                      <a:pt x="462421" y="54049"/>
                      <a:pt x="464168" y="54785"/>
                    </a:cubicBezTo>
                    <a:lnTo>
                      <a:pt x="474716" y="58946"/>
                    </a:lnTo>
                    <a:cubicBezTo>
                      <a:pt x="476497" y="59597"/>
                      <a:pt x="478209" y="60402"/>
                      <a:pt x="479921" y="61190"/>
                    </a:cubicBezTo>
                    <a:lnTo>
                      <a:pt x="485093" y="63535"/>
                    </a:lnTo>
                    <a:lnTo>
                      <a:pt x="490264" y="65864"/>
                    </a:lnTo>
                    <a:cubicBezTo>
                      <a:pt x="491976" y="66669"/>
                      <a:pt x="493637" y="67577"/>
                      <a:pt x="495333" y="68433"/>
                    </a:cubicBezTo>
                    <a:cubicBezTo>
                      <a:pt x="498689" y="70179"/>
                      <a:pt x="502096" y="71840"/>
                      <a:pt x="505418" y="73638"/>
                    </a:cubicBezTo>
                    <a:lnTo>
                      <a:pt x="515264" y="79306"/>
                    </a:lnTo>
                    <a:lnTo>
                      <a:pt x="517730" y="80710"/>
                    </a:lnTo>
                    <a:lnTo>
                      <a:pt x="520127" y="82234"/>
                    </a:lnTo>
                    <a:lnTo>
                      <a:pt x="524905" y="85299"/>
                    </a:lnTo>
                    <a:cubicBezTo>
                      <a:pt x="528090" y="87337"/>
                      <a:pt x="531326" y="89323"/>
                      <a:pt x="534357" y="91601"/>
                    </a:cubicBezTo>
                    <a:lnTo>
                      <a:pt x="543621" y="98193"/>
                    </a:lnTo>
                    <a:cubicBezTo>
                      <a:pt x="549546" y="102920"/>
                      <a:pt x="555642" y="107440"/>
                      <a:pt x="561258" y="112543"/>
                    </a:cubicBezTo>
                    <a:cubicBezTo>
                      <a:pt x="567115" y="117372"/>
                      <a:pt x="572423" y="122783"/>
                      <a:pt x="577971" y="127954"/>
                    </a:cubicBezTo>
                    <a:cubicBezTo>
                      <a:pt x="583142" y="133502"/>
                      <a:pt x="588570" y="138810"/>
                      <a:pt x="593382" y="144667"/>
                    </a:cubicBezTo>
                    <a:cubicBezTo>
                      <a:pt x="598485" y="150283"/>
                      <a:pt x="603005" y="156379"/>
                      <a:pt x="607732" y="162304"/>
                    </a:cubicBezTo>
                    <a:lnTo>
                      <a:pt x="614324" y="171568"/>
                    </a:lnTo>
                    <a:cubicBezTo>
                      <a:pt x="616602" y="174599"/>
                      <a:pt x="618588" y="177835"/>
                      <a:pt x="620626" y="181020"/>
                    </a:cubicBezTo>
                    <a:lnTo>
                      <a:pt x="623691" y="185797"/>
                    </a:lnTo>
                    <a:lnTo>
                      <a:pt x="625215" y="188195"/>
                    </a:lnTo>
                    <a:lnTo>
                      <a:pt x="626619" y="190660"/>
                    </a:lnTo>
                    <a:lnTo>
                      <a:pt x="632287" y="200506"/>
                    </a:lnTo>
                    <a:cubicBezTo>
                      <a:pt x="634085" y="203828"/>
                      <a:pt x="635746" y="207236"/>
                      <a:pt x="637492" y="210592"/>
                    </a:cubicBezTo>
                    <a:cubicBezTo>
                      <a:pt x="638348" y="212287"/>
                      <a:pt x="639256" y="213948"/>
                      <a:pt x="640061" y="215661"/>
                    </a:cubicBezTo>
                    <a:lnTo>
                      <a:pt x="642390" y="220832"/>
                    </a:lnTo>
                    <a:lnTo>
                      <a:pt x="644735" y="226003"/>
                    </a:lnTo>
                    <a:cubicBezTo>
                      <a:pt x="645523" y="227716"/>
                      <a:pt x="646328" y="229445"/>
                      <a:pt x="646979" y="231209"/>
                    </a:cubicBezTo>
                    <a:lnTo>
                      <a:pt x="651140" y="241757"/>
                    </a:lnTo>
                    <a:cubicBezTo>
                      <a:pt x="651876" y="243503"/>
                      <a:pt x="652424" y="245302"/>
                      <a:pt x="653040" y="247099"/>
                    </a:cubicBezTo>
                    <a:lnTo>
                      <a:pt x="654855" y="252476"/>
                    </a:lnTo>
                    <a:lnTo>
                      <a:pt x="656688" y="257853"/>
                    </a:lnTo>
                    <a:cubicBezTo>
                      <a:pt x="657253" y="259651"/>
                      <a:pt x="657715" y="261483"/>
                      <a:pt x="658246" y="263298"/>
                    </a:cubicBezTo>
                    <a:cubicBezTo>
                      <a:pt x="659256" y="266946"/>
                      <a:pt x="660352" y="270559"/>
                      <a:pt x="661311" y="274223"/>
                    </a:cubicBezTo>
                    <a:lnTo>
                      <a:pt x="663862" y="285285"/>
                    </a:lnTo>
                    <a:cubicBezTo>
                      <a:pt x="664821" y="288949"/>
                      <a:pt x="665335" y="292699"/>
                      <a:pt x="666037" y="296415"/>
                    </a:cubicBezTo>
                    <a:cubicBezTo>
                      <a:pt x="666654" y="300148"/>
                      <a:pt x="667510" y="303847"/>
                      <a:pt x="667886" y="307614"/>
                    </a:cubicBezTo>
                    <a:lnTo>
                      <a:pt x="669325" y="318881"/>
                    </a:lnTo>
                    <a:cubicBezTo>
                      <a:pt x="669770" y="322648"/>
                      <a:pt x="669924" y="326433"/>
                      <a:pt x="670250" y="330217"/>
                    </a:cubicBezTo>
                    <a:lnTo>
                      <a:pt x="670695" y="335885"/>
                    </a:lnTo>
                    <a:cubicBezTo>
                      <a:pt x="670815" y="337786"/>
                      <a:pt x="670798" y="339686"/>
                      <a:pt x="670866" y="341570"/>
                    </a:cubicBezTo>
                    <a:lnTo>
                      <a:pt x="671174" y="352957"/>
                    </a:lnTo>
                    <a:lnTo>
                      <a:pt x="670866" y="364344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98" name="Freeform 13">
                <a:extLst>
                  <a:ext uri="{FF2B5EF4-FFF2-40B4-BE49-F238E27FC236}">
                    <a16:creationId xmlns:a16="http://schemas.microsoft.com/office/drawing/2014/main" id="{9450FB12-07DE-E274-6C95-CEA54BC1872B}"/>
                  </a:ext>
                </a:extLst>
              </p:cNvPr>
              <p:cNvSpPr/>
              <p:nvPr/>
            </p:nvSpPr>
            <p:spPr>
              <a:xfrm>
                <a:off x="3627764" y="3005373"/>
                <a:ext cx="527182" cy="527130"/>
              </a:xfrm>
              <a:custGeom>
                <a:avLst/>
                <a:gdLst>
                  <a:gd name="connsiteX0" fmla="*/ 86970 w 527182"/>
                  <a:gd name="connsiteY0" fmla="*/ 350861 h 527130"/>
                  <a:gd name="connsiteX1" fmla="*/ 108871 w 527182"/>
                  <a:gd name="connsiteY1" fmla="*/ 349987 h 527130"/>
                  <a:gd name="connsiteX2" fmla="*/ 112981 w 527182"/>
                  <a:gd name="connsiteY2" fmla="*/ 338840 h 527130"/>
                  <a:gd name="connsiteX3" fmla="*/ 107998 w 527182"/>
                  <a:gd name="connsiteY3" fmla="*/ 328052 h 527130"/>
                  <a:gd name="connsiteX4" fmla="*/ 63819 w 527182"/>
                  <a:gd name="connsiteY4" fmla="*/ 287315 h 527130"/>
                  <a:gd name="connsiteX5" fmla="*/ 240706 w 527182"/>
                  <a:gd name="connsiteY5" fmla="*/ 286630 h 527130"/>
                  <a:gd name="connsiteX6" fmla="*/ 241408 w 527182"/>
                  <a:gd name="connsiteY6" fmla="*/ 464937 h 527130"/>
                  <a:gd name="connsiteX7" fmla="*/ 199027 w 527182"/>
                  <a:gd name="connsiteY7" fmla="*/ 419680 h 527130"/>
                  <a:gd name="connsiteX8" fmla="*/ 188205 w 527182"/>
                  <a:gd name="connsiteY8" fmla="*/ 414783 h 527130"/>
                  <a:gd name="connsiteX9" fmla="*/ 177092 w 527182"/>
                  <a:gd name="connsiteY9" fmla="*/ 418978 h 527130"/>
                  <a:gd name="connsiteX10" fmla="*/ 176390 w 527182"/>
                  <a:gd name="connsiteY10" fmla="*/ 440896 h 527130"/>
                  <a:gd name="connsiteX11" fmla="*/ 252606 w 527182"/>
                  <a:gd name="connsiteY11" fmla="*/ 522233 h 527130"/>
                  <a:gd name="connsiteX12" fmla="*/ 263925 w 527182"/>
                  <a:gd name="connsiteY12" fmla="*/ 527130 h 527130"/>
                  <a:gd name="connsiteX13" fmla="*/ 263976 w 527182"/>
                  <a:gd name="connsiteY13" fmla="*/ 527130 h 527130"/>
                  <a:gd name="connsiteX14" fmla="*/ 275312 w 527182"/>
                  <a:gd name="connsiteY14" fmla="*/ 522130 h 527130"/>
                  <a:gd name="connsiteX15" fmla="*/ 350913 w 527182"/>
                  <a:gd name="connsiteY15" fmla="*/ 440211 h 527130"/>
                  <a:gd name="connsiteX16" fmla="*/ 350039 w 527182"/>
                  <a:gd name="connsiteY16" fmla="*/ 418310 h 527130"/>
                  <a:gd name="connsiteX17" fmla="*/ 338892 w 527182"/>
                  <a:gd name="connsiteY17" fmla="*/ 414201 h 527130"/>
                  <a:gd name="connsiteX18" fmla="*/ 328104 w 527182"/>
                  <a:gd name="connsiteY18" fmla="*/ 419183 h 527130"/>
                  <a:gd name="connsiteX19" fmla="*/ 287367 w 527182"/>
                  <a:gd name="connsiteY19" fmla="*/ 463345 h 527130"/>
                  <a:gd name="connsiteX20" fmla="*/ 286682 w 527182"/>
                  <a:gd name="connsiteY20" fmla="*/ 286459 h 527130"/>
                  <a:gd name="connsiteX21" fmla="*/ 464973 w 527182"/>
                  <a:gd name="connsiteY21" fmla="*/ 285757 h 527130"/>
                  <a:gd name="connsiteX22" fmla="*/ 419732 w 527182"/>
                  <a:gd name="connsiteY22" fmla="*/ 328138 h 527130"/>
                  <a:gd name="connsiteX23" fmla="*/ 414835 w 527182"/>
                  <a:gd name="connsiteY23" fmla="*/ 338960 h 527130"/>
                  <a:gd name="connsiteX24" fmla="*/ 419030 w 527182"/>
                  <a:gd name="connsiteY24" fmla="*/ 350073 h 527130"/>
                  <a:gd name="connsiteX25" fmla="*/ 440948 w 527182"/>
                  <a:gd name="connsiteY25" fmla="*/ 350775 h 527130"/>
                  <a:gd name="connsiteX26" fmla="*/ 522285 w 527182"/>
                  <a:gd name="connsiteY26" fmla="*/ 274541 h 527130"/>
                  <a:gd name="connsiteX27" fmla="*/ 527182 w 527182"/>
                  <a:gd name="connsiteY27" fmla="*/ 263171 h 527130"/>
                  <a:gd name="connsiteX28" fmla="*/ 522182 w 527182"/>
                  <a:gd name="connsiteY28" fmla="*/ 251835 h 527130"/>
                  <a:gd name="connsiteX29" fmla="*/ 440263 w 527182"/>
                  <a:gd name="connsiteY29" fmla="*/ 176269 h 527130"/>
                  <a:gd name="connsiteX30" fmla="*/ 418362 w 527182"/>
                  <a:gd name="connsiteY30" fmla="*/ 177143 h 527130"/>
                  <a:gd name="connsiteX31" fmla="*/ 414253 w 527182"/>
                  <a:gd name="connsiteY31" fmla="*/ 188290 h 527130"/>
                  <a:gd name="connsiteX32" fmla="*/ 419236 w 527182"/>
                  <a:gd name="connsiteY32" fmla="*/ 199078 h 527130"/>
                  <a:gd name="connsiteX33" fmla="*/ 463414 w 527182"/>
                  <a:gd name="connsiteY33" fmla="*/ 239815 h 527130"/>
                  <a:gd name="connsiteX34" fmla="*/ 286511 w 527182"/>
                  <a:gd name="connsiteY34" fmla="*/ 240500 h 527130"/>
                  <a:gd name="connsiteX35" fmla="*/ 285809 w 527182"/>
                  <a:gd name="connsiteY35" fmla="*/ 62210 h 527130"/>
                  <a:gd name="connsiteX36" fmla="*/ 328190 w 527182"/>
                  <a:gd name="connsiteY36" fmla="*/ 107450 h 527130"/>
                  <a:gd name="connsiteX37" fmla="*/ 339012 w 527182"/>
                  <a:gd name="connsiteY37" fmla="*/ 112347 h 527130"/>
                  <a:gd name="connsiteX38" fmla="*/ 350125 w 527182"/>
                  <a:gd name="connsiteY38" fmla="*/ 108152 h 527130"/>
                  <a:gd name="connsiteX39" fmla="*/ 350827 w 527182"/>
                  <a:gd name="connsiteY39" fmla="*/ 86234 h 527130"/>
                  <a:gd name="connsiteX40" fmla="*/ 274593 w 527182"/>
                  <a:gd name="connsiteY40" fmla="*/ 4897 h 527130"/>
                  <a:gd name="connsiteX41" fmla="*/ 263274 w 527182"/>
                  <a:gd name="connsiteY41" fmla="*/ 0 h 527130"/>
                  <a:gd name="connsiteX42" fmla="*/ 263206 w 527182"/>
                  <a:gd name="connsiteY42" fmla="*/ 0 h 527130"/>
                  <a:gd name="connsiteX43" fmla="*/ 251870 w 527182"/>
                  <a:gd name="connsiteY43" fmla="*/ 5000 h 527130"/>
                  <a:gd name="connsiteX44" fmla="*/ 176304 w 527182"/>
                  <a:gd name="connsiteY44" fmla="*/ 86919 h 527130"/>
                  <a:gd name="connsiteX45" fmla="*/ 177177 w 527182"/>
                  <a:gd name="connsiteY45" fmla="*/ 108820 h 527130"/>
                  <a:gd name="connsiteX46" fmla="*/ 188325 w 527182"/>
                  <a:gd name="connsiteY46" fmla="*/ 112930 h 527130"/>
                  <a:gd name="connsiteX47" fmla="*/ 199095 w 527182"/>
                  <a:gd name="connsiteY47" fmla="*/ 107947 h 527130"/>
                  <a:gd name="connsiteX48" fmla="*/ 239832 w 527182"/>
                  <a:gd name="connsiteY48" fmla="*/ 63768 h 527130"/>
                  <a:gd name="connsiteX49" fmla="*/ 240517 w 527182"/>
                  <a:gd name="connsiteY49" fmla="*/ 240671 h 527130"/>
                  <a:gd name="connsiteX50" fmla="*/ 62210 w 527182"/>
                  <a:gd name="connsiteY50" fmla="*/ 241373 h 527130"/>
                  <a:gd name="connsiteX51" fmla="*/ 107467 w 527182"/>
                  <a:gd name="connsiteY51" fmla="*/ 198992 h 527130"/>
                  <a:gd name="connsiteX52" fmla="*/ 112365 w 527182"/>
                  <a:gd name="connsiteY52" fmla="*/ 188170 h 527130"/>
                  <a:gd name="connsiteX53" fmla="*/ 108169 w 527182"/>
                  <a:gd name="connsiteY53" fmla="*/ 177057 h 527130"/>
                  <a:gd name="connsiteX54" fmla="*/ 86251 w 527182"/>
                  <a:gd name="connsiteY54" fmla="*/ 176355 h 527130"/>
                  <a:gd name="connsiteX55" fmla="*/ 4914 w 527182"/>
                  <a:gd name="connsiteY55" fmla="*/ 252555 h 527130"/>
                  <a:gd name="connsiteX56" fmla="*/ 0 w 527182"/>
                  <a:gd name="connsiteY56" fmla="*/ 263925 h 527130"/>
                  <a:gd name="connsiteX57" fmla="*/ 5000 w 527182"/>
                  <a:gd name="connsiteY57" fmla="*/ 275260 h 527130"/>
                  <a:gd name="connsiteX58" fmla="*/ 86919 w 527182"/>
                  <a:gd name="connsiteY58" fmla="*/ 350861 h 527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527182" h="527130">
                    <a:moveTo>
                      <a:pt x="86970" y="350861"/>
                    </a:moveTo>
                    <a:cubicBezTo>
                      <a:pt x="93255" y="356648"/>
                      <a:pt x="103084" y="356272"/>
                      <a:pt x="108871" y="349987"/>
                    </a:cubicBezTo>
                    <a:cubicBezTo>
                      <a:pt x="111680" y="346939"/>
                      <a:pt x="113135" y="342984"/>
                      <a:pt x="112981" y="338840"/>
                    </a:cubicBezTo>
                    <a:cubicBezTo>
                      <a:pt x="112810" y="334696"/>
                      <a:pt x="111046" y="330860"/>
                      <a:pt x="107998" y="328052"/>
                    </a:cubicBezTo>
                    <a:lnTo>
                      <a:pt x="63819" y="287315"/>
                    </a:lnTo>
                    <a:lnTo>
                      <a:pt x="240706" y="286630"/>
                    </a:lnTo>
                    <a:lnTo>
                      <a:pt x="241408" y="464937"/>
                    </a:lnTo>
                    <a:lnTo>
                      <a:pt x="199027" y="419680"/>
                    </a:lnTo>
                    <a:cubicBezTo>
                      <a:pt x="196202" y="416649"/>
                      <a:pt x="192349" y="414920"/>
                      <a:pt x="188205" y="414783"/>
                    </a:cubicBezTo>
                    <a:cubicBezTo>
                      <a:pt x="184044" y="414646"/>
                      <a:pt x="180123" y="416135"/>
                      <a:pt x="177092" y="418978"/>
                    </a:cubicBezTo>
                    <a:cubicBezTo>
                      <a:pt x="170859" y="424834"/>
                      <a:pt x="170550" y="434663"/>
                      <a:pt x="176390" y="440896"/>
                    </a:cubicBezTo>
                    <a:lnTo>
                      <a:pt x="252606" y="522233"/>
                    </a:lnTo>
                    <a:cubicBezTo>
                      <a:pt x="255535" y="525349"/>
                      <a:pt x="259644" y="527130"/>
                      <a:pt x="263925" y="527130"/>
                    </a:cubicBezTo>
                    <a:lnTo>
                      <a:pt x="263976" y="527130"/>
                    </a:lnTo>
                    <a:cubicBezTo>
                      <a:pt x="268274" y="527130"/>
                      <a:pt x="272401" y="525298"/>
                      <a:pt x="275312" y="522130"/>
                    </a:cubicBezTo>
                    <a:lnTo>
                      <a:pt x="350913" y="440211"/>
                    </a:lnTo>
                    <a:cubicBezTo>
                      <a:pt x="356700" y="433927"/>
                      <a:pt x="356324" y="424098"/>
                      <a:pt x="350039" y="418310"/>
                    </a:cubicBezTo>
                    <a:cubicBezTo>
                      <a:pt x="346991" y="415502"/>
                      <a:pt x="343019" y="414046"/>
                      <a:pt x="338892" y="414201"/>
                    </a:cubicBezTo>
                    <a:cubicBezTo>
                      <a:pt x="334748" y="414372"/>
                      <a:pt x="330912" y="416135"/>
                      <a:pt x="328104" y="419183"/>
                    </a:cubicBezTo>
                    <a:lnTo>
                      <a:pt x="287367" y="463345"/>
                    </a:lnTo>
                    <a:lnTo>
                      <a:pt x="286682" y="286459"/>
                    </a:lnTo>
                    <a:lnTo>
                      <a:pt x="464973" y="285757"/>
                    </a:lnTo>
                    <a:lnTo>
                      <a:pt x="419732" y="328138"/>
                    </a:lnTo>
                    <a:cubicBezTo>
                      <a:pt x="416701" y="330963"/>
                      <a:pt x="414972" y="334816"/>
                      <a:pt x="414835" y="338960"/>
                    </a:cubicBezTo>
                    <a:cubicBezTo>
                      <a:pt x="414698" y="343104"/>
                      <a:pt x="416188" y="347042"/>
                      <a:pt x="419030" y="350073"/>
                    </a:cubicBezTo>
                    <a:cubicBezTo>
                      <a:pt x="424886" y="356306"/>
                      <a:pt x="434715" y="356614"/>
                      <a:pt x="440948" y="350775"/>
                    </a:cubicBezTo>
                    <a:lnTo>
                      <a:pt x="522285" y="274541"/>
                    </a:lnTo>
                    <a:cubicBezTo>
                      <a:pt x="525419" y="271596"/>
                      <a:pt x="527200" y="267452"/>
                      <a:pt x="527182" y="263171"/>
                    </a:cubicBezTo>
                    <a:cubicBezTo>
                      <a:pt x="527182" y="258873"/>
                      <a:pt x="525350" y="254746"/>
                      <a:pt x="522182" y="251835"/>
                    </a:cubicBezTo>
                    <a:lnTo>
                      <a:pt x="440263" y="176269"/>
                    </a:lnTo>
                    <a:cubicBezTo>
                      <a:pt x="433979" y="170482"/>
                      <a:pt x="424150" y="170875"/>
                      <a:pt x="418362" y="177143"/>
                    </a:cubicBezTo>
                    <a:cubicBezTo>
                      <a:pt x="415554" y="180191"/>
                      <a:pt x="414081" y="184146"/>
                      <a:pt x="414253" y="188290"/>
                    </a:cubicBezTo>
                    <a:cubicBezTo>
                      <a:pt x="414424" y="192434"/>
                      <a:pt x="416188" y="196270"/>
                      <a:pt x="419236" y="199078"/>
                    </a:cubicBezTo>
                    <a:lnTo>
                      <a:pt x="463414" y="239815"/>
                    </a:lnTo>
                    <a:lnTo>
                      <a:pt x="286511" y="240500"/>
                    </a:lnTo>
                    <a:lnTo>
                      <a:pt x="285809" y="62210"/>
                    </a:lnTo>
                    <a:lnTo>
                      <a:pt x="328190" y="107450"/>
                    </a:lnTo>
                    <a:cubicBezTo>
                      <a:pt x="331032" y="110481"/>
                      <a:pt x="334868" y="112210"/>
                      <a:pt x="339012" y="112347"/>
                    </a:cubicBezTo>
                    <a:cubicBezTo>
                      <a:pt x="343173" y="112501"/>
                      <a:pt x="347094" y="110995"/>
                      <a:pt x="350125" y="108152"/>
                    </a:cubicBezTo>
                    <a:cubicBezTo>
                      <a:pt x="356358" y="102296"/>
                      <a:pt x="356666" y="92467"/>
                      <a:pt x="350827" y="86234"/>
                    </a:cubicBezTo>
                    <a:lnTo>
                      <a:pt x="274593" y="4897"/>
                    </a:lnTo>
                    <a:cubicBezTo>
                      <a:pt x="271665" y="1781"/>
                      <a:pt x="267555" y="0"/>
                      <a:pt x="263274" y="0"/>
                    </a:cubicBezTo>
                    <a:lnTo>
                      <a:pt x="263206" y="0"/>
                    </a:lnTo>
                    <a:cubicBezTo>
                      <a:pt x="258908" y="0"/>
                      <a:pt x="254781" y="1832"/>
                      <a:pt x="251870" y="5000"/>
                    </a:cubicBezTo>
                    <a:lnTo>
                      <a:pt x="176304" y="86919"/>
                    </a:lnTo>
                    <a:cubicBezTo>
                      <a:pt x="170516" y="93203"/>
                      <a:pt x="170910" y="103032"/>
                      <a:pt x="177177" y="108820"/>
                    </a:cubicBezTo>
                    <a:cubicBezTo>
                      <a:pt x="180225" y="111628"/>
                      <a:pt x="184198" y="113084"/>
                      <a:pt x="188325" y="112930"/>
                    </a:cubicBezTo>
                    <a:cubicBezTo>
                      <a:pt x="192469" y="112758"/>
                      <a:pt x="196287" y="110995"/>
                      <a:pt x="199095" y="107947"/>
                    </a:cubicBezTo>
                    <a:lnTo>
                      <a:pt x="239832" y="63768"/>
                    </a:lnTo>
                    <a:lnTo>
                      <a:pt x="240517" y="240671"/>
                    </a:lnTo>
                    <a:lnTo>
                      <a:pt x="62210" y="241373"/>
                    </a:lnTo>
                    <a:lnTo>
                      <a:pt x="107467" y="198992"/>
                    </a:lnTo>
                    <a:cubicBezTo>
                      <a:pt x="110498" y="196150"/>
                      <a:pt x="112228" y="192314"/>
                      <a:pt x="112365" y="188170"/>
                    </a:cubicBezTo>
                    <a:cubicBezTo>
                      <a:pt x="112502" y="184026"/>
                      <a:pt x="111012" y="180071"/>
                      <a:pt x="108169" y="177057"/>
                    </a:cubicBezTo>
                    <a:cubicBezTo>
                      <a:pt x="102313" y="170824"/>
                      <a:pt x="92484" y="170516"/>
                      <a:pt x="86251" y="176355"/>
                    </a:cubicBezTo>
                    <a:lnTo>
                      <a:pt x="4914" y="252555"/>
                    </a:lnTo>
                    <a:cubicBezTo>
                      <a:pt x="1781" y="255483"/>
                      <a:pt x="0" y="259644"/>
                      <a:pt x="0" y="263925"/>
                    </a:cubicBezTo>
                    <a:cubicBezTo>
                      <a:pt x="0" y="268223"/>
                      <a:pt x="1832" y="272349"/>
                      <a:pt x="5000" y="275260"/>
                    </a:cubicBezTo>
                    <a:lnTo>
                      <a:pt x="86919" y="350861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499" name="Freeform 14">
                <a:extLst>
                  <a:ext uri="{FF2B5EF4-FFF2-40B4-BE49-F238E27FC236}">
                    <a16:creationId xmlns:a16="http://schemas.microsoft.com/office/drawing/2014/main" id="{8BEC2B23-88A4-0BB1-B2F5-7ECEF4D51610}"/>
                  </a:ext>
                </a:extLst>
              </p:cNvPr>
              <p:cNvSpPr/>
              <p:nvPr/>
            </p:nvSpPr>
            <p:spPr>
              <a:xfrm>
                <a:off x="3469800" y="3775913"/>
                <a:ext cx="843060" cy="843058"/>
              </a:xfrm>
              <a:custGeom>
                <a:avLst/>
                <a:gdLst>
                  <a:gd name="connsiteX0" fmla="*/ 842461 w 843060"/>
                  <a:gd name="connsiteY0" fmla="*/ 399012 h 843058"/>
                  <a:gd name="connsiteX1" fmla="*/ 841896 w 843060"/>
                  <a:gd name="connsiteY1" fmla="*/ 391512 h 843058"/>
                  <a:gd name="connsiteX2" fmla="*/ 840646 w 843060"/>
                  <a:gd name="connsiteY2" fmla="*/ 376529 h 843058"/>
                  <a:gd name="connsiteX3" fmla="*/ 838762 w 843060"/>
                  <a:gd name="connsiteY3" fmla="*/ 361597 h 843058"/>
                  <a:gd name="connsiteX4" fmla="*/ 836331 w 843060"/>
                  <a:gd name="connsiteY4" fmla="*/ 346751 h 843058"/>
                  <a:gd name="connsiteX5" fmla="*/ 833437 w 843060"/>
                  <a:gd name="connsiteY5" fmla="*/ 331974 h 843058"/>
                  <a:gd name="connsiteX6" fmla="*/ 830046 w 843060"/>
                  <a:gd name="connsiteY6" fmla="*/ 317299 h 843058"/>
                  <a:gd name="connsiteX7" fmla="*/ 825988 w 843060"/>
                  <a:gd name="connsiteY7" fmla="*/ 302795 h 843058"/>
                  <a:gd name="connsiteX8" fmla="*/ 823882 w 843060"/>
                  <a:gd name="connsiteY8" fmla="*/ 295569 h 843058"/>
                  <a:gd name="connsiteX9" fmla="*/ 821485 w 843060"/>
                  <a:gd name="connsiteY9" fmla="*/ 288428 h 843058"/>
                  <a:gd name="connsiteX10" fmla="*/ 819070 w 843060"/>
                  <a:gd name="connsiteY10" fmla="*/ 281288 h 843058"/>
                  <a:gd name="connsiteX11" fmla="*/ 816536 w 843060"/>
                  <a:gd name="connsiteY11" fmla="*/ 274199 h 843058"/>
                  <a:gd name="connsiteX12" fmla="*/ 811005 w 843060"/>
                  <a:gd name="connsiteY12" fmla="*/ 260192 h 843058"/>
                  <a:gd name="connsiteX13" fmla="*/ 808043 w 843060"/>
                  <a:gd name="connsiteY13" fmla="*/ 253274 h 843058"/>
                  <a:gd name="connsiteX14" fmla="*/ 804943 w 843060"/>
                  <a:gd name="connsiteY14" fmla="*/ 246407 h 843058"/>
                  <a:gd name="connsiteX15" fmla="*/ 801827 w 843060"/>
                  <a:gd name="connsiteY15" fmla="*/ 239558 h 843058"/>
                  <a:gd name="connsiteX16" fmla="*/ 798436 w 843060"/>
                  <a:gd name="connsiteY16" fmla="*/ 232828 h 843058"/>
                  <a:gd name="connsiteX17" fmla="*/ 791518 w 843060"/>
                  <a:gd name="connsiteY17" fmla="*/ 219472 h 843058"/>
                  <a:gd name="connsiteX18" fmla="*/ 784018 w 843060"/>
                  <a:gd name="connsiteY18" fmla="*/ 206424 h 843058"/>
                  <a:gd name="connsiteX19" fmla="*/ 782135 w 843060"/>
                  <a:gd name="connsiteY19" fmla="*/ 203170 h 843058"/>
                  <a:gd name="connsiteX20" fmla="*/ 780114 w 843060"/>
                  <a:gd name="connsiteY20" fmla="*/ 199986 h 843058"/>
                  <a:gd name="connsiteX21" fmla="*/ 776056 w 843060"/>
                  <a:gd name="connsiteY21" fmla="*/ 193650 h 843058"/>
                  <a:gd name="connsiteX22" fmla="*/ 767700 w 843060"/>
                  <a:gd name="connsiteY22" fmla="*/ 181133 h 843058"/>
                  <a:gd name="connsiteX23" fmla="*/ 758949 w 843060"/>
                  <a:gd name="connsiteY23" fmla="*/ 168889 h 843058"/>
                  <a:gd name="connsiteX24" fmla="*/ 739994 w 843060"/>
                  <a:gd name="connsiteY24" fmla="*/ 145550 h 843058"/>
                  <a:gd name="connsiteX25" fmla="*/ 719582 w 843060"/>
                  <a:gd name="connsiteY25" fmla="*/ 123478 h 843058"/>
                  <a:gd name="connsiteX26" fmla="*/ 697510 w 843060"/>
                  <a:gd name="connsiteY26" fmla="*/ 103066 h 843058"/>
                  <a:gd name="connsiteX27" fmla="*/ 674171 w 843060"/>
                  <a:gd name="connsiteY27" fmla="*/ 84111 h 843058"/>
                  <a:gd name="connsiteX28" fmla="*/ 661928 w 843060"/>
                  <a:gd name="connsiteY28" fmla="*/ 75361 h 843058"/>
                  <a:gd name="connsiteX29" fmla="*/ 649410 w 843060"/>
                  <a:gd name="connsiteY29" fmla="*/ 67004 h 843058"/>
                  <a:gd name="connsiteX30" fmla="*/ 643074 w 843060"/>
                  <a:gd name="connsiteY30" fmla="*/ 62946 h 843058"/>
                  <a:gd name="connsiteX31" fmla="*/ 639890 w 843060"/>
                  <a:gd name="connsiteY31" fmla="*/ 60925 h 843058"/>
                  <a:gd name="connsiteX32" fmla="*/ 636636 w 843060"/>
                  <a:gd name="connsiteY32" fmla="*/ 59042 h 843058"/>
                  <a:gd name="connsiteX33" fmla="*/ 623588 w 843060"/>
                  <a:gd name="connsiteY33" fmla="*/ 51542 h 843058"/>
                  <a:gd name="connsiteX34" fmla="*/ 610232 w 843060"/>
                  <a:gd name="connsiteY34" fmla="*/ 44624 h 843058"/>
                  <a:gd name="connsiteX35" fmla="*/ 603502 w 843060"/>
                  <a:gd name="connsiteY35" fmla="*/ 41233 h 843058"/>
                  <a:gd name="connsiteX36" fmla="*/ 596653 w 843060"/>
                  <a:gd name="connsiteY36" fmla="*/ 38117 h 843058"/>
                  <a:gd name="connsiteX37" fmla="*/ 589786 w 843060"/>
                  <a:gd name="connsiteY37" fmla="*/ 35018 h 843058"/>
                  <a:gd name="connsiteX38" fmla="*/ 582868 w 843060"/>
                  <a:gd name="connsiteY38" fmla="*/ 32055 h 843058"/>
                  <a:gd name="connsiteX39" fmla="*/ 568861 w 843060"/>
                  <a:gd name="connsiteY39" fmla="*/ 26524 h 843058"/>
                  <a:gd name="connsiteX40" fmla="*/ 561772 w 843060"/>
                  <a:gd name="connsiteY40" fmla="*/ 23990 h 843058"/>
                  <a:gd name="connsiteX41" fmla="*/ 554631 w 843060"/>
                  <a:gd name="connsiteY41" fmla="*/ 21576 h 843058"/>
                  <a:gd name="connsiteX42" fmla="*/ 547491 w 843060"/>
                  <a:gd name="connsiteY42" fmla="*/ 19178 h 843058"/>
                  <a:gd name="connsiteX43" fmla="*/ 540265 w 843060"/>
                  <a:gd name="connsiteY43" fmla="*/ 17072 h 843058"/>
                  <a:gd name="connsiteX44" fmla="*/ 525761 w 843060"/>
                  <a:gd name="connsiteY44" fmla="*/ 13014 h 843058"/>
                  <a:gd name="connsiteX45" fmla="*/ 511086 w 843060"/>
                  <a:gd name="connsiteY45" fmla="*/ 9624 h 843058"/>
                  <a:gd name="connsiteX46" fmla="*/ 496309 w 843060"/>
                  <a:gd name="connsiteY46" fmla="*/ 6730 h 843058"/>
                  <a:gd name="connsiteX47" fmla="*/ 481463 w 843060"/>
                  <a:gd name="connsiteY47" fmla="*/ 4298 h 843058"/>
                  <a:gd name="connsiteX48" fmla="*/ 466531 w 843060"/>
                  <a:gd name="connsiteY48" fmla="*/ 2414 h 843058"/>
                  <a:gd name="connsiteX49" fmla="*/ 451548 w 843060"/>
                  <a:gd name="connsiteY49" fmla="*/ 1164 h 843058"/>
                  <a:gd name="connsiteX50" fmla="*/ 444048 w 843060"/>
                  <a:gd name="connsiteY50" fmla="*/ 599 h 843058"/>
                  <a:gd name="connsiteX51" fmla="*/ 436547 w 843060"/>
                  <a:gd name="connsiteY51" fmla="*/ 360 h 843058"/>
                  <a:gd name="connsiteX52" fmla="*/ 421530 w 843060"/>
                  <a:gd name="connsiteY52" fmla="*/ 0 h 843058"/>
                  <a:gd name="connsiteX53" fmla="*/ 406513 w 843060"/>
                  <a:gd name="connsiteY53" fmla="*/ 360 h 843058"/>
                  <a:gd name="connsiteX54" fmla="*/ 399013 w 843060"/>
                  <a:gd name="connsiteY54" fmla="*/ 599 h 843058"/>
                  <a:gd name="connsiteX55" fmla="*/ 391513 w 843060"/>
                  <a:gd name="connsiteY55" fmla="*/ 1164 h 843058"/>
                  <a:gd name="connsiteX56" fmla="*/ 376530 w 843060"/>
                  <a:gd name="connsiteY56" fmla="*/ 2414 h 843058"/>
                  <a:gd name="connsiteX57" fmla="*/ 361598 w 843060"/>
                  <a:gd name="connsiteY57" fmla="*/ 4298 h 843058"/>
                  <a:gd name="connsiteX58" fmla="*/ 346752 w 843060"/>
                  <a:gd name="connsiteY58" fmla="*/ 6730 h 843058"/>
                  <a:gd name="connsiteX59" fmla="*/ 331974 w 843060"/>
                  <a:gd name="connsiteY59" fmla="*/ 9624 h 843058"/>
                  <a:gd name="connsiteX60" fmla="*/ 317299 w 843060"/>
                  <a:gd name="connsiteY60" fmla="*/ 13014 h 843058"/>
                  <a:gd name="connsiteX61" fmla="*/ 302796 w 843060"/>
                  <a:gd name="connsiteY61" fmla="*/ 17072 h 843058"/>
                  <a:gd name="connsiteX62" fmla="*/ 295569 w 843060"/>
                  <a:gd name="connsiteY62" fmla="*/ 19178 h 843058"/>
                  <a:gd name="connsiteX63" fmla="*/ 288429 w 843060"/>
                  <a:gd name="connsiteY63" fmla="*/ 21576 h 843058"/>
                  <a:gd name="connsiteX64" fmla="*/ 281288 w 843060"/>
                  <a:gd name="connsiteY64" fmla="*/ 23990 h 843058"/>
                  <a:gd name="connsiteX65" fmla="*/ 274199 w 843060"/>
                  <a:gd name="connsiteY65" fmla="*/ 26524 h 843058"/>
                  <a:gd name="connsiteX66" fmla="*/ 260192 w 843060"/>
                  <a:gd name="connsiteY66" fmla="*/ 32055 h 843058"/>
                  <a:gd name="connsiteX67" fmla="*/ 253274 w 843060"/>
                  <a:gd name="connsiteY67" fmla="*/ 35018 h 843058"/>
                  <a:gd name="connsiteX68" fmla="*/ 246408 w 843060"/>
                  <a:gd name="connsiteY68" fmla="*/ 38117 h 843058"/>
                  <a:gd name="connsiteX69" fmla="*/ 239558 w 843060"/>
                  <a:gd name="connsiteY69" fmla="*/ 41233 h 843058"/>
                  <a:gd name="connsiteX70" fmla="*/ 232829 w 843060"/>
                  <a:gd name="connsiteY70" fmla="*/ 44624 h 843058"/>
                  <a:gd name="connsiteX71" fmla="*/ 219472 w 843060"/>
                  <a:gd name="connsiteY71" fmla="*/ 51542 h 843058"/>
                  <a:gd name="connsiteX72" fmla="*/ 206424 w 843060"/>
                  <a:gd name="connsiteY72" fmla="*/ 59042 h 843058"/>
                  <a:gd name="connsiteX73" fmla="*/ 203171 w 843060"/>
                  <a:gd name="connsiteY73" fmla="*/ 60925 h 843058"/>
                  <a:gd name="connsiteX74" fmla="*/ 199986 w 843060"/>
                  <a:gd name="connsiteY74" fmla="*/ 62946 h 843058"/>
                  <a:gd name="connsiteX75" fmla="*/ 193650 w 843060"/>
                  <a:gd name="connsiteY75" fmla="*/ 67004 h 843058"/>
                  <a:gd name="connsiteX76" fmla="*/ 181133 w 843060"/>
                  <a:gd name="connsiteY76" fmla="*/ 75361 h 843058"/>
                  <a:gd name="connsiteX77" fmla="*/ 168889 w 843060"/>
                  <a:gd name="connsiteY77" fmla="*/ 84111 h 843058"/>
                  <a:gd name="connsiteX78" fmla="*/ 145550 w 843060"/>
                  <a:gd name="connsiteY78" fmla="*/ 103066 h 843058"/>
                  <a:gd name="connsiteX79" fmla="*/ 123478 w 843060"/>
                  <a:gd name="connsiteY79" fmla="*/ 123478 h 843058"/>
                  <a:gd name="connsiteX80" fmla="*/ 103067 w 843060"/>
                  <a:gd name="connsiteY80" fmla="*/ 145550 h 843058"/>
                  <a:gd name="connsiteX81" fmla="*/ 84111 w 843060"/>
                  <a:gd name="connsiteY81" fmla="*/ 168889 h 843058"/>
                  <a:gd name="connsiteX82" fmla="*/ 75361 w 843060"/>
                  <a:gd name="connsiteY82" fmla="*/ 181133 h 843058"/>
                  <a:gd name="connsiteX83" fmla="*/ 67004 w 843060"/>
                  <a:gd name="connsiteY83" fmla="*/ 193650 h 843058"/>
                  <a:gd name="connsiteX84" fmla="*/ 62946 w 843060"/>
                  <a:gd name="connsiteY84" fmla="*/ 199986 h 843058"/>
                  <a:gd name="connsiteX85" fmla="*/ 60926 w 843060"/>
                  <a:gd name="connsiteY85" fmla="*/ 203170 h 843058"/>
                  <a:gd name="connsiteX86" fmla="*/ 59042 w 843060"/>
                  <a:gd name="connsiteY86" fmla="*/ 206424 h 843058"/>
                  <a:gd name="connsiteX87" fmla="*/ 51542 w 843060"/>
                  <a:gd name="connsiteY87" fmla="*/ 219472 h 843058"/>
                  <a:gd name="connsiteX88" fmla="*/ 44624 w 843060"/>
                  <a:gd name="connsiteY88" fmla="*/ 232828 h 843058"/>
                  <a:gd name="connsiteX89" fmla="*/ 41234 w 843060"/>
                  <a:gd name="connsiteY89" fmla="*/ 239558 h 843058"/>
                  <a:gd name="connsiteX90" fmla="*/ 38117 w 843060"/>
                  <a:gd name="connsiteY90" fmla="*/ 246407 h 843058"/>
                  <a:gd name="connsiteX91" fmla="*/ 35018 w 843060"/>
                  <a:gd name="connsiteY91" fmla="*/ 253274 h 843058"/>
                  <a:gd name="connsiteX92" fmla="*/ 32055 w 843060"/>
                  <a:gd name="connsiteY92" fmla="*/ 260192 h 843058"/>
                  <a:gd name="connsiteX93" fmla="*/ 26524 w 843060"/>
                  <a:gd name="connsiteY93" fmla="*/ 274199 h 843058"/>
                  <a:gd name="connsiteX94" fmla="*/ 23990 w 843060"/>
                  <a:gd name="connsiteY94" fmla="*/ 281288 h 843058"/>
                  <a:gd name="connsiteX95" fmla="*/ 21576 w 843060"/>
                  <a:gd name="connsiteY95" fmla="*/ 288428 h 843058"/>
                  <a:gd name="connsiteX96" fmla="*/ 19178 w 843060"/>
                  <a:gd name="connsiteY96" fmla="*/ 295569 h 843058"/>
                  <a:gd name="connsiteX97" fmla="*/ 17072 w 843060"/>
                  <a:gd name="connsiteY97" fmla="*/ 302795 h 843058"/>
                  <a:gd name="connsiteX98" fmla="*/ 13014 w 843060"/>
                  <a:gd name="connsiteY98" fmla="*/ 317299 h 843058"/>
                  <a:gd name="connsiteX99" fmla="*/ 9623 w 843060"/>
                  <a:gd name="connsiteY99" fmla="*/ 331974 h 843058"/>
                  <a:gd name="connsiteX100" fmla="*/ 6730 w 843060"/>
                  <a:gd name="connsiteY100" fmla="*/ 346751 h 843058"/>
                  <a:gd name="connsiteX101" fmla="*/ 4298 w 843060"/>
                  <a:gd name="connsiteY101" fmla="*/ 361597 h 843058"/>
                  <a:gd name="connsiteX102" fmla="*/ 2414 w 843060"/>
                  <a:gd name="connsiteY102" fmla="*/ 376529 h 843058"/>
                  <a:gd name="connsiteX103" fmla="*/ 1164 w 843060"/>
                  <a:gd name="connsiteY103" fmla="*/ 391512 h 843058"/>
                  <a:gd name="connsiteX104" fmla="*/ 599 w 843060"/>
                  <a:gd name="connsiteY104" fmla="*/ 399012 h 843058"/>
                  <a:gd name="connsiteX105" fmla="*/ 360 w 843060"/>
                  <a:gd name="connsiteY105" fmla="*/ 406512 h 843058"/>
                  <a:gd name="connsiteX106" fmla="*/ 0 w 843060"/>
                  <a:gd name="connsiteY106" fmla="*/ 421529 h 843058"/>
                  <a:gd name="connsiteX107" fmla="*/ 360 w 843060"/>
                  <a:gd name="connsiteY107" fmla="*/ 436547 h 843058"/>
                  <a:gd name="connsiteX108" fmla="*/ 599 w 843060"/>
                  <a:gd name="connsiteY108" fmla="*/ 444047 h 843058"/>
                  <a:gd name="connsiteX109" fmla="*/ 1164 w 843060"/>
                  <a:gd name="connsiteY109" fmla="*/ 451547 h 843058"/>
                  <a:gd name="connsiteX110" fmla="*/ 2414 w 843060"/>
                  <a:gd name="connsiteY110" fmla="*/ 466530 h 843058"/>
                  <a:gd name="connsiteX111" fmla="*/ 4298 w 843060"/>
                  <a:gd name="connsiteY111" fmla="*/ 481462 h 843058"/>
                  <a:gd name="connsiteX112" fmla="*/ 6730 w 843060"/>
                  <a:gd name="connsiteY112" fmla="*/ 496308 h 843058"/>
                  <a:gd name="connsiteX113" fmla="*/ 9623 w 843060"/>
                  <a:gd name="connsiteY113" fmla="*/ 511085 h 843058"/>
                  <a:gd name="connsiteX114" fmla="*/ 13014 w 843060"/>
                  <a:gd name="connsiteY114" fmla="*/ 525760 h 843058"/>
                  <a:gd name="connsiteX115" fmla="*/ 17072 w 843060"/>
                  <a:gd name="connsiteY115" fmla="*/ 540264 h 843058"/>
                  <a:gd name="connsiteX116" fmla="*/ 19178 w 843060"/>
                  <a:gd name="connsiteY116" fmla="*/ 547490 h 843058"/>
                  <a:gd name="connsiteX117" fmla="*/ 21576 w 843060"/>
                  <a:gd name="connsiteY117" fmla="*/ 554630 h 843058"/>
                  <a:gd name="connsiteX118" fmla="*/ 23990 w 843060"/>
                  <a:gd name="connsiteY118" fmla="*/ 561771 h 843058"/>
                  <a:gd name="connsiteX119" fmla="*/ 26524 w 843060"/>
                  <a:gd name="connsiteY119" fmla="*/ 568860 h 843058"/>
                  <a:gd name="connsiteX120" fmla="*/ 32055 w 843060"/>
                  <a:gd name="connsiteY120" fmla="*/ 582867 h 843058"/>
                  <a:gd name="connsiteX121" fmla="*/ 35018 w 843060"/>
                  <a:gd name="connsiteY121" fmla="*/ 589785 h 843058"/>
                  <a:gd name="connsiteX122" fmla="*/ 38117 w 843060"/>
                  <a:gd name="connsiteY122" fmla="*/ 596652 h 843058"/>
                  <a:gd name="connsiteX123" fmla="*/ 41234 w 843060"/>
                  <a:gd name="connsiteY123" fmla="*/ 603501 h 843058"/>
                  <a:gd name="connsiteX124" fmla="*/ 44624 w 843060"/>
                  <a:gd name="connsiteY124" fmla="*/ 610231 h 843058"/>
                  <a:gd name="connsiteX125" fmla="*/ 51542 w 843060"/>
                  <a:gd name="connsiteY125" fmla="*/ 623587 h 843058"/>
                  <a:gd name="connsiteX126" fmla="*/ 59042 w 843060"/>
                  <a:gd name="connsiteY126" fmla="*/ 636635 h 843058"/>
                  <a:gd name="connsiteX127" fmla="*/ 60926 w 843060"/>
                  <a:gd name="connsiteY127" fmla="*/ 639888 h 843058"/>
                  <a:gd name="connsiteX128" fmla="*/ 62946 w 843060"/>
                  <a:gd name="connsiteY128" fmla="*/ 643073 h 843058"/>
                  <a:gd name="connsiteX129" fmla="*/ 67004 w 843060"/>
                  <a:gd name="connsiteY129" fmla="*/ 649409 h 843058"/>
                  <a:gd name="connsiteX130" fmla="*/ 75361 w 843060"/>
                  <a:gd name="connsiteY130" fmla="*/ 661926 h 843058"/>
                  <a:gd name="connsiteX131" fmla="*/ 84111 w 843060"/>
                  <a:gd name="connsiteY131" fmla="*/ 674170 h 843058"/>
                  <a:gd name="connsiteX132" fmla="*/ 103067 w 843060"/>
                  <a:gd name="connsiteY132" fmla="*/ 697509 h 843058"/>
                  <a:gd name="connsiteX133" fmla="*/ 123478 w 843060"/>
                  <a:gd name="connsiteY133" fmla="*/ 719581 h 843058"/>
                  <a:gd name="connsiteX134" fmla="*/ 145550 w 843060"/>
                  <a:gd name="connsiteY134" fmla="*/ 739992 h 843058"/>
                  <a:gd name="connsiteX135" fmla="*/ 168889 w 843060"/>
                  <a:gd name="connsiteY135" fmla="*/ 758948 h 843058"/>
                  <a:gd name="connsiteX136" fmla="*/ 181133 w 843060"/>
                  <a:gd name="connsiteY136" fmla="*/ 767698 h 843058"/>
                  <a:gd name="connsiteX137" fmla="*/ 193650 w 843060"/>
                  <a:gd name="connsiteY137" fmla="*/ 776055 h 843058"/>
                  <a:gd name="connsiteX138" fmla="*/ 199986 w 843060"/>
                  <a:gd name="connsiteY138" fmla="*/ 780113 h 843058"/>
                  <a:gd name="connsiteX139" fmla="*/ 203171 w 843060"/>
                  <a:gd name="connsiteY139" fmla="*/ 782133 h 843058"/>
                  <a:gd name="connsiteX140" fmla="*/ 206424 w 843060"/>
                  <a:gd name="connsiteY140" fmla="*/ 784017 h 843058"/>
                  <a:gd name="connsiteX141" fmla="*/ 219472 w 843060"/>
                  <a:gd name="connsiteY141" fmla="*/ 791517 h 843058"/>
                  <a:gd name="connsiteX142" fmla="*/ 232829 w 843060"/>
                  <a:gd name="connsiteY142" fmla="*/ 798435 h 843058"/>
                  <a:gd name="connsiteX143" fmla="*/ 239558 w 843060"/>
                  <a:gd name="connsiteY143" fmla="*/ 801825 h 843058"/>
                  <a:gd name="connsiteX144" fmla="*/ 246408 w 843060"/>
                  <a:gd name="connsiteY144" fmla="*/ 804942 h 843058"/>
                  <a:gd name="connsiteX145" fmla="*/ 253274 w 843060"/>
                  <a:gd name="connsiteY145" fmla="*/ 808041 h 843058"/>
                  <a:gd name="connsiteX146" fmla="*/ 260192 w 843060"/>
                  <a:gd name="connsiteY146" fmla="*/ 811004 h 843058"/>
                  <a:gd name="connsiteX147" fmla="*/ 274199 w 843060"/>
                  <a:gd name="connsiteY147" fmla="*/ 816535 h 843058"/>
                  <a:gd name="connsiteX148" fmla="*/ 281288 w 843060"/>
                  <a:gd name="connsiteY148" fmla="*/ 819069 h 843058"/>
                  <a:gd name="connsiteX149" fmla="*/ 288429 w 843060"/>
                  <a:gd name="connsiteY149" fmla="*/ 821483 h 843058"/>
                  <a:gd name="connsiteX150" fmla="*/ 295569 w 843060"/>
                  <a:gd name="connsiteY150" fmla="*/ 823880 h 843058"/>
                  <a:gd name="connsiteX151" fmla="*/ 302796 w 843060"/>
                  <a:gd name="connsiteY151" fmla="*/ 825987 h 843058"/>
                  <a:gd name="connsiteX152" fmla="*/ 317299 w 843060"/>
                  <a:gd name="connsiteY152" fmla="*/ 830045 h 843058"/>
                  <a:gd name="connsiteX153" fmla="*/ 331974 w 843060"/>
                  <a:gd name="connsiteY153" fmla="*/ 833435 h 843058"/>
                  <a:gd name="connsiteX154" fmla="*/ 346752 w 843060"/>
                  <a:gd name="connsiteY154" fmla="*/ 836329 h 843058"/>
                  <a:gd name="connsiteX155" fmla="*/ 361598 w 843060"/>
                  <a:gd name="connsiteY155" fmla="*/ 838761 h 843058"/>
                  <a:gd name="connsiteX156" fmla="*/ 376530 w 843060"/>
                  <a:gd name="connsiteY156" fmla="*/ 840644 h 843058"/>
                  <a:gd name="connsiteX157" fmla="*/ 391513 w 843060"/>
                  <a:gd name="connsiteY157" fmla="*/ 841894 h 843058"/>
                  <a:gd name="connsiteX158" fmla="*/ 399013 w 843060"/>
                  <a:gd name="connsiteY158" fmla="*/ 842459 h 843058"/>
                  <a:gd name="connsiteX159" fmla="*/ 406513 w 843060"/>
                  <a:gd name="connsiteY159" fmla="*/ 842699 h 843058"/>
                  <a:gd name="connsiteX160" fmla="*/ 421530 w 843060"/>
                  <a:gd name="connsiteY160" fmla="*/ 843059 h 843058"/>
                  <a:gd name="connsiteX161" fmla="*/ 436547 w 843060"/>
                  <a:gd name="connsiteY161" fmla="*/ 842699 h 843058"/>
                  <a:gd name="connsiteX162" fmla="*/ 444048 w 843060"/>
                  <a:gd name="connsiteY162" fmla="*/ 842459 h 843058"/>
                  <a:gd name="connsiteX163" fmla="*/ 451548 w 843060"/>
                  <a:gd name="connsiteY163" fmla="*/ 841894 h 843058"/>
                  <a:gd name="connsiteX164" fmla="*/ 466531 w 843060"/>
                  <a:gd name="connsiteY164" fmla="*/ 840644 h 843058"/>
                  <a:gd name="connsiteX165" fmla="*/ 481463 w 843060"/>
                  <a:gd name="connsiteY165" fmla="*/ 838761 h 843058"/>
                  <a:gd name="connsiteX166" fmla="*/ 496309 w 843060"/>
                  <a:gd name="connsiteY166" fmla="*/ 836329 h 843058"/>
                  <a:gd name="connsiteX167" fmla="*/ 511086 w 843060"/>
                  <a:gd name="connsiteY167" fmla="*/ 833435 h 843058"/>
                  <a:gd name="connsiteX168" fmla="*/ 525761 w 843060"/>
                  <a:gd name="connsiteY168" fmla="*/ 830045 h 843058"/>
                  <a:gd name="connsiteX169" fmla="*/ 540265 w 843060"/>
                  <a:gd name="connsiteY169" fmla="*/ 825987 h 843058"/>
                  <a:gd name="connsiteX170" fmla="*/ 547491 w 843060"/>
                  <a:gd name="connsiteY170" fmla="*/ 823880 h 843058"/>
                  <a:gd name="connsiteX171" fmla="*/ 554631 w 843060"/>
                  <a:gd name="connsiteY171" fmla="*/ 821483 h 843058"/>
                  <a:gd name="connsiteX172" fmla="*/ 561772 w 843060"/>
                  <a:gd name="connsiteY172" fmla="*/ 819069 h 843058"/>
                  <a:gd name="connsiteX173" fmla="*/ 568861 w 843060"/>
                  <a:gd name="connsiteY173" fmla="*/ 816535 h 843058"/>
                  <a:gd name="connsiteX174" fmla="*/ 582868 w 843060"/>
                  <a:gd name="connsiteY174" fmla="*/ 811004 h 843058"/>
                  <a:gd name="connsiteX175" fmla="*/ 589786 w 843060"/>
                  <a:gd name="connsiteY175" fmla="*/ 808041 h 843058"/>
                  <a:gd name="connsiteX176" fmla="*/ 596653 w 843060"/>
                  <a:gd name="connsiteY176" fmla="*/ 804942 h 843058"/>
                  <a:gd name="connsiteX177" fmla="*/ 603502 w 843060"/>
                  <a:gd name="connsiteY177" fmla="*/ 801825 h 843058"/>
                  <a:gd name="connsiteX178" fmla="*/ 610232 w 843060"/>
                  <a:gd name="connsiteY178" fmla="*/ 798435 h 843058"/>
                  <a:gd name="connsiteX179" fmla="*/ 623588 w 843060"/>
                  <a:gd name="connsiteY179" fmla="*/ 791517 h 843058"/>
                  <a:gd name="connsiteX180" fmla="*/ 636636 w 843060"/>
                  <a:gd name="connsiteY180" fmla="*/ 784017 h 843058"/>
                  <a:gd name="connsiteX181" fmla="*/ 639890 w 843060"/>
                  <a:gd name="connsiteY181" fmla="*/ 782133 h 843058"/>
                  <a:gd name="connsiteX182" fmla="*/ 643074 w 843060"/>
                  <a:gd name="connsiteY182" fmla="*/ 780113 h 843058"/>
                  <a:gd name="connsiteX183" fmla="*/ 649410 w 843060"/>
                  <a:gd name="connsiteY183" fmla="*/ 776055 h 843058"/>
                  <a:gd name="connsiteX184" fmla="*/ 661928 w 843060"/>
                  <a:gd name="connsiteY184" fmla="*/ 767698 h 843058"/>
                  <a:gd name="connsiteX185" fmla="*/ 674171 w 843060"/>
                  <a:gd name="connsiteY185" fmla="*/ 758948 h 843058"/>
                  <a:gd name="connsiteX186" fmla="*/ 697510 w 843060"/>
                  <a:gd name="connsiteY186" fmla="*/ 739992 h 843058"/>
                  <a:gd name="connsiteX187" fmla="*/ 719582 w 843060"/>
                  <a:gd name="connsiteY187" fmla="*/ 719581 h 843058"/>
                  <a:gd name="connsiteX188" fmla="*/ 739994 w 843060"/>
                  <a:gd name="connsiteY188" fmla="*/ 697509 h 843058"/>
                  <a:gd name="connsiteX189" fmla="*/ 758949 w 843060"/>
                  <a:gd name="connsiteY189" fmla="*/ 674170 h 843058"/>
                  <a:gd name="connsiteX190" fmla="*/ 767700 w 843060"/>
                  <a:gd name="connsiteY190" fmla="*/ 661926 h 843058"/>
                  <a:gd name="connsiteX191" fmla="*/ 776056 w 843060"/>
                  <a:gd name="connsiteY191" fmla="*/ 649409 h 843058"/>
                  <a:gd name="connsiteX192" fmla="*/ 780114 w 843060"/>
                  <a:gd name="connsiteY192" fmla="*/ 643073 h 843058"/>
                  <a:gd name="connsiteX193" fmla="*/ 782135 w 843060"/>
                  <a:gd name="connsiteY193" fmla="*/ 639888 h 843058"/>
                  <a:gd name="connsiteX194" fmla="*/ 784018 w 843060"/>
                  <a:gd name="connsiteY194" fmla="*/ 636635 h 843058"/>
                  <a:gd name="connsiteX195" fmla="*/ 791518 w 843060"/>
                  <a:gd name="connsiteY195" fmla="*/ 623587 h 843058"/>
                  <a:gd name="connsiteX196" fmla="*/ 798436 w 843060"/>
                  <a:gd name="connsiteY196" fmla="*/ 610231 h 843058"/>
                  <a:gd name="connsiteX197" fmla="*/ 801827 w 843060"/>
                  <a:gd name="connsiteY197" fmla="*/ 603501 h 843058"/>
                  <a:gd name="connsiteX198" fmla="*/ 804943 w 843060"/>
                  <a:gd name="connsiteY198" fmla="*/ 596652 h 843058"/>
                  <a:gd name="connsiteX199" fmla="*/ 808043 w 843060"/>
                  <a:gd name="connsiteY199" fmla="*/ 589785 h 843058"/>
                  <a:gd name="connsiteX200" fmla="*/ 811005 w 843060"/>
                  <a:gd name="connsiteY200" fmla="*/ 582867 h 843058"/>
                  <a:gd name="connsiteX201" fmla="*/ 816536 w 843060"/>
                  <a:gd name="connsiteY201" fmla="*/ 568860 h 843058"/>
                  <a:gd name="connsiteX202" fmla="*/ 819070 w 843060"/>
                  <a:gd name="connsiteY202" fmla="*/ 561771 h 843058"/>
                  <a:gd name="connsiteX203" fmla="*/ 821485 w 843060"/>
                  <a:gd name="connsiteY203" fmla="*/ 554630 h 843058"/>
                  <a:gd name="connsiteX204" fmla="*/ 823882 w 843060"/>
                  <a:gd name="connsiteY204" fmla="*/ 547490 h 843058"/>
                  <a:gd name="connsiteX205" fmla="*/ 825988 w 843060"/>
                  <a:gd name="connsiteY205" fmla="*/ 540264 h 843058"/>
                  <a:gd name="connsiteX206" fmla="*/ 830046 w 843060"/>
                  <a:gd name="connsiteY206" fmla="*/ 525760 h 843058"/>
                  <a:gd name="connsiteX207" fmla="*/ 833437 w 843060"/>
                  <a:gd name="connsiteY207" fmla="*/ 511085 h 843058"/>
                  <a:gd name="connsiteX208" fmla="*/ 836331 w 843060"/>
                  <a:gd name="connsiteY208" fmla="*/ 496308 h 843058"/>
                  <a:gd name="connsiteX209" fmla="*/ 838762 w 843060"/>
                  <a:gd name="connsiteY209" fmla="*/ 481462 h 843058"/>
                  <a:gd name="connsiteX210" fmla="*/ 840646 w 843060"/>
                  <a:gd name="connsiteY210" fmla="*/ 466530 h 843058"/>
                  <a:gd name="connsiteX211" fmla="*/ 841896 w 843060"/>
                  <a:gd name="connsiteY211" fmla="*/ 451547 h 843058"/>
                  <a:gd name="connsiteX212" fmla="*/ 842461 w 843060"/>
                  <a:gd name="connsiteY212" fmla="*/ 444047 h 843058"/>
                  <a:gd name="connsiteX213" fmla="*/ 842701 w 843060"/>
                  <a:gd name="connsiteY213" fmla="*/ 436547 h 843058"/>
                  <a:gd name="connsiteX214" fmla="*/ 843060 w 843060"/>
                  <a:gd name="connsiteY214" fmla="*/ 421529 h 843058"/>
                  <a:gd name="connsiteX215" fmla="*/ 842701 w 843060"/>
                  <a:gd name="connsiteY215" fmla="*/ 406512 h 843058"/>
                  <a:gd name="connsiteX216" fmla="*/ 842461 w 843060"/>
                  <a:gd name="connsiteY216" fmla="*/ 399012 h 843058"/>
                  <a:gd name="connsiteX217" fmla="*/ 807906 w 843060"/>
                  <a:gd name="connsiteY217" fmla="*/ 435314 h 843058"/>
                  <a:gd name="connsiteX218" fmla="*/ 807683 w 843060"/>
                  <a:gd name="connsiteY218" fmla="*/ 442215 h 843058"/>
                  <a:gd name="connsiteX219" fmla="*/ 807169 w 843060"/>
                  <a:gd name="connsiteY219" fmla="*/ 449098 h 843058"/>
                  <a:gd name="connsiteX220" fmla="*/ 806022 w 843060"/>
                  <a:gd name="connsiteY220" fmla="*/ 462849 h 843058"/>
                  <a:gd name="connsiteX221" fmla="*/ 804275 w 843060"/>
                  <a:gd name="connsiteY221" fmla="*/ 476547 h 843058"/>
                  <a:gd name="connsiteX222" fmla="*/ 802049 w 843060"/>
                  <a:gd name="connsiteY222" fmla="*/ 490160 h 843058"/>
                  <a:gd name="connsiteX223" fmla="*/ 799412 w 843060"/>
                  <a:gd name="connsiteY223" fmla="*/ 503705 h 843058"/>
                  <a:gd name="connsiteX224" fmla="*/ 796296 w 843060"/>
                  <a:gd name="connsiteY224" fmla="*/ 517164 h 843058"/>
                  <a:gd name="connsiteX225" fmla="*/ 792580 w 843060"/>
                  <a:gd name="connsiteY225" fmla="*/ 530469 h 843058"/>
                  <a:gd name="connsiteX226" fmla="*/ 790662 w 843060"/>
                  <a:gd name="connsiteY226" fmla="*/ 537096 h 843058"/>
                  <a:gd name="connsiteX227" fmla="*/ 788453 w 843060"/>
                  <a:gd name="connsiteY227" fmla="*/ 543637 h 843058"/>
                  <a:gd name="connsiteX228" fmla="*/ 786244 w 843060"/>
                  <a:gd name="connsiteY228" fmla="*/ 550178 h 843058"/>
                  <a:gd name="connsiteX229" fmla="*/ 783916 w 843060"/>
                  <a:gd name="connsiteY229" fmla="*/ 556685 h 843058"/>
                  <a:gd name="connsiteX230" fmla="*/ 778847 w 843060"/>
                  <a:gd name="connsiteY230" fmla="*/ 569528 h 843058"/>
                  <a:gd name="connsiteX231" fmla="*/ 776124 w 843060"/>
                  <a:gd name="connsiteY231" fmla="*/ 575864 h 843058"/>
                  <a:gd name="connsiteX232" fmla="*/ 773282 w 843060"/>
                  <a:gd name="connsiteY232" fmla="*/ 582148 h 843058"/>
                  <a:gd name="connsiteX233" fmla="*/ 770439 w 843060"/>
                  <a:gd name="connsiteY233" fmla="*/ 588432 h 843058"/>
                  <a:gd name="connsiteX234" fmla="*/ 767323 w 843060"/>
                  <a:gd name="connsiteY234" fmla="*/ 594597 h 843058"/>
                  <a:gd name="connsiteX235" fmla="*/ 760970 w 843060"/>
                  <a:gd name="connsiteY235" fmla="*/ 606857 h 843058"/>
                  <a:gd name="connsiteX236" fmla="*/ 754086 w 843060"/>
                  <a:gd name="connsiteY236" fmla="*/ 618826 h 843058"/>
                  <a:gd name="connsiteX237" fmla="*/ 752357 w 843060"/>
                  <a:gd name="connsiteY237" fmla="*/ 621823 h 843058"/>
                  <a:gd name="connsiteX238" fmla="*/ 750508 w 843060"/>
                  <a:gd name="connsiteY238" fmla="*/ 624734 h 843058"/>
                  <a:gd name="connsiteX239" fmla="*/ 746792 w 843060"/>
                  <a:gd name="connsiteY239" fmla="*/ 630539 h 843058"/>
                  <a:gd name="connsiteX240" fmla="*/ 739138 w 843060"/>
                  <a:gd name="connsiteY240" fmla="*/ 642012 h 843058"/>
                  <a:gd name="connsiteX241" fmla="*/ 731124 w 843060"/>
                  <a:gd name="connsiteY241" fmla="*/ 653245 h 843058"/>
                  <a:gd name="connsiteX242" fmla="*/ 713726 w 843060"/>
                  <a:gd name="connsiteY242" fmla="*/ 674666 h 843058"/>
                  <a:gd name="connsiteX243" fmla="*/ 694993 w 843060"/>
                  <a:gd name="connsiteY243" fmla="*/ 694923 h 843058"/>
                  <a:gd name="connsiteX244" fmla="*/ 674736 w 843060"/>
                  <a:gd name="connsiteY244" fmla="*/ 713656 h 843058"/>
                  <a:gd name="connsiteX245" fmla="*/ 653314 w 843060"/>
                  <a:gd name="connsiteY245" fmla="*/ 731054 h 843058"/>
                  <a:gd name="connsiteX246" fmla="*/ 642081 w 843060"/>
                  <a:gd name="connsiteY246" fmla="*/ 739068 h 843058"/>
                  <a:gd name="connsiteX247" fmla="*/ 630609 w 843060"/>
                  <a:gd name="connsiteY247" fmla="*/ 746722 h 843058"/>
                  <a:gd name="connsiteX248" fmla="*/ 624804 w 843060"/>
                  <a:gd name="connsiteY248" fmla="*/ 750438 h 843058"/>
                  <a:gd name="connsiteX249" fmla="*/ 621893 w 843060"/>
                  <a:gd name="connsiteY249" fmla="*/ 752287 h 843058"/>
                  <a:gd name="connsiteX250" fmla="*/ 618896 w 843060"/>
                  <a:gd name="connsiteY250" fmla="*/ 754017 h 843058"/>
                  <a:gd name="connsiteX251" fmla="*/ 606927 w 843060"/>
                  <a:gd name="connsiteY251" fmla="*/ 760900 h 843058"/>
                  <a:gd name="connsiteX252" fmla="*/ 594666 w 843060"/>
                  <a:gd name="connsiteY252" fmla="*/ 767253 h 843058"/>
                  <a:gd name="connsiteX253" fmla="*/ 588502 w 843060"/>
                  <a:gd name="connsiteY253" fmla="*/ 770370 h 843058"/>
                  <a:gd name="connsiteX254" fmla="*/ 582217 w 843060"/>
                  <a:gd name="connsiteY254" fmla="*/ 773212 h 843058"/>
                  <a:gd name="connsiteX255" fmla="*/ 366581 w 843060"/>
                  <a:gd name="connsiteY255" fmla="*/ 804206 h 843058"/>
                  <a:gd name="connsiteX256" fmla="*/ 352968 w 843060"/>
                  <a:gd name="connsiteY256" fmla="*/ 801980 h 843058"/>
                  <a:gd name="connsiteX257" fmla="*/ 339423 w 843060"/>
                  <a:gd name="connsiteY257" fmla="*/ 799343 h 843058"/>
                  <a:gd name="connsiteX258" fmla="*/ 325964 w 843060"/>
                  <a:gd name="connsiteY258" fmla="*/ 796226 h 843058"/>
                  <a:gd name="connsiteX259" fmla="*/ 312659 w 843060"/>
                  <a:gd name="connsiteY259" fmla="*/ 792510 h 843058"/>
                  <a:gd name="connsiteX260" fmla="*/ 306032 w 843060"/>
                  <a:gd name="connsiteY260" fmla="*/ 790592 h 843058"/>
                  <a:gd name="connsiteX261" fmla="*/ 299491 w 843060"/>
                  <a:gd name="connsiteY261" fmla="*/ 788383 h 843058"/>
                  <a:gd name="connsiteX262" fmla="*/ 292950 w 843060"/>
                  <a:gd name="connsiteY262" fmla="*/ 786175 h 843058"/>
                  <a:gd name="connsiteX263" fmla="*/ 286443 w 843060"/>
                  <a:gd name="connsiteY263" fmla="*/ 783846 h 843058"/>
                  <a:gd name="connsiteX264" fmla="*/ 273600 w 843060"/>
                  <a:gd name="connsiteY264" fmla="*/ 778777 h 843058"/>
                  <a:gd name="connsiteX265" fmla="*/ 267264 w 843060"/>
                  <a:gd name="connsiteY265" fmla="*/ 776055 h 843058"/>
                  <a:gd name="connsiteX266" fmla="*/ 260980 w 843060"/>
                  <a:gd name="connsiteY266" fmla="*/ 773212 h 843058"/>
                  <a:gd name="connsiteX267" fmla="*/ 254695 w 843060"/>
                  <a:gd name="connsiteY267" fmla="*/ 770370 h 843058"/>
                  <a:gd name="connsiteX268" fmla="*/ 248531 w 843060"/>
                  <a:gd name="connsiteY268" fmla="*/ 767253 h 843058"/>
                  <a:gd name="connsiteX269" fmla="*/ 236271 w 843060"/>
                  <a:gd name="connsiteY269" fmla="*/ 760900 h 843058"/>
                  <a:gd name="connsiteX270" fmla="*/ 224301 w 843060"/>
                  <a:gd name="connsiteY270" fmla="*/ 754017 h 843058"/>
                  <a:gd name="connsiteX271" fmla="*/ 221305 w 843060"/>
                  <a:gd name="connsiteY271" fmla="*/ 752287 h 843058"/>
                  <a:gd name="connsiteX272" fmla="*/ 218394 w 843060"/>
                  <a:gd name="connsiteY272" fmla="*/ 750438 h 843058"/>
                  <a:gd name="connsiteX273" fmla="*/ 212589 w 843060"/>
                  <a:gd name="connsiteY273" fmla="*/ 746722 h 843058"/>
                  <a:gd name="connsiteX274" fmla="*/ 201116 w 843060"/>
                  <a:gd name="connsiteY274" fmla="*/ 739068 h 843058"/>
                  <a:gd name="connsiteX275" fmla="*/ 189883 w 843060"/>
                  <a:gd name="connsiteY275" fmla="*/ 731054 h 843058"/>
                  <a:gd name="connsiteX276" fmla="*/ 168461 w 843060"/>
                  <a:gd name="connsiteY276" fmla="*/ 713656 h 843058"/>
                  <a:gd name="connsiteX277" fmla="*/ 148204 w 843060"/>
                  <a:gd name="connsiteY277" fmla="*/ 694923 h 843058"/>
                  <a:gd name="connsiteX278" fmla="*/ 129471 w 843060"/>
                  <a:gd name="connsiteY278" fmla="*/ 674666 h 843058"/>
                  <a:gd name="connsiteX279" fmla="*/ 112074 w 843060"/>
                  <a:gd name="connsiteY279" fmla="*/ 653245 h 843058"/>
                  <a:gd name="connsiteX280" fmla="*/ 104060 w 843060"/>
                  <a:gd name="connsiteY280" fmla="*/ 642012 h 843058"/>
                  <a:gd name="connsiteX281" fmla="*/ 96406 w 843060"/>
                  <a:gd name="connsiteY281" fmla="*/ 630539 h 843058"/>
                  <a:gd name="connsiteX282" fmla="*/ 92690 w 843060"/>
                  <a:gd name="connsiteY282" fmla="*/ 624734 h 843058"/>
                  <a:gd name="connsiteX283" fmla="*/ 90840 w 843060"/>
                  <a:gd name="connsiteY283" fmla="*/ 621823 h 843058"/>
                  <a:gd name="connsiteX284" fmla="*/ 89111 w 843060"/>
                  <a:gd name="connsiteY284" fmla="*/ 618826 h 843058"/>
                  <a:gd name="connsiteX285" fmla="*/ 82227 w 843060"/>
                  <a:gd name="connsiteY285" fmla="*/ 606857 h 843058"/>
                  <a:gd name="connsiteX286" fmla="*/ 75874 w 843060"/>
                  <a:gd name="connsiteY286" fmla="*/ 594597 h 843058"/>
                  <a:gd name="connsiteX287" fmla="*/ 72758 w 843060"/>
                  <a:gd name="connsiteY287" fmla="*/ 588432 h 843058"/>
                  <a:gd name="connsiteX288" fmla="*/ 69915 w 843060"/>
                  <a:gd name="connsiteY288" fmla="*/ 582148 h 843058"/>
                  <a:gd name="connsiteX289" fmla="*/ 67073 w 843060"/>
                  <a:gd name="connsiteY289" fmla="*/ 575864 h 843058"/>
                  <a:gd name="connsiteX290" fmla="*/ 64350 w 843060"/>
                  <a:gd name="connsiteY290" fmla="*/ 569528 h 843058"/>
                  <a:gd name="connsiteX291" fmla="*/ 59282 w 843060"/>
                  <a:gd name="connsiteY291" fmla="*/ 556685 h 843058"/>
                  <a:gd name="connsiteX292" fmla="*/ 56953 w 843060"/>
                  <a:gd name="connsiteY292" fmla="*/ 550178 h 843058"/>
                  <a:gd name="connsiteX293" fmla="*/ 54744 w 843060"/>
                  <a:gd name="connsiteY293" fmla="*/ 543637 h 843058"/>
                  <a:gd name="connsiteX294" fmla="*/ 52535 w 843060"/>
                  <a:gd name="connsiteY294" fmla="*/ 537096 h 843058"/>
                  <a:gd name="connsiteX295" fmla="*/ 50617 w 843060"/>
                  <a:gd name="connsiteY295" fmla="*/ 530469 h 843058"/>
                  <a:gd name="connsiteX296" fmla="*/ 46901 w 843060"/>
                  <a:gd name="connsiteY296" fmla="*/ 517164 h 843058"/>
                  <a:gd name="connsiteX297" fmla="*/ 43785 w 843060"/>
                  <a:gd name="connsiteY297" fmla="*/ 503705 h 843058"/>
                  <a:gd name="connsiteX298" fmla="*/ 41148 w 843060"/>
                  <a:gd name="connsiteY298" fmla="*/ 490160 h 843058"/>
                  <a:gd name="connsiteX299" fmla="*/ 38922 w 843060"/>
                  <a:gd name="connsiteY299" fmla="*/ 476547 h 843058"/>
                  <a:gd name="connsiteX300" fmla="*/ 37175 w 843060"/>
                  <a:gd name="connsiteY300" fmla="*/ 462849 h 843058"/>
                  <a:gd name="connsiteX301" fmla="*/ 36028 w 843060"/>
                  <a:gd name="connsiteY301" fmla="*/ 449098 h 843058"/>
                  <a:gd name="connsiteX302" fmla="*/ 35514 w 843060"/>
                  <a:gd name="connsiteY302" fmla="*/ 442215 h 843058"/>
                  <a:gd name="connsiteX303" fmla="*/ 35292 w 843060"/>
                  <a:gd name="connsiteY303" fmla="*/ 435314 h 843058"/>
                  <a:gd name="connsiteX304" fmla="*/ 34949 w 843060"/>
                  <a:gd name="connsiteY304" fmla="*/ 421529 h 843058"/>
                  <a:gd name="connsiteX305" fmla="*/ 35292 w 843060"/>
                  <a:gd name="connsiteY305" fmla="*/ 407745 h 843058"/>
                  <a:gd name="connsiteX306" fmla="*/ 35514 w 843060"/>
                  <a:gd name="connsiteY306" fmla="*/ 400844 h 843058"/>
                  <a:gd name="connsiteX307" fmla="*/ 36028 w 843060"/>
                  <a:gd name="connsiteY307" fmla="*/ 393961 h 843058"/>
                  <a:gd name="connsiteX308" fmla="*/ 37175 w 843060"/>
                  <a:gd name="connsiteY308" fmla="*/ 380210 h 843058"/>
                  <a:gd name="connsiteX309" fmla="*/ 38922 w 843060"/>
                  <a:gd name="connsiteY309" fmla="*/ 366512 h 843058"/>
                  <a:gd name="connsiteX310" fmla="*/ 41148 w 843060"/>
                  <a:gd name="connsiteY310" fmla="*/ 352898 h 843058"/>
                  <a:gd name="connsiteX311" fmla="*/ 43785 w 843060"/>
                  <a:gd name="connsiteY311" fmla="*/ 339354 h 843058"/>
                  <a:gd name="connsiteX312" fmla="*/ 46901 w 843060"/>
                  <a:gd name="connsiteY312" fmla="*/ 325895 h 843058"/>
                  <a:gd name="connsiteX313" fmla="*/ 50617 w 843060"/>
                  <a:gd name="connsiteY313" fmla="*/ 312590 h 843058"/>
                  <a:gd name="connsiteX314" fmla="*/ 52535 w 843060"/>
                  <a:gd name="connsiteY314" fmla="*/ 305963 h 843058"/>
                  <a:gd name="connsiteX315" fmla="*/ 54744 w 843060"/>
                  <a:gd name="connsiteY315" fmla="*/ 299422 h 843058"/>
                  <a:gd name="connsiteX316" fmla="*/ 56953 w 843060"/>
                  <a:gd name="connsiteY316" fmla="*/ 292881 h 843058"/>
                  <a:gd name="connsiteX317" fmla="*/ 59282 w 843060"/>
                  <a:gd name="connsiteY317" fmla="*/ 286374 h 843058"/>
                  <a:gd name="connsiteX318" fmla="*/ 64350 w 843060"/>
                  <a:gd name="connsiteY318" fmla="*/ 273531 h 843058"/>
                  <a:gd name="connsiteX319" fmla="*/ 67073 w 843060"/>
                  <a:gd name="connsiteY319" fmla="*/ 267195 h 843058"/>
                  <a:gd name="connsiteX320" fmla="*/ 69915 w 843060"/>
                  <a:gd name="connsiteY320" fmla="*/ 260911 h 843058"/>
                  <a:gd name="connsiteX321" fmla="*/ 72758 w 843060"/>
                  <a:gd name="connsiteY321" fmla="*/ 254627 h 843058"/>
                  <a:gd name="connsiteX322" fmla="*/ 75874 w 843060"/>
                  <a:gd name="connsiteY322" fmla="*/ 248462 h 843058"/>
                  <a:gd name="connsiteX323" fmla="*/ 82227 w 843060"/>
                  <a:gd name="connsiteY323" fmla="*/ 236202 h 843058"/>
                  <a:gd name="connsiteX324" fmla="*/ 89111 w 843060"/>
                  <a:gd name="connsiteY324" fmla="*/ 224232 h 843058"/>
                  <a:gd name="connsiteX325" fmla="*/ 90840 w 843060"/>
                  <a:gd name="connsiteY325" fmla="*/ 221236 h 843058"/>
                  <a:gd name="connsiteX326" fmla="*/ 92690 w 843060"/>
                  <a:gd name="connsiteY326" fmla="*/ 218325 h 843058"/>
                  <a:gd name="connsiteX327" fmla="*/ 96406 w 843060"/>
                  <a:gd name="connsiteY327" fmla="*/ 212520 h 843058"/>
                  <a:gd name="connsiteX328" fmla="*/ 104060 w 843060"/>
                  <a:gd name="connsiteY328" fmla="*/ 201047 h 843058"/>
                  <a:gd name="connsiteX329" fmla="*/ 112074 w 843060"/>
                  <a:gd name="connsiteY329" fmla="*/ 189814 h 843058"/>
                  <a:gd name="connsiteX330" fmla="*/ 129471 w 843060"/>
                  <a:gd name="connsiteY330" fmla="*/ 168393 h 843058"/>
                  <a:gd name="connsiteX331" fmla="*/ 148204 w 843060"/>
                  <a:gd name="connsiteY331" fmla="*/ 148135 h 843058"/>
                  <a:gd name="connsiteX332" fmla="*/ 168461 w 843060"/>
                  <a:gd name="connsiteY332" fmla="*/ 129402 h 843058"/>
                  <a:gd name="connsiteX333" fmla="*/ 189883 w 843060"/>
                  <a:gd name="connsiteY333" fmla="*/ 112005 h 843058"/>
                  <a:gd name="connsiteX334" fmla="*/ 201116 w 843060"/>
                  <a:gd name="connsiteY334" fmla="*/ 103991 h 843058"/>
                  <a:gd name="connsiteX335" fmla="*/ 212589 w 843060"/>
                  <a:gd name="connsiteY335" fmla="*/ 96337 h 843058"/>
                  <a:gd name="connsiteX336" fmla="*/ 218394 w 843060"/>
                  <a:gd name="connsiteY336" fmla="*/ 92621 h 843058"/>
                  <a:gd name="connsiteX337" fmla="*/ 221305 w 843060"/>
                  <a:gd name="connsiteY337" fmla="*/ 90772 h 843058"/>
                  <a:gd name="connsiteX338" fmla="*/ 224301 w 843060"/>
                  <a:gd name="connsiteY338" fmla="*/ 89042 h 843058"/>
                  <a:gd name="connsiteX339" fmla="*/ 236271 w 843060"/>
                  <a:gd name="connsiteY339" fmla="*/ 82159 h 843058"/>
                  <a:gd name="connsiteX340" fmla="*/ 248531 w 843060"/>
                  <a:gd name="connsiteY340" fmla="*/ 75806 h 843058"/>
                  <a:gd name="connsiteX341" fmla="*/ 254695 w 843060"/>
                  <a:gd name="connsiteY341" fmla="*/ 72689 h 843058"/>
                  <a:gd name="connsiteX342" fmla="*/ 260980 w 843060"/>
                  <a:gd name="connsiteY342" fmla="*/ 69847 h 843058"/>
                  <a:gd name="connsiteX343" fmla="*/ 267264 w 843060"/>
                  <a:gd name="connsiteY343" fmla="*/ 67004 h 843058"/>
                  <a:gd name="connsiteX344" fmla="*/ 273600 w 843060"/>
                  <a:gd name="connsiteY344" fmla="*/ 64282 h 843058"/>
                  <a:gd name="connsiteX345" fmla="*/ 286443 w 843060"/>
                  <a:gd name="connsiteY345" fmla="*/ 59213 h 843058"/>
                  <a:gd name="connsiteX346" fmla="*/ 292950 w 843060"/>
                  <a:gd name="connsiteY346" fmla="*/ 56884 h 843058"/>
                  <a:gd name="connsiteX347" fmla="*/ 299491 w 843060"/>
                  <a:gd name="connsiteY347" fmla="*/ 54675 h 843058"/>
                  <a:gd name="connsiteX348" fmla="*/ 306032 w 843060"/>
                  <a:gd name="connsiteY348" fmla="*/ 52466 h 843058"/>
                  <a:gd name="connsiteX349" fmla="*/ 312659 w 843060"/>
                  <a:gd name="connsiteY349" fmla="*/ 50549 h 843058"/>
                  <a:gd name="connsiteX350" fmla="*/ 325964 w 843060"/>
                  <a:gd name="connsiteY350" fmla="*/ 46833 h 843058"/>
                  <a:gd name="connsiteX351" fmla="*/ 339423 w 843060"/>
                  <a:gd name="connsiteY351" fmla="*/ 43716 h 843058"/>
                  <a:gd name="connsiteX352" fmla="*/ 352968 w 843060"/>
                  <a:gd name="connsiteY352" fmla="*/ 41079 h 843058"/>
                  <a:gd name="connsiteX353" fmla="*/ 366581 w 843060"/>
                  <a:gd name="connsiteY353" fmla="*/ 38853 h 843058"/>
                  <a:gd name="connsiteX354" fmla="*/ 582217 w 843060"/>
                  <a:gd name="connsiteY354" fmla="*/ 69847 h 843058"/>
                  <a:gd name="connsiteX355" fmla="*/ 588502 w 843060"/>
                  <a:gd name="connsiteY355" fmla="*/ 72689 h 843058"/>
                  <a:gd name="connsiteX356" fmla="*/ 594666 w 843060"/>
                  <a:gd name="connsiteY356" fmla="*/ 75806 h 843058"/>
                  <a:gd name="connsiteX357" fmla="*/ 606927 w 843060"/>
                  <a:gd name="connsiteY357" fmla="*/ 82159 h 843058"/>
                  <a:gd name="connsiteX358" fmla="*/ 618896 w 843060"/>
                  <a:gd name="connsiteY358" fmla="*/ 89042 h 843058"/>
                  <a:gd name="connsiteX359" fmla="*/ 621893 w 843060"/>
                  <a:gd name="connsiteY359" fmla="*/ 90772 h 843058"/>
                  <a:gd name="connsiteX360" fmla="*/ 624804 w 843060"/>
                  <a:gd name="connsiteY360" fmla="*/ 92621 h 843058"/>
                  <a:gd name="connsiteX361" fmla="*/ 630609 w 843060"/>
                  <a:gd name="connsiteY361" fmla="*/ 96337 h 843058"/>
                  <a:gd name="connsiteX362" fmla="*/ 642081 w 843060"/>
                  <a:gd name="connsiteY362" fmla="*/ 103991 h 843058"/>
                  <a:gd name="connsiteX363" fmla="*/ 653314 w 843060"/>
                  <a:gd name="connsiteY363" fmla="*/ 112005 h 843058"/>
                  <a:gd name="connsiteX364" fmla="*/ 674736 w 843060"/>
                  <a:gd name="connsiteY364" fmla="*/ 129402 h 843058"/>
                  <a:gd name="connsiteX365" fmla="*/ 694993 w 843060"/>
                  <a:gd name="connsiteY365" fmla="*/ 148135 h 843058"/>
                  <a:gd name="connsiteX366" fmla="*/ 713726 w 843060"/>
                  <a:gd name="connsiteY366" fmla="*/ 168393 h 843058"/>
                  <a:gd name="connsiteX367" fmla="*/ 731124 w 843060"/>
                  <a:gd name="connsiteY367" fmla="*/ 189814 h 843058"/>
                  <a:gd name="connsiteX368" fmla="*/ 739138 w 843060"/>
                  <a:gd name="connsiteY368" fmla="*/ 201047 h 843058"/>
                  <a:gd name="connsiteX369" fmla="*/ 746792 w 843060"/>
                  <a:gd name="connsiteY369" fmla="*/ 212520 h 843058"/>
                  <a:gd name="connsiteX370" fmla="*/ 750508 w 843060"/>
                  <a:gd name="connsiteY370" fmla="*/ 218325 h 843058"/>
                  <a:gd name="connsiteX371" fmla="*/ 752357 w 843060"/>
                  <a:gd name="connsiteY371" fmla="*/ 221236 h 843058"/>
                  <a:gd name="connsiteX372" fmla="*/ 754086 w 843060"/>
                  <a:gd name="connsiteY372" fmla="*/ 224232 h 843058"/>
                  <a:gd name="connsiteX373" fmla="*/ 760970 w 843060"/>
                  <a:gd name="connsiteY373" fmla="*/ 236202 h 843058"/>
                  <a:gd name="connsiteX374" fmla="*/ 767323 w 843060"/>
                  <a:gd name="connsiteY374" fmla="*/ 248462 h 843058"/>
                  <a:gd name="connsiteX375" fmla="*/ 770439 w 843060"/>
                  <a:gd name="connsiteY375" fmla="*/ 254627 h 843058"/>
                  <a:gd name="connsiteX376" fmla="*/ 773282 w 843060"/>
                  <a:gd name="connsiteY376" fmla="*/ 260911 h 843058"/>
                  <a:gd name="connsiteX377" fmla="*/ 776124 w 843060"/>
                  <a:gd name="connsiteY377" fmla="*/ 267195 h 843058"/>
                  <a:gd name="connsiteX378" fmla="*/ 778847 w 843060"/>
                  <a:gd name="connsiteY378" fmla="*/ 273531 h 843058"/>
                  <a:gd name="connsiteX379" fmla="*/ 783916 w 843060"/>
                  <a:gd name="connsiteY379" fmla="*/ 286374 h 843058"/>
                  <a:gd name="connsiteX380" fmla="*/ 786244 w 843060"/>
                  <a:gd name="connsiteY380" fmla="*/ 292881 h 843058"/>
                  <a:gd name="connsiteX381" fmla="*/ 788453 w 843060"/>
                  <a:gd name="connsiteY381" fmla="*/ 299422 h 843058"/>
                  <a:gd name="connsiteX382" fmla="*/ 790662 w 843060"/>
                  <a:gd name="connsiteY382" fmla="*/ 305963 h 843058"/>
                  <a:gd name="connsiteX383" fmla="*/ 792580 w 843060"/>
                  <a:gd name="connsiteY383" fmla="*/ 312590 h 843058"/>
                  <a:gd name="connsiteX384" fmla="*/ 796296 w 843060"/>
                  <a:gd name="connsiteY384" fmla="*/ 325895 h 843058"/>
                  <a:gd name="connsiteX385" fmla="*/ 799412 w 843060"/>
                  <a:gd name="connsiteY385" fmla="*/ 339354 h 843058"/>
                  <a:gd name="connsiteX386" fmla="*/ 802049 w 843060"/>
                  <a:gd name="connsiteY386" fmla="*/ 352898 h 843058"/>
                  <a:gd name="connsiteX387" fmla="*/ 804275 w 843060"/>
                  <a:gd name="connsiteY387" fmla="*/ 366512 h 843058"/>
                  <a:gd name="connsiteX388" fmla="*/ 806022 w 843060"/>
                  <a:gd name="connsiteY388" fmla="*/ 380210 h 843058"/>
                  <a:gd name="connsiteX389" fmla="*/ 807169 w 843060"/>
                  <a:gd name="connsiteY389" fmla="*/ 393961 h 843058"/>
                  <a:gd name="connsiteX390" fmla="*/ 807683 w 843060"/>
                  <a:gd name="connsiteY390" fmla="*/ 400844 h 843058"/>
                  <a:gd name="connsiteX391" fmla="*/ 807906 w 843060"/>
                  <a:gd name="connsiteY391" fmla="*/ 407745 h 843058"/>
                  <a:gd name="connsiteX392" fmla="*/ 808248 w 843060"/>
                  <a:gd name="connsiteY392" fmla="*/ 421529 h 843058"/>
                  <a:gd name="connsiteX393" fmla="*/ 807906 w 843060"/>
                  <a:gd name="connsiteY393" fmla="*/ 435314 h 843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</a:cxnLst>
                <a:rect l="l" t="t" r="r" b="b"/>
                <a:pathLst>
                  <a:path w="843060" h="843058">
                    <a:moveTo>
                      <a:pt x="842461" y="399012"/>
                    </a:moveTo>
                    <a:lnTo>
                      <a:pt x="841896" y="391512"/>
                    </a:lnTo>
                    <a:cubicBezTo>
                      <a:pt x="841485" y="386512"/>
                      <a:pt x="841211" y="381512"/>
                      <a:pt x="840646" y="376529"/>
                    </a:cubicBezTo>
                    <a:lnTo>
                      <a:pt x="838762" y="361597"/>
                    </a:lnTo>
                    <a:cubicBezTo>
                      <a:pt x="838231" y="356614"/>
                      <a:pt x="837153" y="351700"/>
                      <a:pt x="836331" y="346751"/>
                    </a:cubicBezTo>
                    <a:cubicBezTo>
                      <a:pt x="835406" y="341820"/>
                      <a:pt x="834670" y="336854"/>
                      <a:pt x="833437" y="331974"/>
                    </a:cubicBezTo>
                    <a:lnTo>
                      <a:pt x="830046" y="317299"/>
                    </a:lnTo>
                    <a:cubicBezTo>
                      <a:pt x="828779" y="312436"/>
                      <a:pt x="827358" y="307624"/>
                      <a:pt x="825988" y="302795"/>
                    </a:cubicBezTo>
                    <a:cubicBezTo>
                      <a:pt x="825286" y="300381"/>
                      <a:pt x="824635" y="297966"/>
                      <a:pt x="823882" y="295569"/>
                    </a:cubicBezTo>
                    <a:lnTo>
                      <a:pt x="821485" y="288428"/>
                    </a:lnTo>
                    <a:lnTo>
                      <a:pt x="819070" y="281288"/>
                    </a:lnTo>
                    <a:cubicBezTo>
                      <a:pt x="818248" y="278908"/>
                      <a:pt x="817495" y="276528"/>
                      <a:pt x="816536" y="274199"/>
                    </a:cubicBezTo>
                    <a:lnTo>
                      <a:pt x="811005" y="260192"/>
                    </a:lnTo>
                    <a:cubicBezTo>
                      <a:pt x="810115" y="257846"/>
                      <a:pt x="809070" y="255551"/>
                      <a:pt x="808043" y="253274"/>
                    </a:cubicBezTo>
                    <a:lnTo>
                      <a:pt x="804943" y="246407"/>
                    </a:lnTo>
                    <a:lnTo>
                      <a:pt x="801827" y="239558"/>
                    </a:lnTo>
                    <a:cubicBezTo>
                      <a:pt x="800765" y="237280"/>
                      <a:pt x="799567" y="235072"/>
                      <a:pt x="798436" y="232828"/>
                    </a:cubicBezTo>
                    <a:cubicBezTo>
                      <a:pt x="796125" y="228376"/>
                      <a:pt x="793916" y="223873"/>
                      <a:pt x="791518" y="219472"/>
                    </a:cubicBezTo>
                    <a:lnTo>
                      <a:pt x="784018" y="206424"/>
                    </a:lnTo>
                    <a:lnTo>
                      <a:pt x="782135" y="203170"/>
                    </a:lnTo>
                    <a:lnTo>
                      <a:pt x="780114" y="199986"/>
                    </a:lnTo>
                    <a:lnTo>
                      <a:pt x="776056" y="193650"/>
                    </a:lnTo>
                    <a:cubicBezTo>
                      <a:pt x="773350" y="189420"/>
                      <a:pt x="770679" y="185174"/>
                      <a:pt x="767700" y="181133"/>
                    </a:cubicBezTo>
                    <a:cubicBezTo>
                      <a:pt x="764789" y="177040"/>
                      <a:pt x="761912" y="172947"/>
                      <a:pt x="758949" y="168889"/>
                    </a:cubicBezTo>
                    <a:cubicBezTo>
                      <a:pt x="752751" y="161012"/>
                      <a:pt x="746706" y="152999"/>
                      <a:pt x="739994" y="145550"/>
                    </a:cubicBezTo>
                    <a:cubicBezTo>
                      <a:pt x="733572" y="137844"/>
                      <a:pt x="726483" y="130755"/>
                      <a:pt x="719582" y="123478"/>
                    </a:cubicBezTo>
                    <a:cubicBezTo>
                      <a:pt x="712305" y="116577"/>
                      <a:pt x="705216" y="109488"/>
                      <a:pt x="697510" y="103066"/>
                    </a:cubicBezTo>
                    <a:cubicBezTo>
                      <a:pt x="690044" y="96354"/>
                      <a:pt x="682048" y="90309"/>
                      <a:pt x="674171" y="84111"/>
                    </a:cubicBezTo>
                    <a:cubicBezTo>
                      <a:pt x="670113" y="81165"/>
                      <a:pt x="666020" y="78272"/>
                      <a:pt x="661928" y="75361"/>
                    </a:cubicBezTo>
                    <a:cubicBezTo>
                      <a:pt x="657886" y="72381"/>
                      <a:pt x="653640" y="69710"/>
                      <a:pt x="649410" y="67004"/>
                    </a:cubicBezTo>
                    <a:lnTo>
                      <a:pt x="643074" y="62946"/>
                    </a:lnTo>
                    <a:lnTo>
                      <a:pt x="639890" y="60925"/>
                    </a:lnTo>
                    <a:lnTo>
                      <a:pt x="636636" y="59042"/>
                    </a:lnTo>
                    <a:lnTo>
                      <a:pt x="623588" y="51542"/>
                    </a:lnTo>
                    <a:cubicBezTo>
                      <a:pt x="619187" y="49144"/>
                      <a:pt x="614684" y="46918"/>
                      <a:pt x="610232" y="44624"/>
                    </a:cubicBezTo>
                    <a:cubicBezTo>
                      <a:pt x="607988" y="43494"/>
                      <a:pt x="605779" y="42312"/>
                      <a:pt x="603502" y="41233"/>
                    </a:cubicBezTo>
                    <a:lnTo>
                      <a:pt x="596653" y="38117"/>
                    </a:lnTo>
                    <a:lnTo>
                      <a:pt x="589786" y="35018"/>
                    </a:lnTo>
                    <a:cubicBezTo>
                      <a:pt x="587492" y="33990"/>
                      <a:pt x="585214" y="32946"/>
                      <a:pt x="582868" y="32055"/>
                    </a:cubicBezTo>
                    <a:lnTo>
                      <a:pt x="568861" y="26524"/>
                    </a:lnTo>
                    <a:cubicBezTo>
                      <a:pt x="566532" y="25565"/>
                      <a:pt x="564152" y="24812"/>
                      <a:pt x="561772" y="23990"/>
                    </a:cubicBezTo>
                    <a:lnTo>
                      <a:pt x="554631" y="21576"/>
                    </a:lnTo>
                    <a:lnTo>
                      <a:pt x="547491" y="19178"/>
                    </a:lnTo>
                    <a:cubicBezTo>
                      <a:pt x="545094" y="18425"/>
                      <a:pt x="542662" y="17774"/>
                      <a:pt x="540265" y="17072"/>
                    </a:cubicBezTo>
                    <a:cubicBezTo>
                      <a:pt x="535436" y="15719"/>
                      <a:pt x="530624" y="14281"/>
                      <a:pt x="525761" y="13014"/>
                    </a:cubicBezTo>
                    <a:lnTo>
                      <a:pt x="511086" y="9624"/>
                    </a:lnTo>
                    <a:cubicBezTo>
                      <a:pt x="506206" y="8408"/>
                      <a:pt x="501240" y="7654"/>
                      <a:pt x="496309" y="6730"/>
                    </a:cubicBezTo>
                    <a:cubicBezTo>
                      <a:pt x="491360" y="5908"/>
                      <a:pt x="486446" y="4829"/>
                      <a:pt x="481463" y="4298"/>
                    </a:cubicBezTo>
                    <a:lnTo>
                      <a:pt x="466531" y="2414"/>
                    </a:lnTo>
                    <a:cubicBezTo>
                      <a:pt x="461548" y="1849"/>
                      <a:pt x="456548" y="1575"/>
                      <a:pt x="451548" y="1164"/>
                    </a:cubicBezTo>
                    <a:lnTo>
                      <a:pt x="444048" y="599"/>
                    </a:lnTo>
                    <a:cubicBezTo>
                      <a:pt x="441548" y="445"/>
                      <a:pt x="439048" y="445"/>
                      <a:pt x="436547" y="360"/>
                    </a:cubicBezTo>
                    <a:lnTo>
                      <a:pt x="421530" y="0"/>
                    </a:lnTo>
                    <a:lnTo>
                      <a:pt x="406513" y="360"/>
                    </a:lnTo>
                    <a:cubicBezTo>
                      <a:pt x="404013" y="445"/>
                      <a:pt x="401513" y="462"/>
                      <a:pt x="399013" y="599"/>
                    </a:cubicBezTo>
                    <a:lnTo>
                      <a:pt x="391513" y="1164"/>
                    </a:lnTo>
                    <a:cubicBezTo>
                      <a:pt x="386512" y="1575"/>
                      <a:pt x="381512" y="1849"/>
                      <a:pt x="376530" y="2414"/>
                    </a:cubicBezTo>
                    <a:lnTo>
                      <a:pt x="361598" y="4298"/>
                    </a:lnTo>
                    <a:cubicBezTo>
                      <a:pt x="356615" y="4829"/>
                      <a:pt x="351700" y="5908"/>
                      <a:pt x="346752" y="6730"/>
                    </a:cubicBezTo>
                    <a:cubicBezTo>
                      <a:pt x="341820" y="7637"/>
                      <a:pt x="336854" y="8391"/>
                      <a:pt x="331974" y="9624"/>
                    </a:cubicBezTo>
                    <a:lnTo>
                      <a:pt x="317299" y="13014"/>
                    </a:lnTo>
                    <a:cubicBezTo>
                      <a:pt x="312436" y="14281"/>
                      <a:pt x="307624" y="15702"/>
                      <a:pt x="302796" y="17072"/>
                    </a:cubicBezTo>
                    <a:cubicBezTo>
                      <a:pt x="300381" y="17774"/>
                      <a:pt x="297967" y="18425"/>
                      <a:pt x="295569" y="19178"/>
                    </a:cubicBezTo>
                    <a:lnTo>
                      <a:pt x="288429" y="21576"/>
                    </a:lnTo>
                    <a:lnTo>
                      <a:pt x="281288" y="23990"/>
                    </a:lnTo>
                    <a:cubicBezTo>
                      <a:pt x="278908" y="24812"/>
                      <a:pt x="276528" y="25565"/>
                      <a:pt x="274199" y="26524"/>
                    </a:cubicBezTo>
                    <a:lnTo>
                      <a:pt x="260192" y="32055"/>
                    </a:lnTo>
                    <a:cubicBezTo>
                      <a:pt x="257846" y="32946"/>
                      <a:pt x="255552" y="33990"/>
                      <a:pt x="253274" y="35018"/>
                    </a:cubicBezTo>
                    <a:lnTo>
                      <a:pt x="246408" y="38117"/>
                    </a:lnTo>
                    <a:lnTo>
                      <a:pt x="239558" y="41233"/>
                    </a:lnTo>
                    <a:cubicBezTo>
                      <a:pt x="237281" y="42295"/>
                      <a:pt x="235072" y="43494"/>
                      <a:pt x="232829" y="44624"/>
                    </a:cubicBezTo>
                    <a:cubicBezTo>
                      <a:pt x="228377" y="46936"/>
                      <a:pt x="223873" y="49144"/>
                      <a:pt x="219472" y="51542"/>
                    </a:cubicBezTo>
                    <a:lnTo>
                      <a:pt x="206424" y="59042"/>
                    </a:lnTo>
                    <a:lnTo>
                      <a:pt x="203171" y="60925"/>
                    </a:lnTo>
                    <a:lnTo>
                      <a:pt x="199986" y="62946"/>
                    </a:lnTo>
                    <a:lnTo>
                      <a:pt x="193650" y="67004"/>
                    </a:lnTo>
                    <a:cubicBezTo>
                      <a:pt x="189421" y="69710"/>
                      <a:pt x="185174" y="72381"/>
                      <a:pt x="181133" y="75361"/>
                    </a:cubicBezTo>
                    <a:cubicBezTo>
                      <a:pt x="177040" y="78272"/>
                      <a:pt x="172948" y="81148"/>
                      <a:pt x="168889" y="84111"/>
                    </a:cubicBezTo>
                    <a:cubicBezTo>
                      <a:pt x="161013" y="90309"/>
                      <a:pt x="152999" y="96354"/>
                      <a:pt x="145550" y="103066"/>
                    </a:cubicBezTo>
                    <a:cubicBezTo>
                      <a:pt x="137844" y="109488"/>
                      <a:pt x="130755" y="116577"/>
                      <a:pt x="123478" y="123478"/>
                    </a:cubicBezTo>
                    <a:cubicBezTo>
                      <a:pt x="116577" y="130755"/>
                      <a:pt x="109488" y="137844"/>
                      <a:pt x="103067" y="145550"/>
                    </a:cubicBezTo>
                    <a:cubicBezTo>
                      <a:pt x="96354" y="153016"/>
                      <a:pt x="90310" y="161012"/>
                      <a:pt x="84111" y="168889"/>
                    </a:cubicBezTo>
                    <a:cubicBezTo>
                      <a:pt x="81166" y="172947"/>
                      <a:pt x="78272" y="177040"/>
                      <a:pt x="75361" y="181133"/>
                    </a:cubicBezTo>
                    <a:cubicBezTo>
                      <a:pt x="72381" y="185174"/>
                      <a:pt x="69710" y="189420"/>
                      <a:pt x="67004" y="193650"/>
                    </a:cubicBezTo>
                    <a:lnTo>
                      <a:pt x="62946" y="199986"/>
                    </a:lnTo>
                    <a:lnTo>
                      <a:pt x="60926" y="203170"/>
                    </a:lnTo>
                    <a:lnTo>
                      <a:pt x="59042" y="206424"/>
                    </a:lnTo>
                    <a:lnTo>
                      <a:pt x="51542" y="219472"/>
                    </a:lnTo>
                    <a:cubicBezTo>
                      <a:pt x="49145" y="223873"/>
                      <a:pt x="46919" y="228376"/>
                      <a:pt x="44624" y="232828"/>
                    </a:cubicBezTo>
                    <a:cubicBezTo>
                      <a:pt x="43494" y="235072"/>
                      <a:pt x="42312" y="237280"/>
                      <a:pt x="41234" y="239558"/>
                    </a:cubicBezTo>
                    <a:lnTo>
                      <a:pt x="38117" y="246407"/>
                    </a:lnTo>
                    <a:lnTo>
                      <a:pt x="35018" y="253274"/>
                    </a:lnTo>
                    <a:cubicBezTo>
                      <a:pt x="33990" y="255568"/>
                      <a:pt x="32946" y="257846"/>
                      <a:pt x="32055" y="260192"/>
                    </a:cubicBezTo>
                    <a:lnTo>
                      <a:pt x="26524" y="274199"/>
                    </a:lnTo>
                    <a:cubicBezTo>
                      <a:pt x="25565" y="276528"/>
                      <a:pt x="24812" y="278908"/>
                      <a:pt x="23990" y="281288"/>
                    </a:cubicBezTo>
                    <a:lnTo>
                      <a:pt x="21576" y="288428"/>
                    </a:lnTo>
                    <a:lnTo>
                      <a:pt x="19178" y="295569"/>
                    </a:lnTo>
                    <a:cubicBezTo>
                      <a:pt x="18425" y="297966"/>
                      <a:pt x="17774" y="300398"/>
                      <a:pt x="17072" y="302795"/>
                    </a:cubicBezTo>
                    <a:cubicBezTo>
                      <a:pt x="15719" y="307624"/>
                      <a:pt x="14281" y="312436"/>
                      <a:pt x="13014" y="317299"/>
                    </a:cubicBezTo>
                    <a:lnTo>
                      <a:pt x="9623" y="331974"/>
                    </a:lnTo>
                    <a:cubicBezTo>
                      <a:pt x="8408" y="336854"/>
                      <a:pt x="7654" y="341820"/>
                      <a:pt x="6730" y="346751"/>
                    </a:cubicBezTo>
                    <a:cubicBezTo>
                      <a:pt x="5908" y="351700"/>
                      <a:pt x="4829" y="356614"/>
                      <a:pt x="4298" y="361597"/>
                    </a:cubicBezTo>
                    <a:lnTo>
                      <a:pt x="2414" y="376529"/>
                    </a:lnTo>
                    <a:cubicBezTo>
                      <a:pt x="1849" y="381512"/>
                      <a:pt x="1575" y="386512"/>
                      <a:pt x="1164" y="391512"/>
                    </a:cubicBezTo>
                    <a:lnTo>
                      <a:pt x="599" y="399012"/>
                    </a:lnTo>
                    <a:cubicBezTo>
                      <a:pt x="445" y="401512"/>
                      <a:pt x="445" y="404012"/>
                      <a:pt x="360" y="406512"/>
                    </a:cubicBezTo>
                    <a:lnTo>
                      <a:pt x="0" y="421529"/>
                    </a:lnTo>
                    <a:lnTo>
                      <a:pt x="360" y="436547"/>
                    </a:lnTo>
                    <a:cubicBezTo>
                      <a:pt x="445" y="439047"/>
                      <a:pt x="462" y="441547"/>
                      <a:pt x="599" y="444047"/>
                    </a:cubicBezTo>
                    <a:lnTo>
                      <a:pt x="1164" y="451547"/>
                    </a:lnTo>
                    <a:cubicBezTo>
                      <a:pt x="1575" y="456547"/>
                      <a:pt x="1849" y="461547"/>
                      <a:pt x="2414" y="466530"/>
                    </a:cubicBezTo>
                    <a:lnTo>
                      <a:pt x="4298" y="481462"/>
                    </a:lnTo>
                    <a:cubicBezTo>
                      <a:pt x="4829" y="486445"/>
                      <a:pt x="5908" y="491359"/>
                      <a:pt x="6730" y="496308"/>
                    </a:cubicBezTo>
                    <a:cubicBezTo>
                      <a:pt x="7637" y="501239"/>
                      <a:pt x="8391" y="506205"/>
                      <a:pt x="9623" y="511085"/>
                    </a:cubicBezTo>
                    <a:lnTo>
                      <a:pt x="13014" y="525760"/>
                    </a:lnTo>
                    <a:cubicBezTo>
                      <a:pt x="14281" y="530623"/>
                      <a:pt x="15702" y="535435"/>
                      <a:pt x="17072" y="540264"/>
                    </a:cubicBezTo>
                    <a:cubicBezTo>
                      <a:pt x="17774" y="542678"/>
                      <a:pt x="18425" y="545093"/>
                      <a:pt x="19178" y="547490"/>
                    </a:cubicBezTo>
                    <a:lnTo>
                      <a:pt x="21576" y="554630"/>
                    </a:lnTo>
                    <a:lnTo>
                      <a:pt x="23990" y="561771"/>
                    </a:lnTo>
                    <a:cubicBezTo>
                      <a:pt x="24812" y="564151"/>
                      <a:pt x="25565" y="566531"/>
                      <a:pt x="26524" y="568860"/>
                    </a:cubicBezTo>
                    <a:lnTo>
                      <a:pt x="32055" y="582867"/>
                    </a:lnTo>
                    <a:cubicBezTo>
                      <a:pt x="32946" y="585213"/>
                      <a:pt x="33990" y="587508"/>
                      <a:pt x="35018" y="589785"/>
                    </a:cubicBezTo>
                    <a:lnTo>
                      <a:pt x="38117" y="596652"/>
                    </a:lnTo>
                    <a:lnTo>
                      <a:pt x="41234" y="603501"/>
                    </a:lnTo>
                    <a:cubicBezTo>
                      <a:pt x="42295" y="605778"/>
                      <a:pt x="43494" y="607987"/>
                      <a:pt x="44624" y="610231"/>
                    </a:cubicBezTo>
                    <a:cubicBezTo>
                      <a:pt x="46936" y="614683"/>
                      <a:pt x="49145" y="619186"/>
                      <a:pt x="51542" y="623587"/>
                    </a:cubicBezTo>
                    <a:lnTo>
                      <a:pt x="59042" y="636635"/>
                    </a:lnTo>
                    <a:lnTo>
                      <a:pt x="60926" y="639888"/>
                    </a:lnTo>
                    <a:lnTo>
                      <a:pt x="62946" y="643073"/>
                    </a:lnTo>
                    <a:lnTo>
                      <a:pt x="67004" y="649409"/>
                    </a:lnTo>
                    <a:cubicBezTo>
                      <a:pt x="69710" y="653639"/>
                      <a:pt x="72381" y="657885"/>
                      <a:pt x="75361" y="661926"/>
                    </a:cubicBezTo>
                    <a:cubicBezTo>
                      <a:pt x="78272" y="666019"/>
                      <a:pt x="81148" y="670111"/>
                      <a:pt x="84111" y="674170"/>
                    </a:cubicBezTo>
                    <a:cubicBezTo>
                      <a:pt x="90310" y="682047"/>
                      <a:pt x="96354" y="690060"/>
                      <a:pt x="103067" y="697509"/>
                    </a:cubicBezTo>
                    <a:cubicBezTo>
                      <a:pt x="109488" y="705215"/>
                      <a:pt x="116577" y="712304"/>
                      <a:pt x="123478" y="719581"/>
                    </a:cubicBezTo>
                    <a:cubicBezTo>
                      <a:pt x="130755" y="726482"/>
                      <a:pt x="137844" y="733571"/>
                      <a:pt x="145550" y="739992"/>
                    </a:cubicBezTo>
                    <a:cubicBezTo>
                      <a:pt x="153016" y="746705"/>
                      <a:pt x="161013" y="752749"/>
                      <a:pt x="168889" y="758948"/>
                    </a:cubicBezTo>
                    <a:cubicBezTo>
                      <a:pt x="172948" y="761893"/>
                      <a:pt x="177040" y="764787"/>
                      <a:pt x="181133" y="767698"/>
                    </a:cubicBezTo>
                    <a:cubicBezTo>
                      <a:pt x="185174" y="770678"/>
                      <a:pt x="189421" y="773349"/>
                      <a:pt x="193650" y="776055"/>
                    </a:cubicBezTo>
                    <a:lnTo>
                      <a:pt x="199986" y="780113"/>
                    </a:lnTo>
                    <a:lnTo>
                      <a:pt x="203171" y="782133"/>
                    </a:lnTo>
                    <a:lnTo>
                      <a:pt x="206424" y="784017"/>
                    </a:lnTo>
                    <a:lnTo>
                      <a:pt x="219472" y="791517"/>
                    </a:lnTo>
                    <a:cubicBezTo>
                      <a:pt x="223873" y="793914"/>
                      <a:pt x="228377" y="796140"/>
                      <a:pt x="232829" y="798435"/>
                    </a:cubicBezTo>
                    <a:cubicBezTo>
                      <a:pt x="235072" y="799565"/>
                      <a:pt x="237281" y="800747"/>
                      <a:pt x="239558" y="801825"/>
                    </a:cubicBezTo>
                    <a:lnTo>
                      <a:pt x="246408" y="804942"/>
                    </a:lnTo>
                    <a:lnTo>
                      <a:pt x="253274" y="808041"/>
                    </a:lnTo>
                    <a:cubicBezTo>
                      <a:pt x="255569" y="809069"/>
                      <a:pt x="257846" y="810113"/>
                      <a:pt x="260192" y="811004"/>
                    </a:cubicBezTo>
                    <a:lnTo>
                      <a:pt x="274199" y="816535"/>
                    </a:lnTo>
                    <a:cubicBezTo>
                      <a:pt x="276528" y="817493"/>
                      <a:pt x="278908" y="818247"/>
                      <a:pt x="281288" y="819069"/>
                    </a:cubicBezTo>
                    <a:lnTo>
                      <a:pt x="288429" y="821483"/>
                    </a:lnTo>
                    <a:lnTo>
                      <a:pt x="295569" y="823880"/>
                    </a:lnTo>
                    <a:cubicBezTo>
                      <a:pt x="297967" y="824634"/>
                      <a:pt x="300398" y="825285"/>
                      <a:pt x="302796" y="825987"/>
                    </a:cubicBezTo>
                    <a:cubicBezTo>
                      <a:pt x="307624" y="827339"/>
                      <a:pt x="312436" y="828778"/>
                      <a:pt x="317299" y="830045"/>
                    </a:cubicBezTo>
                    <a:lnTo>
                      <a:pt x="331974" y="833435"/>
                    </a:lnTo>
                    <a:cubicBezTo>
                      <a:pt x="336854" y="834651"/>
                      <a:pt x="341820" y="835405"/>
                      <a:pt x="346752" y="836329"/>
                    </a:cubicBezTo>
                    <a:cubicBezTo>
                      <a:pt x="351700" y="837151"/>
                      <a:pt x="356615" y="838230"/>
                      <a:pt x="361598" y="838761"/>
                    </a:cubicBezTo>
                    <a:lnTo>
                      <a:pt x="376530" y="840644"/>
                    </a:lnTo>
                    <a:cubicBezTo>
                      <a:pt x="381512" y="841209"/>
                      <a:pt x="386512" y="841483"/>
                      <a:pt x="391513" y="841894"/>
                    </a:cubicBezTo>
                    <a:lnTo>
                      <a:pt x="399013" y="842459"/>
                    </a:lnTo>
                    <a:cubicBezTo>
                      <a:pt x="401513" y="842614"/>
                      <a:pt x="404013" y="842614"/>
                      <a:pt x="406513" y="842699"/>
                    </a:cubicBezTo>
                    <a:lnTo>
                      <a:pt x="421530" y="843059"/>
                    </a:lnTo>
                    <a:lnTo>
                      <a:pt x="436547" y="842699"/>
                    </a:lnTo>
                    <a:cubicBezTo>
                      <a:pt x="439048" y="842614"/>
                      <a:pt x="441548" y="842597"/>
                      <a:pt x="444048" y="842459"/>
                    </a:cubicBezTo>
                    <a:lnTo>
                      <a:pt x="451548" y="841894"/>
                    </a:lnTo>
                    <a:cubicBezTo>
                      <a:pt x="456548" y="841483"/>
                      <a:pt x="461548" y="841209"/>
                      <a:pt x="466531" y="840644"/>
                    </a:cubicBezTo>
                    <a:lnTo>
                      <a:pt x="481463" y="838761"/>
                    </a:lnTo>
                    <a:cubicBezTo>
                      <a:pt x="486446" y="838230"/>
                      <a:pt x="491360" y="837151"/>
                      <a:pt x="496309" y="836329"/>
                    </a:cubicBezTo>
                    <a:cubicBezTo>
                      <a:pt x="501240" y="835405"/>
                      <a:pt x="506206" y="834668"/>
                      <a:pt x="511086" y="833435"/>
                    </a:cubicBezTo>
                    <a:lnTo>
                      <a:pt x="525761" y="830045"/>
                    </a:lnTo>
                    <a:cubicBezTo>
                      <a:pt x="530624" y="828778"/>
                      <a:pt x="535436" y="827357"/>
                      <a:pt x="540265" y="825987"/>
                    </a:cubicBezTo>
                    <a:cubicBezTo>
                      <a:pt x="542679" y="825285"/>
                      <a:pt x="545094" y="824634"/>
                      <a:pt x="547491" y="823880"/>
                    </a:cubicBezTo>
                    <a:lnTo>
                      <a:pt x="554631" y="821483"/>
                    </a:lnTo>
                    <a:lnTo>
                      <a:pt x="561772" y="819069"/>
                    </a:lnTo>
                    <a:cubicBezTo>
                      <a:pt x="564152" y="818247"/>
                      <a:pt x="566532" y="817493"/>
                      <a:pt x="568861" y="816535"/>
                    </a:cubicBezTo>
                    <a:lnTo>
                      <a:pt x="582868" y="811004"/>
                    </a:lnTo>
                    <a:cubicBezTo>
                      <a:pt x="585214" y="810113"/>
                      <a:pt x="587509" y="809069"/>
                      <a:pt x="589786" y="808041"/>
                    </a:cubicBezTo>
                    <a:lnTo>
                      <a:pt x="596653" y="804942"/>
                    </a:lnTo>
                    <a:lnTo>
                      <a:pt x="603502" y="801825"/>
                    </a:lnTo>
                    <a:cubicBezTo>
                      <a:pt x="605779" y="800764"/>
                      <a:pt x="607988" y="799565"/>
                      <a:pt x="610232" y="798435"/>
                    </a:cubicBezTo>
                    <a:cubicBezTo>
                      <a:pt x="614684" y="796123"/>
                      <a:pt x="619187" y="793914"/>
                      <a:pt x="623588" y="791517"/>
                    </a:cubicBezTo>
                    <a:lnTo>
                      <a:pt x="636636" y="784017"/>
                    </a:lnTo>
                    <a:lnTo>
                      <a:pt x="639890" y="782133"/>
                    </a:lnTo>
                    <a:lnTo>
                      <a:pt x="643074" y="780113"/>
                    </a:lnTo>
                    <a:lnTo>
                      <a:pt x="649410" y="776055"/>
                    </a:lnTo>
                    <a:cubicBezTo>
                      <a:pt x="653640" y="773349"/>
                      <a:pt x="657886" y="770678"/>
                      <a:pt x="661928" y="767698"/>
                    </a:cubicBezTo>
                    <a:cubicBezTo>
                      <a:pt x="666020" y="764787"/>
                      <a:pt x="670113" y="761911"/>
                      <a:pt x="674171" y="758948"/>
                    </a:cubicBezTo>
                    <a:cubicBezTo>
                      <a:pt x="682048" y="752749"/>
                      <a:pt x="690061" y="746705"/>
                      <a:pt x="697510" y="739992"/>
                    </a:cubicBezTo>
                    <a:cubicBezTo>
                      <a:pt x="705216" y="733571"/>
                      <a:pt x="712305" y="726482"/>
                      <a:pt x="719582" y="719581"/>
                    </a:cubicBezTo>
                    <a:cubicBezTo>
                      <a:pt x="726483" y="712304"/>
                      <a:pt x="733572" y="705215"/>
                      <a:pt x="739994" y="697509"/>
                    </a:cubicBezTo>
                    <a:cubicBezTo>
                      <a:pt x="746706" y="690043"/>
                      <a:pt x="752751" y="682047"/>
                      <a:pt x="758949" y="674170"/>
                    </a:cubicBezTo>
                    <a:cubicBezTo>
                      <a:pt x="761895" y="670111"/>
                      <a:pt x="764789" y="666019"/>
                      <a:pt x="767700" y="661926"/>
                    </a:cubicBezTo>
                    <a:cubicBezTo>
                      <a:pt x="770679" y="657885"/>
                      <a:pt x="773350" y="653639"/>
                      <a:pt x="776056" y="649409"/>
                    </a:cubicBezTo>
                    <a:lnTo>
                      <a:pt x="780114" y="643073"/>
                    </a:lnTo>
                    <a:lnTo>
                      <a:pt x="782135" y="639888"/>
                    </a:lnTo>
                    <a:lnTo>
                      <a:pt x="784018" y="636635"/>
                    </a:lnTo>
                    <a:lnTo>
                      <a:pt x="791518" y="623587"/>
                    </a:lnTo>
                    <a:cubicBezTo>
                      <a:pt x="793916" y="619186"/>
                      <a:pt x="796142" y="614683"/>
                      <a:pt x="798436" y="610231"/>
                    </a:cubicBezTo>
                    <a:cubicBezTo>
                      <a:pt x="799567" y="607987"/>
                      <a:pt x="800748" y="605778"/>
                      <a:pt x="801827" y="603501"/>
                    </a:cubicBezTo>
                    <a:lnTo>
                      <a:pt x="804943" y="596652"/>
                    </a:lnTo>
                    <a:lnTo>
                      <a:pt x="808043" y="589785"/>
                    </a:lnTo>
                    <a:cubicBezTo>
                      <a:pt x="809070" y="587490"/>
                      <a:pt x="810115" y="585213"/>
                      <a:pt x="811005" y="582867"/>
                    </a:cubicBezTo>
                    <a:lnTo>
                      <a:pt x="816536" y="568860"/>
                    </a:lnTo>
                    <a:cubicBezTo>
                      <a:pt x="817495" y="566531"/>
                      <a:pt x="818248" y="564151"/>
                      <a:pt x="819070" y="561771"/>
                    </a:cubicBezTo>
                    <a:lnTo>
                      <a:pt x="821485" y="554630"/>
                    </a:lnTo>
                    <a:lnTo>
                      <a:pt x="823882" y="547490"/>
                    </a:lnTo>
                    <a:cubicBezTo>
                      <a:pt x="824635" y="545093"/>
                      <a:pt x="825286" y="542661"/>
                      <a:pt x="825988" y="540264"/>
                    </a:cubicBezTo>
                    <a:cubicBezTo>
                      <a:pt x="827341" y="535435"/>
                      <a:pt x="828779" y="530623"/>
                      <a:pt x="830046" y="525760"/>
                    </a:cubicBezTo>
                    <a:lnTo>
                      <a:pt x="833437" y="511085"/>
                    </a:lnTo>
                    <a:cubicBezTo>
                      <a:pt x="834653" y="506205"/>
                      <a:pt x="835406" y="501239"/>
                      <a:pt x="836331" y="496308"/>
                    </a:cubicBezTo>
                    <a:cubicBezTo>
                      <a:pt x="837153" y="491359"/>
                      <a:pt x="838231" y="486445"/>
                      <a:pt x="838762" y="481462"/>
                    </a:cubicBezTo>
                    <a:lnTo>
                      <a:pt x="840646" y="466530"/>
                    </a:lnTo>
                    <a:cubicBezTo>
                      <a:pt x="841211" y="461547"/>
                      <a:pt x="841485" y="456547"/>
                      <a:pt x="841896" y="451547"/>
                    </a:cubicBezTo>
                    <a:lnTo>
                      <a:pt x="842461" y="444047"/>
                    </a:lnTo>
                    <a:cubicBezTo>
                      <a:pt x="842615" y="441547"/>
                      <a:pt x="842615" y="439047"/>
                      <a:pt x="842701" y="436547"/>
                    </a:cubicBezTo>
                    <a:lnTo>
                      <a:pt x="843060" y="421529"/>
                    </a:lnTo>
                    <a:lnTo>
                      <a:pt x="842701" y="406512"/>
                    </a:lnTo>
                    <a:cubicBezTo>
                      <a:pt x="842615" y="404012"/>
                      <a:pt x="842598" y="401512"/>
                      <a:pt x="842461" y="399012"/>
                    </a:cubicBezTo>
                    <a:close/>
                    <a:moveTo>
                      <a:pt x="807906" y="435314"/>
                    </a:moveTo>
                    <a:cubicBezTo>
                      <a:pt x="807837" y="437608"/>
                      <a:pt x="807820" y="439920"/>
                      <a:pt x="807683" y="442215"/>
                    </a:cubicBezTo>
                    <a:lnTo>
                      <a:pt x="807169" y="449098"/>
                    </a:lnTo>
                    <a:cubicBezTo>
                      <a:pt x="806776" y="453687"/>
                      <a:pt x="806553" y="458276"/>
                      <a:pt x="806022" y="462849"/>
                    </a:cubicBezTo>
                    <a:lnTo>
                      <a:pt x="804275" y="476547"/>
                    </a:lnTo>
                    <a:cubicBezTo>
                      <a:pt x="803796" y="481119"/>
                      <a:pt x="802803" y="485623"/>
                      <a:pt x="802049" y="490160"/>
                    </a:cubicBezTo>
                    <a:cubicBezTo>
                      <a:pt x="801210" y="494681"/>
                      <a:pt x="800543" y="499236"/>
                      <a:pt x="799412" y="503705"/>
                    </a:cubicBezTo>
                    <a:lnTo>
                      <a:pt x="796296" y="517164"/>
                    </a:lnTo>
                    <a:cubicBezTo>
                      <a:pt x="795131" y="521616"/>
                      <a:pt x="793813" y="526034"/>
                      <a:pt x="792580" y="530469"/>
                    </a:cubicBezTo>
                    <a:cubicBezTo>
                      <a:pt x="791929" y="532678"/>
                      <a:pt x="791347" y="534904"/>
                      <a:pt x="790662" y="537096"/>
                    </a:cubicBezTo>
                    <a:lnTo>
                      <a:pt x="788453" y="543637"/>
                    </a:lnTo>
                    <a:lnTo>
                      <a:pt x="786244" y="550178"/>
                    </a:lnTo>
                    <a:cubicBezTo>
                      <a:pt x="785491" y="552353"/>
                      <a:pt x="784806" y="554545"/>
                      <a:pt x="783916" y="556685"/>
                    </a:cubicBezTo>
                    <a:lnTo>
                      <a:pt x="778847" y="569528"/>
                    </a:lnTo>
                    <a:cubicBezTo>
                      <a:pt x="778042" y="571686"/>
                      <a:pt x="777083" y="573775"/>
                      <a:pt x="776124" y="575864"/>
                    </a:cubicBezTo>
                    <a:lnTo>
                      <a:pt x="773282" y="582148"/>
                    </a:lnTo>
                    <a:lnTo>
                      <a:pt x="770439" y="588432"/>
                    </a:lnTo>
                    <a:cubicBezTo>
                      <a:pt x="769463" y="590521"/>
                      <a:pt x="768367" y="592542"/>
                      <a:pt x="767323" y="594597"/>
                    </a:cubicBezTo>
                    <a:cubicBezTo>
                      <a:pt x="765200" y="598689"/>
                      <a:pt x="763179" y="602816"/>
                      <a:pt x="760970" y="606857"/>
                    </a:cubicBezTo>
                    <a:lnTo>
                      <a:pt x="754086" y="618826"/>
                    </a:lnTo>
                    <a:lnTo>
                      <a:pt x="752357" y="621823"/>
                    </a:lnTo>
                    <a:lnTo>
                      <a:pt x="750508" y="624734"/>
                    </a:lnTo>
                    <a:lnTo>
                      <a:pt x="746792" y="630539"/>
                    </a:lnTo>
                    <a:cubicBezTo>
                      <a:pt x="744309" y="634409"/>
                      <a:pt x="741860" y="638313"/>
                      <a:pt x="739138" y="642012"/>
                    </a:cubicBezTo>
                    <a:lnTo>
                      <a:pt x="731124" y="653245"/>
                    </a:lnTo>
                    <a:cubicBezTo>
                      <a:pt x="725422" y="660471"/>
                      <a:pt x="719891" y="667817"/>
                      <a:pt x="713726" y="674666"/>
                    </a:cubicBezTo>
                    <a:cubicBezTo>
                      <a:pt x="707836" y="681755"/>
                      <a:pt x="701312" y="688245"/>
                      <a:pt x="694993" y="694923"/>
                    </a:cubicBezTo>
                    <a:cubicBezTo>
                      <a:pt x="688298" y="701242"/>
                      <a:pt x="681808" y="707766"/>
                      <a:pt x="674736" y="713656"/>
                    </a:cubicBezTo>
                    <a:cubicBezTo>
                      <a:pt x="667904" y="719821"/>
                      <a:pt x="660541" y="725352"/>
                      <a:pt x="653314" y="731054"/>
                    </a:cubicBezTo>
                    <a:lnTo>
                      <a:pt x="642081" y="739068"/>
                    </a:lnTo>
                    <a:cubicBezTo>
                      <a:pt x="638383" y="741808"/>
                      <a:pt x="634478" y="744256"/>
                      <a:pt x="630609" y="746722"/>
                    </a:cubicBezTo>
                    <a:lnTo>
                      <a:pt x="624804" y="750438"/>
                    </a:lnTo>
                    <a:lnTo>
                      <a:pt x="621893" y="752287"/>
                    </a:lnTo>
                    <a:lnTo>
                      <a:pt x="618896" y="754017"/>
                    </a:lnTo>
                    <a:lnTo>
                      <a:pt x="606927" y="760900"/>
                    </a:lnTo>
                    <a:cubicBezTo>
                      <a:pt x="602886" y="763092"/>
                      <a:pt x="598759" y="765130"/>
                      <a:pt x="594666" y="767253"/>
                    </a:cubicBezTo>
                    <a:cubicBezTo>
                      <a:pt x="592611" y="768281"/>
                      <a:pt x="590591" y="769376"/>
                      <a:pt x="588502" y="770370"/>
                    </a:cubicBezTo>
                    <a:lnTo>
                      <a:pt x="582217" y="773212"/>
                    </a:lnTo>
                    <a:cubicBezTo>
                      <a:pt x="515264" y="803915"/>
                      <a:pt x="439424" y="814839"/>
                      <a:pt x="366581" y="804206"/>
                    </a:cubicBezTo>
                    <a:cubicBezTo>
                      <a:pt x="362009" y="803726"/>
                      <a:pt x="357505" y="802733"/>
                      <a:pt x="352968" y="801980"/>
                    </a:cubicBezTo>
                    <a:cubicBezTo>
                      <a:pt x="348447" y="801141"/>
                      <a:pt x="343892" y="800473"/>
                      <a:pt x="339423" y="799343"/>
                    </a:cubicBezTo>
                    <a:lnTo>
                      <a:pt x="325964" y="796226"/>
                    </a:lnTo>
                    <a:cubicBezTo>
                      <a:pt x="321512" y="795062"/>
                      <a:pt x="317094" y="793743"/>
                      <a:pt x="312659" y="792510"/>
                    </a:cubicBezTo>
                    <a:cubicBezTo>
                      <a:pt x="310450" y="791860"/>
                      <a:pt x="308224" y="791277"/>
                      <a:pt x="306032" y="790592"/>
                    </a:cubicBezTo>
                    <a:lnTo>
                      <a:pt x="299491" y="788383"/>
                    </a:lnTo>
                    <a:lnTo>
                      <a:pt x="292950" y="786175"/>
                    </a:lnTo>
                    <a:cubicBezTo>
                      <a:pt x="290775" y="785421"/>
                      <a:pt x="288583" y="784736"/>
                      <a:pt x="286443" y="783846"/>
                    </a:cubicBezTo>
                    <a:lnTo>
                      <a:pt x="273600" y="778777"/>
                    </a:lnTo>
                    <a:cubicBezTo>
                      <a:pt x="271442" y="777972"/>
                      <a:pt x="269353" y="777013"/>
                      <a:pt x="267264" y="776055"/>
                    </a:cubicBezTo>
                    <a:lnTo>
                      <a:pt x="260980" y="773212"/>
                    </a:lnTo>
                    <a:lnTo>
                      <a:pt x="254695" y="770370"/>
                    </a:lnTo>
                    <a:cubicBezTo>
                      <a:pt x="252606" y="769393"/>
                      <a:pt x="250586" y="768298"/>
                      <a:pt x="248531" y="767253"/>
                    </a:cubicBezTo>
                    <a:cubicBezTo>
                      <a:pt x="244439" y="765130"/>
                      <a:pt x="240312" y="763109"/>
                      <a:pt x="236271" y="760900"/>
                    </a:cubicBezTo>
                    <a:lnTo>
                      <a:pt x="224301" y="754017"/>
                    </a:lnTo>
                    <a:lnTo>
                      <a:pt x="221305" y="752287"/>
                    </a:lnTo>
                    <a:lnTo>
                      <a:pt x="218394" y="750438"/>
                    </a:lnTo>
                    <a:lnTo>
                      <a:pt x="212589" y="746722"/>
                    </a:lnTo>
                    <a:cubicBezTo>
                      <a:pt x="208719" y="744239"/>
                      <a:pt x="204815" y="741790"/>
                      <a:pt x="201116" y="739068"/>
                    </a:cubicBezTo>
                    <a:lnTo>
                      <a:pt x="189883" y="731054"/>
                    </a:lnTo>
                    <a:cubicBezTo>
                      <a:pt x="182657" y="725352"/>
                      <a:pt x="175311" y="719821"/>
                      <a:pt x="168461" y="713656"/>
                    </a:cubicBezTo>
                    <a:cubicBezTo>
                      <a:pt x="161372" y="707766"/>
                      <a:pt x="154882" y="701242"/>
                      <a:pt x="148204" y="694923"/>
                    </a:cubicBezTo>
                    <a:cubicBezTo>
                      <a:pt x="141886" y="688228"/>
                      <a:pt x="135362" y="681738"/>
                      <a:pt x="129471" y="674666"/>
                    </a:cubicBezTo>
                    <a:cubicBezTo>
                      <a:pt x="123307" y="667834"/>
                      <a:pt x="117776" y="660471"/>
                      <a:pt x="112074" y="653245"/>
                    </a:cubicBezTo>
                    <a:lnTo>
                      <a:pt x="104060" y="642012"/>
                    </a:lnTo>
                    <a:cubicBezTo>
                      <a:pt x="101320" y="638313"/>
                      <a:pt x="98871" y="634409"/>
                      <a:pt x="96406" y="630539"/>
                    </a:cubicBezTo>
                    <a:lnTo>
                      <a:pt x="92690" y="624734"/>
                    </a:lnTo>
                    <a:lnTo>
                      <a:pt x="90840" y="621823"/>
                    </a:lnTo>
                    <a:lnTo>
                      <a:pt x="89111" y="618826"/>
                    </a:lnTo>
                    <a:lnTo>
                      <a:pt x="82227" y="606857"/>
                    </a:lnTo>
                    <a:cubicBezTo>
                      <a:pt x="80035" y="602816"/>
                      <a:pt x="77998" y="598689"/>
                      <a:pt x="75874" y="594597"/>
                    </a:cubicBezTo>
                    <a:cubicBezTo>
                      <a:pt x="74847" y="592542"/>
                      <a:pt x="73751" y="590521"/>
                      <a:pt x="72758" y="588432"/>
                    </a:cubicBezTo>
                    <a:lnTo>
                      <a:pt x="69915" y="582148"/>
                    </a:lnTo>
                    <a:lnTo>
                      <a:pt x="67073" y="575864"/>
                    </a:lnTo>
                    <a:cubicBezTo>
                      <a:pt x="66114" y="573775"/>
                      <a:pt x="65155" y="571686"/>
                      <a:pt x="64350" y="569528"/>
                    </a:cubicBezTo>
                    <a:lnTo>
                      <a:pt x="59282" y="556685"/>
                    </a:lnTo>
                    <a:cubicBezTo>
                      <a:pt x="58391" y="554562"/>
                      <a:pt x="57706" y="552370"/>
                      <a:pt x="56953" y="550178"/>
                    </a:cubicBezTo>
                    <a:lnTo>
                      <a:pt x="54744" y="543637"/>
                    </a:lnTo>
                    <a:lnTo>
                      <a:pt x="52535" y="537096"/>
                    </a:lnTo>
                    <a:cubicBezTo>
                      <a:pt x="51850" y="534904"/>
                      <a:pt x="51251" y="532678"/>
                      <a:pt x="50617" y="530469"/>
                    </a:cubicBezTo>
                    <a:cubicBezTo>
                      <a:pt x="49384" y="526034"/>
                      <a:pt x="48049" y="521616"/>
                      <a:pt x="46901" y="517164"/>
                    </a:cubicBezTo>
                    <a:lnTo>
                      <a:pt x="43785" y="503705"/>
                    </a:lnTo>
                    <a:cubicBezTo>
                      <a:pt x="42655" y="499236"/>
                      <a:pt x="41987" y="494681"/>
                      <a:pt x="41148" y="490160"/>
                    </a:cubicBezTo>
                    <a:cubicBezTo>
                      <a:pt x="40394" y="485623"/>
                      <a:pt x="39401" y="481119"/>
                      <a:pt x="38922" y="476547"/>
                    </a:cubicBezTo>
                    <a:lnTo>
                      <a:pt x="37175" y="462849"/>
                    </a:lnTo>
                    <a:cubicBezTo>
                      <a:pt x="36644" y="458276"/>
                      <a:pt x="36422" y="453687"/>
                      <a:pt x="36028" y="449098"/>
                    </a:cubicBezTo>
                    <a:lnTo>
                      <a:pt x="35514" y="442215"/>
                    </a:lnTo>
                    <a:cubicBezTo>
                      <a:pt x="35377" y="439920"/>
                      <a:pt x="35377" y="437626"/>
                      <a:pt x="35292" y="435314"/>
                    </a:cubicBezTo>
                    <a:lnTo>
                      <a:pt x="34949" y="421529"/>
                    </a:lnTo>
                    <a:lnTo>
                      <a:pt x="35292" y="407745"/>
                    </a:lnTo>
                    <a:cubicBezTo>
                      <a:pt x="35360" y="405450"/>
                      <a:pt x="35377" y="403139"/>
                      <a:pt x="35514" y="400844"/>
                    </a:cubicBezTo>
                    <a:lnTo>
                      <a:pt x="36028" y="393961"/>
                    </a:lnTo>
                    <a:cubicBezTo>
                      <a:pt x="36422" y="389371"/>
                      <a:pt x="36644" y="384782"/>
                      <a:pt x="37175" y="380210"/>
                    </a:cubicBezTo>
                    <a:lnTo>
                      <a:pt x="38922" y="366512"/>
                    </a:lnTo>
                    <a:cubicBezTo>
                      <a:pt x="39401" y="361940"/>
                      <a:pt x="40394" y="357436"/>
                      <a:pt x="41148" y="352898"/>
                    </a:cubicBezTo>
                    <a:cubicBezTo>
                      <a:pt x="41987" y="348378"/>
                      <a:pt x="42655" y="343823"/>
                      <a:pt x="43785" y="339354"/>
                    </a:cubicBezTo>
                    <a:lnTo>
                      <a:pt x="46901" y="325895"/>
                    </a:lnTo>
                    <a:cubicBezTo>
                      <a:pt x="48066" y="321443"/>
                      <a:pt x="49384" y="317025"/>
                      <a:pt x="50617" y="312590"/>
                    </a:cubicBezTo>
                    <a:cubicBezTo>
                      <a:pt x="51251" y="310381"/>
                      <a:pt x="51850" y="308155"/>
                      <a:pt x="52535" y="305963"/>
                    </a:cubicBezTo>
                    <a:lnTo>
                      <a:pt x="54744" y="299422"/>
                    </a:lnTo>
                    <a:lnTo>
                      <a:pt x="56953" y="292881"/>
                    </a:lnTo>
                    <a:cubicBezTo>
                      <a:pt x="57706" y="290706"/>
                      <a:pt x="58391" y="288514"/>
                      <a:pt x="59282" y="286374"/>
                    </a:cubicBezTo>
                    <a:lnTo>
                      <a:pt x="64350" y="273531"/>
                    </a:lnTo>
                    <a:cubicBezTo>
                      <a:pt x="65155" y="271373"/>
                      <a:pt x="66114" y="269284"/>
                      <a:pt x="67073" y="267195"/>
                    </a:cubicBezTo>
                    <a:lnTo>
                      <a:pt x="69915" y="260911"/>
                    </a:lnTo>
                    <a:lnTo>
                      <a:pt x="72758" y="254627"/>
                    </a:lnTo>
                    <a:cubicBezTo>
                      <a:pt x="73734" y="252538"/>
                      <a:pt x="74830" y="250517"/>
                      <a:pt x="75874" y="248462"/>
                    </a:cubicBezTo>
                    <a:cubicBezTo>
                      <a:pt x="77998" y="244370"/>
                      <a:pt x="80018" y="240243"/>
                      <a:pt x="82227" y="236202"/>
                    </a:cubicBezTo>
                    <a:lnTo>
                      <a:pt x="89111" y="224232"/>
                    </a:lnTo>
                    <a:lnTo>
                      <a:pt x="90840" y="221236"/>
                    </a:lnTo>
                    <a:lnTo>
                      <a:pt x="92690" y="218325"/>
                    </a:lnTo>
                    <a:lnTo>
                      <a:pt x="96406" y="212520"/>
                    </a:lnTo>
                    <a:cubicBezTo>
                      <a:pt x="98888" y="208650"/>
                      <a:pt x="101337" y="204746"/>
                      <a:pt x="104060" y="201047"/>
                    </a:cubicBezTo>
                    <a:lnTo>
                      <a:pt x="112074" y="189814"/>
                    </a:lnTo>
                    <a:cubicBezTo>
                      <a:pt x="117776" y="182588"/>
                      <a:pt x="123307" y="175242"/>
                      <a:pt x="129471" y="168393"/>
                    </a:cubicBezTo>
                    <a:cubicBezTo>
                      <a:pt x="135362" y="161303"/>
                      <a:pt x="141886" y="154814"/>
                      <a:pt x="148204" y="148135"/>
                    </a:cubicBezTo>
                    <a:cubicBezTo>
                      <a:pt x="154900" y="141817"/>
                      <a:pt x="161389" y="135293"/>
                      <a:pt x="168461" y="129402"/>
                    </a:cubicBezTo>
                    <a:cubicBezTo>
                      <a:pt x="175294" y="123238"/>
                      <a:pt x="182657" y="117707"/>
                      <a:pt x="189883" y="112005"/>
                    </a:cubicBezTo>
                    <a:lnTo>
                      <a:pt x="201116" y="103991"/>
                    </a:lnTo>
                    <a:cubicBezTo>
                      <a:pt x="204815" y="101251"/>
                      <a:pt x="208719" y="98803"/>
                      <a:pt x="212589" y="96337"/>
                    </a:cubicBezTo>
                    <a:lnTo>
                      <a:pt x="218394" y="92621"/>
                    </a:lnTo>
                    <a:lnTo>
                      <a:pt x="221305" y="90772"/>
                    </a:lnTo>
                    <a:lnTo>
                      <a:pt x="224301" y="89042"/>
                    </a:lnTo>
                    <a:lnTo>
                      <a:pt x="236271" y="82159"/>
                    </a:lnTo>
                    <a:cubicBezTo>
                      <a:pt x="240312" y="79967"/>
                      <a:pt x="244439" y="77929"/>
                      <a:pt x="248531" y="75806"/>
                    </a:cubicBezTo>
                    <a:cubicBezTo>
                      <a:pt x="250586" y="74778"/>
                      <a:pt x="252606" y="73683"/>
                      <a:pt x="254695" y="72689"/>
                    </a:cubicBezTo>
                    <a:lnTo>
                      <a:pt x="260980" y="69847"/>
                    </a:lnTo>
                    <a:lnTo>
                      <a:pt x="267264" y="67004"/>
                    </a:lnTo>
                    <a:cubicBezTo>
                      <a:pt x="269353" y="66045"/>
                      <a:pt x="271442" y="65086"/>
                      <a:pt x="273600" y="64282"/>
                    </a:cubicBezTo>
                    <a:lnTo>
                      <a:pt x="286443" y="59213"/>
                    </a:lnTo>
                    <a:cubicBezTo>
                      <a:pt x="288566" y="58323"/>
                      <a:pt x="290758" y="57638"/>
                      <a:pt x="292950" y="56884"/>
                    </a:cubicBezTo>
                    <a:lnTo>
                      <a:pt x="299491" y="54675"/>
                    </a:lnTo>
                    <a:lnTo>
                      <a:pt x="306032" y="52466"/>
                    </a:lnTo>
                    <a:cubicBezTo>
                      <a:pt x="308224" y="51782"/>
                      <a:pt x="310450" y="51182"/>
                      <a:pt x="312659" y="50549"/>
                    </a:cubicBezTo>
                    <a:cubicBezTo>
                      <a:pt x="317094" y="49316"/>
                      <a:pt x="321512" y="47980"/>
                      <a:pt x="325964" y="46833"/>
                    </a:cubicBezTo>
                    <a:lnTo>
                      <a:pt x="339423" y="43716"/>
                    </a:lnTo>
                    <a:cubicBezTo>
                      <a:pt x="343892" y="42586"/>
                      <a:pt x="348447" y="41918"/>
                      <a:pt x="352968" y="41079"/>
                    </a:cubicBezTo>
                    <a:cubicBezTo>
                      <a:pt x="357505" y="40326"/>
                      <a:pt x="362009" y="39333"/>
                      <a:pt x="366581" y="38853"/>
                    </a:cubicBezTo>
                    <a:cubicBezTo>
                      <a:pt x="439424" y="28220"/>
                      <a:pt x="515264" y="39144"/>
                      <a:pt x="582217" y="69847"/>
                    </a:cubicBezTo>
                    <a:lnTo>
                      <a:pt x="588502" y="72689"/>
                    </a:lnTo>
                    <a:cubicBezTo>
                      <a:pt x="590591" y="73665"/>
                      <a:pt x="592611" y="74761"/>
                      <a:pt x="594666" y="75806"/>
                    </a:cubicBezTo>
                    <a:cubicBezTo>
                      <a:pt x="598759" y="77929"/>
                      <a:pt x="602886" y="79950"/>
                      <a:pt x="606927" y="82159"/>
                    </a:cubicBezTo>
                    <a:lnTo>
                      <a:pt x="618896" y="89042"/>
                    </a:lnTo>
                    <a:lnTo>
                      <a:pt x="621893" y="90772"/>
                    </a:lnTo>
                    <a:lnTo>
                      <a:pt x="624804" y="92621"/>
                    </a:lnTo>
                    <a:lnTo>
                      <a:pt x="630609" y="96337"/>
                    </a:lnTo>
                    <a:cubicBezTo>
                      <a:pt x="634478" y="98820"/>
                      <a:pt x="638383" y="101268"/>
                      <a:pt x="642081" y="103991"/>
                    </a:cubicBezTo>
                    <a:lnTo>
                      <a:pt x="653314" y="112005"/>
                    </a:lnTo>
                    <a:cubicBezTo>
                      <a:pt x="660541" y="117707"/>
                      <a:pt x="667886" y="123238"/>
                      <a:pt x="674736" y="129402"/>
                    </a:cubicBezTo>
                    <a:cubicBezTo>
                      <a:pt x="681825" y="135293"/>
                      <a:pt x="688315" y="141817"/>
                      <a:pt x="694993" y="148135"/>
                    </a:cubicBezTo>
                    <a:cubicBezTo>
                      <a:pt x="701312" y="154831"/>
                      <a:pt x="707836" y="161321"/>
                      <a:pt x="713726" y="168393"/>
                    </a:cubicBezTo>
                    <a:cubicBezTo>
                      <a:pt x="719891" y="175225"/>
                      <a:pt x="725422" y="182588"/>
                      <a:pt x="731124" y="189814"/>
                    </a:cubicBezTo>
                    <a:lnTo>
                      <a:pt x="739138" y="201047"/>
                    </a:lnTo>
                    <a:cubicBezTo>
                      <a:pt x="741877" y="204746"/>
                      <a:pt x="744326" y="208650"/>
                      <a:pt x="746792" y="212520"/>
                    </a:cubicBezTo>
                    <a:lnTo>
                      <a:pt x="750508" y="218325"/>
                    </a:lnTo>
                    <a:lnTo>
                      <a:pt x="752357" y="221236"/>
                    </a:lnTo>
                    <a:lnTo>
                      <a:pt x="754086" y="224232"/>
                    </a:lnTo>
                    <a:lnTo>
                      <a:pt x="760970" y="236202"/>
                    </a:lnTo>
                    <a:cubicBezTo>
                      <a:pt x="763162" y="240243"/>
                      <a:pt x="765200" y="244370"/>
                      <a:pt x="767323" y="248462"/>
                    </a:cubicBezTo>
                    <a:cubicBezTo>
                      <a:pt x="768350" y="250517"/>
                      <a:pt x="769446" y="252538"/>
                      <a:pt x="770439" y="254627"/>
                    </a:cubicBezTo>
                    <a:lnTo>
                      <a:pt x="773282" y="260911"/>
                    </a:lnTo>
                    <a:lnTo>
                      <a:pt x="776124" y="267195"/>
                    </a:lnTo>
                    <a:cubicBezTo>
                      <a:pt x="777083" y="269284"/>
                      <a:pt x="778042" y="271373"/>
                      <a:pt x="778847" y="273531"/>
                    </a:cubicBezTo>
                    <a:lnTo>
                      <a:pt x="783916" y="286374"/>
                    </a:lnTo>
                    <a:cubicBezTo>
                      <a:pt x="784806" y="288497"/>
                      <a:pt x="785491" y="290689"/>
                      <a:pt x="786244" y="292881"/>
                    </a:cubicBezTo>
                    <a:lnTo>
                      <a:pt x="788453" y="299422"/>
                    </a:lnTo>
                    <a:lnTo>
                      <a:pt x="790662" y="305963"/>
                    </a:lnTo>
                    <a:cubicBezTo>
                      <a:pt x="791347" y="308155"/>
                      <a:pt x="791947" y="310381"/>
                      <a:pt x="792580" y="312590"/>
                    </a:cubicBezTo>
                    <a:cubicBezTo>
                      <a:pt x="793813" y="317025"/>
                      <a:pt x="795149" y="321443"/>
                      <a:pt x="796296" y="325895"/>
                    </a:cubicBezTo>
                    <a:lnTo>
                      <a:pt x="799412" y="339354"/>
                    </a:lnTo>
                    <a:cubicBezTo>
                      <a:pt x="800543" y="343823"/>
                      <a:pt x="801210" y="348378"/>
                      <a:pt x="802049" y="352898"/>
                    </a:cubicBezTo>
                    <a:cubicBezTo>
                      <a:pt x="802803" y="357436"/>
                      <a:pt x="803796" y="361940"/>
                      <a:pt x="804275" y="366512"/>
                    </a:cubicBezTo>
                    <a:lnTo>
                      <a:pt x="806022" y="380210"/>
                    </a:lnTo>
                    <a:cubicBezTo>
                      <a:pt x="806553" y="384782"/>
                      <a:pt x="806776" y="389371"/>
                      <a:pt x="807169" y="393961"/>
                    </a:cubicBezTo>
                    <a:lnTo>
                      <a:pt x="807683" y="400844"/>
                    </a:lnTo>
                    <a:cubicBezTo>
                      <a:pt x="807820" y="403139"/>
                      <a:pt x="807820" y="405433"/>
                      <a:pt x="807906" y="407745"/>
                    </a:cubicBezTo>
                    <a:lnTo>
                      <a:pt x="808248" y="421529"/>
                    </a:lnTo>
                    <a:lnTo>
                      <a:pt x="807906" y="435314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00" name="Freeform 15">
                <a:extLst>
                  <a:ext uri="{FF2B5EF4-FFF2-40B4-BE49-F238E27FC236}">
                    <a16:creationId xmlns:a16="http://schemas.microsoft.com/office/drawing/2014/main" id="{DCDD5DDB-9B2B-A399-B8BE-EB95EE00BB7E}"/>
                  </a:ext>
                </a:extLst>
              </p:cNvPr>
              <p:cNvSpPr/>
              <p:nvPr/>
            </p:nvSpPr>
            <p:spPr>
              <a:xfrm>
                <a:off x="3538396" y="3844486"/>
                <a:ext cx="705986" cy="705948"/>
              </a:xfrm>
              <a:custGeom>
                <a:avLst/>
                <a:gdLst>
                  <a:gd name="connsiteX0" fmla="*/ 705473 w 705986"/>
                  <a:gd name="connsiteY0" fmla="*/ 334053 h 705948"/>
                  <a:gd name="connsiteX1" fmla="*/ 704993 w 705986"/>
                  <a:gd name="connsiteY1" fmla="*/ 327768 h 705948"/>
                  <a:gd name="connsiteX2" fmla="*/ 703966 w 705986"/>
                  <a:gd name="connsiteY2" fmla="*/ 315200 h 705948"/>
                  <a:gd name="connsiteX3" fmla="*/ 702373 w 705986"/>
                  <a:gd name="connsiteY3" fmla="*/ 302699 h 705948"/>
                  <a:gd name="connsiteX4" fmla="*/ 700336 w 705986"/>
                  <a:gd name="connsiteY4" fmla="*/ 290268 h 705948"/>
                  <a:gd name="connsiteX5" fmla="*/ 697921 w 705986"/>
                  <a:gd name="connsiteY5" fmla="*/ 277905 h 705948"/>
                  <a:gd name="connsiteX6" fmla="*/ 695096 w 705986"/>
                  <a:gd name="connsiteY6" fmla="*/ 265627 h 705948"/>
                  <a:gd name="connsiteX7" fmla="*/ 691688 w 705986"/>
                  <a:gd name="connsiteY7" fmla="*/ 253504 h 705948"/>
                  <a:gd name="connsiteX8" fmla="*/ 689942 w 705986"/>
                  <a:gd name="connsiteY8" fmla="*/ 247459 h 705948"/>
                  <a:gd name="connsiteX9" fmla="*/ 687921 w 705986"/>
                  <a:gd name="connsiteY9" fmla="*/ 241500 h 705948"/>
                  <a:gd name="connsiteX10" fmla="*/ 685900 w 705986"/>
                  <a:gd name="connsiteY10" fmla="*/ 235541 h 705948"/>
                  <a:gd name="connsiteX11" fmla="*/ 683777 w 705986"/>
                  <a:gd name="connsiteY11" fmla="*/ 229616 h 705948"/>
                  <a:gd name="connsiteX12" fmla="*/ 679154 w 705986"/>
                  <a:gd name="connsiteY12" fmla="*/ 217904 h 705948"/>
                  <a:gd name="connsiteX13" fmla="*/ 676671 w 705986"/>
                  <a:gd name="connsiteY13" fmla="*/ 212116 h 705948"/>
                  <a:gd name="connsiteX14" fmla="*/ 674068 w 705986"/>
                  <a:gd name="connsiteY14" fmla="*/ 206380 h 705948"/>
                  <a:gd name="connsiteX15" fmla="*/ 671482 w 705986"/>
                  <a:gd name="connsiteY15" fmla="*/ 200643 h 705948"/>
                  <a:gd name="connsiteX16" fmla="*/ 668640 w 705986"/>
                  <a:gd name="connsiteY16" fmla="*/ 195027 h 705948"/>
                  <a:gd name="connsiteX17" fmla="*/ 662852 w 705986"/>
                  <a:gd name="connsiteY17" fmla="*/ 183828 h 705948"/>
                  <a:gd name="connsiteX18" fmla="*/ 656568 w 705986"/>
                  <a:gd name="connsiteY18" fmla="*/ 172903 h 705948"/>
                  <a:gd name="connsiteX19" fmla="*/ 654992 w 705986"/>
                  <a:gd name="connsiteY19" fmla="*/ 170164 h 705948"/>
                  <a:gd name="connsiteX20" fmla="*/ 653297 w 705986"/>
                  <a:gd name="connsiteY20" fmla="*/ 167509 h 705948"/>
                  <a:gd name="connsiteX21" fmla="*/ 649890 w 705986"/>
                  <a:gd name="connsiteY21" fmla="*/ 162201 h 705948"/>
                  <a:gd name="connsiteX22" fmla="*/ 642903 w 705986"/>
                  <a:gd name="connsiteY22" fmla="*/ 151722 h 705948"/>
                  <a:gd name="connsiteX23" fmla="*/ 635591 w 705986"/>
                  <a:gd name="connsiteY23" fmla="*/ 141465 h 705948"/>
                  <a:gd name="connsiteX24" fmla="*/ 619684 w 705986"/>
                  <a:gd name="connsiteY24" fmla="*/ 121910 h 705948"/>
                  <a:gd name="connsiteX25" fmla="*/ 602577 w 705986"/>
                  <a:gd name="connsiteY25" fmla="*/ 103399 h 705948"/>
                  <a:gd name="connsiteX26" fmla="*/ 584067 w 705986"/>
                  <a:gd name="connsiteY26" fmla="*/ 86293 h 705948"/>
                  <a:gd name="connsiteX27" fmla="*/ 564512 w 705986"/>
                  <a:gd name="connsiteY27" fmla="*/ 70385 h 705948"/>
                  <a:gd name="connsiteX28" fmla="*/ 554255 w 705986"/>
                  <a:gd name="connsiteY28" fmla="*/ 63073 h 705948"/>
                  <a:gd name="connsiteX29" fmla="*/ 543775 w 705986"/>
                  <a:gd name="connsiteY29" fmla="*/ 56087 h 705948"/>
                  <a:gd name="connsiteX30" fmla="*/ 538467 w 705986"/>
                  <a:gd name="connsiteY30" fmla="*/ 52679 h 705948"/>
                  <a:gd name="connsiteX31" fmla="*/ 535813 w 705986"/>
                  <a:gd name="connsiteY31" fmla="*/ 50984 h 705948"/>
                  <a:gd name="connsiteX32" fmla="*/ 533073 w 705986"/>
                  <a:gd name="connsiteY32" fmla="*/ 49409 h 705948"/>
                  <a:gd name="connsiteX33" fmla="*/ 522148 w 705986"/>
                  <a:gd name="connsiteY33" fmla="*/ 43124 h 705948"/>
                  <a:gd name="connsiteX34" fmla="*/ 510949 w 705986"/>
                  <a:gd name="connsiteY34" fmla="*/ 37337 h 705948"/>
                  <a:gd name="connsiteX35" fmla="*/ 505333 w 705986"/>
                  <a:gd name="connsiteY35" fmla="*/ 34494 h 705948"/>
                  <a:gd name="connsiteX36" fmla="*/ 499596 w 705986"/>
                  <a:gd name="connsiteY36" fmla="*/ 31908 h 705948"/>
                  <a:gd name="connsiteX37" fmla="*/ 302710 w 705986"/>
                  <a:gd name="connsiteY37" fmla="*/ 3620 h 705948"/>
                  <a:gd name="connsiteX38" fmla="*/ 290278 w 705986"/>
                  <a:gd name="connsiteY38" fmla="*/ 5658 h 705948"/>
                  <a:gd name="connsiteX39" fmla="*/ 277915 w 705986"/>
                  <a:gd name="connsiteY39" fmla="*/ 8072 h 705948"/>
                  <a:gd name="connsiteX40" fmla="*/ 265637 w 705986"/>
                  <a:gd name="connsiteY40" fmla="*/ 10898 h 705948"/>
                  <a:gd name="connsiteX41" fmla="*/ 253514 w 705986"/>
                  <a:gd name="connsiteY41" fmla="*/ 14305 h 705948"/>
                  <a:gd name="connsiteX42" fmla="*/ 247469 w 705986"/>
                  <a:gd name="connsiteY42" fmla="*/ 16052 h 705948"/>
                  <a:gd name="connsiteX43" fmla="*/ 241510 w 705986"/>
                  <a:gd name="connsiteY43" fmla="*/ 18073 h 705948"/>
                  <a:gd name="connsiteX44" fmla="*/ 235551 w 705986"/>
                  <a:gd name="connsiteY44" fmla="*/ 20093 h 705948"/>
                  <a:gd name="connsiteX45" fmla="*/ 229627 w 705986"/>
                  <a:gd name="connsiteY45" fmla="*/ 22216 h 705948"/>
                  <a:gd name="connsiteX46" fmla="*/ 217914 w 705986"/>
                  <a:gd name="connsiteY46" fmla="*/ 26840 h 705948"/>
                  <a:gd name="connsiteX47" fmla="*/ 212126 w 705986"/>
                  <a:gd name="connsiteY47" fmla="*/ 29323 h 705948"/>
                  <a:gd name="connsiteX48" fmla="*/ 206390 w 705986"/>
                  <a:gd name="connsiteY48" fmla="*/ 31925 h 705948"/>
                  <a:gd name="connsiteX49" fmla="*/ 200654 w 705986"/>
                  <a:gd name="connsiteY49" fmla="*/ 34511 h 705948"/>
                  <a:gd name="connsiteX50" fmla="*/ 195037 w 705986"/>
                  <a:gd name="connsiteY50" fmla="*/ 37354 h 705948"/>
                  <a:gd name="connsiteX51" fmla="*/ 183838 w 705986"/>
                  <a:gd name="connsiteY51" fmla="*/ 43141 h 705948"/>
                  <a:gd name="connsiteX52" fmla="*/ 172913 w 705986"/>
                  <a:gd name="connsiteY52" fmla="*/ 49426 h 705948"/>
                  <a:gd name="connsiteX53" fmla="*/ 170174 w 705986"/>
                  <a:gd name="connsiteY53" fmla="*/ 51001 h 705948"/>
                  <a:gd name="connsiteX54" fmla="*/ 167520 w 705986"/>
                  <a:gd name="connsiteY54" fmla="*/ 52696 h 705948"/>
                  <a:gd name="connsiteX55" fmla="*/ 162211 w 705986"/>
                  <a:gd name="connsiteY55" fmla="*/ 56104 h 705948"/>
                  <a:gd name="connsiteX56" fmla="*/ 151732 w 705986"/>
                  <a:gd name="connsiteY56" fmla="*/ 63090 h 705948"/>
                  <a:gd name="connsiteX57" fmla="*/ 141475 w 705986"/>
                  <a:gd name="connsiteY57" fmla="*/ 70402 h 705948"/>
                  <a:gd name="connsiteX58" fmla="*/ 121920 w 705986"/>
                  <a:gd name="connsiteY58" fmla="*/ 86310 h 705948"/>
                  <a:gd name="connsiteX59" fmla="*/ 103409 w 705986"/>
                  <a:gd name="connsiteY59" fmla="*/ 103416 h 705948"/>
                  <a:gd name="connsiteX60" fmla="*/ 86303 w 705986"/>
                  <a:gd name="connsiteY60" fmla="*/ 121927 h 705948"/>
                  <a:gd name="connsiteX61" fmla="*/ 70395 w 705986"/>
                  <a:gd name="connsiteY61" fmla="*/ 141482 h 705948"/>
                  <a:gd name="connsiteX62" fmla="*/ 63083 w 705986"/>
                  <a:gd name="connsiteY62" fmla="*/ 151739 h 705948"/>
                  <a:gd name="connsiteX63" fmla="*/ 56097 w 705986"/>
                  <a:gd name="connsiteY63" fmla="*/ 162218 h 705948"/>
                  <a:gd name="connsiteX64" fmla="*/ 52689 w 705986"/>
                  <a:gd name="connsiteY64" fmla="*/ 167526 h 705948"/>
                  <a:gd name="connsiteX65" fmla="*/ 50994 w 705986"/>
                  <a:gd name="connsiteY65" fmla="*/ 170181 h 705948"/>
                  <a:gd name="connsiteX66" fmla="*/ 49419 w 705986"/>
                  <a:gd name="connsiteY66" fmla="*/ 172920 h 705948"/>
                  <a:gd name="connsiteX67" fmla="*/ 43134 w 705986"/>
                  <a:gd name="connsiteY67" fmla="*/ 183845 h 705948"/>
                  <a:gd name="connsiteX68" fmla="*/ 37346 w 705986"/>
                  <a:gd name="connsiteY68" fmla="*/ 195044 h 705948"/>
                  <a:gd name="connsiteX69" fmla="*/ 34504 w 705986"/>
                  <a:gd name="connsiteY69" fmla="*/ 200661 h 705948"/>
                  <a:gd name="connsiteX70" fmla="*/ 31918 w 705986"/>
                  <a:gd name="connsiteY70" fmla="*/ 206397 h 705948"/>
                  <a:gd name="connsiteX71" fmla="*/ 29315 w 705986"/>
                  <a:gd name="connsiteY71" fmla="*/ 212133 h 705948"/>
                  <a:gd name="connsiteX72" fmla="*/ 26833 w 705986"/>
                  <a:gd name="connsiteY72" fmla="*/ 217921 h 705948"/>
                  <a:gd name="connsiteX73" fmla="*/ 22209 w 705986"/>
                  <a:gd name="connsiteY73" fmla="*/ 229633 h 705948"/>
                  <a:gd name="connsiteX74" fmla="*/ 20086 w 705986"/>
                  <a:gd name="connsiteY74" fmla="*/ 235558 h 705948"/>
                  <a:gd name="connsiteX75" fmla="*/ 18065 w 705986"/>
                  <a:gd name="connsiteY75" fmla="*/ 241517 h 705948"/>
                  <a:gd name="connsiteX76" fmla="*/ 16045 w 705986"/>
                  <a:gd name="connsiteY76" fmla="*/ 247476 h 705948"/>
                  <a:gd name="connsiteX77" fmla="*/ 14298 w 705986"/>
                  <a:gd name="connsiteY77" fmla="*/ 253521 h 705948"/>
                  <a:gd name="connsiteX78" fmla="*/ 10891 w 705986"/>
                  <a:gd name="connsiteY78" fmla="*/ 265644 h 705948"/>
                  <a:gd name="connsiteX79" fmla="*/ 8065 w 705986"/>
                  <a:gd name="connsiteY79" fmla="*/ 277922 h 705948"/>
                  <a:gd name="connsiteX80" fmla="*/ 5651 w 705986"/>
                  <a:gd name="connsiteY80" fmla="*/ 290285 h 705948"/>
                  <a:gd name="connsiteX81" fmla="*/ 3613 w 705986"/>
                  <a:gd name="connsiteY81" fmla="*/ 302717 h 705948"/>
                  <a:gd name="connsiteX82" fmla="*/ 2021 w 705986"/>
                  <a:gd name="connsiteY82" fmla="*/ 315217 h 705948"/>
                  <a:gd name="connsiteX83" fmla="*/ 993 w 705986"/>
                  <a:gd name="connsiteY83" fmla="*/ 327785 h 705948"/>
                  <a:gd name="connsiteX84" fmla="*/ 514 w 705986"/>
                  <a:gd name="connsiteY84" fmla="*/ 334070 h 705948"/>
                  <a:gd name="connsiteX85" fmla="*/ 325 w 705986"/>
                  <a:gd name="connsiteY85" fmla="*/ 340371 h 705948"/>
                  <a:gd name="connsiteX86" fmla="*/ 0 w 705986"/>
                  <a:gd name="connsiteY86" fmla="*/ 352974 h 705948"/>
                  <a:gd name="connsiteX87" fmla="*/ 325 w 705986"/>
                  <a:gd name="connsiteY87" fmla="*/ 365577 h 705948"/>
                  <a:gd name="connsiteX88" fmla="*/ 514 w 705986"/>
                  <a:gd name="connsiteY88" fmla="*/ 371878 h 705948"/>
                  <a:gd name="connsiteX89" fmla="*/ 993 w 705986"/>
                  <a:gd name="connsiteY89" fmla="*/ 378163 h 705948"/>
                  <a:gd name="connsiteX90" fmla="*/ 2021 w 705986"/>
                  <a:gd name="connsiteY90" fmla="*/ 390731 h 705948"/>
                  <a:gd name="connsiteX91" fmla="*/ 3613 w 705986"/>
                  <a:gd name="connsiteY91" fmla="*/ 403232 h 705948"/>
                  <a:gd name="connsiteX92" fmla="*/ 5651 w 705986"/>
                  <a:gd name="connsiteY92" fmla="*/ 415663 h 705948"/>
                  <a:gd name="connsiteX93" fmla="*/ 8065 w 705986"/>
                  <a:gd name="connsiteY93" fmla="*/ 428026 h 705948"/>
                  <a:gd name="connsiteX94" fmla="*/ 10891 w 705986"/>
                  <a:gd name="connsiteY94" fmla="*/ 440304 h 705948"/>
                  <a:gd name="connsiteX95" fmla="*/ 14298 w 705986"/>
                  <a:gd name="connsiteY95" fmla="*/ 452427 h 705948"/>
                  <a:gd name="connsiteX96" fmla="*/ 16045 w 705986"/>
                  <a:gd name="connsiteY96" fmla="*/ 458472 h 705948"/>
                  <a:gd name="connsiteX97" fmla="*/ 18065 w 705986"/>
                  <a:gd name="connsiteY97" fmla="*/ 464431 h 705948"/>
                  <a:gd name="connsiteX98" fmla="*/ 20086 w 705986"/>
                  <a:gd name="connsiteY98" fmla="*/ 470390 h 705948"/>
                  <a:gd name="connsiteX99" fmla="*/ 22209 w 705986"/>
                  <a:gd name="connsiteY99" fmla="*/ 476315 h 705948"/>
                  <a:gd name="connsiteX100" fmla="*/ 26833 w 705986"/>
                  <a:gd name="connsiteY100" fmla="*/ 488027 h 705948"/>
                  <a:gd name="connsiteX101" fmla="*/ 29315 w 705986"/>
                  <a:gd name="connsiteY101" fmla="*/ 493815 h 705948"/>
                  <a:gd name="connsiteX102" fmla="*/ 31918 w 705986"/>
                  <a:gd name="connsiteY102" fmla="*/ 499551 h 705948"/>
                  <a:gd name="connsiteX103" fmla="*/ 34504 w 705986"/>
                  <a:gd name="connsiteY103" fmla="*/ 505288 h 705948"/>
                  <a:gd name="connsiteX104" fmla="*/ 37346 w 705986"/>
                  <a:gd name="connsiteY104" fmla="*/ 510904 h 705948"/>
                  <a:gd name="connsiteX105" fmla="*/ 43134 w 705986"/>
                  <a:gd name="connsiteY105" fmla="*/ 522103 h 705948"/>
                  <a:gd name="connsiteX106" fmla="*/ 49419 w 705986"/>
                  <a:gd name="connsiteY106" fmla="*/ 533028 h 705948"/>
                  <a:gd name="connsiteX107" fmla="*/ 50994 w 705986"/>
                  <a:gd name="connsiteY107" fmla="*/ 535768 h 705948"/>
                  <a:gd name="connsiteX108" fmla="*/ 52689 w 705986"/>
                  <a:gd name="connsiteY108" fmla="*/ 538422 h 705948"/>
                  <a:gd name="connsiteX109" fmla="*/ 56097 w 705986"/>
                  <a:gd name="connsiteY109" fmla="*/ 543730 h 705948"/>
                  <a:gd name="connsiteX110" fmla="*/ 63083 w 705986"/>
                  <a:gd name="connsiteY110" fmla="*/ 554210 h 705948"/>
                  <a:gd name="connsiteX111" fmla="*/ 70395 w 705986"/>
                  <a:gd name="connsiteY111" fmla="*/ 564467 h 705948"/>
                  <a:gd name="connsiteX112" fmla="*/ 86303 w 705986"/>
                  <a:gd name="connsiteY112" fmla="*/ 584022 h 705948"/>
                  <a:gd name="connsiteX113" fmla="*/ 103409 w 705986"/>
                  <a:gd name="connsiteY113" fmla="*/ 602532 h 705948"/>
                  <a:gd name="connsiteX114" fmla="*/ 121920 w 705986"/>
                  <a:gd name="connsiteY114" fmla="*/ 619639 h 705948"/>
                  <a:gd name="connsiteX115" fmla="*/ 141475 w 705986"/>
                  <a:gd name="connsiteY115" fmla="*/ 635546 h 705948"/>
                  <a:gd name="connsiteX116" fmla="*/ 151732 w 705986"/>
                  <a:gd name="connsiteY116" fmla="*/ 642858 h 705948"/>
                  <a:gd name="connsiteX117" fmla="*/ 162211 w 705986"/>
                  <a:gd name="connsiteY117" fmla="*/ 649844 h 705948"/>
                  <a:gd name="connsiteX118" fmla="*/ 167520 w 705986"/>
                  <a:gd name="connsiteY118" fmla="*/ 653252 h 705948"/>
                  <a:gd name="connsiteX119" fmla="*/ 170174 w 705986"/>
                  <a:gd name="connsiteY119" fmla="*/ 654947 h 705948"/>
                  <a:gd name="connsiteX120" fmla="*/ 172913 w 705986"/>
                  <a:gd name="connsiteY120" fmla="*/ 656523 h 705948"/>
                  <a:gd name="connsiteX121" fmla="*/ 183838 w 705986"/>
                  <a:gd name="connsiteY121" fmla="*/ 662807 h 705948"/>
                  <a:gd name="connsiteX122" fmla="*/ 195037 w 705986"/>
                  <a:gd name="connsiteY122" fmla="*/ 668595 h 705948"/>
                  <a:gd name="connsiteX123" fmla="*/ 200654 w 705986"/>
                  <a:gd name="connsiteY123" fmla="*/ 671437 h 705948"/>
                  <a:gd name="connsiteX124" fmla="*/ 206390 w 705986"/>
                  <a:gd name="connsiteY124" fmla="*/ 674023 h 705948"/>
                  <a:gd name="connsiteX125" fmla="*/ 212126 w 705986"/>
                  <a:gd name="connsiteY125" fmla="*/ 676626 h 705948"/>
                  <a:gd name="connsiteX126" fmla="*/ 217914 w 705986"/>
                  <a:gd name="connsiteY126" fmla="*/ 679108 h 705948"/>
                  <a:gd name="connsiteX127" fmla="*/ 229627 w 705986"/>
                  <a:gd name="connsiteY127" fmla="*/ 683732 h 705948"/>
                  <a:gd name="connsiteX128" fmla="*/ 235551 w 705986"/>
                  <a:gd name="connsiteY128" fmla="*/ 685855 h 705948"/>
                  <a:gd name="connsiteX129" fmla="*/ 241510 w 705986"/>
                  <a:gd name="connsiteY129" fmla="*/ 687876 h 705948"/>
                  <a:gd name="connsiteX130" fmla="*/ 247469 w 705986"/>
                  <a:gd name="connsiteY130" fmla="*/ 689896 h 705948"/>
                  <a:gd name="connsiteX131" fmla="*/ 253514 w 705986"/>
                  <a:gd name="connsiteY131" fmla="*/ 691643 h 705948"/>
                  <a:gd name="connsiteX132" fmla="*/ 265637 w 705986"/>
                  <a:gd name="connsiteY132" fmla="*/ 695050 h 705948"/>
                  <a:gd name="connsiteX133" fmla="*/ 277915 w 705986"/>
                  <a:gd name="connsiteY133" fmla="*/ 697876 h 705948"/>
                  <a:gd name="connsiteX134" fmla="*/ 290278 w 705986"/>
                  <a:gd name="connsiteY134" fmla="*/ 700290 h 705948"/>
                  <a:gd name="connsiteX135" fmla="*/ 302710 w 705986"/>
                  <a:gd name="connsiteY135" fmla="*/ 702328 h 705948"/>
                  <a:gd name="connsiteX136" fmla="*/ 499596 w 705986"/>
                  <a:gd name="connsiteY136" fmla="*/ 674040 h 705948"/>
                  <a:gd name="connsiteX137" fmla="*/ 505333 w 705986"/>
                  <a:gd name="connsiteY137" fmla="*/ 671454 h 705948"/>
                  <a:gd name="connsiteX138" fmla="*/ 510949 w 705986"/>
                  <a:gd name="connsiteY138" fmla="*/ 668612 h 705948"/>
                  <a:gd name="connsiteX139" fmla="*/ 522148 w 705986"/>
                  <a:gd name="connsiteY139" fmla="*/ 662824 h 705948"/>
                  <a:gd name="connsiteX140" fmla="*/ 533073 w 705986"/>
                  <a:gd name="connsiteY140" fmla="*/ 656540 h 705948"/>
                  <a:gd name="connsiteX141" fmla="*/ 535813 w 705986"/>
                  <a:gd name="connsiteY141" fmla="*/ 654964 h 705948"/>
                  <a:gd name="connsiteX142" fmla="*/ 538467 w 705986"/>
                  <a:gd name="connsiteY142" fmla="*/ 653269 h 705948"/>
                  <a:gd name="connsiteX143" fmla="*/ 543775 w 705986"/>
                  <a:gd name="connsiteY143" fmla="*/ 649862 h 705948"/>
                  <a:gd name="connsiteX144" fmla="*/ 554255 w 705986"/>
                  <a:gd name="connsiteY144" fmla="*/ 642875 h 705948"/>
                  <a:gd name="connsiteX145" fmla="*/ 564512 w 705986"/>
                  <a:gd name="connsiteY145" fmla="*/ 635563 h 705948"/>
                  <a:gd name="connsiteX146" fmla="*/ 584067 w 705986"/>
                  <a:gd name="connsiteY146" fmla="*/ 619656 h 705948"/>
                  <a:gd name="connsiteX147" fmla="*/ 602577 w 705986"/>
                  <a:gd name="connsiteY147" fmla="*/ 602549 h 705948"/>
                  <a:gd name="connsiteX148" fmla="*/ 619684 w 705986"/>
                  <a:gd name="connsiteY148" fmla="*/ 584039 h 705948"/>
                  <a:gd name="connsiteX149" fmla="*/ 635591 w 705986"/>
                  <a:gd name="connsiteY149" fmla="*/ 564484 h 705948"/>
                  <a:gd name="connsiteX150" fmla="*/ 642903 w 705986"/>
                  <a:gd name="connsiteY150" fmla="*/ 554227 h 705948"/>
                  <a:gd name="connsiteX151" fmla="*/ 649890 w 705986"/>
                  <a:gd name="connsiteY151" fmla="*/ 543747 h 705948"/>
                  <a:gd name="connsiteX152" fmla="*/ 653297 w 705986"/>
                  <a:gd name="connsiteY152" fmla="*/ 538439 h 705948"/>
                  <a:gd name="connsiteX153" fmla="*/ 654992 w 705986"/>
                  <a:gd name="connsiteY153" fmla="*/ 535785 h 705948"/>
                  <a:gd name="connsiteX154" fmla="*/ 656568 w 705986"/>
                  <a:gd name="connsiteY154" fmla="*/ 533045 h 705948"/>
                  <a:gd name="connsiteX155" fmla="*/ 662852 w 705986"/>
                  <a:gd name="connsiteY155" fmla="*/ 522120 h 705948"/>
                  <a:gd name="connsiteX156" fmla="*/ 668640 w 705986"/>
                  <a:gd name="connsiteY156" fmla="*/ 510921 h 705948"/>
                  <a:gd name="connsiteX157" fmla="*/ 671482 w 705986"/>
                  <a:gd name="connsiteY157" fmla="*/ 505305 h 705948"/>
                  <a:gd name="connsiteX158" fmla="*/ 674068 w 705986"/>
                  <a:gd name="connsiteY158" fmla="*/ 499568 h 705948"/>
                  <a:gd name="connsiteX159" fmla="*/ 676671 w 705986"/>
                  <a:gd name="connsiteY159" fmla="*/ 493832 h 705948"/>
                  <a:gd name="connsiteX160" fmla="*/ 679154 w 705986"/>
                  <a:gd name="connsiteY160" fmla="*/ 488044 h 705948"/>
                  <a:gd name="connsiteX161" fmla="*/ 683777 w 705986"/>
                  <a:gd name="connsiteY161" fmla="*/ 476332 h 705948"/>
                  <a:gd name="connsiteX162" fmla="*/ 685900 w 705986"/>
                  <a:gd name="connsiteY162" fmla="*/ 470407 h 705948"/>
                  <a:gd name="connsiteX163" fmla="*/ 687921 w 705986"/>
                  <a:gd name="connsiteY163" fmla="*/ 464448 h 705948"/>
                  <a:gd name="connsiteX164" fmla="*/ 689942 w 705986"/>
                  <a:gd name="connsiteY164" fmla="*/ 458489 h 705948"/>
                  <a:gd name="connsiteX165" fmla="*/ 691688 w 705986"/>
                  <a:gd name="connsiteY165" fmla="*/ 452445 h 705948"/>
                  <a:gd name="connsiteX166" fmla="*/ 695096 w 705986"/>
                  <a:gd name="connsiteY166" fmla="*/ 440321 h 705948"/>
                  <a:gd name="connsiteX167" fmla="*/ 697921 w 705986"/>
                  <a:gd name="connsiteY167" fmla="*/ 428044 h 705948"/>
                  <a:gd name="connsiteX168" fmla="*/ 700336 w 705986"/>
                  <a:gd name="connsiteY168" fmla="*/ 415680 h 705948"/>
                  <a:gd name="connsiteX169" fmla="*/ 702373 w 705986"/>
                  <a:gd name="connsiteY169" fmla="*/ 403249 h 705948"/>
                  <a:gd name="connsiteX170" fmla="*/ 703966 w 705986"/>
                  <a:gd name="connsiteY170" fmla="*/ 390749 h 705948"/>
                  <a:gd name="connsiteX171" fmla="*/ 704993 w 705986"/>
                  <a:gd name="connsiteY171" fmla="*/ 378180 h 705948"/>
                  <a:gd name="connsiteX172" fmla="*/ 705473 w 705986"/>
                  <a:gd name="connsiteY172" fmla="*/ 371896 h 705948"/>
                  <a:gd name="connsiteX173" fmla="*/ 705661 w 705986"/>
                  <a:gd name="connsiteY173" fmla="*/ 365594 h 705948"/>
                  <a:gd name="connsiteX174" fmla="*/ 705986 w 705986"/>
                  <a:gd name="connsiteY174" fmla="*/ 352991 h 705948"/>
                  <a:gd name="connsiteX175" fmla="*/ 705661 w 705986"/>
                  <a:gd name="connsiteY175" fmla="*/ 340388 h 705948"/>
                  <a:gd name="connsiteX176" fmla="*/ 705473 w 705986"/>
                  <a:gd name="connsiteY176" fmla="*/ 334087 h 705948"/>
                  <a:gd name="connsiteX177" fmla="*/ 670866 w 705986"/>
                  <a:gd name="connsiteY177" fmla="*/ 364344 h 705948"/>
                  <a:gd name="connsiteX178" fmla="*/ 670695 w 705986"/>
                  <a:gd name="connsiteY178" fmla="*/ 370029 h 705948"/>
                  <a:gd name="connsiteX179" fmla="*/ 670250 w 705986"/>
                  <a:gd name="connsiteY179" fmla="*/ 375697 h 705948"/>
                  <a:gd name="connsiteX180" fmla="*/ 669325 w 705986"/>
                  <a:gd name="connsiteY180" fmla="*/ 387033 h 705948"/>
                  <a:gd name="connsiteX181" fmla="*/ 667886 w 705986"/>
                  <a:gd name="connsiteY181" fmla="*/ 398300 h 705948"/>
                  <a:gd name="connsiteX182" fmla="*/ 666037 w 705986"/>
                  <a:gd name="connsiteY182" fmla="*/ 409499 h 705948"/>
                  <a:gd name="connsiteX183" fmla="*/ 663862 w 705986"/>
                  <a:gd name="connsiteY183" fmla="*/ 420629 h 705948"/>
                  <a:gd name="connsiteX184" fmla="*/ 661311 w 705986"/>
                  <a:gd name="connsiteY184" fmla="*/ 431691 h 705948"/>
                  <a:gd name="connsiteX185" fmla="*/ 658246 w 705986"/>
                  <a:gd name="connsiteY185" fmla="*/ 442616 h 705948"/>
                  <a:gd name="connsiteX186" fmla="*/ 656688 w 705986"/>
                  <a:gd name="connsiteY186" fmla="*/ 448061 h 705948"/>
                  <a:gd name="connsiteX187" fmla="*/ 654855 w 705986"/>
                  <a:gd name="connsiteY187" fmla="*/ 453438 h 705948"/>
                  <a:gd name="connsiteX188" fmla="*/ 653040 w 705986"/>
                  <a:gd name="connsiteY188" fmla="*/ 458815 h 705948"/>
                  <a:gd name="connsiteX189" fmla="*/ 651140 w 705986"/>
                  <a:gd name="connsiteY189" fmla="*/ 464157 h 705948"/>
                  <a:gd name="connsiteX190" fmla="*/ 646979 w 705986"/>
                  <a:gd name="connsiteY190" fmla="*/ 474705 h 705948"/>
                  <a:gd name="connsiteX191" fmla="*/ 644736 w 705986"/>
                  <a:gd name="connsiteY191" fmla="*/ 479911 h 705948"/>
                  <a:gd name="connsiteX192" fmla="*/ 642390 w 705986"/>
                  <a:gd name="connsiteY192" fmla="*/ 485082 h 705948"/>
                  <a:gd name="connsiteX193" fmla="*/ 640061 w 705986"/>
                  <a:gd name="connsiteY193" fmla="*/ 490253 h 705948"/>
                  <a:gd name="connsiteX194" fmla="*/ 637492 w 705986"/>
                  <a:gd name="connsiteY194" fmla="*/ 495322 h 705948"/>
                  <a:gd name="connsiteX195" fmla="*/ 632287 w 705986"/>
                  <a:gd name="connsiteY195" fmla="*/ 505408 h 705948"/>
                  <a:gd name="connsiteX196" fmla="*/ 626619 w 705986"/>
                  <a:gd name="connsiteY196" fmla="*/ 515254 h 705948"/>
                  <a:gd name="connsiteX197" fmla="*/ 625215 w 705986"/>
                  <a:gd name="connsiteY197" fmla="*/ 517719 h 705948"/>
                  <a:gd name="connsiteX198" fmla="*/ 623691 w 705986"/>
                  <a:gd name="connsiteY198" fmla="*/ 520117 h 705948"/>
                  <a:gd name="connsiteX199" fmla="*/ 620626 w 705986"/>
                  <a:gd name="connsiteY199" fmla="*/ 524894 h 705948"/>
                  <a:gd name="connsiteX200" fmla="*/ 614324 w 705986"/>
                  <a:gd name="connsiteY200" fmla="*/ 534346 h 705948"/>
                  <a:gd name="connsiteX201" fmla="*/ 607731 w 705986"/>
                  <a:gd name="connsiteY201" fmla="*/ 543610 h 705948"/>
                  <a:gd name="connsiteX202" fmla="*/ 593382 w 705986"/>
                  <a:gd name="connsiteY202" fmla="*/ 561247 h 705948"/>
                  <a:gd name="connsiteX203" fmla="*/ 577971 w 705986"/>
                  <a:gd name="connsiteY203" fmla="*/ 577960 h 705948"/>
                  <a:gd name="connsiteX204" fmla="*/ 561258 w 705986"/>
                  <a:gd name="connsiteY204" fmla="*/ 593371 h 705948"/>
                  <a:gd name="connsiteX205" fmla="*/ 543621 w 705986"/>
                  <a:gd name="connsiteY205" fmla="*/ 607721 h 705948"/>
                  <a:gd name="connsiteX206" fmla="*/ 534357 w 705986"/>
                  <a:gd name="connsiteY206" fmla="*/ 614313 h 705948"/>
                  <a:gd name="connsiteX207" fmla="*/ 524905 w 705986"/>
                  <a:gd name="connsiteY207" fmla="*/ 620615 h 705948"/>
                  <a:gd name="connsiteX208" fmla="*/ 520127 w 705986"/>
                  <a:gd name="connsiteY208" fmla="*/ 623680 h 705948"/>
                  <a:gd name="connsiteX209" fmla="*/ 517730 w 705986"/>
                  <a:gd name="connsiteY209" fmla="*/ 625204 h 705948"/>
                  <a:gd name="connsiteX210" fmla="*/ 515264 w 705986"/>
                  <a:gd name="connsiteY210" fmla="*/ 626608 h 705948"/>
                  <a:gd name="connsiteX211" fmla="*/ 505418 w 705986"/>
                  <a:gd name="connsiteY211" fmla="*/ 632276 h 705948"/>
                  <a:gd name="connsiteX212" fmla="*/ 495333 w 705986"/>
                  <a:gd name="connsiteY212" fmla="*/ 637481 h 705948"/>
                  <a:gd name="connsiteX213" fmla="*/ 490264 w 705986"/>
                  <a:gd name="connsiteY213" fmla="*/ 640050 h 705948"/>
                  <a:gd name="connsiteX214" fmla="*/ 485093 w 705986"/>
                  <a:gd name="connsiteY214" fmla="*/ 642378 h 705948"/>
                  <a:gd name="connsiteX215" fmla="*/ 479921 w 705986"/>
                  <a:gd name="connsiteY215" fmla="*/ 644725 h 705948"/>
                  <a:gd name="connsiteX216" fmla="*/ 474716 w 705986"/>
                  <a:gd name="connsiteY216" fmla="*/ 646968 h 705948"/>
                  <a:gd name="connsiteX217" fmla="*/ 464168 w 705986"/>
                  <a:gd name="connsiteY217" fmla="*/ 651129 h 705948"/>
                  <a:gd name="connsiteX218" fmla="*/ 458825 w 705986"/>
                  <a:gd name="connsiteY218" fmla="*/ 653029 h 705948"/>
                  <a:gd name="connsiteX219" fmla="*/ 453448 w 705986"/>
                  <a:gd name="connsiteY219" fmla="*/ 654844 h 705948"/>
                  <a:gd name="connsiteX220" fmla="*/ 448072 w 705986"/>
                  <a:gd name="connsiteY220" fmla="*/ 656677 h 705948"/>
                  <a:gd name="connsiteX221" fmla="*/ 442626 w 705986"/>
                  <a:gd name="connsiteY221" fmla="*/ 658235 h 705948"/>
                  <a:gd name="connsiteX222" fmla="*/ 431702 w 705986"/>
                  <a:gd name="connsiteY222" fmla="*/ 661300 h 705948"/>
                  <a:gd name="connsiteX223" fmla="*/ 420640 w 705986"/>
                  <a:gd name="connsiteY223" fmla="*/ 663851 h 705948"/>
                  <a:gd name="connsiteX224" fmla="*/ 409509 w 705986"/>
                  <a:gd name="connsiteY224" fmla="*/ 666026 h 705948"/>
                  <a:gd name="connsiteX225" fmla="*/ 398311 w 705986"/>
                  <a:gd name="connsiteY225" fmla="*/ 667875 h 705948"/>
                  <a:gd name="connsiteX226" fmla="*/ 387043 w 705986"/>
                  <a:gd name="connsiteY226" fmla="*/ 669314 h 705948"/>
                  <a:gd name="connsiteX227" fmla="*/ 375708 w 705986"/>
                  <a:gd name="connsiteY227" fmla="*/ 670238 h 705948"/>
                  <a:gd name="connsiteX228" fmla="*/ 370040 w 705986"/>
                  <a:gd name="connsiteY228" fmla="*/ 670684 h 705948"/>
                  <a:gd name="connsiteX229" fmla="*/ 364355 w 705986"/>
                  <a:gd name="connsiteY229" fmla="*/ 670855 h 705948"/>
                  <a:gd name="connsiteX230" fmla="*/ 352968 w 705986"/>
                  <a:gd name="connsiteY230" fmla="*/ 671163 h 705948"/>
                  <a:gd name="connsiteX231" fmla="*/ 341580 w 705986"/>
                  <a:gd name="connsiteY231" fmla="*/ 670855 h 705948"/>
                  <a:gd name="connsiteX232" fmla="*/ 335895 w 705986"/>
                  <a:gd name="connsiteY232" fmla="*/ 670684 h 705948"/>
                  <a:gd name="connsiteX233" fmla="*/ 330227 w 705986"/>
                  <a:gd name="connsiteY233" fmla="*/ 670238 h 705948"/>
                  <a:gd name="connsiteX234" fmla="*/ 318892 w 705986"/>
                  <a:gd name="connsiteY234" fmla="*/ 669314 h 705948"/>
                  <a:gd name="connsiteX235" fmla="*/ 307624 w 705986"/>
                  <a:gd name="connsiteY235" fmla="*/ 667875 h 705948"/>
                  <a:gd name="connsiteX236" fmla="*/ 296426 w 705986"/>
                  <a:gd name="connsiteY236" fmla="*/ 666026 h 705948"/>
                  <a:gd name="connsiteX237" fmla="*/ 285295 w 705986"/>
                  <a:gd name="connsiteY237" fmla="*/ 663851 h 705948"/>
                  <a:gd name="connsiteX238" fmla="*/ 274234 w 705986"/>
                  <a:gd name="connsiteY238" fmla="*/ 661300 h 705948"/>
                  <a:gd name="connsiteX239" fmla="*/ 263309 w 705986"/>
                  <a:gd name="connsiteY239" fmla="*/ 658235 h 705948"/>
                  <a:gd name="connsiteX240" fmla="*/ 257863 w 705986"/>
                  <a:gd name="connsiteY240" fmla="*/ 656677 h 705948"/>
                  <a:gd name="connsiteX241" fmla="*/ 252487 w 705986"/>
                  <a:gd name="connsiteY241" fmla="*/ 654844 h 705948"/>
                  <a:gd name="connsiteX242" fmla="*/ 247110 w 705986"/>
                  <a:gd name="connsiteY242" fmla="*/ 653029 h 705948"/>
                  <a:gd name="connsiteX243" fmla="*/ 241767 w 705986"/>
                  <a:gd name="connsiteY243" fmla="*/ 651129 h 705948"/>
                  <a:gd name="connsiteX244" fmla="*/ 231219 w 705986"/>
                  <a:gd name="connsiteY244" fmla="*/ 646968 h 705948"/>
                  <a:gd name="connsiteX245" fmla="*/ 226014 w 705986"/>
                  <a:gd name="connsiteY245" fmla="*/ 644725 h 705948"/>
                  <a:gd name="connsiteX246" fmla="*/ 220842 w 705986"/>
                  <a:gd name="connsiteY246" fmla="*/ 642378 h 705948"/>
                  <a:gd name="connsiteX247" fmla="*/ 215671 w 705986"/>
                  <a:gd name="connsiteY247" fmla="*/ 640050 h 705948"/>
                  <a:gd name="connsiteX248" fmla="*/ 210602 w 705986"/>
                  <a:gd name="connsiteY248" fmla="*/ 637481 h 705948"/>
                  <a:gd name="connsiteX249" fmla="*/ 200517 w 705986"/>
                  <a:gd name="connsiteY249" fmla="*/ 632276 h 705948"/>
                  <a:gd name="connsiteX250" fmla="*/ 190671 w 705986"/>
                  <a:gd name="connsiteY250" fmla="*/ 626608 h 705948"/>
                  <a:gd name="connsiteX251" fmla="*/ 188205 w 705986"/>
                  <a:gd name="connsiteY251" fmla="*/ 625204 h 705948"/>
                  <a:gd name="connsiteX252" fmla="*/ 185808 w 705986"/>
                  <a:gd name="connsiteY252" fmla="*/ 623680 h 705948"/>
                  <a:gd name="connsiteX253" fmla="*/ 181030 w 705986"/>
                  <a:gd name="connsiteY253" fmla="*/ 620615 h 705948"/>
                  <a:gd name="connsiteX254" fmla="*/ 171578 w 705986"/>
                  <a:gd name="connsiteY254" fmla="*/ 614313 h 705948"/>
                  <a:gd name="connsiteX255" fmla="*/ 162314 w 705986"/>
                  <a:gd name="connsiteY255" fmla="*/ 607721 h 705948"/>
                  <a:gd name="connsiteX256" fmla="*/ 144677 w 705986"/>
                  <a:gd name="connsiteY256" fmla="*/ 593371 h 705948"/>
                  <a:gd name="connsiteX257" fmla="*/ 127964 w 705986"/>
                  <a:gd name="connsiteY257" fmla="*/ 577960 h 705948"/>
                  <a:gd name="connsiteX258" fmla="*/ 112553 w 705986"/>
                  <a:gd name="connsiteY258" fmla="*/ 561247 h 705948"/>
                  <a:gd name="connsiteX259" fmla="*/ 98203 w 705986"/>
                  <a:gd name="connsiteY259" fmla="*/ 543610 h 705948"/>
                  <a:gd name="connsiteX260" fmla="*/ 91611 w 705986"/>
                  <a:gd name="connsiteY260" fmla="*/ 534346 h 705948"/>
                  <a:gd name="connsiteX261" fmla="*/ 85309 w 705986"/>
                  <a:gd name="connsiteY261" fmla="*/ 524894 h 705948"/>
                  <a:gd name="connsiteX262" fmla="*/ 82244 w 705986"/>
                  <a:gd name="connsiteY262" fmla="*/ 520117 h 705948"/>
                  <a:gd name="connsiteX263" fmla="*/ 80720 w 705986"/>
                  <a:gd name="connsiteY263" fmla="*/ 517719 h 705948"/>
                  <a:gd name="connsiteX264" fmla="*/ 79316 w 705986"/>
                  <a:gd name="connsiteY264" fmla="*/ 515254 h 705948"/>
                  <a:gd name="connsiteX265" fmla="*/ 73648 w 705986"/>
                  <a:gd name="connsiteY265" fmla="*/ 505408 h 705948"/>
                  <a:gd name="connsiteX266" fmla="*/ 68443 w 705986"/>
                  <a:gd name="connsiteY266" fmla="*/ 495322 h 705948"/>
                  <a:gd name="connsiteX267" fmla="*/ 65874 w 705986"/>
                  <a:gd name="connsiteY267" fmla="*/ 490253 h 705948"/>
                  <a:gd name="connsiteX268" fmla="*/ 63545 w 705986"/>
                  <a:gd name="connsiteY268" fmla="*/ 485082 h 705948"/>
                  <a:gd name="connsiteX269" fmla="*/ 61200 w 705986"/>
                  <a:gd name="connsiteY269" fmla="*/ 479911 h 705948"/>
                  <a:gd name="connsiteX270" fmla="*/ 58956 w 705986"/>
                  <a:gd name="connsiteY270" fmla="*/ 474705 h 705948"/>
                  <a:gd name="connsiteX271" fmla="*/ 54795 w 705986"/>
                  <a:gd name="connsiteY271" fmla="*/ 464157 h 705948"/>
                  <a:gd name="connsiteX272" fmla="*/ 52895 w 705986"/>
                  <a:gd name="connsiteY272" fmla="*/ 458815 h 705948"/>
                  <a:gd name="connsiteX273" fmla="*/ 51080 w 705986"/>
                  <a:gd name="connsiteY273" fmla="*/ 453438 h 705948"/>
                  <a:gd name="connsiteX274" fmla="*/ 49247 w 705986"/>
                  <a:gd name="connsiteY274" fmla="*/ 448061 h 705948"/>
                  <a:gd name="connsiteX275" fmla="*/ 47689 w 705986"/>
                  <a:gd name="connsiteY275" fmla="*/ 442616 h 705948"/>
                  <a:gd name="connsiteX276" fmla="*/ 44624 w 705986"/>
                  <a:gd name="connsiteY276" fmla="*/ 431691 h 705948"/>
                  <a:gd name="connsiteX277" fmla="*/ 42073 w 705986"/>
                  <a:gd name="connsiteY277" fmla="*/ 420629 h 705948"/>
                  <a:gd name="connsiteX278" fmla="*/ 39898 w 705986"/>
                  <a:gd name="connsiteY278" fmla="*/ 409499 h 705948"/>
                  <a:gd name="connsiteX279" fmla="*/ 38048 w 705986"/>
                  <a:gd name="connsiteY279" fmla="*/ 398300 h 705948"/>
                  <a:gd name="connsiteX280" fmla="*/ 36610 w 705986"/>
                  <a:gd name="connsiteY280" fmla="*/ 387033 h 705948"/>
                  <a:gd name="connsiteX281" fmla="*/ 35686 w 705986"/>
                  <a:gd name="connsiteY281" fmla="*/ 375697 h 705948"/>
                  <a:gd name="connsiteX282" fmla="*/ 35240 w 705986"/>
                  <a:gd name="connsiteY282" fmla="*/ 370029 h 705948"/>
                  <a:gd name="connsiteX283" fmla="*/ 35069 w 705986"/>
                  <a:gd name="connsiteY283" fmla="*/ 364344 h 705948"/>
                  <a:gd name="connsiteX284" fmla="*/ 34761 w 705986"/>
                  <a:gd name="connsiteY284" fmla="*/ 352957 h 705948"/>
                  <a:gd name="connsiteX285" fmla="*/ 35069 w 705986"/>
                  <a:gd name="connsiteY285" fmla="*/ 341570 h 705948"/>
                  <a:gd name="connsiteX286" fmla="*/ 35240 w 705986"/>
                  <a:gd name="connsiteY286" fmla="*/ 335885 h 705948"/>
                  <a:gd name="connsiteX287" fmla="*/ 35686 w 705986"/>
                  <a:gd name="connsiteY287" fmla="*/ 330217 h 705948"/>
                  <a:gd name="connsiteX288" fmla="*/ 36610 w 705986"/>
                  <a:gd name="connsiteY288" fmla="*/ 318881 h 705948"/>
                  <a:gd name="connsiteX289" fmla="*/ 38048 w 705986"/>
                  <a:gd name="connsiteY289" fmla="*/ 307614 h 705948"/>
                  <a:gd name="connsiteX290" fmla="*/ 39898 w 705986"/>
                  <a:gd name="connsiteY290" fmla="*/ 296415 h 705948"/>
                  <a:gd name="connsiteX291" fmla="*/ 42073 w 705986"/>
                  <a:gd name="connsiteY291" fmla="*/ 285285 h 705948"/>
                  <a:gd name="connsiteX292" fmla="*/ 44624 w 705986"/>
                  <a:gd name="connsiteY292" fmla="*/ 274223 h 705948"/>
                  <a:gd name="connsiteX293" fmla="*/ 47689 w 705986"/>
                  <a:gd name="connsiteY293" fmla="*/ 263298 h 705948"/>
                  <a:gd name="connsiteX294" fmla="*/ 49247 w 705986"/>
                  <a:gd name="connsiteY294" fmla="*/ 257853 h 705948"/>
                  <a:gd name="connsiteX295" fmla="*/ 51080 w 705986"/>
                  <a:gd name="connsiteY295" fmla="*/ 252476 h 705948"/>
                  <a:gd name="connsiteX296" fmla="*/ 52895 w 705986"/>
                  <a:gd name="connsiteY296" fmla="*/ 247099 h 705948"/>
                  <a:gd name="connsiteX297" fmla="*/ 54795 w 705986"/>
                  <a:gd name="connsiteY297" fmla="*/ 241757 h 705948"/>
                  <a:gd name="connsiteX298" fmla="*/ 58956 w 705986"/>
                  <a:gd name="connsiteY298" fmla="*/ 231209 h 705948"/>
                  <a:gd name="connsiteX299" fmla="*/ 61200 w 705986"/>
                  <a:gd name="connsiteY299" fmla="*/ 226003 h 705948"/>
                  <a:gd name="connsiteX300" fmla="*/ 63545 w 705986"/>
                  <a:gd name="connsiteY300" fmla="*/ 220832 h 705948"/>
                  <a:gd name="connsiteX301" fmla="*/ 65874 w 705986"/>
                  <a:gd name="connsiteY301" fmla="*/ 215661 h 705948"/>
                  <a:gd name="connsiteX302" fmla="*/ 68443 w 705986"/>
                  <a:gd name="connsiteY302" fmla="*/ 210592 h 705948"/>
                  <a:gd name="connsiteX303" fmla="*/ 73648 w 705986"/>
                  <a:gd name="connsiteY303" fmla="*/ 200506 h 705948"/>
                  <a:gd name="connsiteX304" fmla="*/ 79316 w 705986"/>
                  <a:gd name="connsiteY304" fmla="*/ 190660 h 705948"/>
                  <a:gd name="connsiteX305" fmla="*/ 80720 w 705986"/>
                  <a:gd name="connsiteY305" fmla="*/ 188195 h 705948"/>
                  <a:gd name="connsiteX306" fmla="*/ 82244 w 705986"/>
                  <a:gd name="connsiteY306" fmla="*/ 185797 h 705948"/>
                  <a:gd name="connsiteX307" fmla="*/ 85309 w 705986"/>
                  <a:gd name="connsiteY307" fmla="*/ 181020 h 705948"/>
                  <a:gd name="connsiteX308" fmla="*/ 91611 w 705986"/>
                  <a:gd name="connsiteY308" fmla="*/ 171568 h 705948"/>
                  <a:gd name="connsiteX309" fmla="*/ 98203 w 705986"/>
                  <a:gd name="connsiteY309" fmla="*/ 162304 h 705948"/>
                  <a:gd name="connsiteX310" fmla="*/ 112553 w 705986"/>
                  <a:gd name="connsiteY310" fmla="*/ 144667 h 705948"/>
                  <a:gd name="connsiteX311" fmla="*/ 127964 w 705986"/>
                  <a:gd name="connsiteY311" fmla="*/ 127954 h 705948"/>
                  <a:gd name="connsiteX312" fmla="*/ 144677 w 705986"/>
                  <a:gd name="connsiteY312" fmla="*/ 112543 h 705948"/>
                  <a:gd name="connsiteX313" fmla="*/ 162314 w 705986"/>
                  <a:gd name="connsiteY313" fmla="*/ 98193 h 705948"/>
                  <a:gd name="connsiteX314" fmla="*/ 171578 w 705986"/>
                  <a:gd name="connsiteY314" fmla="*/ 91601 h 705948"/>
                  <a:gd name="connsiteX315" fmla="*/ 181030 w 705986"/>
                  <a:gd name="connsiteY315" fmla="*/ 85299 h 705948"/>
                  <a:gd name="connsiteX316" fmla="*/ 185808 w 705986"/>
                  <a:gd name="connsiteY316" fmla="*/ 82234 h 705948"/>
                  <a:gd name="connsiteX317" fmla="*/ 188205 w 705986"/>
                  <a:gd name="connsiteY317" fmla="*/ 80710 h 705948"/>
                  <a:gd name="connsiteX318" fmla="*/ 190671 w 705986"/>
                  <a:gd name="connsiteY318" fmla="*/ 79306 h 705948"/>
                  <a:gd name="connsiteX319" fmla="*/ 200517 w 705986"/>
                  <a:gd name="connsiteY319" fmla="*/ 73638 h 705948"/>
                  <a:gd name="connsiteX320" fmla="*/ 210602 w 705986"/>
                  <a:gd name="connsiteY320" fmla="*/ 68433 h 705948"/>
                  <a:gd name="connsiteX321" fmla="*/ 215671 w 705986"/>
                  <a:gd name="connsiteY321" fmla="*/ 65864 h 705948"/>
                  <a:gd name="connsiteX322" fmla="*/ 220842 w 705986"/>
                  <a:gd name="connsiteY322" fmla="*/ 63535 h 705948"/>
                  <a:gd name="connsiteX323" fmla="*/ 226014 w 705986"/>
                  <a:gd name="connsiteY323" fmla="*/ 61190 h 705948"/>
                  <a:gd name="connsiteX324" fmla="*/ 231219 w 705986"/>
                  <a:gd name="connsiteY324" fmla="*/ 58946 h 705948"/>
                  <a:gd name="connsiteX325" fmla="*/ 241767 w 705986"/>
                  <a:gd name="connsiteY325" fmla="*/ 54785 h 705948"/>
                  <a:gd name="connsiteX326" fmla="*/ 247110 w 705986"/>
                  <a:gd name="connsiteY326" fmla="*/ 52885 h 705948"/>
                  <a:gd name="connsiteX327" fmla="*/ 252487 w 705986"/>
                  <a:gd name="connsiteY327" fmla="*/ 51070 h 705948"/>
                  <a:gd name="connsiteX328" fmla="*/ 257863 w 705986"/>
                  <a:gd name="connsiteY328" fmla="*/ 49237 h 705948"/>
                  <a:gd name="connsiteX329" fmla="*/ 263309 w 705986"/>
                  <a:gd name="connsiteY329" fmla="*/ 47679 h 705948"/>
                  <a:gd name="connsiteX330" fmla="*/ 274234 w 705986"/>
                  <a:gd name="connsiteY330" fmla="*/ 44614 h 705948"/>
                  <a:gd name="connsiteX331" fmla="*/ 285295 w 705986"/>
                  <a:gd name="connsiteY331" fmla="*/ 42063 h 705948"/>
                  <a:gd name="connsiteX332" fmla="*/ 296426 w 705986"/>
                  <a:gd name="connsiteY332" fmla="*/ 39888 h 705948"/>
                  <a:gd name="connsiteX333" fmla="*/ 307624 w 705986"/>
                  <a:gd name="connsiteY333" fmla="*/ 38039 h 705948"/>
                  <a:gd name="connsiteX334" fmla="*/ 318892 w 705986"/>
                  <a:gd name="connsiteY334" fmla="*/ 36600 h 705948"/>
                  <a:gd name="connsiteX335" fmla="*/ 330227 w 705986"/>
                  <a:gd name="connsiteY335" fmla="*/ 35675 h 705948"/>
                  <a:gd name="connsiteX336" fmla="*/ 335895 w 705986"/>
                  <a:gd name="connsiteY336" fmla="*/ 35230 h 705948"/>
                  <a:gd name="connsiteX337" fmla="*/ 341580 w 705986"/>
                  <a:gd name="connsiteY337" fmla="*/ 35059 h 705948"/>
                  <a:gd name="connsiteX338" fmla="*/ 352968 w 705986"/>
                  <a:gd name="connsiteY338" fmla="*/ 34751 h 705948"/>
                  <a:gd name="connsiteX339" fmla="*/ 364355 w 705986"/>
                  <a:gd name="connsiteY339" fmla="*/ 35059 h 705948"/>
                  <a:gd name="connsiteX340" fmla="*/ 370040 w 705986"/>
                  <a:gd name="connsiteY340" fmla="*/ 35230 h 705948"/>
                  <a:gd name="connsiteX341" fmla="*/ 375708 w 705986"/>
                  <a:gd name="connsiteY341" fmla="*/ 35675 h 705948"/>
                  <a:gd name="connsiteX342" fmla="*/ 387043 w 705986"/>
                  <a:gd name="connsiteY342" fmla="*/ 36600 h 705948"/>
                  <a:gd name="connsiteX343" fmla="*/ 398311 w 705986"/>
                  <a:gd name="connsiteY343" fmla="*/ 38039 h 705948"/>
                  <a:gd name="connsiteX344" fmla="*/ 409509 w 705986"/>
                  <a:gd name="connsiteY344" fmla="*/ 39888 h 705948"/>
                  <a:gd name="connsiteX345" fmla="*/ 420640 w 705986"/>
                  <a:gd name="connsiteY345" fmla="*/ 42063 h 705948"/>
                  <a:gd name="connsiteX346" fmla="*/ 431702 w 705986"/>
                  <a:gd name="connsiteY346" fmla="*/ 44614 h 705948"/>
                  <a:gd name="connsiteX347" fmla="*/ 442626 w 705986"/>
                  <a:gd name="connsiteY347" fmla="*/ 47679 h 705948"/>
                  <a:gd name="connsiteX348" fmla="*/ 448072 w 705986"/>
                  <a:gd name="connsiteY348" fmla="*/ 49237 h 705948"/>
                  <a:gd name="connsiteX349" fmla="*/ 453448 w 705986"/>
                  <a:gd name="connsiteY349" fmla="*/ 51070 h 705948"/>
                  <a:gd name="connsiteX350" fmla="*/ 458825 w 705986"/>
                  <a:gd name="connsiteY350" fmla="*/ 52885 h 705948"/>
                  <a:gd name="connsiteX351" fmla="*/ 464168 w 705986"/>
                  <a:gd name="connsiteY351" fmla="*/ 54785 h 705948"/>
                  <a:gd name="connsiteX352" fmla="*/ 474716 w 705986"/>
                  <a:gd name="connsiteY352" fmla="*/ 58946 h 705948"/>
                  <a:gd name="connsiteX353" fmla="*/ 479921 w 705986"/>
                  <a:gd name="connsiteY353" fmla="*/ 61190 h 705948"/>
                  <a:gd name="connsiteX354" fmla="*/ 485093 w 705986"/>
                  <a:gd name="connsiteY354" fmla="*/ 63535 h 705948"/>
                  <a:gd name="connsiteX355" fmla="*/ 490264 w 705986"/>
                  <a:gd name="connsiteY355" fmla="*/ 65864 h 705948"/>
                  <a:gd name="connsiteX356" fmla="*/ 495333 w 705986"/>
                  <a:gd name="connsiteY356" fmla="*/ 68433 h 705948"/>
                  <a:gd name="connsiteX357" fmla="*/ 505418 w 705986"/>
                  <a:gd name="connsiteY357" fmla="*/ 73638 h 705948"/>
                  <a:gd name="connsiteX358" fmla="*/ 515264 w 705986"/>
                  <a:gd name="connsiteY358" fmla="*/ 79306 h 705948"/>
                  <a:gd name="connsiteX359" fmla="*/ 517730 w 705986"/>
                  <a:gd name="connsiteY359" fmla="*/ 80710 h 705948"/>
                  <a:gd name="connsiteX360" fmla="*/ 520127 w 705986"/>
                  <a:gd name="connsiteY360" fmla="*/ 82234 h 705948"/>
                  <a:gd name="connsiteX361" fmla="*/ 524905 w 705986"/>
                  <a:gd name="connsiteY361" fmla="*/ 85299 h 705948"/>
                  <a:gd name="connsiteX362" fmla="*/ 534357 w 705986"/>
                  <a:gd name="connsiteY362" fmla="*/ 91601 h 705948"/>
                  <a:gd name="connsiteX363" fmla="*/ 543621 w 705986"/>
                  <a:gd name="connsiteY363" fmla="*/ 98193 h 705948"/>
                  <a:gd name="connsiteX364" fmla="*/ 561258 w 705986"/>
                  <a:gd name="connsiteY364" fmla="*/ 112543 h 705948"/>
                  <a:gd name="connsiteX365" fmla="*/ 577971 w 705986"/>
                  <a:gd name="connsiteY365" fmla="*/ 127954 h 705948"/>
                  <a:gd name="connsiteX366" fmla="*/ 593382 w 705986"/>
                  <a:gd name="connsiteY366" fmla="*/ 144667 h 705948"/>
                  <a:gd name="connsiteX367" fmla="*/ 607731 w 705986"/>
                  <a:gd name="connsiteY367" fmla="*/ 162304 h 705948"/>
                  <a:gd name="connsiteX368" fmla="*/ 614324 w 705986"/>
                  <a:gd name="connsiteY368" fmla="*/ 171568 h 705948"/>
                  <a:gd name="connsiteX369" fmla="*/ 620626 w 705986"/>
                  <a:gd name="connsiteY369" fmla="*/ 181020 h 705948"/>
                  <a:gd name="connsiteX370" fmla="*/ 623691 w 705986"/>
                  <a:gd name="connsiteY370" fmla="*/ 185797 h 705948"/>
                  <a:gd name="connsiteX371" fmla="*/ 625215 w 705986"/>
                  <a:gd name="connsiteY371" fmla="*/ 188195 h 705948"/>
                  <a:gd name="connsiteX372" fmla="*/ 626619 w 705986"/>
                  <a:gd name="connsiteY372" fmla="*/ 190660 h 705948"/>
                  <a:gd name="connsiteX373" fmla="*/ 632287 w 705986"/>
                  <a:gd name="connsiteY373" fmla="*/ 200506 h 705948"/>
                  <a:gd name="connsiteX374" fmla="*/ 637492 w 705986"/>
                  <a:gd name="connsiteY374" fmla="*/ 210592 h 705948"/>
                  <a:gd name="connsiteX375" fmla="*/ 640061 w 705986"/>
                  <a:gd name="connsiteY375" fmla="*/ 215661 h 705948"/>
                  <a:gd name="connsiteX376" fmla="*/ 642390 w 705986"/>
                  <a:gd name="connsiteY376" fmla="*/ 220832 h 705948"/>
                  <a:gd name="connsiteX377" fmla="*/ 644736 w 705986"/>
                  <a:gd name="connsiteY377" fmla="*/ 226003 h 705948"/>
                  <a:gd name="connsiteX378" fmla="*/ 646979 w 705986"/>
                  <a:gd name="connsiteY378" fmla="*/ 231209 h 705948"/>
                  <a:gd name="connsiteX379" fmla="*/ 651140 w 705986"/>
                  <a:gd name="connsiteY379" fmla="*/ 241757 h 705948"/>
                  <a:gd name="connsiteX380" fmla="*/ 653040 w 705986"/>
                  <a:gd name="connsiteY380" fmla="*/ 247099 h 705948"/>
                  <a:gd name="connsiteX381" fmla="*/ 654855 w 705986"/>
                  <a:gd name="connsiteY381" fmla="*/ 252476 h 705948"/>
                  <a:gd name="connsiteX382" fmla="*/ 656688 w 705986"/>
                  <a:gd name="connsiteY382" fmla="*/ 257853 h 705948"/>
                  <a:gd name="connsiteX383" fmla="*/ 658246 w 705986"/>
                  <a:gd name="connsiteY383" fmla="*/ 263298 h 705948"/>
                  <a:gd name="connsiteX384" fmla="*/ 661311 w 705986"/>
                  <a:gd name="connsiteY384" fmla="*/ 274223 h 705948"/>
                  <a:gd name="connsiteX385" fmla="*/ 663862 w 705986"/>
                  <a:gd name="connsiteY385" fmla="*/ 285285 h 705948"/>
                  <a:gd name="connsiteX386" fmla="*/ 666037 w 705986"/>
                  <a:gd name="connsiteY386" fmla="*/ 296415 h 705948"/>
                  <a:gd name="connsiteX387" fmla="*/ 667886 w 705986"/>
                  <a:gd name="connsiteY387" fmla="*/ 307614 h 705948"/>
                  <a:gd name="connsiteX388" fmla="*/ 669325 w 705986"/>
                  <a:gd name="connsiteY388" fmla="*/ 318881 h 705948"/>
                  <a:gd name="connsiteX389" fmla="*/ 670250 w 705986"/>
                  <a:gd name="connsiteY389" fmla="*/ 330217 h 705948"/>
                  <a:gd name="connsiteX390" fmla="*/ 670695 w 705986"/>
                  <a:gd name="connsiteY390" fmla="*/ 335885 h 705948"/>
                  <a:gd name="connsiteX391" fmla="*/ 670866 w 705986"/>
                  <a:gd name="connsiteY391" fmla="*/ 341570 h 705948"/>
                  <a:gd name="connsiteX392" fmla="*/ 671174 w 705986"/>
                  <a:gd name="connsiteY392" fmla="*/ 352957 h 705948"/>
                  <a:gd name="connsiteX393" fmla="*/ 670866 w 705986"/>
                  <a:gd name="connsiteY393" fmla="*/ 364344 h 705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</a:cxnLst>
                <a:rect l="l" t="t" r="r" b="b"/>
                <a:pathLst>
                  <a:path w="705986" h="705948">
                    <a:moveTo>
                      <a:pt x="705473" y="334053"/>
                    </a:moveTo>
                    <a:lnTo>
                      <a:pt x="704993" y="327768"/>
                    </a:lnTo>
                    <a:cubicBezTo>
                      <a:pt x="704634" y="323590"/>
                      <a:pt x="704445" y="319378"/>
                      <a:pt x="703966" y="315200"/>
                    </a:cubicBezTo>
                    <a:lnTo>
                      <a:pt x="702373" y="302699"/>
                    </a:lnTo>
                    <a:cubicBezTo>
                      <a:pt x="701945" y="298521"/>
                      <a:pt x="701021" y="294412"/>
                      <a:pt x="700336" y="290268"/>
                    </a:cubicBezTo>
                    <a:cubicBezTo>
                      <a:pt x="699565" y="286141"/>
                      <a:pt x="698966" y="281980"/>
                      <a:pt x="697921" y="277905"/>
                    </a:cubicBezTo>
                    <a:lnTo>
                      <a:pt x="695096" y="265627"/>
                    </a:lnTo>
                    <a:cubicBezTo>
                      <a:pt x="694034" y="261569"/>
                      <a:pt x="692818" y="257545"/>
                      <a:pt x="691688" y="253504"/>
                    </a:cubicBezTo>
                    <a:cubicBezTo>
                      <a:pt x="691106" y="251483"/>
                      <a:pt x="690575" y="249463"/>
                      <a:pt x="689942" y="247459"/>
                    </a:cubicBezTo>
                    <a:lnTo>
                      <a:pt x="687921" y="241500"/>
                    </a:lnTo>
                    <a:lnTo>
                      <a:pt x="685900" y="235541"/>
                    </a:lnTo>
                    <a:cubicBezTo>
                      <a:pt x="685215" y="233555"/>
                      <a:pt x="684599" y="231551"/>
                      <a:pt x="683777" y="229616"/>
                    </a:cubicBezTo>
                    <a:lnTo>
                      <a:pt x="679154" y="217904"/>
                    </a:lnTo>
                    <a:cubicBezTo>
                      <a:pt x="678417" y="215935"/>
                      <a:pt x="677544" y="214034"/>
                      <a:pt x="676671" y="212116"/>
                    </a:cubicBezTo>
                    <a:lnTo>
                      <a:pt x="674068" y="206380"/>
                    </a:lnTo>
                    <a:lnTo>
                      <a:pt x="671482" y="200643"/>
                    </a:lnTo>
                    <a:cubicBezTo>
                      <a:pt x="670592" y="198743"/>
                      <a:pt x="669582" y="196893"/>
                      <a:pt x="668640" y="195027"/>
                    </a:cubicBezTo>
                    <a:cubicBezTo>
                      <a:pt x="666705" y="191294"/>
                      <a:pt x="664856" y="187527"/>
                      <a:pt x="662852" y="183828"/>
                    </a:cubicBezTo>
                    <a:lnTo>
                      <a:pt x="656568" y="172903"/>
                    </a:lnTo>
                    <a:lnTo>
                      <a:pt x="654992" y="170164"/>
                    </a:lnTo>
                    <a:lnTo>
                      <a:pt x="653297" y="167509"/>
                    </a:lnTo>
                    <a:lnTo>
                      <a:pt x="649890" y="162201"/>
                    </a:lnTo>
                    <a:cubicBezTo>
                      <a:pt x="647629" y="158657"/>
                      <a:pt x="645403" y="155095"/>
                      <a:pt x="642903" y="151722"/>
                    </a:cubicBezTo>
                    <a:lnTo>
                      <a:pt x="635591" y="141465"/>
                    </a:lnTo>
                    <a:cubicBezTo>
                      <a:pt x="630369" y="134889"/>
                      <a:pt x="625335" y="128142"/>
                      <a:pt x="619684" y="121910"/>
                    </a:cubicBezTo>
                    <a:cubicBezTo>
                      <a:pt x="614324" y="115437"/>
                      <a:pt x="608331" y="109512"/>
                      <a:pt x="602577" y="103399"/>
                    </a:cubicBezTo>
                    <a:cubicBezTo>
                      <a:pt x="596447" y="97645"/>
                      <a:pt x="590539" y="91652"/>
                      <a:pt x="584067" y="86293"/>
                    </a:cubicBezTo>
                    <a:cubicBezTo>
                      <a:pt x="577834" y="80642"/>
                      <a:pt x="571087" y="75625"/>
                      <a:pt x="564512" y="70385"/>
                    </a:cubicBezTo>
                    <a:lnTo>
                      <a:pt x="554255" y="63073"/>
                    </a:lnTo>
                    <a:cubicBezTo>
                      <a:pt x="550881" y="60556"/>
                      <a:pt x="547320" y="58347"/>
                      <a:pt x="543775" y="56087"/>
                    </a:cubicBezTo>
                    <a:lnTo>
                      <a:pt x="538467" y="52679"/>
                    </a:lnTo>
                    <a:lnTo>
                      <a:pt x="535813" y="50984"/>
                    </a:lnTo>
                    <a:lnTo>
                      <a:pt x="533073" y="49409"/>
                    </a:lnTo>
                    <a:lnTo>
                      <a:pt x="522148" y="43124"/>
                    </a:lnTo>
                    <a:cubicBezTo>
                      <a:pt x="518467" y="41121"/>
                      <a:pt x="514682" y="39271"/>
                      <a:pt x="510949" y="37337"/>
                    </a:cubicBezTo>
                    <a:cubicBezTo>
                      <a:pt x="509066" y="36395"/>
                      <a:pt x="507233" y="35384"/>
                      <a:pt x="505333" y="34494"/>
                    </a:cubicBezTo>
                    <a:lnTo>
                      <a:pt x="499596" y="31908"/>
                    </a:lnTo>
                    <a:cubicBezTo>
                      <a:pt x="438551" y="3911"/>
                      <a:pt x="369286" y="-6106"/>
                      <a:pt x="302710" y="3620"/>
                    </a:cubicBezTo>
                    <a:cubicBezTo>
                      <a:pt x="298532" y="4048"/>
                      <a:pt x="294422" y="4973"/>
                      <a:pt x="290278" y="5658"/>
                    </a:cubicBezTo>
                    <a:cubicBezTo>
                      <a:pt x="286151" y="6429"/>
                      <a:pt x="281990" y="7028"/>
                      <a:pt x="277915" y="8072"/>
                    </a:cubicBezTo>
                    <a:lnTo>
                      <a:pt x="265637" y="10898"/>
                    </a:lnTo>
                    <a:cubicBezTo>
                      <a:pt x="261579" y="11959"/>
                      <a:pt x="257555" y="13175"/>
                      <a:pt x="253514" y="14305"/>
                    </a:cubicBezTo>
                    <a:cubicBezTo>
                      <a:pt x="251493" y="14888"/>
                      <a:pt x="249473" y="15418"/>
                      <a:pt x="247469" y="16052"/>
                    </a:cubicBezTo>
                    <a:lnTo>
                      <a:pt x="241510" y="18073"/>
                    </a:lnTo>
                    <a:lnTo>
                      <a:pt x="235551" y="20093"/>
                    </a:lnTo>
                    <a:cubicBezTo>
                      <a:pt x="233565" y="20778"/>
                      <a:pt x="231562" y="21395"/>
                      <a:pt x="229627" y="22216"/>
                    </a:cubicBezTo>
                    <a:lnTo>
                      <a:pt x="217914" y="26840"/>
                    </a:lnTo>
                    <a:cubicBezTo>
                      <a:pt x="215945" y="27576"/>
                      <a:pt x="214044" y="28449"/>
                      <a:pt x="212126" y="29323"/>
                    </a:cubicBezTo>
                    <a:lnTo>
                      <a:pt x="206390" y="31925"/>
                    </a:lnTo>
                    <a:lnTo>
                      <a:pt x="200654" y="34511"/>
                    </a:lnTo>
                    <a:cubicBezTo>
                      <a:pt x="198753" y="35402"/>
                      <a:pt x="196904" y="36412"/>
                      <a:pt x="195037" y="37354"/>
                    </a:cubicBezTo>
                    <a:cubicBezTo>
                      <a:pt x="191304" y="39289"/>
                      <a:pt x="187537" y="41138"/>
                      <a:pt x="183838" y="43141"/>
                    </a:cubicBezTo>
                    <a:lnTo>
                      <a:pt x="172913" y="49426"/>
                    </a:lnTo>
                    <a:lnTo>
                      <a:pt x="170174" y="51001"/>
                    </a:lnTo>
                    <a:lnTo>
                      <a:pt x="167520" y="52696"/>
                    </a:lnTo>
                    <a:lnTo>
                      <a:pt x="162211" y="56104"/>
                    </a:lnTo>
                    <a:cubicBezTo>
                      <a:pt x="158667" y="58364"/>
                      <a:pt x="155105" y="60590"/>
                      <a:pt x="151732" y="63090"/>
                    </a:cubicBezTo>
                    <a:lnTo>
                      <a:pt x="141475" y="70402"/>
                    </a:lnTo>
                    <a:cubicBezTo>
                      <a:pt x="134899" y="75625"/>
                      <a:pt x="128153" y="80659"/>
                      <a:pt x="121920" y="86310"/>
                    </a:cubicBezTo>
                    <a:cubicBezTo>
                      <a:pt x="115447" y="91669"/>
                      <a:pt x="109522" y="97663"/>
                      <a:pt x="103409" y="103416"/>
                    </a:cubicBezTo>
                    <a:cubicBezTo>
                      <a:pt x="97656" y="109546"/>
                      <a:pt x="91662" y="115454"/>
                      <a:pt x="86303" y="121927"/>
                    </a:cubicBezTo>
                    <a:cubicBezTo>
                      <a:pt x="80652" y="128160"/>
                      <a:pt x="75635" y="134906"/>
                      <a:pt x="70395" y="141482"/>
                    </a:cubicBezTo>
                    <a:lnTo>
                      <a:pt x="63083" y="151739"/>
                    </a:lnTo>
                    <a:cubicBezTo>
                      <a:pt x="60566" y="155112"/>
                      <a:pt x="58357" y="158674"/>
                      <a:pt x="56097" y="162218"/>
                    </a:cubicBezTo>
                    <a:lnTo>
                      <a:pt x="52689" y="167526"/>
                    </a:lnTo>
                    <a:lnTo>
                      <a:pt x="50994" y="170181"/>
                    </a:lnTo>
                    <a:lnTo>
                      <a:pt x="49419" y="172920"/>
                    </a:lnTo>
                    <a:lnTo>
                      <a:pt x="43134" y="183845"/>
                    </a:lnTo>
                    <a:cubicBezTo>
                      <a:pt x="41131" y="187527"/>
                      <a:pt x="39281" y="191311"/>
                      <a:pt x="37346" y="195044"/>
                    </a:cubicBezTo>
                    <a:cubicBezTo>
                      <a:pt x="36405" y="196928"/>
                      <a:pt x="35394" y="198760"/>
                      <a:pt x="34504" y="200661"/>
                    </a:cubicBezTo>
                    <a:lnTo>
                      <a:pt x="31918" y="206397"/>
                    </a:lnTo>
                    <a:lnTo>
                      <a:pt x="29315" y="212133"/>
                    </a:lnTo>
                    <a:cubicBezTo>
                      <a:pt x="28442" y="214051"/>
                      <a:pt x="27552" y="215952"/>
                      <a:pt x="26833" y="217921"/>
                    </a:cubicBezTo>
                    <a:lnTo>
                      <a:pt x="22209" y="229633"/>
                    </a:lnTo>
                    <a:cubicBezTo>
                      <a:pt x="21387" y="231568"/>
                      <a:pt x="20771" y="233572"/>
                      <a:pt x="20086" y="235558"/>
                    </a:cubicBezTo>
                    <a:lnTo>
                      <a:pt x="18065" y="241517"/>
                    </a:lnTo>
                    <a:lnTo>
                      <a:pt x="16045" y="247476"/>
                    </a:lnTo>
                    <a:cubicBezTo>
                      <a:pt x="15411" y="249480"/>
                      <a:pt x="14880" y="251517"/>
                      <a:pt x="14298" y="253521"/>
                    </a:cubicBezTo>
                    <a:cubicBezTo>
                      <a:pt x="13168" y="257562"/>
                      <a:pt x="11952" y="261586"/>
                      <a:pt x="10891" y="265644"/>
                    </a:cubicBezTo>
                    <a:lnTo>
                      <a:pt x="8065" y="277922"/>
                    </a:lnTo>
                    <a:cubicBezTo>
                      <a:pt x="7021" y="281997"/>
                      <a:pt x="6421" y="286158"/>
                      <a:pt x="5651" y="290285"/>
                    </a:cubicBezTo>
                    <a:cubicBezTo>
                      <a:pt x="4966" y="294429"/>
                      <a:pt x="4024" y="298538"/>
                      <a:pt x="3613" y="302717"/>
                    </a:cubicBezTo>
                    <a:lnTo>
                      <a:pt x="2021" y="315217"/>
                    </a:lnTo>
                    <a:cubicBezTo>
                      <a:pt x="1541" y="319395"/>
                      <a:pt x="1336" y="323590"/>
                      <a:pt x="993" y="327785"/>
                    </a:cubicBezTo>
                    <a:lnTo>
                      <a:pt x="514" y="334070"/>
                    </a:lnTo>
                    <a:cubicBezTo>
                      <a:pt x="394" y="336159"/>
                      <a:pt x="394" y="338265"/>
                      <a:pt x="325" y="340371"/>
                    </a:cubicBezTo>
                    <a:lnTo>
                      <a:pt x="0" y="352974"/>
                    </a:lnTo>
                    <a:lnTo>
                      <a:pt x="325" y="365577"/>
                    </a:lnTo>
                    <a:cubicBezTo>
                      <a:pt x="394" y="367683"/>
                      <a:pt x="394" y="369789"/>
                      <a:pt x="514" y="371878"/>
                    </a:cubicBezTo>
                    <a:lnTo>
                      <a:pt x="993" y="378163"/>
                    </a:lnTo>
                    <a:cubicBezTo>
                      <a:pt x="1353" y="382341"/>
                      <a:pt x="1541" y="386553"/>
                      <a:pt x="2021" y="390731"/>
                    </a:cubicBezTo>
                    <a:lnTo>
                      <a:pt x="3613" y="403232"/>
                    </a:lnTo>
                    <a:cubicBezTo>
                      <a:pt x="4041" y="407410"/>
                      <a:pt x="4966" y="411519"/>
                      <a:pt x="5651" y="415663"/>
                    </a:cubicBezTo>
                    <a:cubicBezTo>
                      <a:pt x="6421" y="419790"/>
                      <a:pt x="7021" y="423951"/>
                      <a:pt x="8065" y="428026"/>
                    </a:cubicBezTo>
                    <a:lnTo>
                      <a:pt x="10891" y="440304"/>
                    </a:lnTo>
                    <a:cubicBezTo>
                      <a:pt x="11952" y="444362"/>
                      <a:pt x="13168" y="448386"/>
                      <a:pt x="14298" y="452427"/>
                    </a:cubicBezTo>
                    <a:cubicBezTo>
                      <a:pt x="14880" y="454448"/>
                      <a:pt x="15411" y="456469"/>
                      <a:pt x="16045" y="458472"/>
                    </a:cubicBezTo>
                    <a:lnTo>
                      <a:pt x="18065" y="464431"/>
                    </a:lnTo>
                    <a:lnTo>
                      <a:pt x="20086" y="470390"/>
                    </a:lnTo>
                    <a:cubicBezTo>
                      <a:pt x="20771" y="472376"/>
                      <a:pt x="21387" y="474380"/>
                      <a:pt x="22209" y="476315"/>
                    </a:cubicBezTo>
                    <a:lnTo>
                      <a:pt x="26833" y="488027"/>
                    </a:lnTo>
                    <a:cubicBezTo>
                      <a:pt x="27569" y="489996"/>
                      <a:pt x="28442" y="491897"/>
                      <a:pt x="29315" y="493815"/>
                    </a:cubicBezTo>
                    <a:lnTo>
                      <a:pt x="31918" y="499551"/>
                    </a:lnTo>
                    <a:lnTo>
                      <a:pt x="34504" y="505288"/>
                    </a:lnTo>
                    <a:cubicBezTo>
                      <a:pt x="35394" y="507188"/>
                      <a:pt x="36405" y="509038"/>
                      <a:pt x="37346" y="510904"/>
                    </a:cubicBezTo>
                    <a:cubicBezTo>
                      <a:pt x="39281" y="514637"/>
                      <a:pt x="41131" y="518404"/>
                      <a:pt x="43134" y="522103"/>
                    </a:cubicBezTo>
                    <a:lnTo>
                      <a:pt x="49419" y="533028"/>
                    </a:lnTo>
                    <a:lnTo>
                      <a:pt x="50994" y="535768"/>
                    </a:lnTo>
                    <a:lnTo>
                      <a:pt x="52689" y="538422"/>
                    </a:lnTo>
                    <a:lnTo>
                      <a:pt x="56097" y="543730"/>
                    </a:lnTo>
                    <a:cubicBezTo>
                      <a:pt x="58357" y="547275"/>
                      <a:pt x="60583" y="550836"/>
                      <a:pt x="63083" y="554210"/>
                    </a:cubicBezTo>
                    <a:lnTo>
                      <a:pt x="70395" y="564467"/>
                    </a:lnTo>
                    <a:cubicBezTo>
                      <a:pt x="75618" y="571042"/>
                      <a:pt x="80652" y="577789"/>
                      <a:pt x="86303" y="584022"/>
                    </a:cubicBezTo>
                    <a:cubicBezTo>
                      <a:pt x="91662" y="590494"/>
                      <a:pt x="97656" y="596419"/>
                      <a:pt x="103409" y="602532"/>
                    </a:cubicBezTo>
                    <a:cubicBezTo>
                      <a:pt x="109539" y="608286"/>
                      <a:pt x="115447" y="614279"/>
                      <a:pt x="121920" y="619639"/>
                    </a:cubicBezTo>
                    <a:cubicBezTo>
                      <a:pt x="128153" y="625289"/>
                      <a:pt x="134899" y="630306"/>
                      <a:pt x="141475" y="635546"/>
                    </a:cubicBezTo>
                    <a:lnTo>
                      <a:pt x="151732" y="642858"/>
                    </a:lnTo>
                    <a:cubicBezTo>
                      <a:pt x="155105" y="645375"/>
                      <a:pt x="158667" y="647584"/>
                      <a:pt x="162211" y="649844"/>
                    </a:cubicBezTo>
                    <a:lnTo>
                      <a:pt x="167520" y="653252"/>
                    </a:lnTo>
                    <a:lnTo>
                      <a:pt x="170174" y="654947"/>
                    </a:lnTo>
                    <a:lnTo>
                      <a:pt x="172913" y="656523"/>
                    </a:lnTo>
                    <a:lnTo>
                      <a:pt x="183838" y="662807"/>
                    </a:lnTo>
                    <a:cubicBezTo>
                      <a:pt x="187520" y="664810"/>
                      <a:pt x="191304" y="666660"/>
                      <a:pt x="195037" y="668595"/>
                    </a:cubicBezTo>
                    <a:cubicBezTo>
                      <a:pt x="196921" y="669536"/>
                      <a:pt x="198753" y="670547"/>
                      <a:pt x="200654" y="671437"/>
                    </a:cubicBezTo>
                    <a:lnTo>
                      <a:pt x="206390" y="674023"/>
                    </a:lnTo>
                    <a:lnTo>
                      <a:pt x="212126" y="676626"/>
                    </a:lnTo>
                    <a:cubicBezTo>
                      <a:pt x="214044" y="677499"/>
                      <a:pt x="215945" y="678389"/>
                      <a:pt x="217914" y="679108"/>
                    </a:cubicBezTo>
                    <a:lnTo>
                      <a:pt x="229627" y="683732"/>
                    </a:lnTo>
                    <a:cubicBezTo>
                      <a:pt x="231562" y="684554"/>
                      <a:pt x="233565" y="685170"/>
                      <a:pt x="235551" y="685855"/>
                    </a:cubicBezTo>
                    <a:lnTo>
                      <a:pt x="241510" y="687876"/>
                    </a:lnTo>
                    <a:lnTo>
                      <a:pt x="247469" y="689896"/>
                    </a:lnTo>
                    <a:cubicBezTo>
                      <a:pt x="249473" y="690530"/>
                      <a:pt x="251511" y="691061"/>
                      <a:pt x="253514" y="691643"/>
                    </a:cubicBezTo>
                    <a:cubicBezTo>
                      <a:pt x="257555" y="692773"/>
                      <a:pt x="261579" y="693989"/>
                      <a:pt x="265637" y="695050"/>
                    </a:cubicBezTo>
                    <a:lnTo>
                      <a:pt x="277915" y="697876"/>
                    </a:lnTo>
                    <a:cubicBezTo>
                      <a:pt x="281990" y="698920"/>
                      <a:pt x="286151" y="699520"/>
                      <a:pt x="290278" y="700290"/>
                    </a:cubicBezTo>
                    <a:cubicBezTo>
                      <a:pt x="294422" y="700975"/>
                      <a:pt x="298532" y="701917"/>
                      <a:pt x="302710" y="702328"/>
                    </a:cubicBezTo>
                    <a:cubicBezTo>
                      <a:pt x="369286" y="712054"/>
                      <a:pt x="438534" y="702037"/>
                      <a:pt x="499596" y="674040"/>
                    </a:cubicBezTo>
                    <a:lnTo>
                      <a:pt x="505333" y="671454"/>
                    </a:lnTo>
                    <a:cubicBezTo>
                      <a:pt x="507233" y="670564"/>
                      <a:pt x="509083" y="669554"/>
                      <a:pt x="510949" y="668612"/>
                    </a:cubicBezTo>
                    <a:cubicBezTo>
                      <a:pt x="514682" y="666677"/>
                      <a:pt x="518449" y="664827"/>
                      <a:pt x="522148" y="662824"/>
                    </a:cubicBezTo>
                    <a:lnTo>
                      <a:pt x="533073" y="656540"/>
                    </a:lnTo>
                    <a:lnTo>
                      <a:pt x="535813" y="654964"/>
                    </a:lnTo>
                    <a:lnTo>
                      <a:pt x="538467" y="653269"/>
                    </a:lnTo>
                    <a:lnTo>
                      <a:pt x="543775" y="649862"/>
                    </a:lnTo>
                    <a:cubicBezTo>
                      <a:pt x="547320" y="647601"/>
                      <a:pt x="550881" y="645375"/>
                      <a:pt x="554255" y="642875"/>
                    </a:cubicBezTo>
                    <a:lnTo>
                      <a:pt x="564512" y="635563"/>
                    </a:lnTo>
                    <a:cubicBezTo>
                      <a:pt x="571087" y="630341"/>
                      <a:pt x="577834" y="625306"/>
                      <a:pt x="584067" y="619656"/>
                    </a:cubicBezTo>
                    <a:cubicBezTo>
                      <a:pt x="590539" y="614296"/>
                      <a:pt x="596464" y="608303"/>
                      <a:pt x="602577" y="602549"/>
                    </a:cubicBezTo>
                    <a:cubicBezTo>
                      <a:pt x="608331" y="596419"/>
                      <a:pt x="614324" y="590511"/>
                      <a:pt x="619684" y="584039"/>
                    </a:cubicBezTo>
                    <a:cubicBezTo>
                      <a:pt x="625335" y="577806"/>
                      <a:pt x="630352" y="571059"/>
                      <a:pt x="635591" y="564484"/>
                    </a:cubicBezTo>
                    <a:lnTo>
                      <a:pt x="642903" y="554227"/>
                    </a:lnTo>
                    <a:cubicBezTo>
                      <a:pt x="645420" y="550853"/>
                      <a:pt x="647629" y="547292"/>
                      <a:pt x="649890" y="543747"/>
                    </a:cubicBezTo>
                    <a:lnTo>
                      <a:pt x="653297" y="538439"/>
                    </a:lnTo>
                    <a:lnTo>
                      <a:pt x="654992" y="535785"/>
                    </a:lnTo>
                    <a:lnTo>
                      <a:pt x="656568" y="533045"/>
                    </a:lnTo>
                    <a:lnTo>
                      <a:pt x="662852" y="522120"/>
                    </a:lnTo>
                    <a:cubicBezTo>
                      <a:pt x="664856" y="518439"/>
                      <a:pt x="666705" y="514654"/>
                      <a:pt x="668640" y="510921"/>
                    </a:cubicBezTo>
                    <a:cubicBezTo>
                      <a:pt x="669582" y="509038"/>
                      <a:pt x="670592" y="507206"/>
                      <a:pt x="671482" y="505305"/>
                    </a:cubicBezTo>
                    <a:lnTo>
                      <a:pt x="674068" y="499568"/>
                    </a:lnTo>
                    <a:lnTo>
                      <a:pt x="676671" y="493832"/>
                    </a:lnTo>
                    <a:cubicBezTo>
                      <a:pt x="677544" y="491914"/>
                      <a:pt x="678435" y="490014"/>
                      <a:pt x="679154" y="488044"/>
                    </a:cubicBezTo>
                    <a:lnTo>
                      <a:pt x="683777" y="476332"/>
                    </a:lnTo>
                    <a:cubicBezTo>
                      <a:pt x="684599" y="474397"/>
                      <a:pt x="685215" y="472393"/>
                      <a:pt x="685900" y="470407"/>
                    </a:cubicBezTo>
                    <a:lnTo>
                      <a:pt x="687921" y="464448"/>
                    </a:lnTo>
                    <a:lnTo>
                      <a:pt x="689942" y="458489"/>
                    </a:lnTo>
                    <a:cubicBezTo>
                      <a:pt x="690575" y="456486"/>
                      <a:pt x="691106" y="454448"/>
                      <a:pt x="691688" y="452445"/>
                    </a:cubicBezTo>
                    <a:cubicBezTo>
                      <a:pt x="692818" y="448403"/>
                      <a:pt x="694034" y="444379"/>
                      <a:pt x="695096" y="440321"/>
                    </a:cubicBezTo>
                    <a:lnTo>
                      <a:pt x="697921" y="428044"/>
                    </a:lnTo>
                    <a:cubicBezTo>
                      <a:pt x="698966" y="423968"/>
                      <a:pt x="699565" y="419807"/>
                      <a:pt x="700336" y="415680"/>
                    </a:cubicBezTo>
                    <a:cubicBezTo>
                      <a:pt x="701021" y="411536"/>
                      <a:pt x="701962" y="407427"/>
                      <a:pt x="702373" y="403249"/>
                    </a:cubicBezTo>
                    <a:lnTo>
                      <a:pt x="703966" y="390749"/>
                    </a:lnTo>
                    <a:cubicBezTo>
                      <a:pt x="704445" y="386570"/>
                      <a:pt x="704651" y="382375"/>
                      <a:pt x="704993" y="378180"/>
                    </a:cubicBezTo>
                    <a:lnTo>
                      <a:pt x="705473" y="371896"/>
                    </a:lnTo>
                    <a:cubicBezTo>
                      <a:pt x="705593" y="369807"/>
                      <a:pt x="705593" y="367700"/>
                      <a:pt x="705661" y="365594"/>
                    </a:cubicBezTo>
                    <a:lnTo>
                      <a:pt x="705986" y="352991"/>
                    </a:lnTo>
                    <a:lnTo>
                      <a:pt x="705661" y="340388"/>
                    </a:lnTo>
                    <a:cubicBezTo>
                      <a:pt x="705593" y="338282"/>
                      <a:pt x="705593" y="336176"/>
                      <a:pt x="705473" y="334087"/>
                    </a:cubicBezTo>
                    <a:close/>
                    <a:moveTo>
                      <a:pt x="670866" y="364344"/>
                    </a:moveTo>
                    <a:cubicBezTo>
                      <a:pt x="670797" y="366245"/>
                      <a:pt x="670815" y="368146"/>
                      <a:pt x="670695" y="370029"/>
                    </a:cubicBezTo>
                    <a:lnTo>
                      <a:pt x="670250" y="375697"/>
                    </a:lnTo>
                    <a:cubicBezTo>
                      <a:pt x="669924" y="379464"/>
                      <a:pt x="669770" y="383266"/>
                      <a:pt x="669325" y="387033"/>
                    </a:cubicBezTo>
                    <a:lnTo>
                      <a:pt x="667886" y="398300"/>
                    </a:lnTo>
                    <a:cubicBezTo>
                      <a:pt x="667527" y="402067"/>
                      <a:pt x="666654" y="405766"/>
                      <a:pt x="666037" y="409499"/>
                    </a:cubicBezTo>
                    <a:cubicBezTo>
                      <a:pt x="665335" y="413215"/>
                      <a:pt x="664821" y="416982"/>
                      <a:pt x="663862" y="420629"/>
                    </a:cubicBezTo>
                    <a:lnTo>
                      <a:pt x="661311" y="431691"/>
                    </a:lnTo>
                    <a:cubicBezTo>
                      <a:pt x="660352" y="435355"/>
                      <a:pt x="659256" y="438968"/>
                      <a:pt x="658246" y="442616"/>
                    </a:cubicBezTo>
                    <a:cubicBezTo>
                      <a:pt x="657715" y="444431"/>
                      <a:pt x="657253" y="446263"/>
                      <a:pt x="656688" y="448061"/>
                    </a:cubicBezTo>
                    <a:lnTo>
                      <a:pt x="654855" y="453438"/>
                    </a:lnTo>
                    <a:lnTo>
                      <a:pt x="653040" y="458815"/>
                    </a:lnTo>
                    <a:cubicBezTo>
                      <a:pt x="652424" y="460595"/>
                      <a:pt x="651876" y="462410"/>
                      <a:pt x="651140" y="464157"/>
                    </a:cubicBezTo>
                    <a:lnTo>
                      <a:pt x="646979" y="474705"/>
                    </a:lnTo>
                    <a:cubicBezTo>
                      <a:pt x="646328" y="476486"/>
                      <a:pt x="645523" y="478198"/>
                      <a:pt x="644736" y="479911"/>
                    </a:cubicBezTo>
                    <a:lnTo>
                      <a:pt x="642390" y="485082"/>
                    </a:lnTo>
                    <a:lnTo>
                      <a:pt x="640061" y="490253"/>
                    </a:lnTo>
                    <a:cubicBezTo>
                      <a:pt x="639256" y="491966"/>
                      <a:pt x="638348" y="493627"/>
                      <a:pt x="637492" y="495322"/>
                    </a:cubicBezTo>
                    <a:cubicBezTo>
                      <a:pt x="635746" y="498678"/>
                      <a:pt x="634085" y="502086"/>
                      <a:pt x="632287" y="505408"/>
                    </a:cubicBezTo>
                    <a:lnTo>
                      <a:pt x="626619" y="515254"/>
                    </a:lnTo>
                    <a:lnTo>
                      <a:pt x="625215" y="517719"/>
                    </a:lnTo>
                    <a:lnTo>
                      <a:pt x="623691" y="520117"/>
                    </a:lnTo>
                    <a:lnTo>
                      <a:pt x="620626" y="524894"/>
                    </a:lnTo>
                    <a:cubicBezTo>
                      <a:pt x="618588" y="528079"/>
                      <a:pt x="616602" y="531315"/>
                      <a:pt x="614324" y="534346"/>
                    </a:cubicBezTo>
                    <a:lnTo>
                      <a:pt x="607731" y="543610"/>
                    </a:lnTo>
                    <a:cubicBezTo>
                      <a:pt x="603005" y="549535"/>
                      <a:pt x="598485" y="555631"/>
                      <a:pt x="593382" y="561247"/>
                    </a:cubicBezTo>
                    <a:cubicBezTo>
                      <a:pt x="588553" y="567104"/>
                      <a:pt x="583142" y="572412"/>
                      <a:pt x="577971" y="577960"/>
                    </a:cubicBezTo>
                    <a:cubicBezTo>
                      <a:pt x="572423" y="583131"/>
                      <a:pt x="567114" y="588559"/>
                      <a:pt x="561258" y="593371"/>
                    </a:cubicBezTo>
                    <a:cubicBezTo>
                      <a:pt x="555642" y="598474"/>
                      <a:pt x="549546" y="602994"/>
                      <a:pt x="543621" y="607721"/>
                    </a:cubicBezTo>
                    <a:lnTo>
                      <a:pt x="534357" y="614313"/>
                    </a:lnTo>
                    <a:cubicBezTo>
                      <a:pt x="531326" y="616591"/>
                      <a:pt x="528090" y="618577"/>
                      <a:pt x="524905" y="620615"/>
                    </a:cubicBezTo>
                    <a:lnTo>
                      <a:pt x="520127" y="623680"/>
                    </a:lnTo>
                    <a:lnTo>
                      <a:pt x="517730" y="625204"/>
                    </a:lnTo>
                    <a:lnTo>
                      <a:pt x="515264" y="626608"/>
                    </a:lnTo>
                    <a:lnTo>
                      <a:pt x="505418" y="632276"/>
                    </a:lnTo>
                    <a:cubicBezTo>
                      <a:pt x="502096" y="634074"/>
                      <a:pt x="498689" y="635735"/>
                      <a:pt x="495333" y="637481"/>
                    </a:cubicBezTo>
                    <a:cubicBezTo>
                      <a:pt x="493637" y="638337"/>
                      <a:pt x="491976" y="639245"/>
                      <a:pt x="490264" y="640050"/>
                    </a:cubicBezTo>
                    <a:lnTo>
                      <a:pt x="485093" y="642378"/>
                    </a:lnTo>
                    <a:lnTo>
                      <a:pt x="479921" y="644725"/>
                    </a:lnTo>
                    <a:cubicBezTo>
                      <a:pt x="478209" y="645512"/>
                      <a:pt x="476480" y="646317"/>
                      <a:pt x="474716" y="646968"/>
                    </a:cubicBezTo>
                    <a:lnTo>
                      <a:pt x="464168" y="651129"/>
                    </a:lnTo>
                    <a:cubicBezTo>
                      <a:pt x="462421" y="651865"/>
                      <a:pt x="460623" y="652413"/>
                      <a:pt x="458825" y="653029"/>
                    </a:cubicBezTo>
                    <a:lnTo>
                      <a:pt x="453448" y="654844"/>
                    </a:lnTo>
                    <a:lnTo>
                      <a:pt x="448072" y="656677"/>
                    </a:lnTo>
                    <a:cubicBezTo>
                      <a:pt x="446274" y="657242"/>
                      <a:pt x="444441" y="657704"/>
                      <a:pt x="442626" y="658235"/>
                    </a:cubicBezTo>
                    <a:cubicBezTo>
                      <a:pt x="438979" y="659245"/>
                      <a:pt x="435366" y="660341"/>
                      <a:pt x="431702" y="661300"/>
                    </a:cubicBezTo>
                    <a:lnTo>
                      <a:pt x="420640" y="663851"/>
                    </a:lnTo>
                    <a:cubicBezTo>
                      <a:pt x="416975" y="664810"/>
                      <a:pt x="413225" y="665324"/>
                      <a:pt x="409509" y="666026"/>
                    </a:cubicBezTo>
                    <a:cubicBezTo>
                      <a:pt x="405776" y="666643"/>
                      <a:pt x="402078" y="667499"/>
                      <a:pt x="398311" y="667875"/>
                    </a:cubicBezTo>
                    <a:lnTo>
                      <a:pt x="387043" y="669314"/>
                    </a:lnTo>
                    <a:cubicBezTo>
                      <a:pt x="383276" y="669759"/>
                      <a:pt x="379492" y="669913"/>
                      <a:pt x="375708" y="670238"/>
                    </a:cubicBezTo>
                    <a:lnTo>
                      <a:pt x="370040" y="670684"/>
                    </a:lnTo>
                    <a:cubicBezTo>
                      <a:pt x="368139" y="670804"/>
                      <a:pt x="366238" y="670786"/>
                      <a:pt x="364355" y="670855"/>
                    </a:cubicBezTo>
                    <a:lnTo>
                      <a:pt x="352968" y="671163"/>
                    </a:lnTo>
                    <a:lnTo>
                      <a:pt x="341580" y="670855"/>
                    </a:lnTo>
                    <a:cubicBezTo>
                      <a:pt x="339680" y="670786"/>
                      <a:pt x="337779" y="670804"/>
                      <a:pt x="335895" y="670684"/>
                    </a:cubicBezTo>
                    <a:lnTo>
                      <a:pt x="330227" y="670238"/>
                    </a:lnTo>
                    <a:cubicBezTo>
                      <a:pt x="326460" y="669913"/>
                      <a:pt x="322659" y="669759"/>
                      <a:pt x="318892" y="669314"/>
                    </a:cubicBezTo>
                    <a:lnTo>
                      <a:pt x="307624" y="667875"/>
                    </a:lnTo>
                    <a:cubicBezTo>
                      <a:pt x="303857" y="667516"/>
                      <a:pt x="300158" y="666643"/>
                      <a:pt x="296426" y="666026"/>
                    </a:cubicBezTo>
                    <a:cubicBezTo>
                      <a:pt x="292710" y="665324"/>
                      <a:pt x="288943" y="664810"/>
                      <a:pt x="285295" y="663851"/>
                    </a:cubicBezTo>
                    <a:lnTo>
                      <a:pt x="274234" y="661300"/>
                    </a:lnTo>
                    <a:cubicBezTo>
                      <a:pt x="270569" y="660341"/>
                      <a:pt x="266956" y="659245"/>
                      <a:pt x="263309" y="658235"/>
                    </a:cubicBezTo>
                    <a:cubicBezTo>
                      <a:pt x="261494" y="657704"/>
                      <a:pt x="259661" y="657242"/>
                      <a:pt x="257863" y="656677"/>
                    </a:cubicBezTo>
                    <a:lnTo>
                      <a:pt x="252487" y="654844"/>
                    </a:lnTo>
                    <a:lnTo>
                      <a:pt x="247110" y="653029"/>
                    </a:lnTo>
                    <a:cubicBezTo>
                      <a:pt x="245329" y="652413"/>
                      <a:pt x="243514" y="651865"/>
                      <a:pt x="241767" y="651129"/>
                    </a:cubicBezTo>
                    <a:lnTo>
                      <a:pt x="231219" y="646968"/>
                    </a:lnTo>
                    <a:cubicBezTo>
                      <a:pt x="229438" y="646317"/>
                      <a:pt x="227726" y="645512"/>
                      <a:pt x="226014" y="644725"/>
                    </a:cubicBezTo>
                    <a:lnTo>
                      <a:pt x="220842" y="642378"/>
                    </a:lnTo>
                    <a:lnTo>
                      <a:pt x="215671" y="640050"/>
                    </a:lnTo>
                    <a:cubicBezTo>
                      <a:pt x="213959" y="639245"/>
                      <a:pt x="212298" y="638337"/>
                      <a:pt x="210602" y="637481"/>
                    </a:cubicBezTo>
                    <a:cubicBezTo>
                      <a:pt x="207246" y="635735"/>
                      <a:pt x="203839" y="634074"/>
                      <a:pt x="200517" y="632276"/>
                    </a:cubicBezTo>
                    <a:lnTo>
                      <a:pt x="190671" y="626608"/>
                    </a:lnTo>
                    <a:lnTo>
                      <a:pt x="188205" y="625204"/>
                    </a:lnTo>
                    <a:lnTo>
                      <a:pt x="185808" y="623680"/>
                    </a:lnTo>
                    <a:lnTo>
                      <a:pt x="181030" y="620615"/>
                    </a:lnTo>
                    <a:cubicBezTo>
                      <a:pt x="177845" y="618577"/>
                      <a:pt x="174609" y="616591"/>
                      <a:pt x="171578" y="614313"/>
                    </a:cubicBezTo>
                    <a:lnTo>
                      <a:pt x="162314" y="607721"/>
                    </a:lnTo>
                    <a:cubicBezTo>
                      <a:pt x="156389" y="602994"/>
                      <a:pt x="150293" y="598474"/>
                      <a:pt x="144677" y="593371"/>
                    </a:cubicBezTo>
                    <a:cubicBezTo>
                      <a:pt x="138821" y="588542"/>
                      <a:pt x="133512" y="583131"/>
                      <a:pt x="127964" y="577960"/>
                    </a:cubicBezTo>
                    <a:cubicBezTo>
                      <a:pt x="122793" y="572412"/>
                      <a:pt x="117365" y="567104"/>
                      <a:pt x="112553" y="561247"/>
                    </a:cubicBezTo>
                    <a:cubicBezTo>
                      <a:pt x="107450" y="555631"/>
                      <a:pt x="102930" y="549535"/>
                      <a:pt x="98203" y="543610"/>
                    </a:cubicBezTo>
                    <a:lnTo>
                      <a:pt x="91611" y="534346"/>
                    </a:lnTo>
                    <a:cubicBezTo>
                      <a:pt x="89333" y="531315"/>
                      <a:pt x="87347" y="528079"/>
                      <a:pt x="85309" y="524894"/>
                    </a:cubicBezTo>
                    <a:lnTo>
                      <a:pt x="82244" y="520117"/>
                    </a:lnTo>
                    <a:lnTo>
                      <a:pt x="80720" y="517719"/>
                    </a:lnTo>
                    <a:lnTo>
                      <a:pt x="79316" y="515254"/>
                    </a:lnTo>
                    <a:lnTo>
                      <a:pt x="73648" y="505408"/>
                    </a:lnTo>
                    <a:cubicBezTo>
                      <a:pt x="71850" y="502086"/>
                      <a:pt x="70189" y="498678"/>
                      <a:pt x="68443" y="495322"/>
                    </a:cubicBezTo>
                    <a:cubicBezTo>
                      <a:pt x="67587" y="493627"/>
                      <a:pt x="66679" y="491966"/>
                      <a:pt x="65874" y="490253"/>
                    </a:cubicBezTo>
                    <a:lnTo>
                      <a:pt x="63545" y="485082"/>
                    </a:lnTo>
                    <a:lnTo>
                      <a:pt x="61200" y="479911"/>
                    </a:lnTo>
                    <a:cubicBezTo>
                      <a:pt x="60412" y="478198"/>
                      <a:pt x="59607" y="476469"/>
                      <a:pt x="58956" y="474705"/>
                    </a:cubicBezTo>
                    <a:lnTo>
                      <a:pt x="54795" y="464157"/>
                    </a:lnTo>
                    <a:cubicBezTo>
                      <a:pt x="54059" y="462410"/>
                      <a:pt x="53511" y="460613"/>
                      <a:pt x="52895" y="458815"/>
                    </a:cubicBezTo>
                    <a:lnTo>
                      <a:pt x="51080" y="453438"/>
                    </a:lnTo>
                    <a:lnTo>
                      <a:pt x="49247" y="448061"/>
                    </a:lnTo>
                    <a:cubicBezTo>
                      <a:pt x="48682" y="446263"/>
                      <a:pt x="48220" y="444431"/>
                      <a:pt x="47689" y="442616"/>
                    </a:cubicBezTo>
                    <a:cubicBezTo>
                      <a:pt x="46679" y="438968"/>
                      <a:pt x="45583" y="435355"/>
                      <a:pt x="44624" y="431691"/>
                    </a:cubicBezTo>
                    <a:lnTo>
                      <a:pt x="42073" y="420629"/>
                    </a:lnTo>
                    <a:cubicBezTo>
                      <a:pt x="41114" y="416965"/>
                      <a:pt x="40600" y="413215"/>
                      <a:pt x="39898" y="409499"/>
                    </a:cubicBezTo>
                    <a:cubicBezTo>
                      <a:pt x="39281" y="405766"/>
                      <a:pt x="38425" y="402067"/>
                      <a:pt x="38048" y="398300"/>
                    </a:cubicBezTo>
                    <a:lnTo>
                      <a:pt x="36610" y="387033"/>
                    </a:lnTo>
                    <a:cubicBezTo>
                      <a:pt x="36165" y="383266"/>
                      <a:pt x="36011" y="379481"/>
                      <a:pt x="35686" y="375697"/>
                    </a:cubicBezTo>
                    <a:lnTo>
                      <a:pt x="35240" y="370029"/>
                    </a:lnTo>
                    <a:cubicBezTo>
                      <a:pt x="35120" y="368128"/>
                      <a:pt x="35138" y="366228"/>
                      <a:pt x="35069" y="364344"/>
                    </a:cubicBezTo>
                    <a:lnTo>
                      <a:pt x="34761" y="352957"/>
                    </a:lnTo>
                    <a:lnTo>
                      <a:pt x="35069" y="341570"/>
                    </a:lnTo>
                    <a:cubicBezTo>
                      <a:pt x="35138" y="339669"/>
                      <a:pt x="35120" y="337768"/>
                      <a:pt x="35240" y="335885"/>
                    </a:cubicBezTo>
                    <a:lnTo>
                      <a:pt x="35686" y="330217"/>
                    </a:lnTo>
                    <a:cubicBezTo>
                      <a:pt x="36011" y="326450"/>
                      <a:pt x="36165" y="322648"/>
                      <a:pt x="36610" y="318881"/>
                    </a:cubicBezTo>
                    <a:lnTo>
                      <a:pt x="38048" y="307614"/>
                    </a:lnTo>
                    <a:cubicBezTo>
                      <a:pt x="38408" y="303847"/>
                      <a:pt x="39281" y="300148"/>
                      <a:pt x="39898" y="296415"/>
                    </a:cubicBezTo>
                    <a:cubicBezTo>
                      <a:pt x="40600" y="292699"/>
                      <a:pt x="41114" y="288932"/>
                      <a:pt x="42073" y="285285"/>
                    </a:cubicBezTo>
                    <a:lnTo>
                      <a:pt x="44624" y="274223"/>
                    </a:lnTo>
                    <a:cubicBezTo>
                      <a:pt x="45583" y="270559"/>
                      <a:pt x="46679" y="266946"/>
                      <a:pt x="47689" y="263298"/>
                    </a:cubicBezTo>
                    <a:cubicBezTo>
                      <a:pt x="48220" y="261483"/>
                      <a:pt x="48682" y="259651"/>
                      <a:pt x="49247" y="257853"/>
                    </a:cubicBezTo>
                    <a:lnTo>
                      <a:pt x="51080" y="252476"/>
                    </a:lnTo>
                    <a:lnTo>
                      <a:pt x="52895" y="247099"/>
                    </a:lnTo>
                    <a:cubicBezTo>
                      <a:pt x="53511" y="245319"/>
                      <a:pt x="54059" y="243503"/>
                      <a:pt x="54795" y="241757"/>
                    </a:cubicBezTo>
                    <a:lnTo>
                      <a:pt x="58956" y="231209"/>
                    </a:lnTo>
                    <a:cubicBezTo>
                      <a:pt x="59607" y="229428"/>
                      <a:pt x="60412" y="227716"/>
                      <a:pt x="61200" y="226003"/>
                    </a:cubicBezTo>
                    <a:lnTo>
                      <a:pt x="63545" y="220832"/>
                    </a:lnTo>
                    <a:lnTo>
                      <a:pt x="65874" y="215661"/>
                    </a:lnTo>
                    <a:cubicBezTo>
                      <a:pt x="66679" y="213948"/>
                      <a:pt x="67587" y="212287"/>
                      <a:pt x="68443" y="210592"/>
                    </a:cubicBezTo>
                    <a:cubicBezTo>
                      <a:pt x="70189" y="207236"/>
                      <a:pt x="71850" y="203828"/>
                      <a:pt x="73648" y="200506"/>
                    </a:cubicBezTo>
                    <a:lnTo>
                      <a:pt x="79316" y="190660"/>
                    </a:lnTo>
                    <a:lnTo>
                      <a:pt x="80720" y="188195"/>
                    </a:lnTo>
                    <a:lnTo>
                      <a:pt x="82244" y="185797"/>
                    </a:lnTo>
                    <a:lnTo>
                      <a:pt x="85309" y="181020"/>
                    </a:lnTo>
                    <a:cubicBezTo>
                      <a:pt x="87347" y="177835"/>
                      <a:pt x="89333" y="174599"/>
                      <a:pt x="91611" y="171568"/>
                    </a:cubicBezTo>
                    <a:lnTo>
                      <a:pt x="98203" y="162304"/>
                    </a:lnTo>
                    <a:cubicBezTo>
                      <a:pt x="102930" y="156379"/>
                      <a:pt x="107450" y="150283"/>
                      <a:pt x="112553" y="144667"/>
                    </a:cubicBezTo>
                    <a:cubicBezTo>
                      <a:pt x="117382" y="138810"/>
                      <a:pt x="122793" y="133502"/>
                      <a:pt x="127964" y="127954"/>
                    </a:cubicBezTo>
                    <a:cubicBezTo>
                      <a:pt x="133512" y="122783"/>
                      <a:pt x="138821" y="117355"/>
                      <a:pt x="144677" y="112543"/>
                    </a:cubicBezTo>
                    <a:cubicBezTo>
                      <a:pt x="150293" y="107440"/>
                      <a:pt x="156389" y="102920"/>
                      <a:pt x="162314" y="98193"/>
                    </a:cubicBezTo>
                    <a:lnTo>
                      <a:pt x="171578" y="91601"/>
                    </a:lnTo>
                    <a:cubicBezTo>
                      <a:pt x="174609" y="89323"/>
                      <a:pt x="177845" y="87337"/>
                      <a:pt x="181030" y="85299"/>
                    </a:cubicBezTo>
                    <a:lnTo>
                      <a:pt x="185808" y="82234"/>
                    </a:lnTo>
                    <a:lnTo>
                      <a:pt x="188205" y="80710"/>
                    </a:lnTo>
                    <a:lnTo>
                      <a:pt x="190671" y="79306"/>
                    </a:lnTo>
                    <a:lnTo>
                      <a:pt x="200517" y="73638"/>
                    </a:lnTo>
                    <a:cubicBezTo>
                      <a:pt x="203839" y="71840"/>
                      <a:pt x="207246" y="70179"/>
                      <a:pt x="210602" y="68433"/>
                    </a:cubicBezTo>
                    <a:cubicBezTo>
                      <a:pt x="212298" y="67577"/>
                      <a:pt x="213959" y="66669"/>
                      <a:pt x="215671" y="65864"/>
                    </a:cubicBezTo>
                    <a:lnTo>
                      <a:pt x="220842" y="63535"/>
                    </a:lnTo>
                    <a:lnTo>
                      <a:pt x="226014" y="61190"/>
                    </a:lnTo>
                    <a:cubicBezTo>
                      <a:pt x="227726" y="60402"/>
                      <a:pt x="229455" y="59597"/>
                      <a:pt x="231219" y="58946"/>
                    </a:cubicBezTo>
                    <a:lnTo>
                      <a:pt x="241767" y="54785"/>
                    </a:lnTo>
                    <a:cubicBezTo>
                      <a:pt x="243514" y="54049"/>
                      <a:pt x="245312" y="53501"/>
                      <a:pt x="247110" y="52885"/>
                    </a:cubicBezTo>
                    <a:lnTo>
                      <a:pt x="252487" y="51070"/>
                    </a:lnTo>
                    <a:lnTo>
                      <a:pt x="257863" y="49237"/>
                    </a:lnTo>
                    <a:cubicBezTo>
                      <a:pt x="259661" y="48672"/>
                      <a:pt x="261494" y="48210"/>
                      <a:pt x="263309" y="47679"/>
                    </a:cubicBezTo>
                    <a:cubicBezTo>
                      <a:pt x="266956" y="46669"/>
                      <a:pt x="270569" y="45573"/>
                      <a:pt x="274234" y="44614"/>
                    </a:cubicBezTo>
                    <a:lnTo>
                      <a:pt x="285295" y="42063"/>
                    </a:lnTo>
                    <a:cubicBezTo>
                      <a:pt x="288960" y="41104"/>
                      <a:pt x="292710" y="40590"/>
                      <a:pt x="296426" y="39888"/>
                    </a:cubicBezTo>
                    <a:cubicBezTo>
                      <a:pt x="300158" y="39271"/>
                      <a:pt x="303857" y="38415"/>
                      <a:pt x="307624" y="38039"/>
                    </a:cubicBezTo>
                    <a:lnTo>
                      <a:pt x="318892" y="36600"/>
                    </a:lnTo>
                    <a:cubicBezTo>
                      <a:pt x="322659" y="36155"/>
                      <a:pt x="326443" y="36001"/>
                      <a:pt x="330227" y="35675"/>
                    </a:cubicBezTo>
                    <a:lnTo>
                      <a:pt x="335895" y="35230"/>
                    </a:lnTo>
                    <a:cubicBezTo>
                      <a:pt x="337779" y="35110"/>
                      <a:pt x="339697" y="35128"/>
                      <a:pt x="341580" y="35059"/>
                    </a:cubicBezTo>
                    <a:lnTo>
                      <a:pt x="352968" y="34751"/>
                    </a:lnTo>
                    <a:lnTo>
                      <a:pt x="364355" y="35059"/>
                    </a:lnTo>
                    <a:cubicBezTo>
                      <a:pt x="366255" y="35128"/>
                      <a:pt x="368156" y="35110"/>
                      <a:pt x="370040" y="35230"/>
                    </a:cubicBezTo>
                    <a:lnTo>
                      <a:pt x="375708" y="35675"/>
                    </a:lnTo>
                    <a:cubicBezTo>
                      <a:pt x="379475" y="36001"/>
                      <a:pt x="383276" y="36155"/>
                      <a:pt x="387043" y="36600"/>
                    </a:cubicBezTo>
                    <a:lnTo>
                      <a:pt x="398311" y="38039"/>
                    </a:lnTo>
                    <a:cubicBezTo>
                      <a:pt x="402078" y="38398"/>
                      <a:pt x="405776" y="39271"/>
                      <a:pt x="409509" y="39888"/>
                    </a:cubicBezTo>
                    <a:cubicBezTo>
                      <a:pt x="413225" y="40590"/>
                      <a:pt x="416992" y="41104"/>
                      <a:pt x="420640" y="42063"/>
                    </a:cubicBezTo>
                    <a:lnTo>
                      <a:pt x="431702" y="44614"/>
                    </a:lnTo>
                    <a:cubicBezTo>
                      <a:pt x="435366" y="45573"/>
                      <a:pt x="438979" y="46669"/>
                      <a:pt x="442626" y="47679"/>
                    </a:cubicBezTo>
                    <a:cubicBezTo>
                      <a:pt x="444441" y="48210"/>
                      <a:pt x="446274" y="48672"/>
                      <a:pt x="448072" y="49237"/>
                    </a:cubicBezTo>
                    <a:lnTo>
                      <a:pt x="453448" y="51070"/>
                    </a:lnTo>
                    <a:lnTo>
                      <a:pt x="458825" y="52885"/>
                    </a:lnTo>
                    <a:cubicBezTo>
                      <a:pt x="460606" y="53501"/>
                      <a:pt x="462421" y="54049"/>
                      <a:pt x="464168" y="54785"/>
                    </a:cubicBezTo>
                    <a:lnTo>
                      <a:pt x="474716" y="58946"/>
                    </a:lnTo>
                    <a:cubicBezTo>
                      <a:pt x="476497" y="59597"/>
                      <a:pt x="478209" y="60402"/>
                      <a:pt x="479921" y="61190"/>
                    </a:cubicBezTo>
                    <a:lnTo>
                      <a:pt x="485093" y="63535"/>
                    </a:lnTo>
                    <a:lnTo>
                      <a:pt x="490264" y="65864"/>
                    </a:lnTo>
                    <a:cubicBezTo>
                      <a:pt x="491976" y="66669"/>
                      <a:pt x="493637" y="67577"/>
                      <a:pt x="495333" y="68433"/>
                    </a:cubicBezTo>
                    <a:cubicBezTo>
                      <a:pt x="498689" y="70179"/>
                      <a:pt x="502096" y="71840"/>
                      <a:pt x="505418" y="73638"/>
                    </a:cubicBezTo>
                    <a:lnTo>
                      <a:pt x="515264" y="79306"/>
                    </a:lnTo>
                    <a:lnTo>
                      <a:pt x="517730" y="80710"/>
                    </a:lnTo>
                    <a:lnTo>
                      <a:pt x="520127" y="82234"/>
                    </a:lnTo>
                    <a:lnTo>
                      <a:pt x="524905" y="85299"/>
                    </a:lnTo>
                    <a:cubicBezTo>
                      <a:pt x="528090" y="87337"/>
                      <a:pt x="531326" y="89323"/>
                      <a:pt x="534357" y="91601"/>
                    </a:cubicBezTo>
                    <a:lnTo>
                      <a:pt x="543621" y="98193"/>
                    </a:lnTo>
                    <a:cubicBezTo>
                      <a:pt x="549546" y="102920"/>
                      <a:pt x="555642" y="107440"/>
                      <a:pt x="561258" y="112543"/>
                    </a:cubicBezTo>
                    <a:cubicBezTo>
                      <a:pt x="567114" y="117372"/>
                      <a:pt x="572423" y="122783"/>
                      <a:pt x="577971" y="127954"/>
                    </a:cubicBezTo>
                    <a:cubicBezTo>
                      <a:pt x="583142" y="133502"/>
                      <a:pt x="588570" y="138810"/>
                      <a:pt x="593382" y="144667"/>
                    </a:cubicBezTo>
                    <a:cubicBezTo>
                      <a:pt x="598485" y="150283"/>
                      <a:pt x="603005" y="156379"/>
                      <a:pt x="607731" y="162304"/>
                    </a:cubicBezTo>
                    <a:lnTo>
                      <a:pt x="614324" y="171568"/>
                    </a:lnTo>
                    <a:cubicBezTo>
                      <a:pt x="616602" y="174599"/>
                      <a:pt x="618588" y="177835"/>
                      <a:pt x="620626" y="181020"/>
                    </a:cubicBezTo>
                    <a:lnTo>
                      <a:pt x="623691" y="185797"/>
                    </a:lnTo>
                    <a:lnTo>
                      <a:pt x="625215" y="188195"/>
                    </a:lnTo>
                    <a:lnTo>
                      <a:pt x="626619" y="190660"/>
                    </a:lnTo>
                    <a:lnTo>
                      <a:pt x="632287" y="200506"/>
                    </a:lnTo>
                    <a:cubicBezTo>
                      <a:pt x="634085" y="203828"/>
                      <a:pt x="635746" y="207236"/>
                      <a:pt x="637492" y="210592"/>
                    </a:cubicBezTo>
                    <a:cubicBezTo>
                      <a:pt x="638348" y="212287"/>
                      <a:pt x="639256" y="213948"/>
                      <a:pt x="640061" y="215661"/>
                    </a:cubicBezTo>
                    <a:lnTo>
                      <a:pt x="642390" y="220832"/>
                    </a:lnTo>
                    <a:lnTo>
                      <a:pt x="644736" y="226003"/>
                    </a:lnTo>
                    <a:cubicBezTo>
                      <a:pt x="645523" y="227716"/>
                      <a:pt x="646328" y="229445"/>
                      <a:pt x="646979" y="231209"/>
                    </a:cubicBezTo>
                    <a:lnTo>
                      <a:pt x="651140" y="241757"/>
                    </a:lnTo>
                    <a:cubicBezTo>
                      <a:pt x="651876" y="243503"/>
                      <a:pt x="652424" y="245302"/>
                      <a:pt x="653040" y="247099"/>
                    </a:cubicBezTo>
                    <a:lnTo>
                      <a:pt x="654855" y="252476"/>
                    </a:lnTo>
                    <a:lnTo>
                      <a:pt x="656688" y="257853"/>
                    </a:lnTo>
                    <a:cubicBezTo>
                      <a:pt x="657253" y="259651"/>
                      <a:pt x="657715" y="261483"/>
                      <a:pt x="658246" y="263298"/>
                    </a:cubicBezTo>
                    <a:cubicBezTo>
                      <a:pt x="659256" y="266946"/>
                      <a:pt x="660352" y="270559"/>
                      <a:pt x="661311" y="274223"/>
                    </a:cubicBezTo>
                    <a:lnTo>
                      <a:pt x="663862" y="285285"/>
                    </a:lnTo>
                    <a:cubicBezTo>
                      <a:pt x="664821" y="288949"/>
                      <a:pt x="665335" y="292699"/>
                      <a:pt x="666037" y="296415"/>
                    </a:cubicBezTo>
                    <a:cubicBezTo>
                      <a:pt x="666654" y="300148"/>
                      <a:pt x="667510" y="303847"/>
                      <a:pt x="667886" y="307614"/>
                    </a:cubicBezTo>
                    <a:lnTo>
                      <a:pt x="669325" y="318881"/>
                    </a:lnTo>
                    <a:cubicBezTo>
                      <a:pt x="669770" y="322648"/>
                      <a:pt x="669924" y="326433"/>
                      <a:pt x="670250" y="330217"/>
                    </a:cubicBezTo>
                    <a:lnTo>
                      <a:pt x="670695" y="335885"/>
                    </a:lnTo>
                    <a:cubicBezTo>
                      <a:pt x="670815" y="337786"/>
                      <a:pt x="670797" y="339686"/>
                      <a:pt x="670866" y="341570"/>
                    </a:cubicBezTo>
                    <a:lnTo>
                      <a:pt x="671174" y="352957"/>
                    </a:lnTo>
                    <a:lnTo>
                      <a:pt x="670866" y="364344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01" name="Freeform 16">
                <a:extLst>
                  <a:ext uri="{FF2B5EF4-FFF2-40B4-BE49-F238E27FC236}">
                    <a16:creationId xmlns:a16="http://schemas.microsoft.com/office/drawing/2014/main" id="{EB90064A-62D6-D032-44F2-CF05EC1F4DF3}"/>
                  </a:ext>
                </a:extLst>
              </p:cNvPr>
              <p:cNvSpPr/>
              <p:nvPr/>
            </p:nvSpPr>
            <p:spPr>
              <a:xfrm>
                <a:off x="3819993" y="4013862"/>
                <a:ext cx="142776" cy="144128"/>
              </a:xfrm>
              <a:custGeom>
                <a:avLst/>
                <a:gdLst>
                  <a:gd name="connsiteX0" fmla="*/ 70326 w 142776"/>
                  <a:gd name="connsiteY0" fmla="*/ 144129 h 144128"/>
                  <a:gd name="connsiteX1" fmla="*/ 142776 w 142776"/>
                  <a:gd name="connsiteY1" fmla="*/ 69008 h 144128"/>
                  <a:gd name="connsiteX2" fmla="*/ 70326 w 142776"/>
                  <a:gd name="connsiteY2" fmla="*/ 0 h 144128"/>
                  <a:gd name="connsiteX3" fmla="*/ 0 w 142776"/>
                  <a:gd name="connsiteY3" fmla="*/ 69008 h 144128"/>
                  <a:gd name="connsiteX4" fmla="*/ 70326 w 142776"/>
                  <a:gd name="connsiteY4" fmla="*/ 144129 h 144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776" h="144128">
                    <a:moveTo>
                      <a:pt x="70326" y="144129"/>
                    </a:moveTo>
                    <a:cubicBezTo>
                      <a:pt x="111217" y="144129"/>
                      <a:pt x="142776" y="112895"/>
                      <a:pt x="142776" y="69008"/>
                    </a:cubicBezTo>
                    <a:cubicBezTo>
                      <a:pt x="142776" y="31028"/>
                      <a:pt x="111217" y="0"/>
                      <a:pt x="70326" y="0"/>
                    </a:cubicBezTo>
                    <a:cubicBezTo>
                      <a:pt x="31987" y="0"/>
                      <a:pt x="0" y="31011"/>
                      <a:pt x="0" y="69008"/>
                    </a:cubicBezTo>
                    <a:cubicBezTo>
                      <a:pt x="0" y="112895"/>
                      <a:pt x="31987" y="144129"/>
                      <a:pt x="70326" y="144129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02" name="Freeform 17">
                <a:extLst>
                  <a:ext uri="{FF2B5EF4-FFF2-40B4-BE49-F238E27FC236}">
                    <a16:creationId xmlns:a16="http://schemas.microsoft.com/office/drawing/2014/main" id="{3C7E24DE-1142-9975-580C-3732094749DF}"/>
                  </a:ext>
                </a:extLst>
              </p:cNvPr>
              <p:cNvSpPr/>
              <p:nvPr/>
            </p:nvSpPr>
            <p:spPr>
              <a:xfrm>
                <a:off x="3731824" y="3927011"/>
                <a:ext cx="319114" cy="423019"/>
              </a:xfrm>
              <a:custGeom>
                <a:avLst/>
                <a:gdLst>
                  <a:gd name="connsiteX0" fmla="*/ 26593 w 319114"/>
                  <a:gd name="connsiteY0" fmla="*/ 246356 h 423019"/>
                  <a:gd name="connsiteX1" fmla="*/ 64470 w 319114"/>
                  <a:gd name="connsiteY1" fmla="*/ 302812 h 423019"/>
                  <a:gd name="connsiteX2" fmla="*/ 136646 w 319114"/>
                  <a:gd name="connsiteY2" fmla="*/ 410142 h 423019"/>
                  <a:gd name="connsiteX3" fmla="*/ 160653 w 319114"/>
                  <a:gd name="connsiteY3" fmla="*/ 423019 h 423019"/>
                  <a:gd name="connsiteX4" fmla="*/ 183376 w 319114"/>
                  <a:gd name="connsiteY4" fmla="*/ 411855 h 423019"/>
                  <a:gd name="connsiteX5" fmla="*/ 184849 w 319114"/>
                  <a:gd name="connsiteY5" fmla="*/ 409851 h 423019"/>
                  <a:gd name="connsiteX6" fmla="*/ 292128 w 319114"/>
                  <a:gd name="connsiteY6" fmla="*/ 246784 h 423019"/>
                  <a:gd name="connsiteX7" fmla="*/ 319114 w 319114"/>
                  <a:gd name="connsiteY7" fmla="*/ 157262 h 423019"/>
                  <a:gd name="connsiteX8" fmla="*/ 272384 w 319114"/>
                  <a:gd name="connsiteY8" fmla="*/ 46216 h 423019"/>
                  <a:gd name="connsiteX9" fmla="*/ 160653 w 319114"/>
                  <a:gd name="connsiteY9" fmla="*/ 0 h 423019"/>
                  <a:gd name="connsiteX10" fmla="*/ 0 w 319114"/>
                  <a:gd name="connsiteY10" fmla="*/ 158478 h 423019"/>
                  <a:gd name="connsiteX11" fmla="*/ 51 w 319114"/>
                  <a:gd name="connsiteY11" fmla="*/ 160173 h 423019"/>
                  <a:gd name="connsiteX12" fmla="*/ 26593 w 319114"/>
                  <a:gd name="connsiteY12" fmla="*/ 246373 h 423019"/>
                  <a:gd name="connsiteX13" fmla="*/ 71217 w 319114"/>
                  <a:gd name="connsiteY13" fmla="*/ 71131 h 423019"/>
                  <a:gd name="connsiteX14" fmla="*/ 160653 w 319114"/>
                  <a:gd name="connsiteY14" fmla="*/ 34230 h 423019"/>
                  <a:gd name="connsiteX15" fmla="*/ 248291 w 319114"/>
                  <a:gd name="connsiteY15" fmla="*/ 70532 h 423019"/>
                  <a:gd name="connsiteX16" fmla="*/ 284884 w 319114"/>
                  <a:gd name="connsiteY16" fmla="*/ 157262 h 423019"/>
                  <a:gd name="connsiteX17" fmla="*/ 263497 w 319114"/>
                  <a:gd name="connsiteY17" fmla="*/ 228017 h 423019"/>
                  <a:gd name="connsiteX18" fmla="*/ 160602 w 319114"/>
                  <a:gd name="connsiteY18" fmla="*/ 384406 h 423019"/>
                  <a:gd name="connsiteX19" fmla="*/ 92929 w 319114"/>
                  <a:gd name="connsiteY19" fmla="*/ 283719 h 423019"/>
                  <a:gd name="connsiteX20" fmla="*/ 55652 w 319114"/>
                  <a:gd name="connsiteY20" fmla="*/ 228205 h 423019"/>
                  <a:gd name="connsiteX21" fmla="*/ 34247 w 319114"/>
                  <a:gd name="connsiteY21" fmla="*/ 158221 h 423019"/>
                  <a:gd name="connsiteX22" fmla="*/ 71217 w 319114"/>
                  <a:gd name="connsiteY22" fmla="*/ 71148 h 423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19114" h="423019">
                    <a:moveTo>
                      <a:pt x="26593" y="246356"/>
                    </a:moveTo>
                    <a:lnTo>
                      <a:pt x="64470" y="302812"/>
                    </a:lnTo>
                    <a:cubicBezTo>
                      <a:pt x="105532" y="363994"/>
                      <a:pt x="126252" y="394851"/>
                      <a:pt x="136646" y="410142"/>
                    </a:cubicBezTo>
                    <a:cubicBezTo>
                      <a:pt x="141766" y="418105"/>
                      <a:pt x="150910" y="423019"/>
                      <a:pt x="160653" y="423019"/>
                    </a:cubicBezTo>
                    <a:cubicBezTo>
                      <a:pt x="169163" y="423019"/>
                      <a:pt x="177657" y="418841"/>
                      <a:pt x="183376" y="411855"/>
                    </a:cubicBezTo>
                    <a:cubicBezTo>
                      <a:pt x="183890" y="411221"/>
                      <a:pt x="184386" y="410553"/>
                      <a:pt x="184849" y="409851"/>
                    </a:cubicBezTo>
                    <a:lnTo>
                      <a:pt x="292128" y="246784"/>
                    </a:lnTo>
                    <a:cubicBezTo>
                      <a:pt x="309782" y="219712"/>
                      <a:pt x="319114" y="188752"/>
                      <a:pt x="319114" y="157262"/>
                    </a:cubicBezTo>
                    <a:cubicBezTo>
                      <a:pt x="319114" y="115515"/>
                      <a:pt x="302522" y="76063"/>
                      <a:pt x="272384" y="46216"/>
                    </a:cubicBezTo>
                    <a:cubicBezTo>
                      <a:pt x="242298" y="16404"/>
                      <a:pt x="202623" y="0"/>
                      <a:pt x="160653" y="0"/>
                    </a:cubicBezTo>
                    <a:cubicBezTo>
                      <a:pt x="72244" y="0"/>
                      <a:pt x="171" y="71080"/>
                      <a:pt x="0" y="158478"/>
                    </a:cubicBezTo>
                    <a:cubicBezTo>
                      <a:pt x="0" y="159077"/>
                      <a:pt x="17" y="159660"/>
                      <a:pt x="51" y="160173"/>
                    </a:cubicBezTo>
                    <a:cubicBezTo>
                      <a:pt x="2089" y="191441"/>
                      <a:pt x="11267" y="221253"/>
                      <a:pt x="26593" y="246373"/>
                    </a:cubicBezTo>
                    <a:close/>
                    <a:moveTo>
                      <a:pt x="71217" y="71131"/>
                    </a:moveTo>
                    <a:cubicBezTo>
                      <a:pt x="95190" y="47346"/>
                      <a:pt x="126954" y="34230"/>
                      <a:pt x="160653" y="34230"/>
                    </a:cubicBezTo>
                    <a:cubicBezTo>
                      <a:pt x="194352" y="34230"/>
                      <a:pt x="224661" y="47124"/>
                      <a:pt x="248291" y="70532"/>
                    </a:cubicBezTo>
                    <a:cubicBezTo>
                      <a:pt x="271887" y="93905"/>
                      <a:pt x="284884" y="124710"/>
                      <a:pt x="284884" y="157262"/>
                    </a:cubicBezTo>
                    <a:cubicBezTo>
                      <a:pt x="284884" y="182451"/>
                      <a:pt x="277675" y="206270"/>
                      <a:pt x="263497" y="228017"/>
                    </a:cubicBezTo>
                    <a:lnTo>
                      <a:pt x="160602" y="384406"/>
                    </a:lnTo>
                    <a:cubicBezTo>
                      <a:pt x="149146" y="367488"/>
                      <a:pt x="128820" y="337196"/>
                      <a:pt x="92929" y="283719"/>
                    </a:cubicBezTo>
                    <a:lnTo>
                      <a:pt x="55652" y="228205"/>
                    </a:lnTo>
                    <a:cubicBezTo>
                      <a:pt x="43374" y="207948"/>
                      <a:pt x="35976" y="183787"/>
                      <a:pt x="34247" y="158221"/>
                    </a:cubicBezTo>
                    <a:cubicBezTo>
                      <a:pt x="34384" y="125584"/>
                      <a:pt x="47518" y="94659"/>
                      <a:pt x="71217" y="71148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03" name="Freeform 18">
                <a:extLst>
                  <a:ext uri="{FF2B5EF4-FFF2-40B4-BE49-F238E27FC236}">
                    <a16:creationId xmlns:a16="http://schemas.microsoft.com/office/drawing/2014/main" id="{E7D73C56-698F-AB99-99C9-657DB0F612A5}"/>
                  </a:ext>
                </a:extLst>
              </p:cNvPr>
              <p:cNvSpPr/>
              <p:nvPr/>
            </p:nvSpPr>
            <p:spPr>
              <a:xfrm>
                <a:off x="3713313" y="4386469"/>
                <a:ext cx="356135" cy="34247"/>
              </a:xfrm>
              <a:custGeom>
                <a:avLst/>
                <a:gdLst>
                  <a:gd name="connsiteX0" fmla="*/ 339012 w 356135"/>
                  <a:gd name="connsiteY0" fmla="*/ 0 h 34247"/>
                  <a:gd name="connsiteX1" fmla="*/ 17124 w 356135"/>
                  <a:gd name="connsiteY1" fmla="*/ 0 h 34247"/>
                  <a:gd name="connsiteX2" fmla="*/ 0 w 356135"/>
                  <a:gd name="connsiteY2" fmla="*/ 17124 h 34247"/>
                  <a:gd name="connsiteX3" fmla="*/ 17124 w 356135"/>
                  <a:gd name="connsiteY3" fmla="*/ 34247 h 34247"/>
                  <a:gd name="connsiteX4" fmla="*/ 339012 w 356135"/>
                  <a:gd name="connsiteY4" fmla="*/ 34247 h 34247"/>
                  <a:gd name="connsiteX5" fmla="*/ 356135 w 356135"/>
                  <a:gd name="connsiteY5" fmla="*/ 17124 h 34247"/>
                  <a:gd name="connsiteX6" fmla="*/ 339012 w 356135"/>
                  <a:gd name="connsiteY6" fmla="*/ 0 h 34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56135" h="34247">
                    <a:moveTo>
                      <a:pt x="339012" y="0"/>
                    </a:moveTo>
                    <a:lnTo>
                      <a:pt x="17124" y="0"/>
                    </a:lnTo>
                    <a:cubicBezTo>
                      <a:pt x="7671" y="0"/>
                      <a:pt x="0" y="7671"/>
                      <a:pt x="0" y="17124"/>
                    </a:cubicBezTo>
                    <a:cubicBezTo>
                      <a:pt x="0" y="26576"/>
                      <a:pt x="7671" y="34247"/>
                      <a:pt x="17124" y="34247"/>
                    </a:cubicBezTo>
                    <a:lnTo>
                      <a:pt x="339012" y="34247"/>
                    </a:lnTo>
                    <a:cubicBezTo>
                      <a:pt x="348464" y="34247"/>
                      <a:pt x="356135" y="26576"/>
                      <a:pt x="356135" y="17124"/>
                    </a:cubicBezTo>
                    <a:cubicBezTo>
                      <a:pt x="356135" y="7671"/>
                      <a:pt x="348464" y="0"/>
                      <a:pt x="339012" y="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04" name="Freeform 19">
                <a:extLst>
                  <a:ext uri="{FF2B5EF4-FFF2-40B4-BE49-F238E27FC236}">
                    <a16:creationId xmlns:a16="http://schemas.microsoft.com/office/drawing/2014/main" id="{BCE9F28D-CA99-78E2-8C06-468CD524B95D}"/>
                  </a:ext>
                </a:extLst>
              </p:cNvPr>
              <p:cNvSpPr/>
              <p:nvPr/>
            </p:nvSpPr>
            <p:spPr>
              <a:xfrm rot="21046799">
                <a:off x="2884293" y="3204879"/>
                <a:ext cx="128084" cy="128083"/>
              </a:xfrm>
              <a:custGeom>
                <a:avLst/>
                <a:gdLst>
                  <a:gd name="connsiteX0" fmla="*/ 128084 w 128084"/>
                  <a:gd name="connsiteY0" fmla="*/ 64042 h 128083"/>
                  <a:gd name="connsiteX1" fmla="*/ 64042 w 128084"/>
                  <a:gd name="connsiteY1" fmla="*/ 128084 h 128083"/>
                  <a:gd name="connsiteX2" fmla="*/ 0 w 128084"/>
                  <a:gd name="connsiteY2" fmla="*/ 64042 h 128083"/>
                  <a:gd name="connsiteX3" fmla="*/ 64042 w 128084"/>
                  <a:gd name="connsiteY3" fmla="*/ 0 h 128083"/>
                  <a:gd name="connsiteX4" fmla="*/ 128084 w 128084"/>
                  <a:gd name="connsiteY4" fmla="*/ 64042 h 128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084" h="128083">
                    <a:moveTo>
                      <a:pt x="128084" y="64042"/>
                    </a:moveTo>
                    <a:cubicBezTo>
                      <a:pt x="128084" y="99411"/>
                      <a:pt x="99411" y="128084"/>
                      <a:pt x="64042" y="128084"/>
                    </a:cubicBezTo>
                    <a:cubicBezTo>
                      <a:pt x="28673" y="128084"/>
                      <a:pt x="0" y="99411"/>
                      <a:pt x="0" y="64042"/>
                    </a:cubicBezTo>
                    <a:cubicBezTo>
                      <a:pt x="0" y="28673"/>
                      <a:pt x="28673" y="0"/>
                      <a:pt x="64042" y="0"/>
                    </a:cubicBezTo>
                    <a:cubicBezTo>
                      <a:pt x="99411" y="0"/>
                      <a:pt x="128084" y="28673"/>
                      <a:pt x="128084" y="64042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05" name="Freeform 20">
                <a:extLst>
                  <a:ext uri="{FF2B5EF4-FFF2-40B4-BE49-F238E27FC236}">
                    <a16:creationId xmlns:a16="http://schemas.microsoft.com/office/drawing/2014/main" id="{8C6B52A9-3D6E-8469-EBB8-C0258C2B23DD}"/>
                  </a:ext>
                </a:extLst>
              </p:cNvPr>
              <p:cNvSpPr/>
              <p:nvPr/>
            </p:nvSpPr>
            <p:spPr>
              <a:xfrm>
                <a:off x="2681569" y="3252722"/>
                <a:ext cx="136697" cy="32431"/>
              </a:xfrm>
              <a:custGeom>
                <a:avLst/>
                <a:gdLst>
                  <a:gd name="connsiteX0" fmla="*/ 136697 w 136697"/>
                  <a:gd name="connsiteY0" fmla="*/ 16216 h 32431"/>
                  <a:gd name="connsiteX1" fmla="*/ 120481 w 136697"/>
                  <a:gd name="connsiteY1" fmla="*/ 0 h 32431"/>
                  <a:gd name="connsiteX2" fmla="*/ 16216 w 136697"/>
                  <a:gd name="connsiteY2" fmla="*/ 0 h 32431"/>
                  <a:gd name="connsiteX3" fmla="*/ 0 w 136697"/>
                  <a:gd name="connsiteY3" fmla="*/ 16216 h 32431"/>
                  <a:gd name="connsiteX4" fmla="*/ 16216 w 136697"/>
                  <a:gd name="connsiteY4" fmla="*/ 32432 h 32431"/>
                  <a:gd name="connsiteX5" fmla="*/ 120481 w 136697"/>
                  <a:gd name="connsiteY5" fmla="*/ 32432 h 32431"/>
                  <a:gd name="connsiteX6" fmla="*/ 136697 w 136697"/>
                  <a:gd name="connsiteY6" fmla="*/ 16216 h 32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697" h="32431">
                    <a:moveTo>
                      <a:pt x="136697" y="16216"/>
                    </a:moveTo>
                    <a:cubicBezTo>
                      <a:pt x="136697" y="7260"/>
                      <a:pt x="129437" y="0"/>
                      <a:pt x="120481" y="0"/>
                    </a:cubicBezTo>
                    <a:lnTo>
                      <a:pt x="16216" y="0"/>
                    </a:lnTo>
                    <a:cubicBezTo>
                      <a:pt x="7260" y="0"/>
                      <a:pt x="0" y="7260"/>
                      <a:pt x="0" y="16216"/>
                    </a:cubicBezTo>
                    <a:cubicBezTo>
                      <a:pt x="0" y="25172"/>
                      <a:pt x="7260" y="32432"/>
                      <a:pt x="16216" y="32432"/>
                    </a:cubicBezTo>
                    <a:lnTo>
                      <a:pt x="120481" y="32432"/>
                    </a:lnTo>
                    <a:cubicBezTo>
                      <a:pt x="129437" y="32432"/>
                      <a:pt x="136697" y="25172"/>
                      <a:pt x="136697" y="16216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06" name="Freeform 21">
                <a:extLst>
                  <a:ext uri="{FF2B5EF4-FFF2-40B4-BE49-F238E27FC236}">
                    <a16:creationId xmlns:a16="http://schemas.microsoft.com/office/drawing/2014/main" id="{87EE8DD1-3AC6-A2A5-32F3-7FCBD4D56CAB}"/>
                  </a:ext>
                </a:extLst>
              </p:cNvPr>
              <p:cNvSpPr/>
              <p:nvPr/>
            </p:nvSpPr>
            <p:spPr>
              <a:xfrm>
                <a:off x="3078373" y="3252739"/>
                <a:ext cx="136697" cy="32431"/>
              </a:xfrm>
              <a:custGeom>
                <a:avLst/>
                <a:gdLst>
                  <a:gd name="connsiteX0" fmla="*/ 120481 w 136697"/>
                  <a:gd name="connsiteY0" fmla="*/ 0 h 32431"/>
                  <a:gd name="connsiteX1" fmla="*/ 16216 w 136697"/>
                  <a:gd name="connsiteY1" fmla="*/ 0 h 32431"/>
                  <a:gd name="connsiteX2" fmla="*/ 0 w 136697"/>
                  <a:gd name="connsiteY2" fmla="*/ 16216 h 32431"/>
                  <a:gd name="connsiteX3" fmla="*/ 16216 w 136697"/>
                  <a:gd name="connsiteY3" fmla="*/ 32432 h 32431"/>
                  <a:gd name="connsiteX4" fmla="*/ 120481 w 136697"/>
                  <a:gd name="connsiteY4" fmla="*/ 32432 h 32431"/>
                  <a:gd name="connsiteX5" fmla="*/ 136697 w 136697"/>
                  <a:gd name="connsiteY5" fmla="*/ 16216 h 32431"/>
                  <a:gd name="connsiteX6" fmla="*/ 120481 w 136697"/>
                  <a:gd name="connsiteY6" fmla="*/ 0 h 32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6697" h="32431">
                    <a:moveTo>
                      <a:pt x="120481" y="0"/>
                    </a:moveTo>
                    <a:lnTo>
                      <a:pt x="16216" y="0"/>
                    </a:lnTo>
                    <a:cubicBezTo>
                      <a:pt x="7260" y="0"/>
                      <a:pt x="0" y="7260"/>
                      <a:pt x="0" y="16216"/>
                    </a:cubicBezTo>
                    <a:cubicBezTo>
                      <a:pt x="0" y="25172"/>
                      <a:pt x="7260" y="32432"/>
                      <a:pt x="16216" y="32432"/>
                    </a:cubicBezTo>
                    <a:lnTo>
                      <a:pt x="120481" y="32432"/>
                    </a:lnTo>
                    <a:cubicBezTo>
                      <a:pt x="129437" y="32432"/>
                      <a:pt x="136697" y="25172"/>
                      <a:pt x="136697" y="16216"/>
                    </a:cubicBezTo>
                    <a:cubicBezTo>
                      <a:pt x="136697" y="7260"/>
                      <a:pt x="129437" y="0"/>
                      <a:pt x="120481" y="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07" name="Freeform 22">
                <a:extLst>
                  <a:ext uri="{FF2B5EF4-FFF2-40B4-BE49-F238E27FC236}">
                    <a16:creationId xmlns:a16="http://schemas.microsoft.com/office/drawing/2014/main" id="{EDEB7372-A7B3-66B3-9B6B-40AF51C53A1C}"/>
                  </a:ext>
                </a:extLst>
              </p:cNvPr>
              <p:cNvSpPr/>
              <p:nvPr/>
            </p:nvSpPr>
            <p:spPr>
              <a:xfrm>
                <a:off x="2754952" y="3075570"/>
                <a:ext cx="106148" cy="106157"/>
              </a:xfrm>
              <a:custGeom>
                <a:avLst/>
                <a:gdLst>
                  <a:gd name="connsiteX0" fmla="*/ 27680 w 106148"/>
                  <a:gd name="connsiteY0" fmla="*/ 4752 h 106157"/>
                  <a:gd name="connsiteX1" fmla="*/ 4752 w 106148"/>
                  <a:gd name="connsiteY1" fmla="*/ 4752 h 106157"/>
                  <a:gd name="connsiteX2" fmla="*/ 4752 w 106148"/>
                  <a:gd name="connsiteY2" fmla="*/ 27680 h 106157"/>
                  <a:gd name="connsiteX3" fmla="*/ 78486 w 106148"/>
                  <a:gd name="connsiteY3" fmla="*/ 101414 h 106157"/>
                  <a:gd name="connsiteX4" fmla="*/ 89941 w 106148"/>
                  <a:gd name="connsiteY4" fmla="*/ 106157 h 106157"/>
                  <a:gd name="connsiteX5" fmla="*/ 101397 w 106148"/>
                  <a:gd name="connsiteY5" fmla="*/ 101414 h 106157"/>
                  <a:gd name="connsiteX6" fmla="*/ 101397 w 106148"/>
                  <a:gd name="connsiteY6" fmla="*/ 78486 h 106157"/>
                  <a:gd name="connsiteX7" fmla="*/ 27663 w 106148"/>
                  <a:gd name="connsiteY7" fmla="*/ 4752 h 106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6148" h="106157">
                    <a:moveTo>
                      <a:pt x="27680" y="4752"/>
                    </a:moveTo>
                    <a:cubicBezTo>
                      <a:pt x="21344" y="-1584"/>
                      <a:pt x="11087" y="-1584"/>
                      <a:pt x="4752" y="4752"/>
                    </a:cubicBezTo>
                    <a:cubicBezTo>
                      <a:pt x="-1584" y="11087"/>
                      <a:pt x="-1584" y="21344"/>
                      <a:pt x="4752" y="27680"/>
                    </a:cubicBezTo>
                    <a:lnTo>
                      <a:pt x="78486" y="101414"/>
                    </a:lnTo>
                    <a:cubicBezTo>
                      <a:pt x="81654" y="104582"/>
                      <a:pt x="85797" y="106157"/>
                      <a:pt x="89941" y="106157"/>
                    </a:cubicBezTo>
                    <a:cubicBezTo>
                      <a:pt x="94085" y="106157"/>
                      <a:pt x="98229" y="104582"/>
                      <a:pt x="101397" y="101414"/>
                    </a:cubicBezTo>
                    <a:cubicBezTo>
                      <a:pt x="107733" y="95078"/>
                      <a:pt x="107733" y="84821"/>
                      <a:pt x="101397" y="78486"/>
                    </a:cubicBezTo>
                    <a:lnTo>
                      <a:pt x="27663" y="4752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08" name="Freeform 23">
                <a:extLst>
                  <a:ext uri="{FF2B5EF4-FFF2-40B4-BE49-F238E27FC236}">
                    <a16:creationId xmlns:a16="http://schemas.microsoft.com/office/drawing/2014/main" id="{D857FEFE-E0D6-7D0C-1674-0397A708B710}"/>
                  </a:ext>
                </a:extLst>
              </p:cNvPr>
              <p:cNvSpPr/>
              <p:nvPr/>
            </p:nvSpPr>
            <p:spPr>
              <a:xfrm>
                <a:off x="3035521" y="3356156"/>
                <a:ext cx="106148" cy="106157"/>
              </a:xfrm>
              <a:custGeom>
                <a:avLst/>
                <a:gdLst>
                  <a:gd name="connsiteX0" fmla="*/ 27680 w 106148"/>
                  <a:gd name="connsiteY0" fmla="*/ 4752 h 106157"/>
                  <a:gd name="connsiteX1" fmla="*/ 4752 w 106148"/>
                  <a:gd name="connsiteY1" fmla="*/ 4752 h 106157"/>
                  <a:gd name="connsiteX2" fmla="*/ 4752 w 106148"/>
                  <a:gd name="connsiteY2" fmla="*/ 27680 h 106157"/>
                  <a:gd name="connsiteX3" fmla="*/ 78486 w 106148"/>
                  <a:gd name="connsiteY3" fmla="*/ 101414 h 106157"/>
                  <a:gd name="connsiteX4" fmla="*/ 89941 w 106148"/>
                  <a:gd name="connsiteY4" fmla="*/ 106157 h 106157"/>
                  <a:gd name="connsiteX5" fmla="*/ 101397 w 106148"/>
                  <a:gd name="connsiteY5" fmla="*/ 101414 h 106157"/>
                  <a:gd name="connsiteX6" fmla="*/ 101397 w 106148"/>
                  <a:gd name="connsiteY6" fmla="*/ 78486 h 106157"/>
                  <a:gd name="connsiteX7" fmla="*/ 27663 w 106148"/>
                  <a:gd name="connsiteY7" fmla="*/ 4752 h 106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6148" h="106157">
                    <a:moveTo>
                      <a:pt x="27680" y="4752"/>
                    </a:moveTo>
                    <a:cubicBezTo>
                      <a:pt x="21345" y="-1584"/>
                      <a:pt x="11087" y="-1584"/>
                      <a:pt x="4752" y="4752"/>
                    </a:cubicBezTo>
                    <a:cubicBezTo>
                      <a:pt x="-1584" y="11087"/>
                      <a:pt x="-1584" y="21344"/>
                      <a:pt x="4752" y="27680"/>
                    </a:cubicBezTo>
                    <a:lnTo>
                      <a:pt x="78486" y="101414"/>
                    </a:lnTo>
                    <a:cubicBezTo>
                      <a:pt x="81654" y="104582"/>
                      <a:pt x="85797" y="106157"/>
                      <a:pt x="89941" y="106157"/>
                    </a:cubicBezTo>
                    <a:cubicBezTo>
                      <a:pt x="94085" y="106157"/>
                      <a:pt x="98229" y="104582"/>
                      <a:pt x="101397" y="101414"/>
                    </a:cubicBezTo>
                    <a:cubicBezTo>
                      <a:pt x="107733" y="95078"/>
                      <a:pt x="107733" y="84821"/>
                      <a:pt x="101397" y="78486"/>
                    </a:cubicBezTo>
                    <a:lnTo>
                      <a:pt x="27663" y="4752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09" name="Freeform 24">
                <a:extLst>
                  <a:ext uri="{FF2B5EF4-FFF2-40B4-BE49-F238E27FC236}">
                    <a16:creationId xmlns:a16="http://schemas.microsoft.com/office/drawing/2014/main" id="{312E6045-C347-44BA-E777-67E2894F37F5}"/>
                  </a:ext>
                </a:extLst>
              </p:cNvPr>
              <p:cNvSpPr/>
              <p:nvPr/>
            </p:nvSpPr>
            <p:spPr>
              <a:xfrm>
                <a:off x="3035521" y="3075570"/>
                <a:ext cx="106165" cy="106157"/>
              </a:xfrm>
              <a:custGeom>
                <a:avLst/>
                <a:gdLst>
                  <a:gd name="connsiteX0" fmla="*/ 16225 w 106165"/>
                  <a:gd name="connsiteY0" fmla="*/ 106157 h 106157"/>
                  <a:gd name="connsiteX1" fmla="*/ 27680 w 106165"/>
                  <a:gd name="connsiteY1" fmla="*/ 101414 h 106157"/>
                  <a:gd name="connsiteX2" fmla="*/ 101414 w 106165"/>
                  <a:gd name="connsiteY2" fmla="*/ 27680 h 106157"/>
                  <a:gd name="connsiteX3" fmla="*/ 101414 w 106165"/>
                  <a:gd name="connsiteY3" fmla="*/ 4752 h 106157"/>
                  <a:gd name="connsiteX4" fmla="*/ 78486 w 106165"/>
                  <a:gd name="connsiteY4" fmla="*/ 4752 h 106157"/>
                  <a:gd name="connsiteX5" fmla="*/ 4752 w 106165"/>
                  <a:gd name="connsiteY5" fmla="*/ 78486 h 106157"/>
                  <a:gd name="connsiteX6" fmla="*/ 4752 w 106165"/>
                  <a:gd name="connsiteY6" fmla="*/ 101414 h 106157"/>
                  <a:gd name="connsiteX7" fmla="*/ 16207 w 106165"/>
                  <a:gd name="connsiteY7" fmla="*/ 106157 h 106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6165" h="106157">
                    <a:moveTo>
                      <a:pt x="16225" y="106157"/>
                    </a:moveTo>
                    <a:cubicBezTo>
                      <a:pt x="20368" y="106157"/>
                      <a:pt x="24512" y="104582"/>
                      <a:pt x="27680" y="101414"/>
                    </a:cubicBezTo>
                    <a:lnTo>
                      <a:pt x="101414" y="27680"/>
                    </a:lnTo>
                    <a:cubicBezTo>
                      <a:pt x="107750" y="21344"/>
                      <a:pt x="107750" y="11087"/>
                      <a:pt x="101414" y="4752"/>
                    </a:cubicBezTo>
                    <a:cubicBezTo>
                      <a:pt x="95078" y="-1584"/>
                      <a:pt x="84821" y="-1584"/>
                      <a:pt x="78486" y="4752"/>
                    </a:cubicBezTo>
                    <a:lnTo>
                      <a:pt x="4752" y="78486"/>
                    </a:lnTo>
                    <a:cubicBezTo>
                      <a:pt x="-1584" y="84821"/>
                      <a:pt x="-1584" y="95078"/>
                      <a:pt x="4752" y="101414"/>
                    </a:cubicBezTo>
                    <a:cubicBezTo>
                      <a:pt x="7920" y="104582"/>
                      <a:pt x="12064" y="106157"/>
                      <a:pt x="16207" y="106157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10" name="Freeform 25">
                <a:extLst>
                  <a:ext uri="{FF2B5EF4-FFF2-40B4-BE49-F238E27FC236}">
                    <a16:creationId xmlns:a16="http://schemas.microsoft.com/office/drawing/2014/main" id="{06AFAE1E-9F1D-754E-184C-CCB03AD5FCB2}"/>
                  </a:ext>
                </a:extLst>
              </p:cNvPr>
              <p:cNvSpPr/>
              <p:nvPr/>
            </p:nvSpPr>
            <p:spPr>
              <a:xfrm>
                <a:off x="2754952" y="3356156"/>
                <a:ext cx="106148" cy="106157"/>
              </a:xfrm>
              <a:custGeom>
                <a:avLst/>
                <a:gdLst>
                  <a:gd name="connsiteX0" fmla="*/ 78486 w 106148"/>
                  <a:gd name="connsiteY0" fmla="*/ 4752 h 106157"/>
                  <a:gd name="connsiteX1" fmla="*/ 4752 w 106148"/>
                  <a:gd name="connsiteY1" fmla="*/ 78486 h 106157"/>
                  <a:gd name="connsiteX2" fmla="*/ 4752 w 106148"/>
                  <a:gd name="connsiteY2" fmla="*/ 101414 h 106157"/>
                  <a:gd name="connsiteX3" fmla="*/ 16207 w 106148"/>
                  <a:gd name="connsiteY3" fmla="*/ 106157 h 106157"/>
                  <a:gd name="connsiteX4" fmla="*/ 27663 w 106148"/>
                  <a:gd name="connsiteY4" fmla="*/ 101414 h 106157"/>
                  <a:gd name="connsiteX5" fmla="*/ 101397 w 106148"/>
                  <a:gd name="connsiteY5" fmla="*/ 27680 h 106157"/>
                  <a:gd name="connsiteX6" fmla="*/ 101397 w 106148"/>
                  <a:gd name="connsiteY6" fmla="*/ 4752 h 106157"/>
                  <a:gd name="connsiteX7" fmla="*/ 78469 w 106148"/>
                  <a:gd name="connsiteY7" fmla="*/ 4752 h 106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6148" h="106157">
                    <a:moveTo>
                      <a:pt x="78486" y="4752"/>
                    </a:moveTo>
                    <a:lnTo>
                      <a:pt x="4752" y="78486"/>
                    </a:lnTo>
                    <a:cubicBezTo>
                      <a:pt x="-1584" y="84821"/>
                      <a:pt x="-1584" y="95078"/>
                      <a:pt x="4752" y="101414"/>
                    </a:cubicBezTo>
                    <a:cubicBezTo>
                      <a:pt x="7920" y="104582"/>
                      <a:pt x="12064" y="106157"/>
                      <a:pt x="16207" y="106157"/>
                    </a:cubicBezTo>
                    <a:cubicBezTo>
                      <a:pt x="20351" y="106157"/>
                      <a:pt x="24495" y="104582"/>
                      <a:pt x="27663" y="101414"/>
                    </a:cubicBezTo>
                    <a:lnTo>
                      <a:pt x="101397" y="27680"/>
                    </a:lnTo>
                    <a:cubicBezTo>
                      <a:pt x="107733" y="21344"/>
                      <a:pt x="107733" y="11087"/>
                      <a:pt x="101397" y="4752"/>
                    </a:cubicBezTo>
                    <a:cubicBezTo>
                      <a:pt x="95061" y="-1584"/>
                      <a:pt x="84804" y="-1584"/>
                      <a:pt x="78469" y="4752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11" name="Freeform 26">
                <a:extLst>
                  <a:ext uri="{FF2B5EF4-FFF2-40B4-BE49-F238E27FC236}">
                    <a16:creationId xmlns:a16="http://schemas.microsoft.com/office/drawing/2014/main" id="{49557822-7D10-7259-772C-E614FA9405D0}"/>
                  </a:ext>
                </a:extLst>
              </p:cNvPr>
              <p:cNvSpPr/>
              <p:nvPr/>
            </p:nvSpPr>
            <p:spPr>
              <a:xfrm>
                <a:off x="2932103" y="3002188"/>
                <a:ext cx="32431" cy="136696"/>
              </a:xfrm>
              <a:custGeom>
                <a:avLst/>
                <a:gdLst>
                  <a:gd name="connsiteX0" fmla="*/ 16216 w 32431"/>
                  <a:gd name="connsiteY0" fmla="*/ 136697 h 136696"/>
                  <a:gd name="connsiteX1" fmla="*/ 32432 w 32431"/>
                  <a:gd name="connsiteY1" fmla="*/ 120481 h 136696"/>
                  <a:gd name="connsiteX2" fmla="*/ 32432 w 32431"/>
                  <a:gd name="connsiteY2" fmla="*/ 16216 h 136696"/>
                  <a:gd name="connsiteX3" fmla="*/ 16216 w 32431"/>
                  <a:gd name="connsiteY3" fmla="*/ 0 h 136696"/>
                  <a:gd name="connsiteX4" fmla="*/ 0 w 32431"/>
                  <a:gd name="connsiteY4" fmla="*/ 16216 h 136696"/>
                  <a:gd name="connsiteX5" fmla="*/ 0 w 32431"/>
                  <a:gd name="connsiteY5" fmla="*/ 120481 h 136696"/>
                  <a:gd name="connsiteX6" fmla="*/ 16216 w 32431"/>
                  <a:gd name="connsiteY6" fmla="*/ 136697 h 136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431" h="136696">
                    <a:moveTo>
                      <a:pt x="16216" y="136697"/>
                    </a:moveTo>
                    <a:cubicBezTo>
                      <a:pt x="25172" y="136697"/>
                      <a:pt x="32432" y="129437"/>
                      <a:pt x="32432" y="120481"/>
                    </a:cubicBezTo>
                    <a:lnTo>
                      <a:pt x="32432" y="16216"/>
                    </a:lnTo>
                    <a:cubicBezTo>
                      <a:pt x="32432" y="7260"/>
                      <a:pt x="25172" y="0"/>
                      <a:pt x="16216" y="0"/>
                    </a:cubicBezTo>
                    <a:cubicBezTo>
                      <a:pt x="7260" y="0"/>
                      <a:pt x="0" y="7260"/>
                      <a:pt x="0" y="16216"/>
                    </a:cubicBezTo>
                    <a:lnTo>
                      <a:pt x="0" y="120481"/>
                    </a:lnTo>
                    <a:cubicBezTo>
                      <a:pt x="0" y="129437"/>
                      <a:pt x="7260" y="136697"/>
                      <a:pt x="16216" y="136697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12" name="Freeform 27">
                <a:extLst>
                  <a:ext uri="{FF2B5EF4-FFF2-40B4-BE49-F238E27FC236}">
                    <a16:creationId xmlns:a16="http://schemas.microsoft.com/office/drawing/2014/main" id="{314F029F-4512-13B9-AE92-E72F4339DEF4}"/>
                  </a:ext>
                </a:extLst>
              </p:cNvPr>
              <p:cNvSpPr/>
              <p:nvPr/>
            </p:nvSpPr>
            <p:spPr>
              <a:xfrm>
                <a:off x="2932103" y="3398991"/>
                <a:ext cx="32431" cy="136696"/>
              </a:xfrm>
              <a:custGeom>
                <a:avLst/>
                <a:gdLst>
                  <a:gd name="connsiteX0" fmla="*/ 16216 w 32431"/>
                  <a:gd name="connsiteY0" fmla="*/ 0 h 136696"/>
                  <a:gd name="connsiteX1" fmla="*/ 0 w 32431"/>
                  <a:gd name="connsiteY1" fmla="*/ 16216 h 136696"/>
                  <a:gd name="connsiteX2" fmla="*/ 0 w 32431"/>
                  <a:gd name="connsiteY2" fmla="*/ 120481 h 136696"/>
                  <a:gd name="connsiteX3" fmla="*/ 16216 w 32431"/>
                  <a:gd name="connsiteY3" fmla="*/ 136697 h 136696"/>
                  <a:gd name="connsiteX4" fmla="*/ 32432 w 32431"/>
                  <a:gd name="connsiteY4" fmla="*/ 120481 h 136696"/>
                  <a:gd name="connsiteX5" fmla="*/ 32432 w 32431"/>
                  <a:gd name="connsiteY5" fmla="*/ 16216 h 136696"/>
                  <a:gd name="connsiteX6" fmla="*/ 16216 w 32431"/>
                  <a:gd name="connsiteY6" fmla="*/ 0 h 136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431" h="136696">
                    <a:moveTo>
                      <a:pt x="16216" y="0"/>
                    </a:moveTo>
                    <a:cubicBezTo>
                      <a:pt x="7260" y="0"/>
                      <a:pt x="0" y="7260"/>
                      <a:pt x="0" y="16216"/>
                    </a:cubicBezTo>
                    <a:lnTo>
                      <a:pt x="0" y="120481"/>
                    </a:lnTo>
                    <a:cubicBezTo>
                      <a:pt x="0" y="129437"/>
                      <a:pt x="7260" y="136697"/>
                      <a:pt x="16216" y="136697"/>
                    </a:cubicBezTo>
                    <a:cubicBezTo>
                      <a:pt x="25172" y="136697"/>
                      <a:pt x="32432" y="129437"/>
                      <a:pt x="32432" y="120481"/>
                    </a:cubicBezTo>
                    <a:lnTo>
                      <a:pt x="32432" y="16216"/>
                    </a:lnTo>
                    <a:cubicBezTo>
                      <a:pt x="32432" y="7260"/>
                      <a:pt x="25172" y="0"/>
                      <a:pt x="16216" y="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</p:grpSp>
      </p:grpSp>
      <p:sp>
        <p:nvSpPr>
          <p:cNvPr id="513" name="TextBox 512">
            <a:extLst>
              <a:ext uri="{FF2B5EF4-FFF2-40B4-BE49-F238E27FC236}">
                <a16:creationId xmlns:a16="http://schemas.microsoft.com/office/drawing/2014/main" id="{37CC72C3-BFE2-E7ED-C81E-A83327154779}"/>
              </a:ext>
            </a:extLst>
          </p:cNvPr>
          <p:cNvSpPr txBox="1"/>
          <p:nvPr/>
        </p:nvSpPr>
        <p:spPr>
          <a:xfrm>
            <a:off x="9376150" y="2410533"/>
            <a:ext cx="777457" cy="14414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algn="ctr" defTabSz="743407">
              <a:lnSpc>
                <a:spcPct val="96000"/>
              </a:lnSpc>
              <a:defRPr/>
            </a:pPr>
            <a:r>
              <a:rPr lang="en-US" sz="976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Wireless AI/ML</a:t>
            </a:r>
          </a:p>
        </p:txBody>
      </p:sp>
      <p:grpSp>
        <p:nvGrpSpPr>
          <p:cNvPr id="514" name="Group 513">
            <a:extLst>
              <a:ext uri="{FF2B5EF4-FFF2-40B4-BE49-F238E27FC236}">
                <a16:creationId xmlns:a16="http://schemas.microsoft.com/office/drawing/2014/main" id="{202337EE-5502-A3AB-8293-A9B5F4B801AD}"/>
              </a:ext>
            </a:extLst>
          </p:cNvPr>
          <p:cNvGrpSpPr/>
          <p:nvPr/>
        </p:nvGrpSpPr>
        <p:grpSpPr>
          <a:xfrm>
            <a:off x="9313600" y="1857678"/>
            <a:ext cx="902557" cy="508139"/>
            <a:chOff x="2340082" y="4292439"/>
            <a:chExt cx="1110098" cy="624985"/>
          </a:xfrm>
        </p:grpSpPr>
        <p:grpSp>
          <p:nvGrpSpPr>
            <p:cNvPr id="515" name="Group 514">
              <a:extLst>
                <a:ext uri="{FF2B5EF4-FFF2-40B4-BE49-F238E27FC236}">
                  <a16:creationId xmlns:a16="http://schemas.microsoft.com/office/drawing/2014/main" id="{3C9B97D9-3DCB-E100-56C4-2D16838CF9E1}"/>
                </a:ext>
              </a:extLst>
            </p:cNvPr>
            <p:cNvGrpSpPr/>
            <p:nvPr/>
          </p:nvGrpSpPr>
          <p:grpSpPr>
            <a:xfrm>
              <a:off x="2340082" y="4466399"/>
              <a:ext cx="401116" cy="437855"/>
              <a:chOff x="2371158" y="2738576"/>
              <a:chExt cx="1893230" cy="2066630"/>
            </a:xfrm>
            <a:solidFill>
              <a:schemeClr val="accent5"/>
            </a:solidFill>
          </p:grpSpPr>
          <p:sp>
            <p:nvSpPr>
              <p:cNvPr id="572" name="Freeform 3">
                <a:extLst>
                  <a:ext uri="{FF2B5EF4-FFF2-40B4-BE49-F238E27FC236}">
                    <a16:creationId xmlns:a16="http://schemas.microsoft.com/office/drawing/2014/main" id="{27DFE2B3-457B-0822-FDAD-8555515801CC}"/>
                  </a:ext>
                </a:extLst>
              </p:cNvPr>
              <p:cNvSpPr/>
              <p:nvPr/>
            </p:nvSpPr>
            <p:spPr>
              <a:xfrm>
                <a:off x="3214541" y="3966196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73" name="Freeform 4">
                <a:extLst>
                  <a:ext uri="{FF2B5EF4-FFF2-40B4-BE49-F238E27FC236}">
                    <a16:creationId xmlns:a16="http://schemas.microsoft.com/office/drawing/2014/main" id="{18C3392A-C297-7A48-D404-5ECE1BF00A42}"/>
                  </a:ext>
                </a:extLst>
              </p:cNvPr>
              <p:cNvSpPr/>
              <p:nvPr/>
            </p:nvSpPr>
            <p:spPr>
              <a:xfrm>
                <a:off x="3214541" y="3866917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74" name="Freeform 5">
                <a:extLst>
                  <a:ext uri="{FF2B5EF4-FFF2-40B4-BE49-F238E27FC236}">
                    <a16:creationId xmlns:a16="http://schemas.microsoft.com/office/drawing/2014/main" id="{D3141957-9B6F-91C7-AC0A-B2BAFF2609F6}"/>
                  </a:ext>
                </a:extLst>
              </p:cNvPr>
              <p:cNvSpPr/>
              <p:nvPr/>
            </p:nvSpPr>
            <p:spPr>
              <a:xfrm>
                <a:off x="3214541" y="3767618"/>
                <a:ext cx="50505" cy="62387"/>
              </a:xfrm>
              <a:custGeom>
                <a:avLst/>
                <a:gdLst>
                  <a:gd name="connsiteX0" fmla="*/ 0 w 50505"/>
                  <a:gd name="connsiteY0" fmla="*/ 51301 h 62387"/>
                  <a:gd name="connsiteX1" fmla="*/ 9382 w 50505"/>
                  <a:gd name="connsiteY1" fmla="*/ 62387 h 62387"/>
                  <a:gd name="connsiteX2" fmla="*/ 41123 w 50505"/>
                  <a:gd name="connsiteY2" fmla="*/ 62387 h 62387"/>
                  <a:gd name="connsiteX3" fmla="*/ 50505 w 50505"/>
                  <a:gd name="connsiteY3" fmla="*/ 51301 h 62387"/>
                  <a:gd name="connsiteX4" fmla="*/ 50505 w 50505"/>
                  <a:gd name="connsiteY4" fmla="*/ 11107 h 62387"/>
                  <a:gd name="connsiteX5" fmla="*/ 41123 w 50505"/>
                  <a:gd name="connsiteY5" fmla="*/ 0 h 62387"/>
                  <a:gd name="connsiteX6" fmla="*/ 9382 w 50505"/>
                  <a:gd name="connsiteY6" fmla="*/ 0 h 62387"/>
                  <a:gd name="connsiteX7" fmla="*/ 0 w 50505"/>
                  <a:gd name="connsiteY7" fmla="*/ 11107 h 62387"/>
                  <a:gd name="connsiteX8" fmla="*/ 0 w 50505"/>
                  <a:gd name="connsiteY8" fmla="*/ 51301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387">
                    <a:moveTo>
                      <a:pt x="0" y="51301"/>
                    </a:moveTo>
                    <a:cubicBezTo>
                      <a:pt x="0" y="57412"/>
                      <a:pt x="4195" y="62387"/>
                      <a:pt x="9382" y="62387"/>
                    </a:cubicBezTo>
                    <a:lnTo>
                      <a:pt x="41123" y="62387"/>
                    </a:lnTo>
                    <a:cubicBezTo>
                      <a:pt x="46310" y="62387"/>
                      <a:pt x="50505" y="57412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75" name="Freeform 6">
                <a:extLst>
                  <a:ext uri="{FF2B5EF4-FFF2-40B4-BE49-F238E27FC236}">
                    <a16:creationId xmlns:a16="http://schemas.microsoft.com/office/drawing/2014/main" id="{0D3C2EF6-AA2A-D720-9A52-4427E24AEC39}"/>
                  </a:ext>
                </a:extLst>
              </p:cNvPr>
              <p:cNvSpPr/>
              <p:nvPr/>
            </p:nvSpPr>
            <p:spPr>
              <a:xfrm>
                <a:off x="3214541" y="3668338"/>
                <a:ext cx="50505" cy="62387"/>
              </a:xfrm>
              <a:custGeom>
                <a:avLst/>
                <a:gdLst>
                  <a:gd name="connsiteX0" fmla="*/ 0 w 50505"/>
                  <a:gd name="connsiteY0" fmla="*/ 51301 h 62387"/>
                  <a:gd name="connsiteX1" fmla="*/ 9382 w 50505"/>
                  <a:gd name="connsiteY1" fmla="*/ 62387 h 62387"/>
                  <a:gd name="connsiteX2" fmla="*/ 41123 w 50505"/>
                  <a:gd name="connsiteY2" fmla="*/ 62387 h 62387"/>
                  <a:gd name="connsiteX3" fmla="*/ 50505 w 50505"/>
                  <a:gd name="connsiteY3" fmla="*/ 51301 h 62387"/>
                  <a:gd name="connsiteX4" fmla="*/ 50505 w 50505"/>
                  <a:gd name="connsiteY4" fmla="*/ 11086 h 62387"/>
                  <a:gd name="connsiteX5" fmla="*/ 41123 w 50505"/>
                  <a:gd name="connsiteY5" fmla="*/ 0 h 62387"/>
                  <a:gd name="connsiteX6" fmla="*/ 9382 w 50505"/>
                  <a:gd name="connsiteY6" fmla="*/ 0 h 62387"/>
                  <a:gd name="connsiteX7" fmla="*/ 0 w 50505"/>
                  <a:gd name="connsiteY7" fmla="*/ 11086 h 62387"/>
                  <a:gd name="connsiteX8" fmla="*/ 0 w 50505"/>
                  <a:gd name="connsiteY8" fmla="*/ 51301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387">
                    <a:moveTo>
                      <a:pt x="0" y="51301"/>
                    </a:moveTo>
                    <a:cubicBezTo>
                      <a:pt x="0" y="57412"/>
                      <a:pt x="4195" y="62387"/>
                      <a:pt x="9382" y="62387"/>
                    </a:cubicBezTo>
                    <a:lnTo>
                      <a:pt x="41123" y="62387"/>
                    </a:lnTo>
                    <a:cubicBezTo>
                      <a:pt x="46310" y="62387"/>
                      <a:pt x="50505" y="57412"/>
                      <a:pt x="50505" y="51301"/>
                    </a:cubicBezTo>
                    <a:lnTo>
                      <a:pt x="50505" y="11086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086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76" name="Freeform 7">
                <a:extLst>
                  <a:ext uri="{FF2B5EF4-FFF2-40B4-BE49-F238E27FC236}">
                    <a16:creationId xmlns:a16="http://schemas.microsoft.com/office/drawing/2014/main" id="{C541AF9A-78CE-01B4-335D-FA3927BCE988}"/>
                  </a:ext>
                </a:extLst>
              </p:cNvPr>
              <p:cNvSpPr/>
              <p:nvPr/>
            </p:nvSpPr>
            <p:spPr>
              <a:xfrm>
                <a:off x="3214541" y="3569018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77" name="Freeform 8">
                <a:extLst>
                  <a:ext uri="{FF2B5EF4-FFF2-40B4-BE49-F238E27FC236}">
                    <a16:creationId xmlns:a16="http://schemas.microsoft.com/office/drawing/2014/main" id="{186CE8BF-69E0-47E7-A527-C9D3370CE547}"/>
                  </a:ext>
                </a:extLst>
              </p:cNvPr>
              <p:cNvSpPr/>
              <p:nvPr/>
            </p:nvSpPr>
            <p:spPr>
              <a:xfrm>
                <a:off x="3214541" y="3469739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78" name="Freeform 10">
                <a:extLst>
                  <a:ext uri="{FF2B5EF4-FFF2-40B4-BE49-F238E27FC236}">
                    <a16:creationId xmlns:a16="http://schemas.microsoft.com/office/drawing/2014/main" id="{4E7799E2-F196-08C1-5A97-5D7EB15BB543}"/>
                  </a:ext>
                </a:extLst>
              </p:cNvPr>
              <p:cNvSpPr/>
              <p:nvPr/>
            </p:nvSpPr>
            <p:spPr>
              <a:xfrm>
                <a:off x="3214541" y="3370439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12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12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79" name="Freeform 11">
                <a:extLst>
                  <a:ext uri="{FF2B5EF4-FFF2-40B4-BE49-F238E27FC236}">
                    <a16:creationId xmlns:a16="http://schemas.microsoft.com/office/drawing/2014/main" id="{00C61F31-7BDB-A941-2089-63DC231071B5}"/>
                  </a:ext>
                </a:extLst>
              </p:cNvPr>
              <p:cNvSpPr/>
              <p:nvPr/>
            </p:nvSpPr>
            <p:spPr>
              <a:xfrm>
                <a:off x="3214541" y="3271140"/>
                <a:ext cx="50505" cy="62387"/>
              </a:xfrm>
              <a:custGeom>
                <a:avLst/>
                <a:gdLst>
                  <a:gd name="connsiteX0" fmla="*/ 0 w 50505"/>
                  <a:gd name="connsiteY0" fmla="*/ 51301 h 62387"/>
                  <a:gd name="connsiteX1" fmla="*/ 9382 w 50505"/>
                  <a:gd name="connsiteY1" fmla="*/ 62387 h 62387"/>
                  <a:gd name="connsiteX2" fmla="*/ 41123 w 50505"/>
                  <a:gd name="connsiteY2" fmla="*/ 62387 h 62387"/>
                  <a:gd name="connsiteX3" fmla="*/ 50505 w 50505"/>
                  <a:gd name="connsiteY3" fmla="*/ 51301 h 62387"/>
                  <a:gd name="connsiteX4" fmla="*/ 50505 w 50505"/>
                  <a:gd name="connsiteY4" fmla="*/ 11086 h 62387"/>
                  <a:gd name="connsiteX5" fmla="*/ 41123 w 50505"/>
                  <a:gd name="connsiteY5" fmla="*/ 0 h 62387"/>
                  <a:gd name="connsiteX6" fmla="*/ 9382 w 50505"/>
                  <a:gd name="connsiteY6" fmla="*/ 0 h 62387"/>
                  <a:gd name="connsiteX7" fmla="*/ 0 w 50505"/>
                  <a:gd name="connsiteY7" fmla="*/ 11086 h 62387"/>
                  <a:gd name="connsiteX8" fmla="*/ 0 w 50505"/>
                  <a:gd name="connsiteY8" fmla="*/ 51301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387">
                    <a:moveTo>
                      <a:pt x="0" y="51301"/>
                    </a:moveTo>
                    <a:cubicBezTo>
                      <a:pt x="0" y="57412"/>
                      <a:pt x="4195" y="62387"/>
                      <a:pt x="9382" y="62387"/>
                    </a:cubicBezTo>
                    <a:lnTo>
                      <a:pt x="41123" y="62387"/>
                    </a:lnTo>
                    <a:cubicBezTo>
                      <a:pt x="46310" y="62387"/>
                      <a:pt x="50505" y="57412"/>
                      <a:pt x="50505" y="51301"/>
                    </a:cubicBezTo>
                    <a:lnTo>
                      <a:pt x="50505" y="11086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086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80" name="Freeform 14">
                <a:extLst>
                  <a:ext uri="{FF2B5EF4-FFF2-40B4-BE49-F238E27FC236}">
                    <a16:creationId xmlns:a16="http://schemas.microsoft.com/office/drawing/2014/main" id="{818F959A-44C0-BDD0-B77F-61EFE87DECBF}"/>
                  </a:ext>
                </a:extLst>
              </p:cNvPr>
              <p:cNvSpPr/>
              <p:nvPr/>
            </p:nvSpPr>
            <p:spPr>
              <a:xfrm>
                <a:off x="3214541" y="3171840"/>
                <a:ext cx="50505" cy="62408"/>
              </a:xfrm>
              <a:custGeom>
                <a:avLst/>
                <a:gdLst>
                  <a:gd name="connsiteX0" fmla="*/ 9382 w 50505"/>
                  <a:gd name="connsiteY0" fmla="*/ 62408 h 62408"/>
                  <a:gd name="connsiteX1" fmla="*/ 41123 w 50505"/>
                  <a:gd name="connsiteY1" fmla="*/ 62408 h 62408"/>
                  <a:gd name="connsiteX2" fmla="*/ 50505 w 50505"/>
                  <a:gd name="connsiteY2" fmla="*/ 51301 h 62408"/>
                  <a:gd name="connsiteX3" fmla="*/ 50505 w 50505"/>
                  <a:gd name="connsiteY3" fmla="*/ 11107 h 62408"/>
                  <a:gd name="connsiteX4" fmla="*/ 41123 w 50505"/>
                  <a:gd name="connsiteY4" fmla="*/ 0 h 62408"/>
                  <a:gd name="connsiteX5" fmla="*/ 9382 w 50505"/>
                  <a:gd name="connsiteY5" fmla="*/ 0 h 62408"/>
                  <a:gd name="connsiteX6" fmla="*/ 0 w 50505"/>
                  <a:gd name="connsiteY6" fmla="*/ 11107 h 62408"/>
                  <a:gd name="connsiteX7" fmla="*/ 0 w 50505"/>
                  <a:gd name="connsiteY7" fmla="*/ 51301 h 62408"/>
                  <a:gd name="connsiteX8" fmla="*/ 9382 w 50505"/>
                  <a:gd name="connsiteY8" fmla="*/ 62408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9382" y="62408"/>
                    </a:move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96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96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81" name="Freeform 15">
                <a:extLst>
                  <a:ext uri="{FF2B5EF4-FFF2-40B4-BE49-F238E27FC236}">
                    <a16:creationId xmlns:a16="http://schemas.microsoft.com/office/drawing/2014/main" id="{094903D7-FE19-F030-9A86-CF7FA659EC27}"/>
                  </a:ext>
                </a:extLst>
              </p:cNvPr>
              <p:cNvSpPr/>
              <p:nvPr/>
            </p:nvSpPr>
            <p:spPr>
              <a:xfrm>
                <a:off x="3294453" y="3966196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82" name="Freeform 16">
                <a:extLst>
                  <a:ext uri="{FF2B5EF4-FFF2-40B4-BE49-F238E27FC236}">
                    <a16:creationId xmlns:a16="http://schemas.microsoft.com/office/drawing/2014/main" id="{B0720669-F55E-5B77-E805-53E2EC6EBF10}"/>
                  </a:ext>
                </a:extLst>
              </p:cNvPr>
              <p:cNvSpPr/>
              <p:nvPr/>
            </p:nvSpPr>
            <p:spPr>
              <a:xfrm>
                <a:off x="3294453" y="3866917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83" name="Freeform 17">
                <a:extLst>
                  <a:ext uri="{FF2B5EF4-FFF2-40B4-BE49-F238E27FC236}">
                    <a16:creationId xmlns:a16="http://schemas.microsoft.com/office/drawing/2014/main" id="{6BF34823-CD1D-83C3-ED6B-CC3F0D32A75B}"/>
                  </a:ext>
                </a:extLst>
              </p:cNvPr>
              <p:cNvSpPr/>
              <p:nvPr/>
            </p:nvSpPr>
            <p:spPr>
              <a:xfrm>
                <a:off x="3294453" y="3767618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84" name="Freeform 18">
                <a:extLst>
                  <a:ext uri="{FF2B5EF4-FFF2-40B4-BE49-F238E27FC236}">
                    <a16:creationId xmlns:a16="http://schemas.microsoft.com/office/drawing/2014/main" id="{33CE02EC-3CE4-0E31-FB02-06002DF933F1}"/>
                  </a:ext>
                </a:extLst>
              </p:cNvPr>
              <p:cNvSpPr/>
              <p:nvPr/>
            </p:nvSpPr>
            <p:spPr>
              <a:xfrm>
                <a:off x="3294453" y="3668318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85" name="Freeform 19">
                <a:extLst>
                  <a:ext uri="{FF2B5EF4-FFF2-40B4-BE49-F238E27FC236}">
                    <a16:creationId xmlns:a16="http://schemas.microsoft.com/office/drawing/2014/main" id="{FF4B0AE2-F745-E0CA-5D6E-943357354E6D}"/>
                  </a:ext>
                </a:extLst>
              </p:cNvPr>
              <p:cNvSpPr/>
              <p:nvPr/>
            </p:nvSpPr>
            <p:spPr>
              <a:xfrm>
                <a:off x="3294453" y="3569018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86" name="Freeform 20">
                <a:extLst>
                  <a:ext uri="{FF2B5EF4-FFF2-40B4-BE49-F238E27FC236}">
                    <a16:creationId xmlns:a16="http://schemas.microsoft.com/office/drawing/2014/main" id="{DC6F0717-131F-FB01-622F-302EA8761F19}"/>
                  </a:ext>
                </a:extLst>
              </p:cNvPr>
              <p:cNvSpPr/>
              <p:nvPr/>
            </p:nvSpPr>
            <p:spPr>
              <a:xfrm>
                <a:off x="3294453" y="3469739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87" name="Freeform 21">
                <a:extLst>
                  <a:ext uri="{FF2B5EF4-FFF2-40B4-BE49-F238E27FC236}">
                    <a16:creationId xmlns:a16="http://schemas.microsoft.com/office/drawing/2014/main" id="{B812C19B-F327-D831-B4F6-70C14B62ECA6}"/>
                  </a:ext>
                </a:extLst>
              </p:cNvPr>
              <p:cNvSpPr/>
              <p:nvPr/>
            </p:nvSpPr>
            <p:spPr>
              <a:xfrm>
                <a:off x="3294453" y="3370439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88" name="Freeform 22">
                <a:extLst>
                  <a:ext uri="{FF2B5EF4-FFF2-40B4-BE49-F238E27FC236}">
                    <a16:creationId xmlns:a16="http://schemas.microsoft.com/office/drawing/2014/main" id="{36A35DCD-FA96-D612-1140-15D86FBE6173}"/>
                  </a:ext>
                </a:extLst>
              </p:cNvPr>
              <p:cNvSpPr/>
              <p:nvPr/>
            </p:nvSpPr>
            <p:spPr>
              <a:xfrm>
                <a:off x="3294453" y="3271140"/>
                <a:ext cx="50505" cy="62408"/>
              </a:xfrm>
              <a:custGeom>
                <a:avLst/>
                <a:gdLst>
                  <a:gd name="connsiteX0" fmla="*/ 0 w 50505"/>
                  <a:gd name="connsiteY0" fmla="*/ 51301 h 62408"/>
                  <a:gd name="connsiteX1" fmla="*/ 9382 w 50505"/>
                  <a:gd name="connsiteY1" fmla="*/ 62408 h 62408"/>
                  <a:gd name="connsiteX2" fmla="*/ 41123 w 50505"/>
                  <a:gd name="connsiteY2" fmla="*/ 62408 h 62408"/>
                  <a:gd name="connsiteX3" fmla="*/ 50505 w 50505"/>
                  <a:gd name="connsiteY3" fmla="*/ 51301 h 62408"/>
                  <a:gd name="connsiteX4" fmla="*/ 50505 w 50505"/>
                  <a:gd name="connsiteY4" fmla="*/ 11107 h 62408"/>
                  <a:gd name="connsiteX5" fmla="*/ 41123 w 50505"/>
                  <a:gd name="connsiteY5" fmla="*/ 0 h 62408"/>
                  <a:gd name="connsiteX6" fmla="*/ 9382 w 50505"/>
                  <a:gd name="connsiteY6" fmla="*/ 0 h 62408"/>
                  <a:gd name="connsiteX7" fmla="*/ 0 w 50505"/>
                  <a:gd name="connsiteY7" fmla="*/ 11107 h 62408"/>
                  <a:gd name="connsiteX8" fmla="*/ 0 w 50505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89" name="Freeform 23">
                <a:extLst>
                  <a:ext uri="{FF2B5EF4-FFF2-40B4-BE49-F238E27FC236}">
                    <a16:creationId xmlns:a16="http://schemas.microsoft.com/office/drawing/2014/main" id="{637037DC-DE66-1B30-A2CF-656432E80B97}"/>
                  </a:ext>
                </a:extLst>
              </p:cNvPr>
              <p:cNvSpPr/>
              <p:nvPr/>
            </p:nvSpPr>
            <p:spPr>
              <a:xfrm>
                <a:off x="3294453" y="3171840"/>
                <a:ext cx="50505" cy="62408"/>
              </a:xfrm>
              <a:custGeom>
                <a:avLst/>
                <a:gdLst>
                  <a:gd name="connsiteX0" fmla="*/ 9382 w 50505"/>
                  <a:gd name="connsiteY0" fmla="*/ 62408 h 62408"/>
                  <a:gd name="connsiteX1" fmla="*/ 41123 w 50505"/>
                  <a:gd name="connsiteY1" fmla="*/ 62408 h 62408"/>
                  <a:gd name="connsiteX2" fmla="*/ 50505 w 50505"/>
                  <a:gd name="connsiteY2" fmla="*/ 51301 h 62408"/>
                  <a:gd name="connsiteX3" fmla="*/ 50505 w 50505"/>
                  <a:gd name="connsiteY3" fmla="*/ 11107 h 62408"/>
                  <a:gd name="connsiteX4" fmla="*/ 41123 w 50505"/>
                  <a:gd name="connsiteY4" fmla="*/ 0 h 62408"/>
                  <a:gd name="connsiteX5" fmla="*/ 9382 w 50505"/>
                  <a:gd name="connsiteY5" fmla="*/ 0 h 62408"/>
                  <a:gd name="connsiteX6" fmla="*/ 0 w 50505"/>
                  <a:gd name="connsiteY6" fmla="*/ 11107 h 62408"/>
                  <a:gd name="connsiteX7" fmla="*/ 0 w 50505"/>
                  <a:gd name="connsiteY7" fmla="*/ 51301 h 62408"/>
                  <a:gd name="connsiteX8" fmla="*/ 9382 w 50505"/>
                  <a:gd name="connsiteY8" fmla="*/ 62408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9382" y="62408"/>
                    </a:move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90" name="Freeform 24">
                <a:extLst>
                  <a:ext uri="{FF2B5EF4-FFF2-40B4-BE49-F238E27FC236}">
                    <a16:creationId xmlns:a16="http://schemas.microsoft.com/office/drawing/2014/main" id="{FCCEAA09-0980-0D66-30EE-5939CCDB1752}"/>
                  </a:ext>
                </a:extLst>
              </p:cNvPr>
              <p:cNvSpPr/>
              <p:nvPr/>
            </p:nvSpPr>
            <p:spPr>
              <a:xfrm>
                <a:off x="3374365" y="3966196"/>
                <a:ext cx="50484" cy="62408"/>
              </a:xfrm>
              <a:custGeom>
                <a:avLst/>
                <a:gdLst>
                  <a:gd name="connsiteX0" fmla="*/ 0 w 50484"/>
                  <a:gd name="connsiteY0" fmla="*/ 51301 h 62408"/>
                  <a:gd name="connsiteX1" fmla="*/ 9361 w 50484"/>
                  <a:gd name="connsiteY1" fmla="*/ 62408 h 62408"/>
                  <a:gd name="connsiteX2" fmla="*/ 41103 w 50484"/>
                  <a:gd name="connsiteY2" fmla="*/ 62408 h 62408"/>
                  <a:gd name="connsiteX3" fmla="*/ 50485 w 50484"/>
                  <a:gd name="connsiteY3" fmla="*/ 51301 h 62408"/>
                  <a:gd name="connsiteX4" fmla="*/ 50485 w 50484"/>
                  <a:gd name="connsiteY4" fmla="*/ 11107 h 62408"/>
                  <a:gd name="connsiteX5" fmla="*/ 41103 w 50484"/>
                  <a:gd name="connsiteY5" fmla="*/ 0 h 62408"/>
                  <a:gd name="connsiteX6" fmla="*/ 9361 w 50484"/>
                  <a:gd name="connsiteY6" fmla="*/ 0 h 62408"/>
                  <a:gd name="connsiteX7" fmla="*/ 0 w 50484"/>
                  <a:gd name="connsiteY7" fmla="*/ 11107 h 62408"/>
                  <a:gd name="connsiteX8" fmla="*/ 0 w 50484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91" name="Freeform 25">
                <a:extLst>
                  <a:ext uri="{FF2B5EF4-FFF2-40B4-BE49-F238E27FC236}">
                    <a16:creationId xmlns:a16="http://schemas.microsoft.com/office/drawing/2014/main" id="{87744C08-A540-0BDA-8E1F-6E01F6E0FF66}"/>
                  </a:ext>
                </a:extLst>
              </p:cNvPr>
              <p:cNvSpPr/>
              <p:nvPr/>
            </p:nvSpPr>
            <p:spPr>
              <a:xfrm>
                <a:off x="3374365" y="3866917"/>
                <a:ext cx="50484" cy="62408"/>
              </a:xfrm>
              <a:custGeom>
                <a:avLst/>
                <a:gdLst>
                  <a:gd name="connsiteX0" fmla="*/ 0 w 50484"/>
                  <a:gd name="connsiteY0" fmla="*/ 51301 h 62408"/>
                  <a:gd name="connsiteX1" fmla="*/ 9361 w 50484"/>
                  <a:gd name="connsiteY1" fmla="*/ 62408 h 62408"/>
                  <a:gd name="connsiteX2" fmla="*/ 41103 w 50484"/>
                  <a:gd name="connsiteY2" fmla="*/ 62408 h 62408"/>
                  <a:gd name="connsiteX3" fmla="*/ 50485 w 50484"/>
                  <a:gd name="connsiteY3" fmla="*/ 51301 h 62408"/>
                  <a:gd name="connsiteX4" fmla="*/ 50485 w 50484"/>
                  <a:gd name="connsiteY4" fmla="*/ 11107 h 62408"/>
                  <a:gd name="connsiteX5" fmla="*/ 41103 w 50484"/>
                  <a:gd name="connsiteY5" fmla="*/ 0 h 62408"/>
                  <a:gd name="connsiteX6" fmla="*/ 9361 w 50484"/>
                  <a:gd name="connsiteY6" fmla="*/ 0 h 62408"/>
                  <a:gd name="connsiteX7" fmla="*/ 0 w 50484"/>
                  <a:gd name="connsiteY7" fmla="*/ 11107 h 62408"/>
                  <a:gd name="connsiteX8" fmla="*/ 0 w 50484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92" name="Freeform 26">
                <a:extLst>
                  <a:ext uri="{FF2B5EF4-FFF2-40B4-BE49-F238E27FC236}">
                    <a16:creationId xmlns:a16="http://schemas.microsoft.com/office/drawing/2014/main" id="{CDBDF782-0DF6-F94F-21C8-0BD46387B9BE}"/>
                  </a:ext>
                </a:extLst>
              </p:cNvPr>
              <p:cNvSpPr/>
              <p:nvPr/>
            </p:nvSpPr>
            <p:spPr>
              <a:xfrm>
                <a:off x="3374365" y="3767618"/>
                <a:ext cx="50484" cy="62387"/>
              </a:xfrm>
              <a:custGeom>
                <a:avLst/>
                <a:gdLst>
                  <a:gd name="connsiteX0" fmla="*/ 0 w 50484"/>
                  <a:gd name="connsiteY0" fmla="*/ 51301 h 62387"/>
                  <a:gd name="connsiteX1" fmla="*/ 9361 w 50484"/>
                  <a:gd name="connsiteY1" fmla="*/ 62387 h 62387"/>
                  <a:gd name="connsiteX2" fmla="*/ 41103 w 50484"/>
                  <a:gd name="connsiteY2" fmla="*/ 62387 h 62387"/>
                  <a:gd name="connsiteX3" fmla="*/ 50485 w 50484"/>
                  <a:gd name="connsiteY3" fmla="*/ 51301 h 62387"/>
                  <a:gd name="connsiteX4" fmla="*/ 50485 w 50484"/>
                  <a:gd name="connsiteY4" fmla="*/ 11107 h 62387"/>
                  <a:gd name="connsiteX5" fmla="*/ 41103 w 50484"/>
                  <a:gd name="connsiteY5" fmla="*/ 0 h 62387"/>
                  <a:gd name="connsiteX6" fmla="*/ 9361 w 50484"/>
                  <a:gd name="connsiteY6" fmla="*/ 0 h 62387"/>
                  <a:gd name="connsiteX7" fmla="*/ 0 w 50484"/>
                  <a:gd name="connsiteY7" fmla="*/ 11107 h 62387"/>
                  <a:gd name="connsiteX8" fmla="*/ 0 w 50484"/>
                  <a:gd name="connsiteY8" fmla="*/ 51301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387">
                    <a:moveTo>
                      <a:pt x="0" y="51301"/>
                    </a:moveTo>
                    <a:cubicBezTo>
                      <a:pt x="0" y="57412"/>
                      <a:pt x="4195" y="62387"/>
                      <a:pt x="9361" y="62387"/>
                    </a:cubicBezTo>
                    <a:lnTo>
                      <a:pt x="41103" y="62387"/>
                    </a:lnTo>
                    <a:cubicBezTo>
                      <a:pt x="46290" y="62387"/>
                      <a:pt x="50485" y="57412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93" name="Freeform 27">
                <a:extLst>
                  <a:ext uri="{FF2B5EF4-FFF2-40B4-BE49-F238E27FC236}">
                    <a16:creationId xmlns:a16="http://schemas.microsoft.com/office/drawing/2014/main" id="{4231EEC5-E78C-4DC4-89D9-9EEB840825B8}"/>
                  </a:ext>
                </a:extLst>
              </p:cNvPr>
              <p:cNvSpPr/>
              <p:nvPr/>
            </p:nvSpPr>
            <p:spPr>
              <a:xfrm>
                <a:off x="3374365" y="3668338"/>
                <a:ext cx="50484" cy="62387"/>
              </a:xfrm>
              <a:custGeom>
                <a:avLst/>
                <a:gdLst>
                  <a:gd name="connsiteX0" fmla="*/ 0 w 50484"/>
                  <a:gd name="connsiteY0" fmla="*/ 51301 h 62387"/>
                  <a:gd name="connsiteX1" fmla="*/ 9361 w 50484"/>
                  <a:gd name="connsiteY1" fmla="*/ 62387 h 62387"/>
                  <a:gd name="connsiteX2" fmla="*/ 41103 w 50484"/>
                  <a:gd name="connsiteY2" fmla="*/ 62387 h 62387"/>
                  <a:gd name="connsiteX3" fmla="*/ 50485 w 50484"/>
                  <a:gd name="connsiteY3" fmla="*/ 51301 h 62387"/>
                  <a:gd name="connsiteX4" fmla="*/ 50485 w 50484"/>
                  <a:gd name="connsiteY4" fmla="*/ 11086 h 62387"/>
                  <a:gd name="connsiteX5" fmla="*/ 41103 w 50484"/>
                  <a:gd name="connsiteY5" fmla="*/ 0 h 62387"/>
                  <a:gd name="connsiteX6" fmla="*/ 9361 w 50484"/>
                  <a:gd name="connsiteY6" fmla="*/ 0 h 62387"/>
                  <a:gd name="connsiteX7" fmla="*/ 0 w 50484"/>
                  <a:gd name="connsiteY7" fmla="*/ 11086 h 62387"/>
                  <a:gd name="connsiteX8" fmla="*/ 0 w 50484"/>
                  <a:gd name="connsiteY8" fmla="*/ 51301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387">
                    <a:moveTo>
                      <a:pt x="0" y="51301"/>
                    </a:moveTo>
                    <a:cubicBezTo>
                      <a:pt x="0" y="57412"/>
                      <a:pt x="4195" y="62387"/>
                      <a:pt x="9361" y="62387"/>
                    </a:cubicBezTo>
                    <a:lnTo>
                      <a:pt x="41103" y="62387"/>
                    </a:lnTo>
                    <a:cubicBezTo>
                      <a:pt x="46290" y="62387"/>
                      <a:pt x="50485" y="57412"/>
                      <a:pt x="50485" y="51301"/>
                    </a:cubicBezTo>
                    <a:lnTo>
                      <a:pt x="50485" y="11086"/>
                    </a:lnTo>
                    <a:cubicBezTo>
                      <a:pt x="50485" y="4975"/>
                      <a:pt x="46290" y="0"/>
                      <a:pt x="41103" y="0"/>
                    </a:cubicBezTo>
                    <a:lnTo>
                      <a:pt x="9361" y="0"/>
                    </a:lnTo>
                    <a:cubicBezTo>
                      <a:pt x="4195" y="0"/>
                      <a:pt x="0" y="4975"/>
                      <a:pt x="0" y="11086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94" name="Freeform 28">
                <a:extLst>
                  <a:ext uri="{FF2B5EF4-FFF2-40B4-BE49-F238E27FC236}">
                    <a16:creationId xmlns:a16="http://schemas.microsoft.com/office/drawing/2014/main" id="{D8DDE907-3D73-CB73-1733-4983B6562BCA}"/>
                  </a:ext>
                </a:extLst>
              </p:cNvPr>
              <p:cNvSpPr/>
              <p:nvPr/>
            </p:nvSpPr>
            <p:spPr>
              <a:xfrm>
                <a:off x="3374365" y="3569018"/>
                <a:ext cx="50484" cy="62408"/>
              </a:xfrm>
              <a:custGeom>
                <a:avLst/>
                <a:gdLst>
                  <a:gd name="connsiteX0" fmla="*/ 0 w 50484"/>
                  <a:gd name="connsiteY0" fmla="*/ 51301 h 62408"/>
                  <a:gd name="connsiteX1" fmla="*/ 9361 w 50484"/>
                  <a:gd name="connsiteY1" fmla="*/ 62408 h 62408"/>
                  <a:gd name="connsiteX2" fmla="*/ 41103 w 50484"/>
                  <a:gd name="connsiteY2" fmla="*/ 62408 h 62408"/>
                  <a:gd name="connsiteX3" fmla="*/ 50485 w 50484"/>
                  <a:gd name="connsiteY3" fmla="*/ 51301 h 62408"/>
                  <a:gd name="connsiteX4" fmla="*/ 50485 w 50484"/>
                  <a:gd name="connsiteY4" fmla="*/ 11107 h 62408"/>
                  <a:gd name="connsiteX5" fmla="*/ 41103 w 50484"/>
                  <a:gd name="connsiteY5" fmla="*/ 0 h 62408"/>
                  <a:gd name="connsiteX6" fmla="*/ 9361 w 50484"/>
                  <a:gd name="connsiteY6" fmla="*/ 0 h 62408"/>
                  <a:gd name="connsiteX7" fmla="*/ 0 w 50484"/>
                  <a:gd name="connsiteY7" fmla="*/ 11107 h 62408"/>
                  <a:gd name="connsiteX8" fmla="*/ 0 w 50484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95" name="Freeform 29">
                <a:extLst>
                  <a:ext uri="{FF2B5EF4-FFF2-40B4-BE49-F238E27FC236}">
                    <a16:creationId xmlns:a16="http://schemas.microsoft.com/office/drawing/2014/main" id="{6B7715FE-6606-C25A-822A-46336187C345}"/>
                  </a:ext>
                </a:extLst>
              </p:cNvPr>
              <p:cNvSpPr/>
              <p:nvPr/>
            </p:nvSpPr>
            <p:spPr>
              <a:xfrm>
                <a:off x="3374365" y="3469739"/>
                <a:ext cx="50484" cy="62408"/>
              </a:xfrm>
              <a:custGeom>
                <a:avLst/>
                <a:gdLst>
                  <a:gd name="connsiteX0" fmla="*/ 0 w 50484"/>
                  <a:gd name="connsiteY0" fmla="*/ 51301 h 62408"/>
                  <a:gd name="connsiteX1" fmla="*/ 9361 w 50484"/>
                  <a:gd name="connsiteY1" fmla="*/ 62408 h 62408"/>
                  <a:gd name="connsiteX2" fmla="*/ 41103 w 50484"/>
                  <a:gd name="connsiteY2" fmla="*/ 62408 h 62408"/>
                  <a:gd name="connsiteX3" fmla="*/ 50485 w 50484"/>
                  <a:gd name="connsiteY3" fmla="*/ 51301 h 62408"/>
                  <a:gd name="connsiteX4" fmla="*/ 50485 w 50484"/>
                  <a:gd name="connsiteY4" fmla="*/ 11107 h 62408"/>
                  <a:gd name="connsiteX5" fmla="*/ 41103 w 50484"/>
                  <a:gd name="connsiteY5" fmla="*/ 0 h 62408"/>
                  <a:gd name="connsiteX6" fmla="*/ 9361 w 50484"/>
                  <a:gd name="connsiteY6" fmla="*/ 0 h 62408"/>
                  <a:gd name="connsiteX7" fmla="*/ 0 w 50484"/>
                  <a:gd name="connsiteY7" fmla="*/ 11107 h 62408"/>
                  <a:gd name="connsiteX8" fmla="*/ 0 w 50484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0" y="51301"/>
                    </a:move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96" name="Freeform 30">
                <a:extLst>
                  <a:ext uri="{FF2B5EF4-FFF2-40B4-BE49-F238E27FC236}">
                    <a16:creationId xmlns:a16="http://schemas.microsoft.com/office/drawing/2014/main" id="{D161DAC7-373B-2B5F-9D28-59A2477A7EF6}"/>
                  </a:ext>
                </a:extLst>
              </p:cNvPr>
              <p:cNvSpPr/>
              <p:nvPr/>
            </p:nvSpPr>
            <p:spPr>
              <a:xfrm>
                <a:off x="3374365" y="3370439"/>
                <a:ext cx="50484" cy="62408"/>
              </a:xfrm>
              <a:custGeom>
                <a:avLst/>
                <a:gdLst>
                  <a:gd name="connsiteX0" fmla="*/ 0 w 50484"/>
                  <a:gd name="connsiteY0" fmla="*/ 51301 h 62408"/>
                  <a:gd name="connsiteX1" fmla="*/ 9361 w 50484"/>
                  <a:gd name="connsiteY1" fmla="*/ 62408 h 62408"/>
                  <a:gd name="connsiteX2" fmla="*/ 41103 w 50484"/>
                  <a:gd name="connsiteY2" fmla="*/ 62408 h 62408"/>
                  <a:gd name="connsiteX3" fmla="*/ 50485 w 50484"/>
                  <a:gd name="connsiteY3" fmla="*/ 51301 h 62408"/>
                  <a:gd name="connsiteX4" fmla="*/ 50485 w 50484"/>
                  <a:gd name="connsiteY4" fmla="*/ 11107 h 62408"/>
                  <a:gd name="connsiteX5" fmla="*/ 41103 w 50484"/>
                  <a:gd name="connsiteY5" fmla="*/ 0 h 62408"/>
                  <a:gd name="connsiteX6" fmla="*/ 9361 w 50484"/>
                  <a:gd name="connsiteY6" fmla="*/ 0 h 62408"/>
                  <a:gd name="connsiteX7" fmla="*/ 0 w 50484"/>
                  <a:gd name="connsiteY7" fmla="*/ 11107 h 62408"/>
                  <a:gd name="connsiteX8" fmla="*/ 0 w 50484"/>
                  <a:gd name="connsiteY8" fmla="*/ 51301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0" y="51301"/>
                    </a:moveTo>
                    <a:cubicBezTo>
                      <a:pt x="0" y="57412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12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97" name="Freeform 31">
                <a:extLst>
                  <a:ext uri="{FF2B5EF4-FFF2-40B4-BE49-F238E27FC236}">
                    <a16:creationId xmlns:a16="http://schemas.microsoft.com/office/drawing/2014/main" id="{C83FD9AB-FB0C-2D8B-D0EC-3C4C21301E99}"/>
                  </a:ext>
                </a:extLst>
              </p:cNvPr>
              <p:cNvSpPr/>
              <p:nvPr/>
            </p:nvSpPr>
            <p:spPr>
              <a:xfrm>
                <a:off x="3374365" y="3271140"/>
                <a:ext cx="50484" cy="62387"/>
              </a:xfrm>
              <a:custGeom>
                <a:avLst/>
                <a:gdLst>
                  <a:gd name="connsiteX0" fmla="*/ 0 w 50484"/>
                  <a:gd name="connsiteY0" fmla="*/ 51301 h 62387"/>
                  <a:gd name="connsiteX1" fmla="*/ 9361 w 50484"/>
                  <a:gd name="connsiteY1" fmla="*/ 62387 h 62387"/>
                  <a:gd name="connsiteX2" fmla="*/ 41103 w 50484"/>
                  <a:gd name="connsiteY2" fmla="*/ 62387 h 62387"/>
                  <a:gd name="connsiteX3" fmla="*/ 50485 w 50484"/>
                  <a:gd name="connsiteY3" fmla="*/ 51301 h 62387"/>
                  <a:gd name="connsiteX4" fmla="*/ 50485 w 50484"/>
                  <a:gd name="connsiteY4" fmla="*/ 11086 h 62387"/>
                  <a:gd name="connsiteX5" fmla="*/ 41103 w 50484"/>
                  <a:gd name="connsiteY5" fmla="*/ 0 h 62387"/>
                  <a:gd name="connsiteX6" fmla="*/ 9361 w 50484"/>
                  <a:gd name="connsiteY6" fmla="*/ 0 h 62387"/>
                  <a:gd name="connsiteX7" fmla="*/ 0 w 50484"/>
                  <a:gd name="connsiteY7" fmla="*/ 11086 h 62387"/>
                  <a:gd name="connsiteX8" fmla="*/ 0 w 50484"/>
                  <a:gd name="connsiteY8" fmla="*/ 51301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387">
                    <a:moveTo>
                      <a:pt x="0" y="51301"/>
                    </a:moveTo>
                    <a:cubicBezTo>
                      <a:pt x="0" y="57412"/>
                      <a:pt x="4195" y="62387"/>
                      <a:pt x="9361" y="62387"/>
                    </a:cubicBezTo>
                    <a:lnTo>
                      <a:pt x="41103" y="62387"/>
                    </a:lnTo>
                    <a:cubicBezTo>
                      <a:pt x="46290" y="62387"/>
                      <a:pt x="50485" y="57412"/>
                      <a:pt x="50485" y="51301"/>
                    </a:cubicBezTo>
                    <a:lnTo>
                      <a:pt x="50485" y="11086"/>
                    </a:lnTo>
                    <a:cubicBezTo>
                      <a:pt x="50485" y="4975"/>
                      <a:pt x="46290" y="0"/>
                      <a:pt x="41103" y="0"/>
                    </a:cubicBezTo>
                    <a:lnTo>
                      <a:pt x="9361" y="0"/>
                    </a:lnTo>
                    <a:cubicBezTo>
                      <a:pt x="4195" y="0"/>
                      <a:pt x="0" y="4975"/>
                      <a:pt x="0" y="11086"/>
                    </a:cubicBezTo>
                    <a:lnTo>
                      <a:pt x="0" y="51301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98" name="Freeform 32">
                <a:extLst>
                  <a:ext uri="{FF2B5EF4-FFF2-40B4-BE49-F238E27FC236}">
                    <a16:creationId xmlns:a16="http://schemas.microsoft.com/office/drawing/2014/main" id="{4D01CEAC-EBA5-1449-D5AC-3DD54420C47E}"/>
                  </a:ext>
                </a:extLst>
              </p:cNvPr>
              <p:cNvSpPr/>
              <p:nvPr/>
            </p:nvSpPr>
            <p:spPr>
              <a:xfrm>
                <a:off x="3374385" y="3171840"/>
                <a:ext cx="50484" cy="62408"/>
              </a:xfrm>
              <a:custGeom>
                <a:avLst/>
                <a:gdLst>
                  <a:gd name="connsiteX0" fmla="*/ 9361 w 50484"/>
                  <a:gd name="connsiteY0" fmla="*/ 62408 h 62408"/>
                  <a:gd name="connsiteX1" fmla="*/ 41103 w 50484"/>
                  <a:gd name="connsiteY1" fmla="*/ 62408 h 62408"/>
                  <a:gd name="connsiteX2" fmla="*/ 50485 w 50484"/>
                  <a:gd name="connsiteY2" fmla="*/ 51301 h 62408"/>
                  <a:gd name="connsiteX3" fmla="*/ 50485 w 50484"/>
                  <a:gd name="connsiteY3" fmla="*/ 11107 h 62408"/>
                  <a:gd name="connsiteX4" fmla="*/ 41103 w 50484"/>
                  <a:gd name="connsiteY4" fmla="*/ 0 h 62408"/>
                  <a:gd name="connsiteX5" fmla="*/ 9361 w 50484"/>
                  <a:gd name="connsiteY5" fmla="*/ 0 h 62408"/>
                  <a:gd name="connsiteX6" fmla="*/ 0 w 50484"/>
                  <a:gd name="connsiteY6" fmla="*/ 11107 h 62408"/>
                  <a:gd name="connsiteX7" fmla="*/ 0 w 50484"/>
                  <a:gd name="connsiteY7" fmla="*/ 51301 h 62408"/>
                  <a:gd name="connsiteX8" fmla="*/ 9361 w 50484"/>
                  <a:gd name="connsiteY8" fmla="*/ 62408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9361" y="62408"/>
                    </a:move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96"/>
                      <a:pt x="46290" y="0"/>
                      <a:pt x="41103" y="0"/>
                    </a:cubicBezTo>
                    <a:lnTo>
                      <a:pt x="9361" y="0"/>
                    </a:lnTo>
                    <a:cubicBezTo>
                      <a:pt x="4195" y="0"/>
                      <a:pt x="0" y="4996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61" y="62408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99" name="Freeform 33">
                <a:extLst>
                  <a:ext uri="{FF2B5EF4-FFF2-40B4-BE49-F238E27FC236}">
                    <a16:creationId xmlns:a16="http://schemas.microsoft.com/office/drawing/2014/main" id="{536EE7BA-DAE3-89F1-7364-948FB698D211}"/>
                  </a:ext>
                </a:extLst>
              </p:cNvPr>
              <p:cNvSpPr/>
              <p:nvPr/>
            </p:nvSpPr>
            <p:spPr>
              <a:xfrm>
                <a:off x="2540405" y="3752010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00" name="Freeform 34">
                <a:extLst>
                  <a:ext uri="{FF2B5EF4-FFF2-40B4-BE49-F238E27FC236}">
                    <a16:creationId xmlns:a16="http://schemas.microsoft.com/office/drawing/2014/main" id="{76EC1750-8578-195F-3F4D-B32D227B680A}"/>
                  </a:ext>
                </a:extLst>
              </p:cNvPr>
              <p:cNvSpPr/>
              <p:nvPr/>
            </p:nvSpPr>
            <p:spPr>
              <a:xfrm>
                <a:off x="2540405" y="3652731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01" name="Freeform 35">
                <a:extLst>
                  <a:ext uri="{FF2B5EF4-FFF2-40B4-BE49-F238E27FC236}">
                    <a16:creationId xmlns:a16="http://schemas.microsoft.com/office/drawing/2014/main" id="{39EA3ECE-AFF0-AFE0-BE02-2FC5FA5EDB04}"/>
                  </a:ext>
                </a:extLst>
              </p:cNvPr>
              <p:cNvSpPr/>
              <p:nvPr/>
            </p:nvSpPr>
            <p:spPr>
              <a:xfrm>
                <a:off x="2540405" y="3553432"/>
                <a:ext cx="50505" cy="62387"/>
              </a:xfrm>
              <a:custGeom>
                <a:avLst/>
                <a:gdLst>
                  <a:gd name="connsiteX0" fmla="*/ 41123 w 50505"/>
                  <a:gd name="connsiteY0" fmla="*/ 0 h 62387"/>
                  <a:gd name="connsiteX1" fmla="*/ 9382 w 50505"/>
                  <a:gd name="connsiteY1" fmla="*/ 0 h 62387"/>
                  <a:gd name="connsiteX2" fmla="*/ 0 w 50505"/>
                  <a:gd name="connsiteY2" fmla="*/ 11107 h 62387"/>
                  <a:gd name="connsiteX3" fmla="*/ 0 w 50505"/>
                  <a:gd name="connsiteY3" fmla="*/ 51301 h 62387"/>
                  <a:gd name="connsiteX4" fmla="*/ 9382 w 50505"/>
                  <a:gd name="connsiteY4" fmla="*/ 62387 h 62387"/>
                  <a:gd name="connsiteX5" fmla="*/ 41123 w 50505"/>
                  <a:gd name="connsiteY5" fmla="*/ 62387 h 62387"/>
                  <a:gd name="connsiteX6" fmla="*/ 50505 w 50505"/>
                  <a:gd name="connsiteY6" fmla="*/ 51301 h 62387"/>
                  <a:gd name="connsiteX7" fmla="*/ 50505 w 50505"/>
                  <a:gd name="connsiteY7" fmla="*/ 11107 h 62387"/>
                  <a:gd name="connsiteX8" fmla="*/ 41123 w 50505"/>
                  <a:gd name="connsiteY8" fmla="*/ 0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387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12"/>
                      <a:pt x="4195" y="62387"/>
                      <a:pt x="9382" y="62387"/>
                    </a:cubicBezTo>
                    <a:lnTo>
                      <a:pt x="41123" y="62387"/>
                    </a:lnTo>
                    <a:cubicBezTo>
                      <a:pt x="46310" y="62387"/>
                      <a:pt x="50505" y="57412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02" name="Freeform 36">
                <a:extLst>
                  <a:ext uri="{FF2B5EF4-FFF2-40B4-BE49-F238E27FC236}">
                    <a16:creationId xmlns:a16="http://schemas.microsoft.com/office/drawing/2014/main" id="{8290B247-6D97-1D0D-F58D-2CCB173457FA}"/>
                  </a:ext>
                </a:extLst>
              </p:cNvPr>
              <p:cNvSpPr/>
              <p:nvPr/>
            </p:nvSpPr>
            <p:spPr>
              <a:xfrm>
                <a:off x="2540405" y="3454153"/>
                <a:ext cx="50505" cy="62387"/>
              </a:xfrm>
              <a:custGeom>
                <a:avLst/>
                <a:gdLst>
                  <a:gd name="connsiteX0" fmla="*/ 41123 w 50505"/>
                  <a:gd name="connsiteY0" fmla="*/ 0 h 62387"/>
                  <a:gd name="connsiteX1" fmla="*/ 9382 w 50505"/>
                  <a:gd name="connsiteY1" fmla="*/ 0 h 62387"/>
                  <a:gd name="connsiteX2" fmla="*/ 0 w 50505"/>
                  <a:gd name="connsiteY2" fmla="*/ 11086 h 62387"/>
                  <a:gd name="connsiteX3" fmla="*/ 0 w 50505"/>
                  <a:gd name="connsiteY3" fmla="*/ 51301 h 62387"/>
                  <a:gd name="connsiteX4" fmla="*/ 9382 w 50505"/>
                  <a:gd name="connsiteY4" fmla="*/ 62387 h 62387"/>
                  <a:gd name="connsiteX5" fmla="*/ 41123 w 50505"/>
                  <a:gd name="connsiteY5" fmla="*/ 62387 h 62387"/>
                  <a:gd name="connsiteX6" fmla="*/ 50505 w 50505"/>
                  <a:gd name="connsiteY6" fmla="*/ 51301 h 62387"/>
                  <a:gd name="connsiteX7" fmla="*/ 50505 w 50505"/>
                  <a:gd name="connsiteY7" fmla="*/ 11086 h 62387"/>
                  <a:gd name="connsiteX8" fmla="*/ 41123 w 50505"/>
                  <a:gd name="connsiteY8" fmla="*/ 0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387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086"/>
                    </a:cubicBezTo>
                    <a:lnTo>
                      <a:pt x="0" y="51301"/>
                    </a:lnTo>
                    <a:cubicBezTo>
                      <a:pt x="0" y="57412"/>
                      <a:pt x="4195" y="62387"/>
                      <a:pt x="9382" y="62387"/>
                    </a:cubicBezTo>
                    <a:lnTo>
                      <a:pt x="41123" y="62387"/>
                    </a:lnTo>
                    <a:cubicBezTo>
                      <a:pt x="46310" y="62387"/>
                      <a:pt x="50505" y="57412"/>
                      <a:pt x="50505" y="51301"/>
                    </a:cubicBezTo>
                    <a:lnTo>
                      <a:pt x="50505" y="11086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03" name="Freeform 37">
                <a:extLst>
                  <a:ext uri="{FF2B5EF4-FFF2-40B4-BE49-F238E27FC236}">
                    <a16:creationId xmlns:a16="http://schemas.microsoft.com/office/drawing/2014/main" id="{7B8A0821-08C4-C026-8B6C-BC6BF2C3E793}"/>
                  </a:ext>
                </a:extLst>
              </p:cNvPr>
              <p:cNvSpPr/>
              <p:nvPr/>
            </p:nvSpPr>
            <p:spPr>
              <a:xfrm>
                <a:off x="2540405" y="3354832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04" name="Freeform 38">
                <a:extLst>
                  <a:ext uri="{FF2B5EF4-FFF2-40B4-BE49-F238E27FC236}">
                    <a16:creationId xmlns:a16="http://schemas.microsoft.com/office/drawing/2014/main" id="{64CE0A65-65C9-B8D9-182C-5B086D8E999E}"/>
                  </a:ext>
                </a:extLst>
              </p:cNvPr>
              <p:cNvSpPr/>
              <p:nvPr/>
            </p:nvSpPr>
            <p:spPr>
              <a:xfrm>
                <a:off x="2540405" y="3255553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05" name="Freeform 39">
                <a:extLst>
                  <a:ext uri="{FF2B5EF4-FFF2-40B4-BE49-F238E27FC236}">
                    <a16:creationId xmlns:a16="http://schemas.microsoft.com/office/drawing/2014/main" id="{0B300A12-7B16-BBDD-E87A-75CCBB9ED6D2}"/>
                  </a:ext>
                </a:extLst>
              </p:cNvPr>
              <p:cNvSpPr/>
              <p:nvPr/>
            </p:nvSpPr>
            <p:spPr>
              <a:xfrm>
                <a:off x="2540405" y="3156254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12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12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06" name="Freeform 40">
                <a:extLst>
                  <a:ext uri="{FF2B5EF4-FFF2-40B4-BE49-F238E27FC236}">
                    <a16:creationId xmlns:a16="http://schemas.microsoft.com/office/drawing/2014/main" id="{C8EA307A-AC12-8568-A139-160179ECCAC6}"/>
                  </a:ext>
                </a:extLst>
              </p:cNvPr>
              <p:cNvSpPr/>
              <p:nvPr/>
            </p:nvSpPr>
            <p:spPr>
              <a:xfrm>
                <a:off x="2540405" y="3056974"/>
                <a:ext cx="50505" cy="62387"/>
              </a:xfrm>
              <a:custGeom>
                <a:avLst/>
                <a:gdLst>
                  <a:gd name="connsiteX0" fmla="*/ 41123 w 50505"/>
                  <a:gd name="connsiteY0" fmla="*/ 0 h 62387"/>
                  <a:gd name="connsiteX1" fmla="*/ 9382 w 50505"/>
                  <a:gd name="connsiteY1" fmla="*/ 0 h 62387"/>
                  <a:gd name="connsiteX2" fmla="*/ 0 w 50505"/>
                  <a:gd name="connsiteY2" fmla="*/ 11086 h 62387"/>
                  <a:gd name="connsiteX3" fmla="*/ 0 w 50505"/>
                  <a:gd name="connsiteY3" fmla="*/ 51301 h 62387"/>
                  <a:gd name="connsiteX4" fmla="*/ 9382 w 50505"/>
                  <a:gd name="connsiteY4" fmla="*/ 62387 h 62387"/>
                  <a:gd name="connsiteX5" fmla="*/ 41123 w 50505"/>
                  <a:gd name="connsiteY5" fmla="*/ 62387 h 62387"/>
                  <a:gd name="connsiteX6" fmla="*/ 50505 w 50505"/>
                  <a:gd name="connsiteY6" fmla="*/ 51301 h 62387"/>
                  <a:gd name="connsiteX7" fmla="*/ 50505 w 50505"/>
                  <a:gd name="connsiteY7" fmla="*/ 11086 h 62387"/>
                  <a:gd name="connsiteX8" fmla="*/ 41123 w 50505"/>
                  <a:gd name="connsiteY8" fmla="*/ 0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387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086"/>
                    </a:cubicBezTo>
                    <a:lnTo>
                      <a:pt x="0" y="51301"/>
                    </a:lnTo>
                    <a:cubicBezTo>
                      <a:pt x="0" y="57412"/>
                      <a:pt x="4195" y="62387"/>
                      <a:pt x="9382" y="62387"/>
                    </a:cubicBezTo>
                    <a:lnTo>
                      <a:pt x="41123" y="62387"/>
                    </a:lnTo>
                    <a:cubicBezTo>
                      <a:pt x="46310" y="62387"/>
                      <a:pt x="50505" y="57412"/>
                      <a:pt x="50505" y="51301"/>
                    </a:cubicBezTo>
                    <a:lnTo>
                      <a:pt x="50505" y="11086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07" name="Freeform 41">
                <a:extLst>
                  <a:ext uri="{FF2B5EF4-FFF2-40B4-BE49-F238E27FC236}">
                    <a16:creationId xmlns:a16="http://schemas.microsoft.com/office/drawing/2014/main" id="{742A43F5-B30A-2FFE-AC01-90785236A619}"/>
                  </a:ext>
                </a:extLst>
              </p:cNvPr>
              <p:cNvSpPr/>
              <p:nvPr/>
            </p:nvSpPr>
            <p:spPr>
              <a:xfrm>
                <a:off x="2540405" y="2957654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96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96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08" name="Freeform 42">
                <a:extLst>
                  <a:ext uri="{FF2B5EF4-FFF2-40B4-BE49-F238E27FC236}">
                    <a16:creationId xmlns:a16="http://schemas.microsoft.com/office/drawing/2014/main" id="{96BC30CF-E567-202A-0F56-1A865BA94FC7}"/>
                  </a:ext>
                </a:extLst>
              </p:cNvPr>
              <p:cNvSpPr/>
              <p:nvPr/>
            </p:nvSpPr>
            <p:spPr>
              <a:xfrm>
                <a:off x="2620317" y="3752031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09" name="Freeform 43">
                <a:extLst>
                  <a:ext uri="{FF2B5EF4-FFF2-40B4-BE49-F238E27FC236}">
                    <a16:creationId xmlns:a16="http://schemas.microsoft.com/office/drawing/2014/main" id="{3FAB5646-D562-78C3-3A9B-7D954607990B}"/>
                  </a:ext>
                </a:extLst>
              </p:cNvPr>
              <p:cNvSpPr/>
              <p:nvPr/>
            </p:nvSpPr>
            <p:spPr>
              <a:xfrm>
                <a:off x="2620317" y="3652731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10" name="Freeform 44">
                <a:extLst>
                  <a:ext uri="{FF2B5EF4-FFF2-40B4-BE49-F238E27FC236}">
                    <a16:creationId xmlns:a16="http://schemas.microsoft.com/office/drawing/2014/main" id="{9B20D823-C453-045A-3EB0-53D4497BCE36}"/>
                  </a:ext>
                </a:extLst>
              </p:cNvPr>
              <p:cNvSpPr/>
              <p:nvPr/>
            </p:nvSpPr>
            <p:spPr>
              <a:xfrm>
                <a:off x="2620317" y="3553432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11" name="Freeform 45">
                <a:extLst>
                  <a:ext uri="{FF2B5EF4-FFF2-40B4-BE49-F238E27FC236}">
                    <a16:creationId xmlns:a16="http://schemas.microsoft.com/office/drawing/2014/main" id="{03EED5FF-7512-84CC-3EEF-1CC653F22BA1}"/>
                  </a:ext>
                </a:extLst>
              </p:cNvPr>
              <p:cNvSpPr/>
              <p:nvPr/>
            </p:nvSpPr>
            <p:spPr>
              <a:xfrm>
                <a:off x="2620317" y="3454132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12" name="Freeform 46">
                <a:extLst>
                  <a:ext uri="{FF2B5EF4-FFF2-40B4-BE49-F238E27FC236}">
                    <a16:creationId xmlns:a16="http://schemas.microsoft.com/office/drawing/2014/main" id="{6CE21E3F-B377-646C-060D-DC73D0F40844}"/>
                  </a:ext>
                </a:extLst>
              </p:cNvPr>
              <p:cNvSpPr/>
              <p:nvPr/>
            </p:nvSpPr>
            <p:spPr>
              <a:xfrm>
                <a:off x="2620317" y="3354853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13" name="Freeform 47">
                <a:extLst>
                  <a:ext uri="{FF2B5EF4-FFF2-40B4-BE49-F238E27FC236}">
                    <a16:creationId xmlns:a16="http://schemas.microsoft.com/office/drawing/2014/main" id="{AC8F1DBE-888B-2364-45B9-6764E25CC9F3}"/>
                  </a:ext>
                </a:extLst>
              </p:cNvPr>
              <p:cNvSpPr/>
              <p:nvPr/>
            </p:nvSpPr>
            <p:spPr>
              <a:xfrm>
                <a:off x="2620317" y="3255553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14" name="Freeform 48">
                <a:extLst>
                  <a:ext uri="{FF2B5EF4-FFF2-40B4-BE49-F238E27FC236}">
                    <a16:creationId xmlns:a16="http://schemas.microsoft.com/office/drawing/2014/main" id="{0F9F62DB-3972-FE86-5766-6251D6E327A9}"/>
                  </a:ext>
                </a:extLst>
              </p:cNvPr>
              <p:cNvSpPr/>
              <p:nvPr/>
            </p:nvSpPr>
            <p:spPr>
              <a:xfrm>
                <a:off x="2620317" y="3156254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15" name="Freeform 49">
                <a:extLst>
                  <a:ext uri="{FF2B5EF4-FFF2-40B4-BE49-F238E27FC236}">
                    <a16:creationId xmlns:a16="http://schemas.microsoft.com/office/drawing/2014/main" id="{454066B5-6538-BBEC-828B-C40F473B7D9A}"/>
                  </a:ext>
                </a:extLst>
              </p:cNvPr>
              <p:cNvSpPr/>
              <p:nvPr/>
            </p:nvSpPr>
            <p:spPr>
              <a:xfrm>
                <a:off x="2620317" y="3056954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16" name="Freeform 50">
                <a:extLst>
                  <a:ext uri="{FF2B5EF4-FFF2-40B4-BE49-F238E27FC236}">
                    <a16:creationId xmlns:a16="http://schemas.microsoft.com/office/drawing/2014/main" id="{9AD7B1EA-105C-7E31-903C-C6BD7B2F2CA5}"/>
                  </a:ext>
                </a:extLst>
              </p:cNvPr>
              <p:cNvSpPr/>
              <p:nvPr/>
            </p:nvSpPr>
            <p:spPr>
              <a:xfrm>
                <a:off x="2620317" y="2957654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17" name="Freeform 51">
                <a:extLst>
                  <a:ext uri="{FF2B5EF4-FFF2-40B4-BE49-F238E27FC236}">
                    <a16:creationId xmlns:a16="http://schemas.microsoft.com/office/drawing/2014/main" id="{C40FD86E-B5A7-0EFF-0172-7FFD44B2B71A}"/>
                  </a:ext>
                </a:extLst>
              </p:cNvPr>
              <p:cNvSpPr/>
              <p:nvPr/>
            </p:nvSpPr>
            <p:spPr>
              <a:xfrm>
                <a:off x="2700229" y="3752010"/>
                <a:ext cx="50484" cy="62408"/>
              </a:xfrm>
              <a:custGeom>
                <a:avLst/>
                <a:gdLst>
                  <a:gd name="connsiteX0" fmla="*/ 41103 w 50484"/>
                  <a:gd name="connsiteY0" fmla="*/ 0 h 62408"/>
                  <a:gd name="connsiteX1" fmla="*/ 9361 w 50484"/>
                  <a:gd name="connsiteY1" fmla="*/ 0 h 62408"/>
                  <a:gd name="connsiteX2" fmla="*/ 0 w 50484"/>
                  <a:gd name="connsiteY2" fmla="*/ 11107 h 62408"/>
                  <a:gd name="connsiteX3" fmla="*/ 0 w 50484"/>
                  <a:gd name="connsiteY3" fmla="*/ 51301 h 62408"/>
                  <a:gd name="connsiteX4" fmla="*/ 9361 w 50484"/>
                  <a:gd name="connsiteY4" fmla="*/ 62408 h 62408"/>
                  <a:gd name="connsiteX5" fmla="*/ 41103 w 50484"/>
                  <a:gd name="connsiteY5" fmla="*/ 62408 h 62408"/>
                  <a:gd name="connsiteX6" fmla="*/ 50485 w 50484"/>
                  <a:gd name="connsiteY6" fmla="*/ 51301 h 62408"/>
                  <a:gd name="connsiteX7" fmla="*/ 50485 w 50484"/>
                  <a:gd name="connsiteY7" fmla="*/ 11107 h 62408"/>
                  <a:gd name="connsiteX8" fmla="*/ 41103 w 50484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18" name="Freeform 52">
                <a:extLst>
                  <a:ext uri="{FF2B5EF4-FFF2-40B4-BE49-F238E27FC236}">
                    <a16:creationId xmlns:a16="http://schemas.microsoft.com/office/drawing/2014/main" id="{C18D7389-C6C0-2776-50E9-83AA8938AF55}"/>
                  </a:ext>
                </a:extLst>
              </p:cNvPr>
              <p:cNvSpPr/>
              <p:nvPr/>
            </p:nvSpPr>
            <p:spPr>
              <a:xfrm>
                <a:off x="2700229" y="3652731"/>
                <a:ext cx="50484" cy="62408"/>
              </a:xfrm>
              <a:custGeom>
                <a:avLst/>
                <a:gdLst>
                  <a:gd name="connsiteX0" fmla="*/ 41103 w 50484"/>
                  <a:gd name="connsiteY0" fmla="*/ 0 h 62408"/>
                  <a:gd name="connsiteX1" fmla="*/ 9361 w 50484"/>
                  <a:gd name="connsiteY1" fmla="*/ 0 h 62408"/>
                  <a:gd name="connsiteX2" fmla="*/ 0 w 50484"/>
                  <a:gd name="connsiteY2" fmla="*/ 11107 h 62408"/>
                  <a:gd name="connsiteX3" fmla="*/ 0 w 50484"/>
                  <a:gd name="connsiteY3" fmla="*/ 51301 h 62408"/>
                  <a:gd name="connsiteX4" fmla="*/ 9361 w 50484"/>
                  <a:gd name="connsiteY4" fmla="*/ 62408 h 62408"/>
                  <a:gd name="connsiteX5" fmla="*/ 41103 w 50484"/>
                  <a:gd name="connsiteY5" fmla="*/ 62408 h 62408"/>
                  <a:gd name="connsiteX6" fmla="*/ 50485 w 50484"/>
                  <a:gd name="connsiteY6" fmla="*/ 51301 h 62408"/>
                  <a:gd name="connsiteX7" fmla="*/ 50485 w 50484"/>
                  <a:gd name="connsiteY7" fmla="*/ 11107 h 62408"/>
                  <a:gd name="connsiteX8" fmla="*/ 41103 w 50484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19" name="Freeform 53">
                <a:extLst>
                  <a:ext uri="{FF2B5EF4-FFF2-40B4-BE49-F238E27FC236}">
                    <a16:creationId xmlns:a16="http://schemas.microsoft.com/office/drawing/2014/main" id="{D928B127-3644-390B-E9EE-C6E48C6BD600}"/>
                  </a:ext>
                </a:extLst>
              </p:cNvPr>
              <p:cNvSpPr/>
              <p:nvPr/>
            </p:nvSpPr>
            <p:spPr>
              <a:xfrm>
                <a:off x="2700229" y="3553432"/>
                <a:ext cx="50484" cy="62387"/>
              </a:xfrm>
              <a:custGeom>
                <a:avLst/>
                <a:gdLst>
                  <a:gd name="connsiteX0" fmla="*/ 41103 w 50484"/>
                  <a:gd name="connsiteY0" fmla="*/ 0 h 62387"/>
                  <a:gd name="connsiteX1" fmla="*/ 9361 w 50484"/>
                  <a:gd name="connsiteY1" fmla="*/ 0 h 62387"/>
                  <a:gd name="connsiteX2" fmla="*/ 0 w 50484"/>
                  <a:gd name="connsiteY2" fmla="*/ 11107 h 62387"/>
                  <a:gd name="connsiteX3" fmla="*/ 0 w 50484"/>
                  <a:gd name="connsiteY3" fmla="*/ 51301 h 62387"/>
                  <a:gd name="connsiteX4" fmla="*/ 9361 w 50484"/>
                  <a:gd name="connsiteY4" fmla="*/ 62387 h 62387"/>
                  <a:gd name="connsiteX5" fmla="*/ 41103 w 50484"/>
                  <a:gd name="connsiteY5" fmla="*/ 62387 h 62387"/>
                  <a:gd name="connsiteX6" fmla="*/ 50485 w 50484"/>
                  <a:gd name="connsiteY6" fmla="*/ 51301 h 62387"/>
                  <a:gd name="connsiteX7" fmla="*/ 50485 w 50484"/>
                  <a:gd name="connsiteY7" fmla="*/ 11107 h 62387"/>
                  <a:gd name="connsiteX8" fmla="*/ 41103 w 50484"/>
                  <a:gd name="connsiteY8" fmla="*/ 0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387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12"/>
                      <a:pt x="4195" y="62387"/>
                      <a:pt x="9361" y="62387"/>
                    </a:cubicBezTo>
                    <a:lnTo>
                      <a:pt x="41103" y="62387"/>
                    </a:lnTo>
                    <a:cubicBezTo>
                      <a:pt x="46290" y="62387"/>
                      <a:pt x="50485" y="57412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20" name="Freeform 54">
                <a:extLst>
                  <a:ext uri="{FF2B5EF4-FFF2-40B4-BE49-F238E27FC236}">
                    <a16:creationId xmlns:a16="http://schemas.microsoft.com/office/drawing/2014/main" id="{46FA7F5B-C319-D21C-24BB-4321018186F0}"/>
                  </a:ext>
                </a:extLst>
              </p:cNvPr>
              <p:cNvSpPr/>
              <p:nvPr/>
            </p:nvSpPr>
            <p:spPr>
              <a:xfrm>
                <a:off x="2700229" y="3454153"/>
                <a:ext cx="50484" cy="62387"/>
              </a:xfrm>
              <a:custGeom>
                <a:avLst/>
                <a:gdLst>
                  <a:gd name="connsiteX0" fmla="*/ 41103 w 50484"/>
                  <a:gd name="connsiteY0" fmla="*/ 0 h 62387"/>
                  <a:gd name="connsiteX1" fmla="*/ 9361 w 50484"/>
                  <a:gd name="connsiteY1" fmla="*/ 0 h 62387"/>
                  <a:gd name="connsiteX2" fmla="*/ 0 w 50484"/>
                  <a:gd name="connsiteY2" fmla="*/ 11086 h 62387"/>
                  <a:gd name="connsiteX3" fmla="*/ 0 w 50484"/>
                  <a:gd name="connsiteY3" fmla="*/ 51301 h 62387"/>
                  <a:gd name="connsiteX4" fmla="*/ 9361 w 50484"/>
                  <a:gd name="connsiteY4" fmla="*/ 62387 h 62387"/>
                  <a:gd name="connsiteX5" fmla="*/ 41103 w 50484"/>
                  <a:gd name="connsiteY5" fmla="*/ 62387 h 62387"/>
                  <a:gd name="connsiteX6" fmla="*/ 50485 w 50484"/>
                  <a:gd name="connsiteY6" fmla="*/ 51301 h 62387"/>
                  <a:gd name="connsiteX7" fmla="*/ 50485 w 50484"/>
                  <a:gd name="connsiteY7" fmla="*/ 11086 h 62387"/>
                  <a:gd name="connsiteX8" fmla="*/ 41103 w 50484"/>
                  <a:gd name="connsiteY8" fmla="*/ 0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387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086"/>
                    </a:cubicBezTo>
                    <a:lnTo>
                      <a:pt x="0" y="51301"/>
                    </a:lnTo>
                    <a:cubicBezTo>
                      <a:pt x="0" y="57412"/>
                      <a:pt x="4195" y="62387"/>
                      <a:pt x="9361" y="62387"/>
                    </a:cubicBezTo>
                    <a:lnTo>
                      <a:pt x="41103" y="62387"/>
                    </a:lnTo>
                    <a:cubicBezTo>
                      <a:pt x="46290" y="62387"/>
                      <a:pt x="50485" y="57412"/>
                      <a:pt x="50485" y="51301"/>
                    </a:cubicBezTo>
                    <a:lnTo>
                      <a:pt x="50485" y="11086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21" name="Freeform 55">
                <a:extLst>
                  <a:ext uri="{FF2B5EF4-FFF2-40B4-BE49-F238E27FC236}">
                    <a16:creationId xmlns:a16="http://schemas.microsoft.com/office/drawing/2014/main" id="{4B168A01-676A-0FB2-A875-7E3015A39C0C}"/>
                  </a:ext>
                </a:extLst>
              </p:cNvPr>
              <p:cNvSpPr/>
              <p:nvPr/>
            </p:nvSpPr>
            <p:spPr>
              <a:xfrm>
                <a:off x="2700229" y="3354832"/>
                <a:ext cx="50484" cy="62408"/>
              </a:xfrm>
              <a:custGeom>
                <a:avLst/>
                <a:gdLst>
                  <a:gd name="connsiteX0" fmla="*/ 41103 w 50484"/>
                  <a:gd name="connsiteY0" fmla="*/ 0 h 62408"/>
                  <a:gd name="connsiteX1" fmla="*/ 9361 w 50484"/>
                  <a:gd name="connsiteY1" fmla="*/ 0 h 62408"/>
                  <a:gd name="connsiteX2" fmla="*/ 0 w 50484"/>
                  <a:gd name="connsiteY2" fmla="*/ 11107 h 62408"/>
                  <a:gd name="connsiteX3" fmla="*/ 0 w 50484"/>
                  <a:gd name="connsiteY3" fmla="*/ 51301 h 62408"/>
                  <a:gd name="connsiteX4" fmla="*/ 9361 w 50484"/>
                  <a:gd name="connsiteY4" fmla="*/ 62408 h 62408"/>
                  <a:gd name="connsiteX5" fmla="*/ 41103 w 50484"/>
                  <a:gd name="connsiteY5" fmla="*/ 62408 h 62408"/>
                  <a:gd name="connsiteX6" fmla="*/ 50485 w 50484"/>
                  <a:gd name="connsiteY6" fmla="*/ 51301 h 62408"/>
                  <a:gd name="connsiteX7" fmla="*/ 50485 w 50484"/>
                  <a:gd name="connsiteY7" fmla="*/ 11107 h 62408"/>
                  <a:gd name="connsiteX8" fmla="*/ 41103 w 50484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22" name="Freeform 56">
                <a:extLst>
                  <a:ext uri="{FF2B5EF4-FFF2-40B4-BE49-F238E27FC236}">
                    <a16:creationId xmlns:a16="http://schemas.microsoft.com/office/drawing/2014/main" id="{E3FB736A-19C6-5AF8-F035-FF6539370B8F}"/>
                  </a:ext>
                </a:extLst>
              </p:cNvPr>
              <p:cNvSpPr/>
              <p:nvPr/>
            </p:nvSpPr>
            <p:spPr>
              <a:xfrm>
                <a:off x="2700229" y="3255553"/>
                <a:ext cx="50484" cy="62408"/>
              </a:xfrm>
              <a:custGeom>
                <a:avLst/>
                <a:gdLst>
                  <a:gd name="connsiteX0" fmla="*/ 41103 w 50484"/>
                  <a:gd name="connsiteY0" fmla="*/ 0 h 62408"/>
                  <a:gd name="connsiteX1" fmla="*/ 9361 w 50484"/>
                  <a:gd name="connsiteY1" fmla="*/ 0 h 62408"/>
                  <a:gd name="connsiteX2" fmla="*/ 0 w 50484"/>
                  <a:gd name="connsiteY2" fmla="*/ 11107 h 62408"/>
                  <a:gd name="connsiteX3" fmla="*/ 0 w 50484"/>
                  <a:gd name="connsiteY3" fmla="*/ 51301 h 62408"/>
                  <a:gd name="connsiteX4" fmla="*/ 9361 w 50484"/>
                  <a:gd name="connsiteY4" fmla="*/ 62408 h 62408"/>
                  <a:gd name="connsiteX5" fmla="*/ 41103 w 50484"/>
                  <a:gd name="connsiteY5" fmla="*/ 62408 h 62408"/>
                  <a:gd name="connsiteX6" fmla="*/ 50485 w 50484"/>
                  <a:gd name="connsiteY6" fmla="*/ 51301 h 62408"/>
                  <a:gd name="connsiteX7" fmla="*/ 50485 w 50484"/>
                  <a:gd name="connsiteY7" fmla="*/ 11107 h 62408"/>
                  <a:gd name="connsiteX8" fmla="*/ 41103 w 50484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23" name="Freeform 57">
                <a:extLst>
                  <a:ext uri="{FF2B5EF4-FFF2-40B4-BE49-F238E27FC236}">
                    <a16:creationId xmlns:a16="http://schemas.microsoft.com/office/drawing/2014/main" id="{EC4122BF-3D98-E7F0-7246-F09D018D5DEA}"/>
                  </a:ext>
                </a:extLst>
              </p:cNvPr>
              <p:cNvSpPr/>
              <p:nvPr/>
            </p:nvSpPr>
            <p:spPr>
              <a:xfrm>
                <a:off x="2700229" y="3156254"/>
                <a:ext cx="50484" cy="62408"/>
              </a:xfrm>
              <a:custGeom>
                <a:avLst/>
                <a:gdLst>
                  <a:gd name="connsiteX0" fmla="*/ 41103 w 50484"/>
                  <a:gd name="connsiteY0" fmla="*/ 0 h 62408"/>
                  <a:gd name="connsiteX1" fmla="*/ 9361 w 50484"/>
                  <a:gd name="connsiteY1" fmla="*/ 0 h 62408"/>
                  <a:gd name="connsiteX2" fmla="*/ 0 w 50484"/>
                  <a:gd name="connsiteY2" fmla="*/ 11107 h 62408"/>
                  <a:gd name="connsiteX3" fmla="*/ 0 w 50484"/>
                  <a:gd name="connsiteY3" fmla="*/ 51301 h 62408"/>
                  <a:gd name="connsiteX4" fmla="*/ 9361 w 50484"/>
                  <a:gd name="connsiteY4" fmla="*/ 62408 h 62408"/>
                  <a:gd name="connsiteX5" fmla="*/ 41103 w 50484"/>
                  <a:gd name="connsiteY5" fmla="*/ 62408 h 62408"/>
                  <a:gd name="connsiteX6" fmla="*/ 50485 w 50484"/>
                  <a:gd name="connsiteY6" fmla="*/ 51301 h 62408"/>
                  <a:gd name="connsiteX7" fmla="*/ 50485 w 50484"/>
                  <a:gd name="connsiteY7" fmla="*/ 11107 h 62408"/>
                  <a:gd name="connsiteX8" fmla="*/ 41103 w 50484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12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12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24" name="Freeform 58">
                <a:extLst>
                  <a:ext uri="{FF2B5EF4-FFF2-40B4-BE49-F238E27FC236}">
                    <a16:creationId xmlns:a16="http://schemas.microsoft.com/office/drawing/2014/main" id="{60DC31E9-85ED-67CB-66A5-BD25F06E2F4B}"/>
                  </a:ext>
                </a:extLst>
              </p:cNvPr>
              <p:cNvSpPr/>
              <p:nvPr/>
            </p:nvSpPr>
            <p:spPr>
              <a:xfrm>
                <a:off x="2700229" y="3056974"/>
                <a:ext cx="50484" cy="62387"/>
              </a:xfrm>
              <a:custGeom>
                <a:avLst/>
                <a:gdLst>
                  <a:gd name="connsiteX0" fmla="*/ 41103 w 50484"/>
                  <a:gd name="connsiteY0" fmla="*/ 0 h 62387"/>
                  <a:gd name="connsiteX1" fmla="*/ 9361 w 50484"/>
                  <a:gd name="connsiteY1" fmla="*/ 0 h 62387"/>
                  <a:gd name="connsiteX2" fmla="*/ 0 w 50484"/>
                  <a:gd name="connsiteY2" fmla="*/ 11086 h 62387"/>
                  <a:gd name="connsiteX3" fmla="*/ 0 w 50484"/>
                  <a:gd name="connsiteY3" fmla="*/ 51301 h 62387"/>
                  <a:gd name="connsiteX4" fmla="*/ 9361 w 50484"/>
                  <a:gd name="connsiteY4" fmla="*/ 62387 h 62387"/>
                  <a:gd name="connsiteX5" fmla="*/ 41103 w 50484"/>
                  <a:gd name="connsiteY5" fmla="*/ 62387 h 62387"/>
                  <a:gd name="connsiteX6" fmla="*/ 50485 w 50484"/>
                  <a:gd name="connsiteY6" fmla="*/ 51301 h 62387"/>
                  <a:gd name="connsiteX7" fmla="*/ 50485 w 50484"/>
                  <a:gd name="connsiteY7" fmla="*/ 11086 h 62387"/>
                  <a:gd name="connsiteX8" fmla="*/ 41103 w 50484"/>
                  <a:gd name="connsiteY8" fmla="*/ 0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387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086"/>
                    </a:cubicBezTo>
                    <a:lnTo>
                      <a:pt x="0" y="51301"/>
                    </a:lnTo>
                    <a:cubicBezTo>
                      <a:pt x="0" y="57412"/>
                      <a:pt x="4195" y="62387"/>
                      <a:pt x="9361" y="62387"/>
                    </a:cubicBezTo>
                    <a:lnTo>
                      <a:pt x="41103" y="62387"/>
                    </a:lnTo>
                    <a:cubicBezTo>
                      <a:pt x="46290" y="62387"/>
                      <a:pt x="50485" y="57412"/>
                      <a:pt x="50485" y="51301"/>
                    </a:cubicBezTo>
                    <a:lnTo>
                      <a:pt x="50485" y="11086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25" name="Freeform 59">
                <a:extLst>
                  <a:ext uri="{FF2B5EF4-FFF2-40B4-BE49-F238E27FC236}">
                    <a16:creationId xmlns:a16="http://schemas.microsoft.com/office/drawing/2014/main" id="{4B942521-50B3-E51B-3626-3A4D46454F71}"/>
                  </a:ext>
                </a:extLst>
              </p:cNvPr>
              <p:cNvSpPr/>
              <p:nvPr/>
            </p:nvSpPr>
            <p:spPr>
              <a:xfrm>
                <a:off x="2700229" y="2957654"/>
                <a:ext cx="50484" cy="62408"/>
              </a:xfrm>
              <a:custGeom>
                <a:avLst/>
                <a:gdLst>
                  <a:gd name="connsiteX0" fmla="*/ 41103 w 50484"/>
                  <a:gd name="connsiteY0" fmla="*/ 0 h 62408"/>
                  <a:gd name="connsiteX1" fmla="*/ 9361 w 50484"/>
                  <a:gd name="connsiteY1" fmla="*/ 0 h 62408"/>
                  <a:gd name="connsiteX2" fmla="*/ 0 w 50484"/>
                  <a:gd name="connsiteY2" fmla="*/ 11107 h 62408"/>
                  <a:gd name="connsiteX3" fmla="*/ 0 w 50484"/>
                  <a:gd name="connsiteY3" fmla="*/ 51301 h 62408"/>
                  <a:gd name="connsiteX4" fmla="*/ 9361 w 50484"/>
                  <a:gd name="connsiteY4" fmla="*/ 62408 h 62408"/>
                  <a:gd name="connsiteX5" fmla="*/ 41103 w 50484"/>
                  <a:gd name="connsiteY5" fmla="*/ 62408 h 62408"/>
                  <a:gd name="connsiteX6" fmla="*/ 50485 w 50484"/>
                  <a:gd name="connsiteY6" fmla="*/ 51301 h 62408"/>
                  <a:gd name="connsiteX7" fmla="*/ 50485 w 50484"/>
                  <a:gd name="connsiteY7" fmla="*/ 11107 h 62408"/>
                  <a:gd name="connsiteX8" fmla="*/ 41103 w 50484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96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96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26" name="Freeform 60">
                <a:extLst>
                  <a:ext uri="{FF2B5EF4-FFF2-40B4-BE49-F238E27FC236}">
                    <a16:creationId xmlns:a16="http://schemas.microsoft.com/office/drawing/2014/main" id="{224BC42A-BF67-7507-1ADD-D93302446EBA}"/>
                  </a:ext>
                </a:extLst>
              </p:cNvPr>
              <p:cNvSpPr/>
              <p:nvPr/>
            </p:nvSpPr>
            <p:spPr>
              <a:xfrm>
                <a:off x="3884565" y="3752010"/>
                <a:ext cx="50505" cy="62408"/>
              </a:xfrm>
              <a:custGeom>
                <a:avLst/>
                <a:gdLst>
                  <a:gd name="connsiteX0" fmla="*/ 41124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4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4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4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4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4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27" name="Freeform 61">
                <a:extLst>
                  <a:ext uri="{FF2B5EF4-FFF2-40B4-BE49-F238E27FC236}">
                    <a16:creationId xmlns:a16="http://schemas.microsoft.com/office/drawing/2014/main" id="{357066EA-748E-4638-451D-2FA0356D4A63}"/>
                  </a:ext>
                </a:extLst>
              </p:cNvPr>
              <p:cNvSpPr/>
              <p:nvPr/>
            </p:nvSpPr>
            <p:spPr>
              <a:xfrm>
                <a:off x="3884565" y="3652731"/>
                <a:ext cx="50505" cy="62408"/>
              </a:xfrm>
              <a:custGeom>
                <a:avLst/>
                <a:gdLst>
                  <a:gd name="connsiteX0" fmla="*/ 41124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4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4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4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4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4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28" name="Freeform 62">
                <a:extLst>
                  <a:ext uri="{FF2B5EF4-FFF2-40B4-BE49-F238E27FC236}">
                    <a16:creationId xmlns:a16="http://schemas.microsoft.com/office/drawing/2014/main" id="{34D40F98-9462-2434-A60C-AC582803AB6F}"/>
                  </a:ext>
                </a:extLst>
              </p:cNvPr>
              <p:cNvSpPr/>
              <p:nvPr/>
            </p:nvSpPr>
            <p:spPr>
              <a:xfrm>
                <a:off x="3884565" y="3553432"/>
                <a:ext cx="50505" cy="62387"/>
              </a:xfrm>
              <a:custGeom>
                <a:avLst/>
                <a:gdLst>
                  <a:gd name="connsiteX0" fmla="*/ 41124 w 50505"/>
                  <a:gd name="connsiteY0" fmla="*/ 0 h 62387"/>
                  <a:gd name="connsiteX1" fmla="*/ 9382 w 50505"/>
                  <a:gd name="connsiteY1" fmla="*/ 0 h 62387"/>
                  <a:gd name="connsiteX2" fmla="*/ 0 w 50505"/>
                  <a:gd name="connsiteY2" fmla="*/ 11107 h 62387"/>
                  <a:gd name="connsiteX3" fmla="*/ 0 w 50505"/>
                  <a:gd name="connsiteY3" fmla="*/ 51301 h 62387"/>
                  <a:gd name="connsiteX4" fmla="*/ 9382 w 50505"/>
                  <a:gd name="connsiteY4" fmla="*/ 62387 h 62387"/>
                  <a:gd name="connsiteX5" fmla="*/ 41124 w 50505"/>
                  <a:gd name="connsiteY5" fmla="*/ 62387 h 62387"/>
                  <a:gd name="connsiteX6" fmla="*/ 50505 w 50505"/>
                  <a:gd name="connsiteY6" fmla="*/ 51301 h 62387"/>
                  <a:gd name="connsiteX7" fmla="*/ 50505 w 50505"/>
                  <a:gd name="connsiteY7" fmla="*/ 11107 h 62387"/>
                  <a:gd name="connsiteX8" fmla="*/ 41124 w 50505"/>
                  <a:gd name="connsiteY8" fmla="*/ 0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387">
                    <a:moveTo>
                      <a:pt x="41124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12"/>
                      <a:pt x="4195" y="62387"/>
                      <a:pt x="9382" y="62387"/>
                    </a:cubicBezTo>
                    <a:lnTo>
                      <a:pt x="41124" y="62387"/>
                    </a:lnTo>
                    <a:cubicBezTo>
                      <a:pt x="46310" y="62387"/>
                      <a:pt x="50505" y="57412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4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29" name="Freeform 63">
                <a:extLst>
                  <a:ext uri="{FF2B5EF4-FFF2-40B4-BE49-F238E27FC236}">
                    <a16:creationId xmlns:a16="http://schemas.microsoft.com/office/drawing/2014/main" id="{7F89F323-04FB-0516-19A7-294308F21F56}"/>
                  </a:ext>
                </a:extLst>
              </p:cNvPr>
              <p:cNvSpPr/>
              <p:nvPr/>
            </p:nvSpPr>
            <p:spPr>
              <a:xfrm>
                <a:off x="3884565" y="3454153"/>
                <a:ext cx="50505" cy="62387"/>
              </a:xfrm>
              <a:custGeom>
                <a:avLst/>
                <a:gdLst>
                  <a:gd name="connsiteX0" fmla="*/ 41124 w 50505"/>
                  <a:gd name="connsiteY0" fmla="*/ 0 h 62387"/>
                  <a:gd name="connsiteX1" fmla="*/ 9382 w 50505"/>
                  <a:gd name="connsiteY1" fmla="*/ 0 h 62387"/>
                  <a:gd name="connsiteX2" fmla="*/ 0 w 50505"/>
                  <a:gd name="connsiteY2" fmla="*/ 11086 h 62387"/>
                  <a:gd name="connsiteX3" fmla="*/ 0 w 50505"/>
                  <a:gd name="connsiteY3" fmla="*/ 51301 h 62387"/>
                  <a:gd name="connsiteX4" fmla="*/ 9382 w 50505"/>
                  <a:gd name="connsiteY4" fmla="*/ 62387 h 62387"/>
                  <a:gd name="connsiteX5" fmla="*/ 41124 w 50505"/>
                  <a:gd name="connsiteY5" fmla="*/ 62387 h 62387"/>
                  <a:gd name="connsiteX6" fmla="*/ 50505 w 50505"/>
                  <a:gd name="connsiteY6" fmla="*/ 51301 h 62387"/>
                  <a:gd name="connsiteX7" fmla="*/ 50505 w 50505"/>
                  <a:gd name="connsiteY7" fmla="*/ 11086 h 62387"/>
                  <a:gd name="connsiteX8" fmla="*/ 41124 w 50505"/>
                  <a:gd name="connsiteY8" fmla="*/ 0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387">
                    <a:moveTo>
                      <a:pt x="41124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086"/>
                    </a:cubicBezTo>
                    <a:lnTo>
                      <a:pt x="0" y="51301"/>
                    </a:lnTo>
                    <a:cubicBezTo>
                      <a:pt x="0" y="57412"/>
                      <a:pt x="4195" y="62387"/>
                      <a:pt x="9382" y="62387"/>
                    </a:cubicBezTo>
                    <a:lnTo>
                      <a:pt x="41124" y="62387"/>
                    </a:lnTo>
                    <a:cubicBezTo>
                      <a:pt x="46310" y="62387"/>
                      <a:pt x="50505" y="57412"/>
                      <a:pt x="50505" y="51301"/>
                    </a:cubicBezTo>
                    <a:lnTo>
                      <a:pt x="50505" y="11086"/>
                    </a:lnTo>
                    <a:cubicBezTo>
                      <a:pt x="50505" y="4975"/>
                      <a:pt x="46310" y="0"/>
                      <a:pt x="41124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30" name="Freeform 64">
                <a:extLst>
                  <a:ext uri="{FF2B5EF4-FFF2-40B4-BE49-F238E27FC236}">
                    <a16:creationId xmlns:a16="http://schemas.microsoft.com/office/drawing/2014/main" id="{4AFC1743-E136-EC60-60F0-9856E2F3D7EA}"/>
                  </a:ext>
                </a:extLst>
              </p:cNvPr>
              <p:cNvSpPr/>
              <p:nvPr/>
            </p:nvSpPr>
            <p:spPr>
              <a:xfrm>
                <a:off x="3884565" y="3354832"/>
                <a:ext cx="50505" cy="62408"/>
              </a:xfrm>
              <a:custGeom>
                <a:avLst/>
                <a:gdLst>
                  <a:gd name="connsiteX0" fmla="*/ 41124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4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4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4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4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4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31" name="Freeform 65">
                <a:extLst>
                  <a:ext uri="{FF2B5EF4-FFF2-40B4-BE49-F238E27FC236}">
                    <a16:creationId xmlns:a16="http://schemas.microsoft.com/office/drawing/2014/main" id="{F1B941B9-7C6B-4C6C-8780-CDBC30A8CC63}"/>
                  </a:ext>
                </a:extLst>
              </p:cNvPr>
              <p:cNvSpPr/>
              <p:nvPr/>
            </p:nvSpPr>
            <p:spPr>
              <a:xfrm>
                <a:off x="3884565" y="3255553"/>
                <a:ext cx="50505" cy="62408"/>
              </a:xfrm>
              <a:custGeom>
                <a:avLst/>
                <a:gdLst>
                  <a:gd name="connsiteX0" fmla="*/ 41124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4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4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4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4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4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32" name="Freeform 66">
                <a:extLst>
                  <a:ext uri="{FF2B5EF4-FFF2-40B4-BE49-F238E27FC236}">
                    <a16:creationId xmlns:a16="http://schemas.microsoft.com/office/drawing/2014/main" id="{682B0E01-7A4F-5864-5363-DF7AFDC32F80}"/>
                  </a:ext>
                </a:extLst>
              </p:cNvPr>
              <p:cNvSpPr/>
              <p:nvPr/>
            </p:nvSpPr>
            <p:spPr>
              <a:xfrm>
                <a:off x="3884565" y="3156254"/>
                <a:ext cx="50505" cy="62408"/>
              </a:xfrm>
              <a:custGeom>
                <a:avLst/>
                <a:gdLst>
                  <a:gd name="connsiteX0" fmla="*/ 41124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4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4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4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12"/>
                      <a:pt x="4195" y="62408"/>
                      <a:pt x="9382" y="62408"/>
                    </a:cubicBezTo>
                    <a:lnTo>
                      <a:pt x="41124" y="62408"/>
                    </a:lnTo>
                    <a:cubicBezTo>
                      <a:pt x="46310" y="62408"/>
                      <a:pt x="50505" y="57412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4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33" name="Freeform 67">
                <a:extLst>
                  <a:ext uri="{FF2B5EF4-FFF2-40B4-BE49-F238E27FC236}">
                    <a16:creationId xmlns:a16="http://schemas.microsoft.com/office/drawing/2014/main" id="{CB82BD37-5F18-5D30-3B24-EF43F7B79FD0}"/>
                  </a:ext>
                </a:extLst>
              </p:cNvPr>
              <p:cNvSpPr/>
              <p:nvPr/>
            </p:nvSpPr>
            <p:spPr>
              <a:xfrm>
                <a:off x="3884565" y="3056974"/>
                <a:ext cx="50505" cy="62387"/>
              </a:xfrm>
              <a:custGeom>
                <a:avLst/>
                <a:gdLst>
                  <a:gd name="connsiteX0" fmla="*/ 41124 w 50505"/>
                  <a:gd name="connsiteY0" fmla="*/ 0 h 62387"/>
                  <a:gd name="connsiteX1" fmla="*/ 9382 w 50505"/>
                  <a:gd name="connsiteY1" fmla="*/ 0 h 62387"/>
                  <a:gd name="connsiteX2" fmla="*/ 0 w 50505"/>
                  <a:gd name="connsiteY2" fmla="*/ 11086 h 62387"/>
                  <a:gd name="connsiteX3" fmla="*/ 0 w 50505"/>
                  <a:gd name="connsiteY3" fmla="*/ 51301 h 62387"/>
                  <a:gd name="connsiteX4" fmla="*/ 9382 w 50505"/>
                  <a:gd name="connsiteY4" fmla="*/ 62387 h 62387"/>
                  <a:gd name="connsiteX5" fmla="*/ 41124 w 50505"/>
                  <a:gd name="connsiteY5" fmla="*/ 62387 h 62387"/>
                  <a:gd name="connsiteX6" fmla="*/ 50505 w 50505"/>
                  <a:gd name="connsiteY6" fmla="*/ 51301 h 62387"/>
                  <a:gd name="connsiteX7" fmla="*/ 50505 w 50505"/>
                  <a:gd name="connsiteY7" fmla="*/ 11086 h 62387"/>
                  <a:gd name="connsiteX8" fmla="*/ 41124 w 50505"/>
                  <a:gd name="connsiteY8" fmla="*/ 0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387">
                    <a:moveTo>
                      <a:pt x="41124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086"/>
                    </a:cubicBezTo>
                    <a:lnTo>
                      <a:pt x="0" y="51301"/>
                    </a:lnTo>
                    <a:cubicBezTo>
                      <a:pt x="0" y="57412"/>
                      <a:pt x="4195" y="62387"/>
                      <a:pt x="9382" y="62387"/>
                    </a:cubicBezTo>
                    <a:lnTo>
                      <a:pt x="41124" y="62387"/>
                    </a:lnTo>
                    <a:cubicBezTo>
                      <a:pt x="46310" y="62387"/>
                      <a:pt x="50505" y="57412"/>
                      <a:pt x="50505" y="51301"/>
                    </a:cubicBezTo>
                    <a:lnTo>
                      <a:pt x="50505" y="11086"/>
                    </a:lnTo>
                    <a:cubicBezTo>
                      <a:pt x="50505" y="4975"/>
                      <a:pt x="46310" y="0"/>
                      <a:pt x="41124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34" name="Freeform 68">
                <a:extLst>
                  <a:ext uri="{FF2B5EF4-FFF2-40B4-BE49-F238E27FC236}">
                    <a16:creationId xmlns:a16="http://schemas.microsoft.com/office/drawing/2014/main" id="{4A6AC6D3-E508-92A5-69B4-1F5F13BB496B}"/>
                  </a:ext>
                </a:extLst>
              </p:cNvPr>
              <p:cNvSpPr/>
              <p:nvPr/>
            </p:nvSpPr>
            <p:spPr>
              <a:xfrm>
                <a:off x="3884565" y="2957654"/>
                <a:ext cx="50505" cy="62408"/>
              </a:xfrm>
              <a:custGeom>
                <a:avLst/>
                <a:gdLst>
                  <a:gd name="connsiteX0" fmla="*/ 41124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4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4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4" y="0"/>
                    </a:moveTo>
                    <a:lnTo>
                      <a:pt x="9382" y="0"/>
                    </a:lnTo>
                    <a:cubicBezTo>
                      <a:pt x="4195" y="0"/>
                      <a:pt x="0" y="4996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4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96"/>
                      <a:pt x="46310" y="0"/>
                      <a:pt x="41124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35" name="Freeform 69">
                <a:extLst>
                  <a:ext uri="{FF2B5EF4-FFF2-40B4-BE49-F238E27FC236}">
                    <a16:creationId xmlns:a16="http://schemas.microsoft.com/office/drawing/2014/main" id="{1C8E0773-512E-866B-95D2-BF0C42101C83}"/>
                  </a:ext>
                </a:extLst>
              </p:cNvPr>
              <p:cNvSpPr/>
              <p:nvPr/>
            </p:nvSpPr>
            <p:spPr>
              <a:xfrm>
                <a:off x="3964476" y="3752031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36" name="Freeform 70">
                <a:extLst>
                  <a:ext uri="{FF2B5EF4-FFF2-40B4-BE49-F238E27FC236}">
                    <a16:creationId xmlns:a16="http://schemas.microsoft.com/office/drawing/2014/main" id="{8A83C561-582A-FEE0-4A35-597A0A0373DE}"/>
                  </a:ext>
                </a:extLst>
              </p:cNvPr>
              <p:cNvSpPr/>
              <p:nvPr/>
            </p:nvSpPr>
            <p:spPr>
              <a:xfrm>
                <a:off x="3964476" y="3652731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37" name="Freeform 71">
                <a:extLst>
                  <a:ext uri="{FF2B5EF4-FFF2-40B4-BE49-F238E27FC236}">
                    <a16:creationId xmlns:a16="http://schemas.microsoft.com/office/drawing/2014/main" id="{67FC0E8F-0A39-A78D-14CA-20A7000F7C05}"/>
                  </a:ext>
                </a:extLst>
              </p:cNvPr>
              <p:cNvSpPr/>
              <p:nvPr/>
            </p:nvSpPr>
            <p:spPr>
              <a:xfrm>
                <a:off x="3964476" y="3553432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38" name="Freeform 72">
                <a:extLst>
                  <a:ext uri="{FF2B5EF4-FFF2-40B4-BE49-F238E27FC236}">
                    <a16:creationId xmlns:a16="http://schemas.microsoft.com/office/drawing/2014/main" id="{314E0E1A-F8CC-F47A-A5EB-D64BA84B080B}"/>
                  </a:ext>
                </a:extLst>
              </p:cNvPr>
              <p:cNvSpPr/>
              <p:nvPr/>
            </p:nvSpPr>
            <p:spPr>
              <a:xfrm>
                <a:off x="3964476" y="3454132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39" name="Freeform 73">
                <a:extLst>
                  <a:ext uri="{FF2B5EF4-FFF2-40B4-BE49-F238E27FC236}">
                    <a16:creationId xmlns:a16="http://schemas.microsoft.com/office/drawing/2014/main" id="{306CAC77-3B58-E3B5-011B-612074BFDB43}"/>
                  </a:ext>
                </a:extLst>
              </p:cNvPr>
              <p:cNvSpPr/>
              <p:nvPr/>
            </p:nvSpPr>
            <p:spPr>
              <a:xfrm>
                <a:off x="3964476" y="3354853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40" name="Freeform 74">
                <a:extLst>
                  <a:ext uri="{FF2B5EF4-FFF2-40B4-BE49-F238E27FC236}">
                    <a16:creationId xmlns:a16="http://schemas.microsoft.com/office/drawing/2014/main" id="{C8F38E4E-382A-8C4B-A10C-322999F8F7CF}"/>
                  </a:ext>
                </a:extLst>
              </p:cNvPr>
              <p:cNvSpPr/>
              <p:nvPr/>
            </p:nvSpPr>
            <p:spPr>
              <a:xfrm>
                <a:off x="3964476" y="3255553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41" name="Freeform 75">
                <a:extLst>
                  <a:ext uri="{FF2B5EF4-FFF2-40B4-BE49-F238E27FC236}">
                    <a16:creationId xmlns:a16="http://schemas.microsoft.com/office/drawing/2014/main" id="{E4CFA33E-2915-6E7F-30E7-1885DCCA7075}"/>
                  </a:ext>
                </a:extLst>
              </p:cNvPr>
              <p:cNvSpPr/>
              <p:nvPr/>
            </p:nvSpPr>
            <p:spPr>
              <a:xfrm>
                <a:off x="3964476" y="3156254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42" name="Freeform 76">
                <a:extLst>
                  <a:ext uri="{FF2B5EF4-FFF2-40B4-BE49-F238E27FC236}">
                    <a16:creationId xmlns:a16="http://schemas.microsoft.com/office/drawing/2014/main" id="{81E20987-ABF9-C309-A1B2-D9352E6ED14D}"/>
                  </a:ext>
                </a:extLst>
              </p:cNvPr>
              <p:cNvSpPr/>
              <p:nvPr/>
            </p:nvSpPr>
            <p:spPr>
              <a:xfrm>
                <a:off x="3964476" y="3056954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43" name="Freeform 77">
                <a:extLst>
                  <a:ext uri="{FF2B5EF4-FFF2-40B4-BE49-F238E27FC236}">
                    <a16:creationId xmlns:a16="http://schemas.microsoft.com/office/drawing/2014/main" id="{5877C07A-B04B-E75E-0C59-B6018FD2B1C7}"/>
                  </a:ext>
                </a:extLst>
              </p:cNvPr>
              <p:cNvSpPr/>
              <p:nvPr/>
            </p:nvSpPr>
            <p:spPr>
              <a:xfrm>
                <a:off x="3964476" y="2957654"/>
                <a:ext cx="50505" cy="62408"/>
              </a:xfrm>
              <a:custGeom>
                <a:avLst/>
                <a:gdLst>
                  <a:gd name="connsiteX0" fmla="*/ 41123 w 50505"/>
                  <a:gd name="connsiteY0" fmla="*/ 0 h 62408"/>
                  <a:gd name="connsiteX1" fmla="*/ 9382 w 50505"/>
                  <a:gd name="connsiteY1" fmla="*/ 0 h 62408"/>
                  <a:gd name="connsiteX2" fmla="*/ 0 w 50505"/>
                  <a:gd name="connsiteY2" fmla="*/ 11107 h 62408"/>
                  <a:gd name="connsiteX3" fmla="*/ 0 w 50505"/>
                  <a:gd name="connsiteY3" fmla="*/ 51301 h 62408"/>
                  <a:gd name="connsiteX4" fmla="*/ 9382 w 50505"/>
                  <a:gd name="connsiteY4" fmla="*/ 62408 h 62408"/>
                  <a:gd name="connsiteX5" fmla="*/ 41123 w 50505"/>
                  <a:gd name="connsiteY5" fmla="*/ 62408 h 62408"/>
                  <a:gd name="connsiteX6" fmla="*/ 50505 w 50505"/>
                  <a:gd name="connsiteY6" fmla="*/ 51301 h 62408"/>
                  <a:gd name="connsiteX7" fmla="*/ 50505 w 50505"/>
                  <a:gd name="connsiteY7" fmla="*/ 11107 h 62408"/>
                  <a:gd name="connsiteX8" fmla="*/ 41123 w 50505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505" h="62408">
                    <a:moveTo>
                      <a:pt x="41123" y="0"/>
                    </a:moveTo>
                    <a:lnTo>
                      <a:pt x="9382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82" y="62408"/>
                    </a:cubicBezTo>
                    <a:lnTo>
                      <a:pt x="41123" y="62408"/>
                    </a:lnTo>
                    <a:cubicBezTo>
                      <a:pt x="46310" y="62408"/>
                      <a:pt x="50505" y="57433"/>
                      <a:pt x="50505" y="51301"/>
                    </a:cubicBezTo>
                    <a:lnTo>
                      <a:pt x="50505" y="11107"/>
                    </a:lnTo>
                    <a:cubicBezTo>
                      <a:pt x="50505" y="4975"/>
                      <a:pt x="46310" y="0"/>
                      <a:pt x="4112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44" name="Freeform 78">
                <a:extLst>
                  <a:ext uri="{FF2B5EF4-FFF2-40B4-BE49-F238E27FC236}">
                    <a16:creationId xmlns:a16="http://schemas.microsoft.com/office/drawing/2014/main" id="{802C7C25-5A78-6F48-7D38-02A51814A4C1}"/>
                  </a:ext>
                </a:extLst>
              </p:cNvPr>
              <p:cNvSpPr/>
              <p:nvPr/>
            </p:nvSpPr>
            <p:spPr>
              <a:xfrm>
                <a:off x="4044388" y="3752010"/>
                <a:ext cx="50484" cy="62408"/>
              </a:xfrm>
              <a:custGeom>
                <a:avLst/>
                <a:gdLst>
                  <a:gd name="connsiteX0" fmla="*/ 41103 w 50484"/>
                  <a:gd name="connsiteY0" fmla="*/ 0 h 62408"/>
                  <a:gd name="connsiteX1" fmla="*/ 9361 w 50484"/>
                  <a:gd name="connsiteY1" fmla="*/ 0 h 62408"/>
                  <a:gd name="connsiteX2" fmla="*/ 0 w 50484"/>
                  <a:gd name="connsiteY2" fmla="*/ 11107 h 62408"/>
                  <a:gd name="connsiteX3" fmla="*/ 0 w 50484"/>
                  <a:gd name="connsiteY3" fmla="*/ 51301 h 62408"/>
                  <a:gd name="connsiteX4" fmla="*/ 9361 w 50484"/>
                  <a:gd name="connsiteY4" fmla="*/ 62408 h 62408"/>
                  <a:gd name="connsiteX5" fmla="*/ 41103 w 50484"/>
                  <a:gd name="connsiteY5" fmla="*/ 62408 h 62408"/>
                  <a:gd name="connsiteX6" fmla="*/ 50485 w 50484"/>
                  <a:gd name="connsiteY6" fmla="*/ 51301 h 62408"/>
                  <a:gd name="connsiteX7" fmla="*/ 50485 w 50484"/>
                  <a:gd name="connsiteY7" fmla="*/ 11107 h 62408"/>
                  <a:gd name="connsiteX8" fmla="*/ 41103 w 50484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45" name="Freeform 79">
                <a:extLst>
                  <a:ext uri="{FF2B5EF4-FFF2-40B4-BE49-F238E27FC236}">
                    <a16:creationId xmlns:a16="http://schemas.microsoft.com/office/drawing/2014/main" id="{A539CE44-4454-77AA-4DBE-4E9B53E65FA8}"/>
                  </a:ext>
                </a:extLst>
              </p:cNvPr>
              <p:cNvSpPr/>
              <p:nvPr/>
            </p:nvSpPr>
            <p:spPr>
              <a:xfrm>
                <a:off x="4044388" y="3652731"/>
                <a:ext cx="50484" cy="62408"/>
              </a:xfrm>
              <a:custGeom>
                <a:avLst/>
                <a:gdLst>
                  <a:gd name="connsiteX0" fmla="*/ 41103 w 50484"/>
                  <a:gd name="connsiteY0" fmla="*/ 0 h 62408"/>
                  <a:gd name="connsiteX1" fmla="*/ 9361 w 50484"/>
                  <a:gd name="connsiteY1" fmla="*/ 0 h 62408"/>
                  <a:gd name="connsiteX2" fmla="*/ 0 w 50484"/>
                  <a:gd name="connsiteY2" fmla="*/ 11107 h 62408"/>
                  <a:gd name="connsiteX3" fmla="*/ 0 w 50484"/>
                  <a:gd name="connsiteY3" fmla="*/ 51301 h 62408"/>
                  <a:gd name="connsiteX4" fmla="*/ 9361 w 50484"/>
                  <a:gd name="connsiteY4" fmla="*/ 62408 h 62408"/>
                  <a:gd name="connsiteX5" fmla="*/ 41103 w 50484"/>
                  <a:gd name="connsiteY5" fmla="*/ 62408 h 62408"/>
                  <a:gd name="connsiteX6" fmla="*/ 50485 w 50484"/>
                  <a:gd name="connsiteY6" fmla="*/ 51301 h 62408"/>
                  <a:gd name="connsiteX7" fmla="*/ 50485 w 50484"/>
                  <a:gd name="connsiteY7" fmla="*/ 11107 h 62408"/>
                  <a:gd name="connsiteX8" fmla="*/ 41103 w 50484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46" name="Freeform 80">
                <a:extLst>
                  <a:ext uri="{FF2B5EF4-FFF2-40B4-BE49-F238E27FC236}">
                    <a16:creationId xmlns:a16="http://schemas.microsoft.com/office/drawing/2014/main" id="{81935C37-050C-CB59-3484-591D3884A060}"/>
                  </a:ext>
                </a:extLst>
              </p:cNvPr>
              <p:cNvSpPr/>
              <p:nvPr/>
            </p:nvSpPr>
            <p:spPr>
              <a:xfrm>
                <a:off x="4044388" y="3553432"/>
                <a:ext cx="50484" cy="62387"/>
              </a:xfrm>
              <a:custGeom>
                <a:avLst/>
                <a:gdLst>
                  <a:gd name="connsiteX0" fmla="*/ 41103 w 50484"/>
                  <a:gd name="connsiteY0" fmla="*/ 0 h 62387"/>
                  <a:gd name="connsiteX1" fmla="*/ 9361 w 50484"/>
                  <a:gd name="connsiteY1" fmla="*/ 0 h 62387"/>
                  <a:gd name="connsiteX2" fmla="*/ 0 w 50484"/>
                  <a:gd name="connsiteY2" fmla="*/ 11107 h 62387"/>
                  <a:gd name="connsiteX3" fmla="*/ 0 w 50484"/>
                  <a:gd name="connsiteY3" fmla="*/ 51301 h 62387"/>
                  <a:gd name="connsiteX4" fmla="*/ 9361 w 50484"/>
                  <a:gd name="connsiteY4" fmla="*/ 62387 h 62387"/>
                  <a:gd name="connsiteX5" fmla="*/ 41103 w 50484"/>
                  <a:gd name="connsiteY5" fmla="*/ 62387 h 62387"/>
                  <a:gd name="connsiteX6" fmla="*/ 50485 w 50484"/>
                  <a:gd name="connsiteY6" fmla="*/ 51301 h 62387"/>
                  <a:gd name="connsiteX7" fmla="*/ 50485 w 50484"/>
                  <a:gd name="connsiteY7" fmla="*/ 11107 h 62387"/>
                  <a:gd name="connsiteX8" fmla="*/ 41103 w 50484"/>
                  <a:gd name="connsiteY8" fmla="*/ 0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387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12"/>
                      <a:pt x="4195" y="62387"/>
                      <a:pt x="9361" y="62387"/>
                    </a:cubicBezTo>
                    <a:lnTo>
                      <a:pt x="41103" y="62387"/>
                    </a:lnTo>
                    <a:cubicBezTo>
                      <a:pt x="46290" y="62387"/>
                      <a:pt x="50485" y="57412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47" name="Freeform 81">
                <a:extLst>
                  <a:ext uri="{FF2B5EF4-FFF2-40B4-BE49-F238E27FC236}">
                    <a16:creationId xmlns:a16="http://schemas.microsoft.com/office/drawing/2014/main" id="{737C4506-202D-F19C-F56D-A5D848780003}"/>
                  </a:ext>
                </a:extLst>
              </p:cNvPr>
              <p:cNvSpPr/>
              <p:nvPr/>
            </p:nvSpPr>
            <p:spPr>
              <a:xfrm>
                <a:off x="4044388" y="3454153"/>
                <a:ext cx="50484" cy="62387"/>
              </a:xfrm>
              <a:custGeom>
                <a:avLst/>
                <a:gdLst>
                  <a:gd name="connsiteX0" fmla="*/ 41103 w 50484"/>
                  <a:gd name="connsiteY0" fmla="*/ 0 h 62387"/>
                  <a:gd name="connsiteX1" fmla="*/ 9361 w 50484"/>
                  <a:gd name="connsiteY1" fmla="*/ 0 h 62387"/>
                  <a:gd name="connsiteX2" fmla="*/ 0 w 50484"/>
                  <a:gd name="connsiteY2" fmla="*/ 11086 h 62387"/>
                  <a:gd name="connsiteX3" fmla="*/ 0 w 50484"/>
                  <a:gd name="connsiteY3" fmla="*/ 51301 h 62387"/>
                  <a:gd name="connsiteX4" fmla="*/ 9361 w 50484"/>
                  <a:gd name="connsiteY4" fmla="*/ 62387 h 62387"/>
                  <a:gd name="connsiteX5" fmla="*/ 41103 w 50484"/>
                  <a:gd name="connsiteY5" fmla="*/ 62387 h 62387"/>
                  <a:gd name="connsiteX6" fmla="*/ 50485 w 50484"/>
                  <a:gd name="connsiteY6" fmla="*/ 51301 h 62387"/>
                  <a:gd name="connsiteX7" fmla="*/ 50485 w 50484"/>
                  <a:gd name="connsiteY7" fmla="*/ 11086 h 62387"/>
                  <a:gd name="connsiteX8" fmla="*/ 41103 w 50484"/>
                  <a:gd name="connsiteY8" fmla="*/ 0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387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086"/>
                    </a:cubicBezTo>
                    <a:lnTo>
                      <a:pt x="0" y="51301"/>
                    </a:lnTo>
                    <a:cubicBezTo>
                      <a:pt x="0" y="57412"/>
                      <a:pt x="4195" y="62387"/>
                      <a:pt x="9361" y="62387"/>
                    </a:cubicBezTo>
                    <a:lnTo>
                      <a:pt x="41103" y="62387"/>
                    </a:lnTo>
                    <a:cubicBezTo>
                      <a:pt x="46290" y="62387"/>
                      <a:pt x="50485" y="57412"/>
                      <a:pt x="50485" y="51301"/>
                    </a:cubicBezTo>
                    <a:lnTo>
                      <a:pt x="50485" y="11086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48" name="Freeform 82">
                <a:extLst>
                  <a:ext uri="{FF2B5EF4-FFF2-40B4-BE49-F238E27FC236}">
                    <a16:creationId xmlns:a16="http://schemas.microsoft.com/office/drawing/2014/main" id="{8DF096F6-E76E-F03A-DED6-BB9043D4B10A}"/>
                  </a:ext>
                </a:extLst>
              </p:cNvPr>
              <p:cNvSpPr/>
              <p:nvPr/>
            </p:nvSpPr>
            <p:spPr>
              <a:xfrm>
                <a:off x="4044388" y="3354832"/>
                <a:ext cx="50484" cy="62408"/>
              </a:xfrm>
              <a:custGeom>
                <a:avLst/>
                <a:gdLst>
                  <a:gd name="connsiteX0" fmla="*/ 41103 w 50484"/>
                  <a:gd name="connsiteY0" fmla="*/ 0 h 62408"/>
                  <a:gd name="connsiteX1" fmla="*/ 9361 w 50484"/>
                  <a:gd name="connsiteY1" fmla="*/ 0 h 62408"/>
                  <a:gd name="connsiteX2" fmla="*/ 0 w 50484"/>
                  <a:gd name="connsiteY2" fmla="*/ 11107 h 62408"/>
                  <a:gd name="connsiteX3" fmla="*/ 0 w 50484"/>
                  <a:gd name="connsiteY3" fmla="*/ 51301 h 62408"/>
                  <a:gd name="connsiteX4" fmla="*/ 9361 w 50484"/>
                  <a:gd name="connsiteY4" fmla="*/ 62408 h 62408"/>
                  <a:gd name="connsiteX5" fmla="*/ 41103 w 50484"/>
                  <a:gd name="connsiteY5" fmla="*/ 62408 h 62408"/>
                  <a:gd name="connsiteX6" fmla="*/ 50485 w 50484"/>
                  <a:gd name="connsiteY6" fmla="*/ 51301 h 62408"/>
                  <a:gd name="connsiteX7" fmla="*/ 50485 w 50484"/>
                  <a:gd name="connsiteY7" fmla="*/ 11107 h 62408"/>
                  <a:gd name="connsiteX8" fmla="*/ 41103 w 50484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49" name="Freeform 83">
                <a:extLst>
                  <a:ext uri="{FF2B5EF4-FFF2-40B4-BE49-F238E27FC236}">
                    <a16:creationId xmlns:a16="http://schemas.microsoft.com/office/drawing/2014/main" id="{16A24166-E44A-52A5-670A-8B712BAA0C4A}"/>
                  </a:ext>
                </a:extLst>
              </p:cNvPr>
              <p:cNvSpPr/>
              <p:nvPr/>
            </p:nvSpPr>
            <p:spPr>
              <a:xfrm>
                <a:off x="4044388" y="3255553"/>
                <a:ext cx="50484" cy="62408"/>
              </a:xfrm>
              <a:custGeom>
                <a:avLst/>
                <a:gdLst>
                  <a:gd name="connsiteX0" fmla="*/ 41103 w 50484"/>
                  <a:gd name="connsiteY0" fmla="*/ 0 h 62408"/>
                  <a:gd name="connsiteX1" fmla="*/ 9361 w 50484"/>
                  <a:gd name="connsiteY1" fmla="*/ 0 h 62408"/>
                  <a:gd name="connsiteX2" fmla="*/ 0 w 50484"/>
                  <a:gd name="connsiteY2" fmla="*/ 11107 h 62408"/>
                  <a:gd name="connsiteX3" fmla="*/ 0 w 50484"/>
                  <a:gd name="connsiteY3" fmla="*/ 51301 h 62408"/>
                  <a:gd name="connsiteX4" fmla="*/ 9361 w 50484"/>
                  <a:gd name="connsiteY4" fmla="*/ 62408 h 62408"/>
                  <a:gd name="connsiteX5" fmla="*/ 41103 w 50484"/>
                  <a:gd name="connsiteY5" fmla="*/ 62408 h 62408"/>
                  <a:gd name="connsiteX6" fmla="*/ 50485 w 50484"/>
                  <a:gd name="connsiteY6" fmla="*/ 51301 h 62408"/>
                  <a:gd name="connsiteX7" fmla="*/ 50485 w 50484"/>
                  <a:gd name="connsiteY7" fmla="*/ 11107 h 62408"/>
                  <a:gd name="connsiteX8" fmla="*/ 41103 w 50484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50" name="Freeform 84">
                <a:extLst>
                  <a:ext uri="{FF2B5EF4-FFF2-40B4-BE49-F238E27FC236}">
                    <a16:creationId xmlns:a16="http://schemas.microsoft.com/office/drawing/2014/main" id="{388E6A1D-5C63-0992-FA6B-6CC907A9E220}"/>
                  </a:ext>
                </a:extLst>
              </p:cNvPr>
              <p:cNvSpPr/>
              <p:nvPr/>
            </p:nvSpPr>
            <p:spPr>
              <a:xfrm>
                <a:off x="4044388" y="3156254"/>
                <a:ext cx="50484" cy="62408"/>
              </a:xfrm>
              <a:custGeom>
                <a:avLst/>
                <a:gdLst>
                  <a:gd name="connsiteX0" fmla="*/ 41103 w 50484"/>
                  <a:gd name="connsiteY0" fmla="*/ 0 h 62408"/>
                  <a:gd name="connsiteX1" fmla="*/ 9361 w 50484"/>
                  <a:gd name="connsiteY1" fmla="*/ 0 h 62408"/>
                  <a:gd name="connsiteX2" fmla="*/ 0 w 50484"/>
                  <a:gd name="connsiteY2" fmla="*/ 11107 h 62408"/>
                  <a:gd name="connsiteX3" fmla="*/ 0 w 50484"/>
                  <a:gd name="connsiteY3" fmla="*/ 51301 h 62408"/>
                  <a:gd name="connsiteX4" fmla="*/ 9361 w 50484"/>
                  <a:gd name="connsiteY4" fmla="*/ 62408 h 62408"/>
                  <a:gd name="connsiteX5" fmla="*/ 41103 w 50484"/>
                  <a:gd name="connsiteY5" fmla="*/ 62408 h 62408"/>
                  <a:gd name="connsiteX6" fmla="*/ 50485 w 50484"/>
                  <a:gd name="connsiteY6" fmla="*/ 51301 h 62408"/>
                  <a:gd name="connsiteX7" fmla="*/ 50485 w 50484"/>
                  <a:gd name="connsiteY7" fmla="*/ 11107 h 62408"/>
                  <a:gd name="connsiteX8" fmla="*/ 41103 w 50484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107"/>
                    </a:cubicBezTo>
                    <a:lnTo>
                      <a:pt x="0" y="51301"/>
                    </a:lnTo>
                    <a:cubicBezTo>
                      <a:pt x="0" y="57412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12"/>
                      <a:pt x="50485" y="51301"/>
                    </a:cubicBezTo>
                    <a:lnTo>
                      <a:pt x="50485" y="11107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51" name="Freeform 85">
                <a:extLst>
                  <a:ext uri="{FF2B5EF4-FFF2-40B4-BE49-F238E27FC236}">
                    <a16:creationId xmlns:a16="http://schemas.microsoft.com/office/drawing/2014/main" id="{D8BE1ADC-DD49-EA80-069B-3D51B1BC0188}"/>
                  </a:ext>
                </a:extLst>
              </p:cNvPr>
              <p:cNvSpPr/>
              <p:nvPr/>
            </p:nvSpPr>
            <p:spPr>
              <a:xfrm>
                <a:off x="4044388" y="3056974"/>
                <a:ext cx="50484" cy="62387"/>
              </a:xfrm>
              <a:custGeom>
                <a:avLst/>
                <a:gdLst>
                  <a:gd name="connsiteX0" fmla="*/ 41103 w 50484"/>
                  <a:gd name="connsiteY0" fmla="*/ 0 h 62387"/>
                  <a:gd name="connsiteX1" fmla="*/ 9361 w 50484"/>
                  <a:gd name="connsiteY1" fmla="*/ 0 h 62387"/>
                  <a:gd name="connsiteX2" fmla="*/ 0 w 50484"/>
                  <a:gd name="connsiteY2" fmla="*/ 11086 h 62387"/>
                  <a:gd name="connsiteX3" fmla="*/ 0 w 50484"/>
                  <a:gd name="connsiteY3" fmla="*/ 51301 h 62387"/>
                  <a:gd name="connsiteX4" fmla="*/ 9361 w 50484"/>
                  <a:gd name="connsiteY4" fmla="*/ 62387 h 62387"/>
                  <a:gd name="connsiteX5" fmla="*/ 41103 w 50484"/>
                  <a:gd name="connsiteY5" fmla="*/ 62387 h 62387"/>
                  <a:gd name="connsiteX6" fmla="*/ 50485 w 50484"/>
                  <a:gd name="connsiteY6" fmla="*/ 51301 h 62387"/>
                  <a:gd name="connsiteX7" fmla="*/ 50485 w 50484"/>
                  <a:gd name="connsiteY7" fmla="*/ 11086 h 62387"/>
                  <a:gd name="connsiteX8" fmla="*/ 41103 w 50484"/>
                  <a:gd name="connsiteY8" fmla="*/ 0 h 6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387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75"/>
                      <a:pt x="0" y="11086"/>
                    </a:cubicBezTo>
                    <a:lnTo>
                      <a:pt x="0" y="51301"/>
                    </a:lnTo>
                    <a:cubicBezTo>
                      <a:pt x="0" y="57412"/>
                      <a:pt x="4195" y="62387"/>
                      <a:pt x="9361" y="62387"/>
                    </a:cubicBezTo>
                    <a:lnTo>
                      <a:pt x="41103" y="62387"/>
                    </a:lnTo>
                    <a:cubicBezTo>
                      <a:pt x="46290" y="62387"/>
                      <a:pt x="50485" y="57412"/>
                      <a:pt x="50485" y="51301"/>
                    </a:cubicBezTo>
                    <a:lnTo>
                      <a:pt x="50485" y="11086"/>
                    </a:lnTo>
                    <a:cubicBezTo>
                      <a:pt x="50485" y="4975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52" name="Freeform 86">
                <a:extLst>
                  <a:ext uri="{FF2B5EF4-FFF2-40B4-BE49-F238E27FC236}">
                    <a16:creationId xmlns:a16="http://schemas.microsoft.com/office/drawing/2014/main" id="{5D61AD77-1A8A-8FA5-ABAA-3CF8652755C7}"/>
                  </a:ext>
                </a:extLst>
              </p:cNvPr>
              <p:cNvSpPr/>
              <p:nvPr/>
            </p:nvSpPr>
            <p:spPr>
              <a:xfrm>
                <a:off x="4044388" y="2957654"/>
                <a:ext cx="50484" cy="62408"/>
              </a:xfrm>
              <a:custGeom>
                <a:avLst/>
                <a:gdLst>
                  <a:gd name="connsiteX0" fmla="*/ 41103 w 50484"/>
                  <a:gd name="connsiteY0" fmla="*/ 0 h 62408"/>
                  <a:gd name="connsiteX1" fmla="*/ 9361 w 50484"/>
                  <a:gd name="connsiteY1" fmla="*/ 0 h 62408"/>
                  <a:gd name="connsiteX2" fmla="*/ 0 w 50484"/>
                  <a:gd name="connsiteY2" fmla="*/ 11107 h 62408"/>
                  <a:gd name="connsiteX3" fmla="*/ 0 w 50484"/>
                  <a:gd name="connsiteY3" fmla="*/ 51301 h 62408"/>
                  <a:gd name="connsiteX4" fmla="*/ 9361 w 50484"/>
                  <a:gd name="connsiteY4" fmla="*/ 62408 h 62408"/>
                  <a:gd name="connsiteX5" fmla="*/ 41103 w 50484"/>
                  <a:gd name="connsiteY5" fmla="*/ 62408 h 62408"/>
                  <a:gd name="connsiteX6" fmla="*/ 50485 w 50484"/>
                  <a:gd name="connsiteY6" fmla="*/ 51301 h 62408"/>
                  <a:gd name="connsiteX7" fmla="*/ 50485 w 50484"/>
                  <a:gd name="connsiteY7" fmla="*/ 11107 h 62408"/>
                  <a:gd name="connsiteX8" fmla="*/ 41103 w 50484"/>
                  <a:gd name="connsiteY8" fmla="*/ 0 h 6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484" h="62408">
                    <a:moveTo>
                      <a:pt x="41103" y="0"/>
                    </a:moveTo>
                    <a:lnTo>
                      <a:pt x="9361" y="0"/>
                    </a:lnTo>
                    <a:cubicBezTo>
                      <a:pt x="4195" y="0"/>
                      <a:pt x="0" y="4996"/>
                      <a:pt x="0" y="11107"/>
                    </a:cubicBezTo>
                    <a:lnTo>
                      <a:pt x="0" y="51301"/>
                    </a:lnTo>
                    <a:cubicBezTo>
                      <a:pt x="0" y="57433"/>
                      <a:pt x="4195" y="62408"/>
                      <a:pt x="9361" y="62408"/>
                    </a:cubicBezTo>
                    <a:lnTo>
                      <a:pt x="41103" y="62408"/>
                    </a:lnTo>
                    <a:cubicBezTo>
                      <a:pt x="46290" y="62408"/>
                      <a:pt x="50485" y="57433"/>
                      <a:pt x="50485" y="51301"/>
                    </a:cubicBezTo>
                    <a:lnTo>
                      <a:pt x="50485" y="11107"/>
                    </a:lnTo>
                    <a:cubicBezTo>
                      <a:pt x="50485" y="4996"/>
                      <a:pt x="46290" y="0"/>
                      <a:pt x="41103" y="0"/>
                    </a:cubicBez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53" name="Freeform 87">
                <a:extLst>
                  <a:ext uri="{FF2B5EF4-FFF2-40B4-BE49-F238E27FC236}">
                    <a16:creationId xmlns:a16="http://schemas.microsoft.com/office/drawing/2014/main" id="{D0BC9115-AD70-12BE-AC2B-64547D471F9A}"/>
                  </a:ext>
                </a:extLst>
              </p:cNvPr>
              <p:cNvSpPr/>
              <p:nvPr/>
            </p:nvSpPr>
            <p:spPr>
              <a:xfrm>
                <a:off x="2453777" y="2867170"/>
                <a:ext cx="379658" cy="1051028"/>
              </a:xfrm>
              <a:custGeom>
                <a:avLst/>
                <a:gdLst>
                  <a:gd name="connsiteX0" fmla="*/ 379287 w 379658"/>
                  <a:gd name="connsiteY0" fmla="*/ 63791 h 1051028"/>
                  <a:gd name="connsiteX1" fmla="*/ 379059 w 379658"/>
                  <a:gd name="connsiteY1" fmla="*/ 62367 h 1051028"/>
                  <a:gd name="connsiteX2" fmla="*/ 378605 w 379658"/>
                  <a:gd name="connsiteY2" fmla="*/ 59497 h 1051028"/>
                  <a:gd name="connsiteX3" fmla="*/ 378191 w 379658"/>
                  <a:gd name="connsiteY3" fmla="*/ 56628 h 1051028"/>
                  <a:gd name="connsiteX4" fmla="*/ 377447 w 379658"/>
                  <a:gd name="connsiteY4" fmla="*/ 53820 h 1051028"/>
                  <a:gd name="connsiteX5" fmla="*/ 352773 w 379658"/>
                  <a:gd name="connsiteY5" fmla="*/ 15483 h 1051028"/>
                  <a:gd name="connsiteX6" fmla="*/ 332584 w 379658"/>
                  <a:gd name="connsiteY6" fmla="*/ 4273 h 1051028"/>
                  <a:gd name="connsiteX7" fmla="*/ 329876 w 379658"/>
                  <a:gd name="connsiteY7" fmla="*/ 3262 h 1051028"/>
                  <a:gd name="connsiteX8" fmla="*/ 327066 w 379658"/>
                  <a:gd name="connsiteY8" fmla="*/ 2539 h 1051028"/>
                  <a:gd name="connsiteX9" fmla="*/ 324256 w 379658"/>
                  <a:gd name="connsiteY9" fmla="*/ 1817 h 1051028"/>
                  <a:gd name="connsiteX10" fmla="*/ 322850 w 379658"/>
                  <a:gd name="connsiteY10" fmla="*/ 1445 h 1051028"/>
                  <a:gd name="connsiteX11" fmla="*/ 321404 w 379658"/>
                  <a:gd name="connsiteY11" fmla="*/ 1239 h 1051028"/>
                  <a:gd name="connsiteX12" fmla="*/ 315659 w 379658"/>
                  <a:gd name="connsiteY12" fmla="*/ 372 h 1051028"/>
                  <a:gd name="connsiteX13" fmla="*/ 309831 w 379658"/>
                  <a:gd name="connsiteY13" fmla="*/ 83 h 1051028"/>
                  <a:gd name="connsiteX14" fmla="*/ 71129 w 379658"/>
                  <a:gd name="connsiteY14" fmla="*/ 0 h 1051028"/>
                  <a:gd name="connsiteX15" fmla="*/ 27939 w 379658"/>
                  <a:gd name="connsiteY15" fmla="*/ 14719 h 1051028"/>
                  <a:gd name="connsiteX16" fmla="*/ 12027 w 379658"/>
                  <a:gd name="connsiteY16" fmla="*/ 31545 h 1051028"/>
                  <a:gd name="connsiteX17" fmla="*/ 2542 w 379658"/>
                  <a:gd name="connsiteY17" fmla="*/ 52581 h 1051028"/>
                  <a:gd name="connsiteX18" fmla="*/ 1819 w 379658"/>
                  <a:gd name="connsiteY18" fmla="*/ 55389 h 1051028"/>
                  <a:gd name="connsiteX19" fmla="*/ 1447 w 379658"/>
                  <a:gd name="connsiteY19" fmla="*/ 56793 h 1051028"/>
                  <a:gd name="connsiteX20" fmla="*/ 1240 w 379658"/>
                  <a:gd name="connsiteY20" fmla="*/ 58238 h 1051028"/>
                  <a:gd name="connsiteX21" fmla="*/ 372 w 379658"/>
                  <a:gd name="connsiteY21" fmla="*/ 63977 h 1051028"/>
                  <a:gd name="connsiteX22" fmla="*/ 83 w 379658"/>
                  <a:gd name="connsiteY22" fmla="*/ 69799 h 1051028"/>
                  <a:gd name="connsiteX23" fmla="*/ 0 w 379658"/>
                  <a:gd name="connsiteY23" fmla="*/ 71306 h 1051028"/>
                  <a:gd name="connsiteX24" fmla="*/ 0 w 379658"/>
                  <a:gd name="connsiteY24" fmla="*/ 979950 h 1051028"/>
                  <a:gd name="connsiteX25" fmla="*/ 310 w 379658"/>
                  <a:gd name="connsiteY25" fmla="*/ 985771 h 1051028"/>
                  <a:gd name="connsiteX26" fmla="*/ 372 w 379658"/>
                  <a:gd name="connsiteY26" fmla="*/ 987237 h 1051028"/>
                  <a:gd name="connsiteX27" fmla="*/ 599 w 379658"/>
                  <a:gd name="connsiteY27" fmla="*/ 988662 h 1051028"/>
                  <a:gd name="connsiteX28" fmla="*/ 1054 w 379658"/>
                  <a:gd name="connsiteY28" fmla="*/ 991531 h 1051028"/>
                  <a:gd name="connsiteX29" fmla="*/ 1467 w 379658"/>
                  <a:gd name="connsiteY29" fmla="*/ 994401 h 1051028"/>
                  <a:gd name="connsiteX30" fmla="*/ 2211 w 379658"/>
                  <a:gd name="connsiteY30" fmla="*/ 997208 h 1051028"/>
                  <a:gd name="connsiteX31" fmla="*/ 26885 w 379658"/>
                  <a:gd name="connsiteY31" fmla="*/ 1035545 h 1051028"/>
                  <a:gd name="connsiteX32" fmla="*/ 47075 w 379658"/>
                  <a:gd name="connsiteY32" fmla="*/ 1046755 h 1051028"/>
                  <a:gd name="connsiteX33" fmla="*/ 49782 w 379658"/>
                  <a:gd name="connsiteY33" fmla="*/ 1047767 h 1051028"/>
                  <a:gd name="connsiteX34" fmla="*/ 52593 w 379658"/>
                  <a:gd name="connsiteY34" fmla="*/ 1048489 h 1051028"/>
                  <a:gd name="connsiteX35" fmla="*/ 55403 w 379658"/>
                  <a:gd name="connsiteY35" fmla="*/ 1049212 h 1051028"/>
                  <a:gd name="connsiteX36" fmla="*/ 56808 w 379658"/>
                  <a:gd name="connsiteY36" fmla="*/ 1049583 h 1051028"/>
                  <a:gd name="connsiteX37" fmla="*/ 58255 w 379658"/>
                  <a:gd name="connsiteY37" fmla="*/ 1049790 h 1051028"/>
                  <a:gd name="connsiteX38" fmla="*/ 64000 w 379658"/>
                  <a:gd name="connsiteY38" fmla="*/ 1050657 h 1051028"/>
                  <a:gd name="connsiteX39" fmla="*/ 69827 w 379658"/>
                  <a:gd name="connsiteY39" fmla="*/ 1050946 h 1051028"/>
                  <a:gd name="connsiteX40" fmla="*/ 308529 w 379658"/>
                  <a:gd name="connsiteY40" fmla="*/ 1051028 h 1051028"/>
                  <a:gd name="connsiteX41" fmla="*/ 351719 w 379658"/>
                  <a:gd name="connsiteY41" fmla="*/ 1036309 h 1051028"/>
                  <a:gd name="connsiteX42" fmla="*/ 367632 w 379658"/>
                  <a:gd name="connsiteY42" fmla="*/ 1019484 h 1051028"/>
                  <a:gd name="connsiteX43" fmla="*/ 377117 w 379658"/>
                  <a:gd name="connsiteY43" fmla="*/ 998447 h 1051028"/>
                  <a:gd name="connsiteX44" fmla="*/ 377840 w 379658"/>
                  <a:gd name="connsiteY44" fmla="*/ 995639 h 1051028"/>
                  <a:gd name="connsiteX45" fmla="*/ 378212 w 379658"/>
                  <a:gd name="connsiteY45" fmla="*/ 994236 h 1051028"/>
                  <a:gd name="connsiteX46" fmla="*/ 378419 w 379658"/>
                  <a:gd name="connsiteY46" fmla="*/ 992790 h 1051028"/>
                  <a:gd name="connsiteX47" fmla="*/ 379287 w 379658"/>
                  <a:gd name="connsiteY47" fmla="*/ 987051 h 1051028"/>
                  <a:gd name="connsiteX48" fmla="*/ 379576 w 379658"/>
                  <a:gd name="connsiteY48" fmla="*/ 981230 h 1051028"/>
                  <a:gd name="connsiteX49" fmla="*/ 379659 w 379658"/>
                  <a:gd name="connsiteY49" fmla="*/ 979723 h 1051028"/>
                  <a:gd name="connsiteX50" fmla="*/ 379659 w 379658"/>
                  <a:gd name="connsiteY50" fmla="*/ 71058 h 1051028"/>
                  <a:gd name="connsiteX51" fmla="*/ 379349 w 379658"/>
                  <a:gd name="connsiteY51" fmla="*/ 65236 h 1051028"/>
                  <a:gd name="connsiteX52" fmla="*/ 379287 w 379658"/>
                  <a:gd name="connsiteY52" fmla="*/ 63771 h 1051028"/>
                  <a:gd name="connsiteX53" fmla="*/ 337626 w 379658"/>
                  <a:gd name="connsiteY53" fmla="*/ 406902 h 1051028"/>
                  <a:gd name="connsiteX54" fmla="*/ 337626 w 379658"/>
                  <a:gd name="connsiteY54" fmla="*/ 979702 h 1051028"/>
                  <a:gd name="connsiteX55" fmla="*/ 337585 w 379658"/>
                  <a:gd name="connsiteY55" fmla="*/ 980177 h 1051028"/>
                  <a:gd name="connsiteX56" fmla="*/ 337543 w 379658"/>
                  <a:gd name="connsiteY56" fmla="*/ 980486 h 1051028"/>
                  <a:gd name="connsiteX57" fmla="*/ 337461 w 379658"/>
                  <a:gd name="connsiteY57" fmla="*/ 982922 h 1051028"/>
                  <a:gd name="connsiteX58" fmla="*/ 337068 w 379658"/>
                  <a:gd name="connsiteY58" fmla="*/ 985255 h 1051028"/>
                  <a:gd name="connsiteX59" fmla="*/ 337027 w 379658"/>
                  <a:gd name="connsiteY59" fmla="*/ 985854 h 1051028"/>
                  <a:gd name="connsiteX60" fmla="*/ 336841 w 379658"/>
                  <a:gd name="connsiteY60" fmla="*/ 986411 h 1051028"/>
                  <a:gd name="connsiteX61" fmla="*/ 336531 w 379658"/>
                  <a:gd name="connsiteY61" fmla="*/ 987526 h 1051028"/>
                  <a:gd name="connsiteX62" fmla="*/ 332728 w 379658"/>
                  <a:gd name="connsiteY62" fmla="*/ 996073 h 1051028"/>
                  <a:gd name="connsiteX63" fmla="*/ 326136 w 379658"/>
                  <a:gd name="connsiteY63" fmla="*/ 1002968 h 1051028"/>
                  <a:gd name="connsiteX64" fmla="*/ 317870 w 379658"/>
                  <a:gd name="connsiteY64" fmla="*/ 1007407 h 1051028"/>
                  <a:gd name="connsiteX65" fmla="*/ 308550 w 379658"/>
                  <a:gd name="connsiteY65" fmla="*/ 1008996 h 1051028"/>
                  <a:gd name="connsiteX66" fmla="*/ 70592 w 379658"/>
                  <a:gd name="connsiteY66" fmla="*/ 1008914 h 1051028"/>
                  <a:gd name="connsiteX67" fmla="*/ 68153 w 379658"/>
                  <a:gd name="connsiteY67" fmla="*/ 1008831 h 1051028"/>
                  <a:gd name="connsiteX68" fmla="*/ 65818 w 379658"/>
                  <a:gd name="connsiteY68" fmla="*/ 1008439 h 1051028"/>
                  <a:gd name="connsiteX69" fmla="*/ 65219 w 379658"/>
                  <a:gd name="connsiteY69" fmla="*/ 1008398 h 1051028"/>
                  <a:gd name="connsiteX70" fmla="*/ 64661 w 379658"/>
                  <a:gd name="connsiteY70" fmla="*/ 1008212 h 1051028"/>
                  <a:gd name="connsiteX71" fmla="*/ 63545 w 379658"/>
                  <a:gd name="connsiteY71" fmla="*/ 1007902 h 1051028"/>
                  <a:gd name="connsiteX72" fmla="*/ 62388 w 379658"/>
                  <a:gd name="connsiteY72" fmla="*/ 1007675 h 1051028"/>
                  <a:gd name="connsiteX73" fmla="*/ 61313 w 379658"/>
                  <a:gd name="connsiteY73" fmla="*/ 1007200 h 1051028"/>
                  <a:gd name="connsiteX74" fmla="*/ 53089 w 379658"/>
                  <a:gd name="connsiteY74" fmla="*/ 1002658 h 1051028"/>
                  <a:gd name="connsiteX75" fmla="*/ 43004 w 379658"/>
                  <a:gd name="connsiteY75" fmla="*/ 987010 h 1051028"/>
                  <a:gd name="connsiteX76" fmla="*/ 42653 w 379658"/>
                  <a:gd name="connsiteY76" fmla="*/ 985895 h 1051028"/>
                  <a:gd name="connsiteX77" fmla="*/ 42549 w 379658"/>
                  <a:gd name="connsiteY77" fmla="*/ 984719 h 1051028"/>
                  <a:gd name="connsiteX78" fmla="*/ 42343 w 379658"/>
                  <a:gd name="connsiteY78" fmla="*/ 983562 h 1051028"/>
                  <a:gd name="connsiteX79" fmla="*/ 42198 w 379658"/>
                  <a:gd name="connsiteY79" fmla="*/ 982984 h 1051028"/>
                  <a:gd name="connsiteX80" fmla="*/ 42198 w 379658"/>
                  <a:gd name="connsiteY80" fmla="*/ 982365 h 1051028"/>
                  <a:gd name="connsiteX81" fmla="*/ 42053 w 379658"/>
                  <a:gd name="connsiteY81" fmla="*/ 979929 h 1051028"/>
                  <a:gd name="connsiteX82" fmla="*/ 42053 w 379658"/>
                  <a:gd name="connsiteY82" fmla="*/ 71285 h 1051028"/>
                  <a:gd name="connsiteX83" fmla="*/ 42095 w 379658"/>
                  <a:gd name="connsiteY83" fmla="*/ 70810 h 1051028"/>
                  <a:gd name="connsiteX84" fmla="*/ 42136 w 379658"/>
                  <a:gd name="connsiteY84" fmla="*/ 70501 h 1051028"/>
                  <a:gd name="connsiteX85" fmla="*/ 42219 w 379658"/>
                  <a:gd name="connsiteY85" fmla="*/ 68065 h 1051028"/>
                  <a:gd name="connsiteX86" fmla="*/ 42611 w 379658"/>
                  <a:gd name="connsiteY86" fmla="*/ 65732 h 1051028"/>
                  <a:gd name="connsiteX87" fmla="*/ 42653 w 379658"/>
                  <a:gd name="connsiteY87" fmla="*/ 65133 h 1051028"/>
                  <a:gd name="connsiteX88" fmla="*/ 42839 w 379658"/>
                  <a:gd name="connsiteY88" fmla="*/ 64576 h 1051028"/>
                  <a:gd name="connsiteX89" fmla="*/ 43149 w 379658"/>
                  <a:gd name="connsiteY89" fmla="*/ 63461 h 1051028"/>
                  <a:gd name="connsiteX90" fmla="*/ 46951 w 379658"/>
                  <a:gd name="connsiteY90" fmla="*/ 54914 h 1051028"/>
                  <a:gd name="connsiteX91" fmla="*/ 53543 w 379658"/>
                  <a:gd name="connsiteY91" fmla="*/ 48019 h 1051028"/>
                  <a:gd name="connsiteX92" fmla="*/ 61809 w 379658"/>
                  <a:gd name="connsiteY92" fmla="*/ 43580 h 1051028"/>
                  <a:gd name="connsiteX93" fmla="*/ 71129 w 379658"/>
                  <a:gd name="connsiteY93" fmla="*/ 41991 h 1051028"/>
                  <a:gd name="connsiteX94" fmla="*/ 309087 w 379658"/>
                  <a:gd name="connsiteY94" fmla="*/ 42073 h 1051028"/>
                  <a:gd name="connsiteX95" fmla="*/ 311526 w 379658"/>
                  <a:gd name="connsiteY95" fmla="*/ 42156 h 1051028"/>
                  <a:gd name="connsiteX96" fmla="*/ 313861 w 379658"/>
                  <a:gd name="connsiteY96" fmla="*/ 42548 h 1051028"/>
                  <a:gd name="connsiteX97" fmla="*/ 314460 w 379658"/>
                  <a:gd name="connsiteY97" fmla="*/ 42589 h 1051028"/>
                  <a:gd name="connsiteX98" fmla="*/ 315018 w 379658"/>
                  <a:gd name="connsiteY98" fmla="*/ 42775 h 1051028"/>
                  <a:gd name="connsiteX99" fmla="*/ 316134 w 379658"/>
                  <a:gd name="connsiteY99" fmla="*/ 43085 h 1051028"/>
                  <a:gd name="connsiteX100" fmla="*/ 317291 w 379658"/>
                  <a:gd name="connsiteY100" fmla="*/ 43312 h 1051028"/>
                  <a:gd name="connsiteX101" fmla="*/ 318366 w 379658"/>
                  <a:gd name="connsiteY101" fmla="*/ 43787 h 1051028"/>
                  <a:gd name="connsiteX102" fmla="*/ 326591 w 379658"/>
                  <a:gd name="connsiteY102" fmla="*/ 48329 h 1051028"/>
                  <a:gd name="connsiteX103" fmla="*/ 336675 w 379658"/>
                  <a:gd name="connsiteY103" fmla="*/ 63977 h 1051028"/>
                  <a:gd name="connsiteX104" fmla="*/ 337027 w 379658"/>
                  <a:gd name="connsiteY104" fmla="*/ 65092 h 1051028"/>
                  <a:gd name="connsiteX105" fmla="*/ 337130 w 379658"/>
                  <a:gd name="connsiteY105" fmla="*/ 66269 h 1051028"/>
                  <a:gd name="connsiteX106" fmla="*/ 337337 w 379658"/>
                  <a:gd name="connsiteY106" fmla="*/ 67425 h 1051028"/>
                  <a:gd name="connsiteX107" fmla="*/ 337481 w 379658"/>
                  <a:gd name="connsiteY107" fmla="*/ 68003 h 1051028"/>
                  <a:gd name="connsiteX108" fmla="*/ 337481 w 379658"/>
                  <a:gd name="connsiteY108" fmla="*/ 68622 h 1051028"/>
                  <a:gd name="connsiteX109" fmla="*/ 337626 w 379658"/>
                  <a:gd name="connsiteY109" fmla="*/ 71058 h 1051028"/>
                  <a:gd name="connsiteX110" fmla="*/ 337626 w 379658"/>
                  <a:gd name="connsiteY110" fmla="*/ 406902 h 1051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</a:cxnLst>
                <a:rect l="l" t="t" r="r" b="b"/>
                <a:pathLst>
                  <a:path w="379658" h="1051028">
                    <a:moveTo>
                      <a:pt x="379287" y="63791"/>
                    </a:moveTo>
                    <a:lnTo>
                      <a:pt x="379059" y="62367"/>
                    </a:lnTo>
                    <a:lnTo>
                      <a:pt x="378605" y="59497"/>
                    </a:lnTo>
                    <a:lnTo>
                      <a:pt x="378191" y="56628"/>
                    </a:lnTo>
                    <a:lnTo>
                      <a:pt x="377447" y="53820"/>
                    </a:lnTo>
                    <a:cubicBezTo>
                      <a:pt x="373934" y="38750"/>
                      <a:pt x="364800" y="25207"/>
                      <a:pt x="352773" y="15483"/>
                    </a:cubicBezTo>
                    <a:cubicBezTo>
                      <a:pt x="346780" y="10549"/>
                      <a:pt x="339816" y="6875"/>
                      <a:pt x="332584" y="4273"/>
                    </a:cubicBezTo>
                    <a:lnTo>
                      <a:pt x="329876" y="3262"/>
                    </a:lnTo>
                    <a:cubicBezTo>
                      <a:pt x="328947" y="2993"/>
                      <a:pt x="327996" y="2787"/>
                      <a:pt x="327066" y="2539"/>
                    </a:cubicBezTo>
                    <a:lnTo>
                      <a:pt x="324256" y="1817"/>
                    </a:lnTo>
                    <a:lnTo>
                      <a:pt x="322850" y="1445"/>
                    </a:lnTo>
                    <a:lnTo>
                      <a:pt x="321404" y="1239"/>
                    </a:lnTo>
                    <a:lnTo>
                      <a:pt x="315659" y="372"/>
                    </a:lnTo>
                    <a:lnTo>
                      <a:pt x="309831" y="83"/>
                    </a:lnTo>
                    <a:lnTo>
                      <a:pt x="71129" y="0"/>
                    </a:lnTo>
                    <a:cubicBezTo>
                      <a:pt x="55610" y="248"/>
                      <a:pt x="40152" y="5037"/>
                      <a:pt x="27939" y="14719"/>
                    </a:cubicBezTo>
                    <a:cubicBezTo>
                      <a:pt x="21802" y="19447"/>
                      <a:pt x="16408" y="25145"/>
                      <a:pt x="12027" y="31545"/>
                    </a:cubicBezTo>
                    <a:cubicBezTo>
                      <a:pt x="7729" y="38006"/>
                      <a:pt x="4567" y="45149"/>
                      <a:pt x="2542" y="52581"/>
                    </a:cubicBezTo>
                    <a:lnTo>
                      <a:pt x="1819" y="55389"/>
                    </a:lnTo>
                    <a:cubicBezTo>
                      <a:pt x="1695" y="55864"/>
                      <a:pt x="1550" y="56318"/>
                      <a:pt x="1447" y="56793"/>
                    </a:cubicBezTo>
                    <a:lnTo>
                      <a:pt x="1240" y="58238"/>
                    </a:lnTo>
                    <a:lnTo>
                      <a:pt x="372" y="63977"/>
                    </a:lnTo>
                    <a:lnTo>
                      <a:pt x="83" y="69799"/>
                    </a:lnTo>
                    <a:cubicBezTo>
                      <a:pt x="62" y="70315"/>
                      <a:pt x="21" y="70707"/>
                      <a:pt x="0" y="71306"/>
                    </a:cubicBezTo>
                    <a:lnTo>
                      <a:pt x="0" y="979950"/>
                    </a:lnTo>
                    <a:lnTo>
                      <a:pt x="310" y="985771"/>
                    </a:lnTo>
                    <a:lnTo>
                      <a:pt x="372" y="987237"/>
                    </a:lnTo>
                    <a:lnTo>
                      <a:pt x="599" y="988662"/>
                    </a:lnTo>
                    <a:lnTo>
                      <a:pt x="1054" y="991531"/>
                    </a:lnTo>
                    <a:lnTo>
                      <a:pt x="1467" y="994401"/>
                    </a:lnTo>
                    <a:lnTo>
                      <a:pt x="2211" y="997208"/>
                    </a:lnTo>
                    <a:cubicBezTo>
                      <a:pt x="5724" y="1012279"/>
                      <a:pt x="14858" y="1025822"/>
                      <a:pt x="26885" y="1035545"/>
                    </a:cubicBezTo>
                    <a:cubicBezTo>
                      <a:pt x="32878" y="1040479"/>
                      <a:pt x="39842" y="1044154"/>
                      <a:pt x="47075" y="1046755"/>
                    </a:cubicBezTo>
                    <a:lnTo>
                      <a:pt x="49782" y="1047767"/>
                    </a:lnTo>
                    <a:cubicBezTo>
                      <a:pt x="50712" y="1048035"/>
                      <a:pt x="51663" y="1048241"/>
                      <a:pt x="52593" y="1048489"/>
                    </a:cubicBezTo>
                    <a:lnTo>
                      <a:pt x="55403" y="1049212"/>
                    </a:lnTo>
                    <a:lnTo>
                      <a:pt x="56808" y="1049583"/>
                    </a:lnTo>
                    <a:lnTo>
                      <a:pt x="58255" y="1049790"/>
                    </a:lnTo>
                    <a:lnTo>
                      <a:pt x="64000" y="1050657"/>
                    </a:lnTo>
                    <a:lnTo>
                      <a:pt x="69827" y="1050946"/>
                    </a:lnTo>
                    <a:lnTo>
                      <a:pt x="308529" y="1051028"/>
                    </a:lnTo>
                    <a:cubicBezTo>
                      <a:pt x="324049" y="1050781"/>
                      <a:pt x="339506" y="1045991"/>
                      <a:pt x="351719" y="1036309"/>
                    </a:cubicBezTo>
                    <a:cubicBezTo>
                      <a:pt x="357857" y="1031581"/>
                      <a:pt x="363251" y="1025883"/>
                      <a:pt x="367632" y="1019484"/>
                    </a:cubicBezTo>
                    <a:cubicBezTo>
                      <a:pt x="371930" y="1013022"/>
                      <a:pt x="375092" y="1005879"/>
                      <a:pt x="377117" y="998447"/>
                    </a:cubicBezTo>
                    <a:lnTo>
                      <a:pt x="377840" y="995639"/>
                    </a:lnTo>
                    <a:cubicBezTo>
                      <a:pt x="377964" y="995165"/>
                      <a:pt x="378109" y="994710"/>
                      <a:pt x="378212" y="994236"/>
                    </a:cubicBezTo>
                    <a:lnTo>
                      <a:pt x="378419" y="992790"/>
                    </a:lnTo>
                    <a:lnTo>
                      <a:pt x="379287" y="987051"/>
                    </a:lnTo>
                    <a:lnTo>
                      <a:pt x="379576" y="981230"/>
                    </a:lnTo>
                    <a:cubicBezTo>
                      <a:pt x="379597" y="980714"/>
                      <a:pt x="379638" y="980321"/>
                      <a:pt x="379659" y="979723"/>
                    </a:cubicBezTo>
                    <a:lnTo>
                      <a:pt x="379659" y="71058"/>
                    </a:lnTo>
                    <a:lnTo>
                      <a:pt x="379349" y="65236"/>
                    </a:lnTo>
                    <a:lnTo>
                      <a:pt x="379287" y="63771"/>
                    </a:lnTo>
                    <a:close/>
                    <a:moveTo>
                      <a:pt x="337626" y="406902"/>
                    </a:moveTo>
                    <a:lnTo>
                      <a:pt x="337626" y="979702"/>
                    </a:lnTo>
                    <a:cubicBezTo>
                      <a:pt x="337626" y="980115"/>
                      <a:pt x="337605" y="980012"/>
                      <a:pt x="337585" y="980177"/>
                    </a:cubicBezTo>
                    <a:lnTo>
                      <a:pt x="337543" y="980486"/>
                    </a:lnTo>
                    <a:cubicBezTo>
                      <a:pt x="337440" y="981292"/>
                      <a:pt x="337419" y="982097"/>
                      <a:pt x="337461" y="982922"/>
                    </a:cubicBezTo>
                    <a:cubicBezTo>
                      <a:pt x="337295" y="983707"/>
                      <a:pt x="337130" y="984471"/>
                      <a:pt x="337068" y="985255"/>
                    </a:cubicBezTo>
                    <a:lnTo>
                      <a:pt x="337027" y="985854"/>
                    </a:lnTo>
                    <a:cubicBezTo>
                      <a:pt x="336985" y="986040"/>
                      <a:pt x="336903" y="986226"/>
                      <a:pt x="336841" y="986411"/>
                    </a:cubicBezTo>
                    <a:cubicBezTo>
                      <a:pt x="336717" y="986783"/>
                      <a:pt x="336613" y="987155"/>
                      <a:pt x="336531" y="987526"/>
                    </a:cubicBezTo>
                    <a:cubicBezTo>
                      <a:pt x="335704" y="990520"/>
                      <a:pt x="334485" y="993410"/>
                      <a:pt x="332728" y="996073"/>
                    </a:cubicBezTo>
                    <a:cubicBezTo>
                      <a:pt x="330889" y="998674"/>
                      <a:pt x="328657" y="1001028"/>
                      <a:pt x="326136" y="1002968"/>
                    </a:cubicBezTo>
                    <a:cubicBezTo>
                      <a:pt x="323636" y="1004929"/>
                      <a:pt x="320846" y="1006540"/>
                      <a:pt x="317870" y="1007407"/>
                    </a:cubicBezTo>
                    <a:cubicBezTo>
                      <a:pt x="314915" y="1008356"/>
                      <a:pt x="311836" y="1008872"/>
                      <a:pt x="308550" y="1008996"/>
                    </a:cubicBezTo>
                    <a:lnTo>
                      <a:pt x="70592" y="1008914"/>
                    </a:lnTo>
                    <a:cubicBezTo>
                      <a:pt x="69786" y="1008811"/>
                      <a:pt x="68980" y="1008790"/>
                      <a:pt x="68153" y="1008831"/>
                    </a:cubicBezTo>
                    <a:cubicBezTo>
                      <a:pt x="67368" y="1008666"/>
                      <a:pt x="66604" y="1008501"/>
                      <a:pt x="65818" y="1008439"/>
                    </a:cubicBezTo>
                    <a:lnTo>
                      <a:pt x="65219" y="1008398"/>
                    </a:lnTo>
                    <a:lnTo>
                      <a:pt x="64661" y="1008212"/>
                    </a:lnTo>
                    <a:cubicBezTo>
                      <a:pt x="64289" y="1008088"/>
                      <a:pt x="63917" y="1007985"/>
                      <a:pt x="63545" y="1007902"/>
                    </a:cubicBezTo>
                    <a:lnTo>
                      <a:pt x="62388" y="1007675"/>
                    </a:lnTo>
                    <a:cubicBezTo>
                      <a:pt x="62037" y="1007510"/>
                      <a:pt x="61685" y="1007345"/>
                      <a:pt x="61313" y="1007200"/>
                    </a:cubicBezTo>
                    <a:cubicBezTo>
                      <a:pt x="58399" y="1006147"/>
                      <a:pt x="55506" y="1004764"/>
                      <a:pt x="53089" y="1002658"/>
                    </a:cubicBezTo>
                    <a:cubicBezTo>
                      <a:pt x="48191" y="998592"/>
                      <a:pt x="44306" y="993100"/>
                      <a:pt x="43004" y="987010"/>
                    </a:cubicBezTo>
                    <a:cubicBezTo>
                      <a:pt x="42901" y="986638"/>
                      <a:pt x="42777" y="986267"/>
                      <a:pt x="42653" y="985895"/>
                    </a:cubicBezTo>
                    <a:cubicBezTo>
                      <a:pt x="42611" y="985503"/>
                      <a:pt x="42591" y="985111"/>
                      <a:pt x="42549" y="984719"/>
                    </a:cubicBezTo>
                    <a:cubicBezTo>
                      <a:pt x="42508" y="984326"/>
                      <a:pt x="42425" y="983934"/>
                      <a:pt x="42343" y="983562"/>
                    </a:cubicBezTo>
                    <a:lnTo>
                      <a:pt x="42198" y="982984"/>
                    </a:lnTo>
                    <a:lnTo>
                      <a:pt x="42198" y="982365"/>
                    </a:lnTo>
                    <a:cubicBezTo>
                      <a:pt x="42219" y="981539"/>
                      <a:pt x="42177" y="980775"/>
                      <a:pt x="42053" y="979929"/>
                    </a:cubicBezTo>
                    <a:lnTo>
                      <a:pt x="42053" y="71285"/>
                    </a:lnTo>
                    <a:cubicBezTo>
                      <a:pt x="42053" y="70872"/>
                      <a:pt x="42074" y="70976"/>
                      <a:pt x="42095" y="70810"/>
                    </a:cubicBezTo>
                    <a:lnTo>
                      <a:pt x="42136" y="70501"/>
                    </a:lnTo>
                    <a:cubicBezTo>
                      <a:pt x="42239" y="69696"/>
                      <a:pt x="42260" y="68890"/>
                      <a:pt x="42219" y="68065"/>
                    </a:cubicBezTo>
                    <a:cubicBezTo>
                      <a:pt x="42384" y="67280"/>
                      <a:pt x="42549" y="66516"/>
                      <a:pt x="42611" y="65732"/>
                    </a:cubicBezTo>
                    <a:lnTo>
                      <a:pt x="42653" y="65133"/>
                    </a:lnTo>
                    <a:cubicBezTo>
                      <a:pt x="42694" y="64947"/>
                      <a:pt x="42777" y="64762"/>
                      <a:pt x="42839" y="64576"/>
                    </a:cubicBezTo>
                    <a:cubicBezTo>
                      <a:pt x="42963" y="64204"/>
                      <a:pt x="43066" y="63833"/>
                      <a:pt x="43149" y="63461"/>
                    </a:cubicBezTo>
                    <a:cubicBezTo>
                      <a:pt x="43975" y="60468"/>
                      <a:pt x="45194" y="57577"/>
                      <a:pt x="46951" y="54914"/>
                    </a:cubicBezTo>
                    <a:cubicBezTo>
                      <a:pt x="48790" y="52313"/>
                      <a:pt x="51022" y="49960"/>
                      <a:pt x="53543" y="48019"/>
                    </a:cubicBezTo>
                    <a:cubicBezTo>
                      <a:pt x="56044" y="46058"/>
                      <a:pt x="58833" y="44447"/>
                      <a:pt x="61809" y="43580"/>
                    </a:cubicBezTo>
                    <a:cubicBezTo>
                      <a:pt x="64764" y="42631"/>
                      <a:pt x="67843" y="42115"/>
                      <a:pt x="71129" y="41991"/>
                    </a:cubicBezTo>
                    <a:lnTo>
                      <a:pt x="309087" y="42073"/>
                    </a:lnTo>
                    <a:cubicBezTo>
                      <a:pt x="309893" y="42177"/>
                      <a:pt x="310699" y="42197"/>
                      <a:pt x="311526" y="42156"/>
                    </a:cubicBezTo>
                    <a:cubicBezTo>
                      <a:pt x="312311" y="42321"/>
                      <a:pt x="313076" y="42486"/>
                      <a:pt x="313861" y="42548"/>
                    </a:cubicBezTo>
                    <a:lnTo>
                      <a:pt x="314460" y="42589"/>
                    </a:lnTo>
                    <a:lnTo>
                      <a:pt x="315018" y="42775"/>
                    </a:lnTo>
                    <a:cubicBezTo>
                      <a:pt x="315390" y="42899"/>
                      <a:pt x="315762" y="43002"/>
                      <a:pt x="316134" y="43085"/>
                    </a:cubicBezTo>
                    <a:lnTo>
                      <a:pt x="317291" y="43312"/>
                    </a:lnTo>
                    <a:cubicBezTo>
                      <a:pt x="317643" y="43477"/>
                      <a:pt x="317994" y="43642"/>
                      <a:pt x="318366" y="43787"/>
                    </a:cubicBezTo>
                    <a:cubicBezTo>
                      <a:pt x="321280" y="44840"/>
                      <a:pt x="324173" y="46223"/>
                      <a:pt x="326591" y="48329"/>
                    </a:cubicBezTo>
                    <a:cubicBezTo>
                      <a:pt x="331488" y="52396"/>
                      <a:pt x="335373" y="57887"/>
                      <a:pt x="336675" y="63977"/>
                    </a:cubicBezTo>
                    <a:cubicBezTo>
                      <a:pt x="336779" y="64349"/>
                      <a:pt x="336903" y="64720"/>
                      <a:pt x="337027" y="65092"/>
                    </a:cubicBezTo>
                    <a:cubicBezTo>
                      <a:pt x="337068" y="65484"/>
                      <a:pt x="337089" y="65876"/>
                      <a:pt x="337130" y="66269"/>
                    </a:cubicBezTo>
                    <a:cubicBezTo>
                      <a:pt x="337171" y="66661"/>
                      <a:pt x="337254" y="67053"/>
                      <a:pt x="337337" y="67425"/>
                    </a:cubicBezTo>
                    <a:lnTo>
                      <a:pt x="337481" y="68003"/>
                    </a:lnTo>
                    <a:lnTo>
                      <a:pt x="337481" y="68622"/>
                    </a:lnTo>
                    <a:cubicBezTo>
                      <a:pt x="337461" y="69448"/>
                      <a:pt x="337502" y="70212"/>
                      <a:pt x="337626" y="71058"/>
                    </a:cubicBezTo>
                    <a:lnTo>
                      <a:pt x="337626" y="406902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54" name="Freeform 88">
                <a:extLst>
                  <a:ext uri="{FF2B5EF4-FFF2-40B4-BE49-F238E27FC236}">
                    <a16:creationId xmlns:a16="http://schemas.microsoft.com/office/drawing/2014/main" id="{C67E1789-07A8-C84C-2924-E7AA17E95121}"/>
                  </a:ext>
                </a:extLst>
              </p:cNvPr>
              <p:cNvSpPr/>
              <p:nvPr/>
            </p:nvSpPr>
            <p:spPr>
              <a:xfrm>
                <a:off x="2371158" y="2738576"/>
                <a:ext cx="1893230" cy="2066630"/>
              </a:xfrm>
              <a:custGeom>
                <a:avLst/>
                <a:gdLst>
                  <a:gd name="connsiteX0" fmla="*/ 1892651 w 1893230"/>
                  <a:gd name="connsiteY0" fmla="*/ 187204 h 2066630"/>
                  <a:gd name="connsiteX1" fmla="*/ 1892445 w 1893230"/>
                  <a:gd name="connsiteY1" fmla="*/ 184086 h 2066630"/>
                  <a:gd name="connsiteX2" fmla="*/ 1892011 w 1893230"/>
                  <a:gd name="connsiteY2" fmla="*/ 180969 h 2066630"/>
                  <a:gd name="connsiteX3" fmla="*/ 1891102 w 1893230"/>
                  <a:gd name="connsiteY3" fmla="*/ 174755 h 2066630"/>
                  <a:gd name="connsiteX4" fmla="*/ 1890068 w 1893230"/>
                  <a:gd name="connsiteY4" fmla="*/ 168562 h 2066630"/>
                  <a:gd name="connsiteX5" fmla="*/ 1888560 w 1893230"/>
                  <a:gd name="connsiteY5" fmla="*/ 162451 h 2066630"/>
                  <a:gd name="connsiteX6" fmla="*/ 1868680 w 1893230"/>
                  <a:gd name="connsiteY6" fmla="*/ 116476 h 2066630"/>
                  <a:gd name="connsiteX7" fmla="*/ 1835182 w 1893230"/>
                  <a:gd name="connsiteY7" fmla="*/ 79481 h 2066630"/>
                  <a:gd name="connsiteX8" fmla="*/ 1742210 w 1893230"/>
                  <a:gd name="connsiteY8" fmla="*/ 46120 h 2066630"/>
                  <a:gd name="connsiteX9" fmla="*/ 1502040 w 1893230"/>
                  <a:gd name="connsiteY9" fmla="*/ 46016 h 2066630"/>
                  <a:gd name="connsiteX10" fmla="*/ 1452692 w 1893230"/>
                  <a:gd name="connsiteY10" fmla="*/ 54212 h 2066630"/>
                  <a:gd name="connsiteX11" fmla="*/ 1408531 w 1893230"/>
                  <a:gd name="connsiteY11" fmla="*/ 77809 h 2066630"/>
                  <a:gd name="connsiteX12" fmla="*/ 1374310 w 1893230"/>
                  <a:gd name="connsiteY12" fmla="*/ 114143 h 2066630"/>
                  <a:gd name="connsiteX13" fmla="*/ 1353644 w 1893230"/>
                  <a:gd name="connsiteY13" fmla="*/ 159767 h 2066630"/>
                  <a:gd name="connsiteX14" fmla="*/ 1352095 w 1893230"/>
                  <a:gd name="connsiteY14" fmla="*/ 165857 h 2066630"/>
                  <a:gd name="connsiteX15" fmla="*/ 1351371 w 1893230"/>
                  <a:gd name="connsiteY15" fmla="*/ 168933 h 2066630"/>
                  <a:gd name="connsiteX16" fmla="*/ 1350855 w 1893230"/>
                  <a:gd name="connsiteY16" fmla="*/ 172030 h 2066630"/>
                  <a:gd name="connsiteX17" fmla="*/ 1349036 w 1893230"/>
                  <a:gd name="connsiteY17" fmla="*/ 184458 h 2066630"/>
                  <a:gd name="connsiteX18" fmla="*/ 1348375 w 1893230"/>
                  <a:gd name="connsiteY18" fmla="*/ 196927 h 2066630"/>
                  <a:gd name="connsiteX19" fmla="*/ 1348272 w 1893230"/>
                  <a:gd name="connsiteY19" fmla="*/ 199879 h 2066630"/>
                  <a:gd name="connsiteX20" fmla="*/ 1348272 w 1893230"/>
                  <a:gd name="connsiteY20" fmla="*/ 487890 h 2066630"/>
                  <a:gd name="connsiteX21" fmla="*/ 1219673 w 1893230"/>
                  <a:gd name="connsiteY21" fmla="*/ 648008 h 2066630"/>
                  <a:gd name="connsiteX22" fmla="*/ 1219673 w 1893230"/>
                  <a:gd name="connsiteY22" fmla="*/ 407211 h 2066630"/>
                  <a:gd name="connsiteX23" fmla="*/ 1219094 w 1893230"/>
                  <a:gd name="connsiteY23" fmla="*/ 394742 h 2066630"/>
                  <a:gd name="connsiteX24" fmla="*/ 1218888 w 1893230"/>
                  <a:gd name="connsiteY24" fmla="*/ 391625 h 2066630"/>
                  <a:gd name="connsiteX25" fmla="*/ 1218454 w 1893230"/>
                  <a:gd name="connsiteY25" fmla="*/ 388528 h 2066630"/>
                  <a:gd name="connsiteX26" fmla="*/ 1217544 w 1893230"/>
                  <a:gd name="connsiteY26" fmla="*/ 382314 h 2066630"/>
                  <a:gd name="connsiteX27" fmla="*/ 1216490 w 1893230"/>
                  <a:gd name="connsiteY27" fmla="*/ 376121 h 2066630"/>
                  <a:gd name="connsiteX28" fmla="*/ 1215003 w 1893230"/>
                  <a:gd name="connsiteY28" fmla="*/ 369989 h 2066630"/>
                  <a:gd name="connsiteX29" fmla="*/ 1195123 w 1893230"/>
                  <a:gd name="connsiteY29" fmla="*/ 324035 h 2066630"/>
                  <a:gd name="connsiteX30" fmla="*/ 1161604 w 1893230"/>
                  <a:gd name="connsiteY30" fmla="*/ 287040 h 2066630"/>
                  <a:gd name="connsiteX31" fmla="*/ 1068653 w 1893230"/>
                  <a:gd name="connsiteY31" fmla="*/ 253658 h 2066630"/>
                  <a:gd name="connsiteX32" fmla="*/ 1061957 w 1893230"/>
                  <a:gd name="connsiteY32" fmla="*/ 253658 h 2066630"/>
                  <a:gd name="connsiteX33" fmla="*/ 1061957 w 1893230"/>
                  <a:gd name="connsiteY33" fmla="*/ 109932 h 2066630"/>
                  <a:gd name="connsiteX34" fmla="*/ 951916 w 1893230"/>
                  <a:gd name="connsiteY34" fmla="*/ 0 h 2066630"/>
                  <a:gd name="connsiteX35" fmla="*/ 948981 w 1893230"/>
                  <a:gd name="connsiteY35" fmla="*/ 0 h 2066630"/>
                  <a:gd name="connsiteX36" fmla="*/ 838940 w 1893230"/>
                  <a:gd name="connsiteY36" fmla="*/ 109932 h 2066630"/>
                  <a:gd name="connsiteX37" fmla="*/ 838940 w 1893230"/>
                  <a:gd name="connsiteY37" fmla="*/ 253575 h 2066630"/>
                  <a:gd name="connsiteX38" fmla="*/ 828483 w 1893230"/>
                  <a:gd name="connsiteY38" fmla="*/ 253575 h 2066630"/>
                  <a:gd name="connsiteX39" fmla="*/ 779135 w 1893230"/>
                  <a:gd name="connsiteY39" fmla="*/ 261771 h 2066630"/>
                  <a:gd name="connsiteX40" fmla="*/ 734974 w 1893230"/>
                  <a:gd name="connsiteY40" fmla="*/ 285368 h 2066630"/>
                  <a:gd name="connsiteX41" fmla="*/ 700752 w 1893230"/>
                  <a:gd name="connsiteY41" fmla="*/ 321702 h 2066630"/>
                  <a:gd name="connsiteX42" fmla="*/ 680087 w 1893230"/>
                  <a:gd name="connsiteY42" fmla="*/ 367306 h 2066630"/>
                  <a:gd name="connsiteX43" fmla="*/ 678537 w 1893230"/>
                  <a:gd name="connsiteY43" fmla="*/ 373416 h 2066630"/>
                  <a:gd name="connsiteX44" fmla="*/ 677814 w 1893230"/>
                  <a:gd name="connsiteY44" fmla="*/ 376472 h 2066630"/>
                  <a:gd name="connsiteX45" fmla="*/ 677298 w 1893230"/>
                  <a:gd name="connsiteY45" fmla="*/ 379568 h 2066630"/>
                  <a:gd name="connsiteX46" fmla="*/ 675479 w 1893230"/>
                  <a:gd name="connsiteY46" fmla="*/ 391996 h 2066630"/>
                  <a:gd name="connsiteX47" fmla="*/ 674818 w 1893230"/>
                  <a:gd name="connsiteY47" fmla="*/ 404486 h 2066630"/>
                  <a:gd name="connsiteX48" fmla="*/ 674714 w 1893230"/>
                  <a:gd name="connsiteY48" fmla="*/ 407438 h 2066630"/>
                  <a:gd name="connsiteX49" fmla="*/ 674714 w 1893230"/>
                  <a:gd name="connsiteY49" fmla="*/ 644127 h 2066630"/>
                  <a:gd name="connsiteX50" fmla="*/ 544938 w 1893230"/>
                  <a:gd name="connsiteY50" fmla="*/ 482563 h 2066630"/>
                  <a:gd name="connsiteX51" fmla="*/ 544938 w 1893230"/>
                  <a:gd name="connsiteY51" fmla="*/ 199652 h 2066630"/>
                  <a:gd name="connsiteX52" fmla="*/ 544359 w 1893230"/>
                  <a:gd name="connsiteY52" fmla="*/ 187204 h 2066630"/>
                  <a:gd name="connsiteX53" fmla="*/ 544153 w 1893230"/>
                  <a:gd name="connsiteY53" fmla="*/ 184086 h 2066630"/>
                  <a:gd name="connsiteX54" fmla="*/ 543739 w 1893230"/>
                  <a:gd name="connsiteY54" fmla="*/ 180969 h 2066630"/>
                  <a:gd name="connsiteX55" fmla="*/ 542809 w 1893230"/>
                  <a:gd name="connsiteY55" fmla="*/ 174755 h 2066630"/>
                  <a:gd name="connsiteX56" fmla="*/ 541776 w 1893230"/>
                  <a:gd name="connsiteY56" fmla="*/ 168562 h 2066630"/>
                  <a:gd name="connsiteX57" fmla="*/ 540268 w 1893230"/>
                  <a:gd name="connsiteY57" fmla="*/ 162451 h 2066630"/>
                  <a:gd name="connsiteX58" fmla="*/ 520388 w 1893230"/>
                  <a:gd name="connsiteY58" fmla="*/ 116476 h 2066630"/>
                  <a:gd name="connsiteX59" fmla="*/ 486890 w 1893230"/>
                  <a:gd name="connsiteY59" fmla="*/ 79481 h 2066630"/>
                  <a:gd name="connsiteX60" fmla="*/ 393938 w 1893230"/>
                  <a:gd name="connsiteY60" fmla="*/ 46120 h 2066630"/>
                  <a:gd name="connsiteX61" fmla="*/ 153769 w 1893230"/>
                  <a:gd name="connsiteY61" fmla="*/ 46016 h 2066630"/>
                  <a:gd name="connsiteX62" fmla="*/ 104400 w 1893230"/>
                  <a:gd name="connsiteY62" fmla="*/ 54212 h 2066630"/>
                  <a:gd name="connsiteX63" fmla="*/ 60259 w 1893230"/>
                  <a:gd name="connsiteY63" fmla="*/ 77809 h 2066630"/>
                  <a:gd name="connsiteX64" fmla="*/ 26017 w 1893230"/>
                  <a:gd name="connsiteY64" fmla="*/ 114143 h 2066630"/>
                  <a:gd name="connsiteX65" fmla="*/ 5352 w 1893230"/>
                  <a:gd name="connsiteY65" fmla="*/ 159767 h 2066630"/>
                  <a:gd name="connsiteX66" fmla="*/ 3802 w 1893230"/>
                  <a:gd name="connsiteY66" fmla="*/ 165857 h 2066630"/>
                  <a:gd name="connsiteX67" fmla="*/ 3079 w 1893230"/>
                  <a:gd name="connsiteY67" fmla="*/ 168933 h 2066630"/>
                  <a:gd name="connsiteX68" fmla="*/ 2562 w 1893230"/>
                  <a:gd name="connsiteY68" fmla="*/ 172030 h 2066630"/>
                  <a:gd name="connsiteX69" fmla="*/ 765 w 1893230"/>
                  <a:gd name="connsiteY69" fmla="*/ 184458 h 2066630"/>
                  <a:gd name="connsiteX70" fmla="*/ 83 w 1893230"/>
                  <a:gd name="connsiteY70" fmla="*/ 196927 h 2066630"/>
                  <a:gd name="connsiteX71" fmla="*/ 0 w 1893230"/>
                  <a:gd name="connsiteY71" fmla="*/ 199879 h 2066630"/>
                  <a:gd name="connsiteX72" fmla="*/ 0 w 1893230"/>
                  <a:gd name="connsiteY72" fmla="*/ 1108523 h 2066630"/>
                  <a:gd name="connsiteX73" fmla="*/ 579 w 1893230"/>
                  <a:gd name="connsiteY73" fmla="*/ 1120992 h 2066630"/>
                  <a:gd name="connsiteX74" fmla="*/ 785 w 1893230"/>
                  <a:gd name="connsiteY74" fmla="*/ 1124110 h 2066630"/>
                  <a:gd name="connsiteX75" fmla="*/ 1199 w 1893230"/>
                  <a:gd name="connsiteY75" fmla="*/ 1127206 h 2066630"/>
                  <a:gd name="connsiteX76" fmla="*/ 2129 w 1893230"/>
                  <a:gd name="connsiteY76" fmla="*/ 1133420 h 2066630"/>
                  <a:gd name="connsiteX77" fmla="*/ 3162 w 1893230"/>
                  <a:gd name="connsiteY77" fmla="*/ 1139614 h 2066630"/>
                  <a:gd name="connsiteX78" fmla="*/ 4670 w 1893230"/>
                  <a:gd name="connsiteY78" fmla="*/ 1145745 h 2066630"/>
                  <a:gd name="connsiteX79" fmla="*/ 24550 w 1893230"/>
                  <a:gd name="connsiteY79" fmla="*/ 1191700 h 2066630"/>
                  <a:gd name="connsiteX80" fmla="*/ 58048 w 1893230"/>
                  <a:gd name="connsiteY80" fmla="*/ 1228694 h 2066630"/>
                  <a:gd name="connsiteX81" fmla="*/ 151020 w 1893230"/>
                  <a:gd name="connsiteY81" fmla="*/ 1262076 h 2066630"/>
                  <a:gd name="connsiteX82" fmla="*/ 391169 w 1893230"/>
                  <a:gd name="connsiteY82" fmla="*/ 1262159 h 2066630"/>
                  <a:gd name="connsiteX83" fmla="*/ 440538 w 1893230"/>
                  <a:gd name="connsiteY83" fmla="*/ 1253963 h 2066630"/>
                  <a:gd name="connsiteX84" fmla="*/ 484699 w 1893230"/>
                  <a:gd name="connsiteY84" fmla="*/ 1230366 h 2066630"/>
                  <a:gd name="connsiteX85" fmla="*/ 518920 w 1893230"/>
                  <a:gd name="connsiteY85" fmla="*/ 1194053 h 2066630"/>
                  <a:gd name="connsiteX86" fmla="*/ 539586 w 1893230"/>
                  <a:gd name="connsiteY86" fmla="*/ 1148429 h 2066630"/>
                  <a:gd name="connsiteX87" fmla="*/ 541135 w 1893230"/>
                  <a:gd name="connsiteY87" fmla="*/ 1142318 h 2066630"/>
                  <a:gd name="connsiteX88" fmla="*/ 541859 w 1893230"/>
                  <a:gd name="connsiteY88" fmla="*/ 1139263 h 2066630"/>
                  <a:gd name="connsiteX89" fmla="*/ 542375 w 1893230"/>
                  <a:gd name="connsiteY89" fmla="*/ 1136166 h 2066630"/>
                  <a:gd name="connsiteX90" fmla="*/ 544173 w 1893230"/>
                  <a:gd name="connsiteY90" fmla="*/ 1123738 h 2066630"/>
                  <a:gd name="connsiteX91" fmla="*/ 544855 w 1893230"/>
                  <a:gd name="connsiteY91" fmla="*/ 1111248 h 2066630"/>
                  <a:gd name="connsiteX92" fmla="*/ 544938 w 1893230"/>
                  <a:gd name="connsiteY92" fmla="*/ 1108296 h 2066630"/>
                  <a:gd name="connsiteX93" fmla="*/ 544938 w 1893230"/>
                  <a:gd name="connsiteY93" fmla="*/ 674846 h 2066630"/>
                  <a:gd name="connsiteX94" fmla="*/ 674714 w 1893230"/>
                  <a:gd name="connsiteY94" fmla="*/ 836409 h 2066630"/>
                  <a:gd name="connsiteX95" fmla="*/ 674714 w 1893230"/>
                  <a:gd name="connsiteY95" fmla="*/ 1316082 h 2066630"/>
                  <a:gd name="connsiteX96" fmla="*/ 675293 w 1893230"/>
                  <a:gd name="connsiteY96" fmla="*/ 1328551 h 2066630"/>
                  <a:gd name="connsiteX97" fmla="*/ 675500 w 1893230"/>
                  <a:gd name="connsiteY97" fmla="*/ 1331648 h 2066630"/>
                  <a:gd name="connsiteX98" fmla="*/ 675934 w 1893230"/>
                  <a:gd name="connsiteY98" fmla="*/ 1334765 h 2066630"/>
                  <a:gd name="connsiteX99" fmla="*/ 676843 w 1893230"/>
                  <a:gd name="connsiteY99" fmla="*/ 1340979 h 2066630"/>
                  <a:gd name="connsiteX100" fmla="*/ 677897 w 1893230"/>
                  <a:gd name="connsiteY100" fmla="*/ 1347173 h 2066630"/>
                  <a:gd name="connsiteX101" fmla="*/ 679385 w 1893230"/>
                  <a:gd name="connsiteY101" fmla="*/ 1353283 h 2066630"/>
                  <a:gd name="connsiteX102" fmla="*/ 699265 w 1893230"/>
                  <a:gd name="connsiteY102" fmla="*/ 1399259 h 2066630"/>
                  <a:gd name="connsiteX103" fmla="*/ 732783 w 1893230"/>
                  <a:gd name="connsiteY103" fmla="*/ 1436253 h 2066630"/>
                  <a:gd name="connsiteX104" fmla="*/ 825735 w 1893230"/>
                  <a:gd name="connsiteY104" fmla="*/ 1469615 h 2066630"/>
                  <a:gd name="connsiteX105" fmla="*/ 838940 w 1893230"/>
                  <a:gd name="connsiteY105" fmla="*/ 1469615 h 2066630"/>
                  <a:gd name="connsiteX106" fmla="*/ 838940 w 1893230"/>
                  <a:gd name="connsiteY106" fmla="*/ 1956699 h 2066630"/>
                  <a:gd name="connsiteX107" fmla="*/ 948981 w 1893230"/>
                  <a:gd name="connsiteY107" fmla="*/ 2066631 h 2066630"/>
                  <a:gd name="connsiteX108" fmla="*/ 951916 w 1893230"/>
                  <a:gd name="connsiteY108" fmla="*/ 2066631 h 2066630"/>
                  <a:gd name="connsiteX109" fmla="*/ 1061957 w 1893230"/>
                  <a:gd name="connsiteY109" fmla="*/ 1956699 h 2066630"/>
                  <a:gd name="connsiteX110" fmla="*/ 1061957 w 1893230"/>
                  <a:gd name="connsiteY110" fmla="*/ 1469718 h 2066630"/>
                  <a:gd name="connsiteX111" fmla="*/ 1065904 w 1893230"/>
                  <a:gd name="connsiteY111" fmla="*/ 1469718 h 2066630"/>
                  <a:gd name="connsiteX112" fmla="*/ 1090847 w 1893230"/>
                  <a:gd name="connsiteY112" fmla="*/ 1467571 h 2066630"/>
                  <a:gd name="connsiteX113" fmla="*/ 1115252 w 1893230"/>
                  <a:gd name="connsiteY113" fmla="*/ 1461522 h 2066630"/>
                  <a:gd name="connsiteX114" fmla="*/ 1159414 w 1893230"/>
                  <a:gd name="connsiteY114" fmla="*/ 1437926 h 2066630"/>
                  <a:gd name="connsiteX115" fmla="*/ 1193635 w 1893230"/>
                  <a:gd name="connsiteY115" fmla="*/ 1401591 h 2066630"/>
                  <a:gd name="connsiteX116" fmla="*/ 1214300 w 1893230"/>
                  <a:gd name="connsiteY116" fmla="*/ 1355967 h 2066630"/>
                  <a:gd name="connsiteX117" fmla="*/ 1215850 w 1893230"/>
                  <a:gd name="connsiteY117" fmla="*/ 1349877 h 2066630"/>
                  <a:gd name="connsiteX118" fmla="*/ 1216573 w 1893230"/>
                  <a:gd name="connsiteY118" fmla="*/ 1346801 h 2066630"/>
                  <a:gd name="connsiteX119" fmla="*/ 1217090 w 1893230"/>
                  <a:gd name="connsiteY119" fmla="*/ 1343704 h 2066630"/>
                  <a:gd name="connsiteX120" fmla="*/ 1218908 w 1893230"/>
                  <a:gd name="connsiteY120" fmla="*/ 1331276 h 2066630"/>
                  <a:gd name="connsiteX121" fmla="*/ 1219570 w 1893230"/>
                  <a:gd name="connsiteY121" fmla="*/ 1318807 h 2066630"/>
                  <a:gd name="connsiteX122" fmla="*/ 1219673 w 1893230"/>
                  <a:gd name="connsiteY122" fmla="*/ 1315855 h 2066630"/>
                  <a:gd name="connsiteX123" fmla="*/ 1219673 w 1893230"/>
                  <a:gd name="connsiteY123" fmla="*/ 840290 h 2066630"/>
                  <a:gd name="connsiteX124" fmla="*/ 1348272 w 1893230"/>
                  <a:gd name="connsiteY124" fmla="*/ 680172 h 2066630"/>
                  <a:gd name="connsiteX125" fmla="*/ 1348272 w 1893230"/>
                  <a:gd name="connsiteY125" fmla="*/ 1108523 h 2066630"/>
                  <a:gd name="connsiteX126" fmla="*/ 1348850 w 1893230"/>
                  <a:gd name="connsiteY126" fmla="*/ 1120992 h 2066630"/>
                  <a:gd name="connsiteX127" fmla="*/ 1349078 w 1893230"/>
                  <a:gd name="connsiteY127" fmla="*/ 1124110 h 2066630"/>
                  <a:gd name="connsiteX128" fmla="*/ 1349491 w 1893230"/>
                  <a:gd name="connsiteY128" fmla="*/ 1127206 h 2066630"/>
                  <a:gd name="connsiteX129" fmla="*/ 1350400 w 1893230"/>
                  <a:gd name="connsiteY129" fmla="*/ 1133420 h 2066630"/>
                  <a:gd name="connsiteX130" fmla="*/ 1351454 w 1893230"/>
                  <a:gd name="connsiteY130" fmla="*/ 1139614 h 2066630"/>
                  <a:gd name="connsiteX131" fmla="*/ 1352942 w 1893230"/>
                  <a:gd name="connsiteY131" fmla="*/ 1145745 h 2066630"/>
                  <a:gd name="connsiteX132" fmla="*/ 1372842 w 1893230"/>
                  <a:gd name="connsiteY132" fmla="*/ 1191700 h 2066630"/>
                  <a:gd name="connsiteX133" fmla="*/ 1406340 w 1893230"/>
                  <a:gd name="connsiteY133" fmla="*/ 1228694 h 2066630"/>
                  <a:gd name="connsiteX134" fmla="*/ 1499292 w 1893230"/>
                  <a:gd name="connsiteY134" fmla="*/ 1262076 h 2066630"/>
                  <a:gd name="connsiteX135" fmla="*/ 1739461 w 1893230"/>
                  <a:gd name="connsiteY135" fmla="*/ 1262159 h 2066630"/>
                  <a:gd name="connsiteX136" fmla="*/ 1788809 w 1893230"/>
                  <a:gd name="connsiteY136" fmla="*/ 1253963 h 2066630"/>
                  <a:gd name="connsiteX137" fmla="*/ 1832971 w 1893230"/>
                  <a:gd name="connsiteY137" fmla="*/ 1230366 h 2066630"/>
                  <a:gd name="connsiteX138" fmla="*/ 1867213 w 1893230"/>
                  <a:gd name="connsiteY138" fmla="*/ 1194053 h 2066630"/>
                  <a:gd name="connsiteX139" fmla="*/ 1887857 w 1893230"/>
                  <a:gd name="connsiteY139" fmla="*/ 1148429 h 2066630"/>
                  <a:gd name="connsiteX140" fmla="*/ 1889407 w 1893230"/>
                  <a:gd name="connsiteY140" fmla="*/ 1142318 h 2066630"/>
                  <a:gd name="connsiteX141" fmla="*/ 1890130 w 1893230"/>
                  <a:gd name="connsiteY141" fmla="*/ 1139263 h 2066630"/>
                  <a:gd name="connsiteX142" fmla="*/ 1890647 w 1893230"/>
                  <a:gd name="connsiteY142" fmla="*/ 1136166 h 2066630"/>
                  <a:gd name="connsiteX143" fmla="*/ 1892465 w 1893230"/>
                  <a:gd name="connsiteY143" fmla="*/ 1123738 h 2066630"/>
                  <a:gd name="connsiteX144" fmla="*/ 1893127 w 1893230"/>
                  <a:gd name="connsiteY144" fmla="*/ 1111248 h 2066630"/>
                  <a:gd name="connsiteX145" fmla="*/ 1893230 w 1893230"/>
                  <a:gd name="connsiteY145" fmla="*/ 1108296 h 2066630"/>
                  <a:gd name="connsiteX146" fmla="*/ 1893230 w 1893230"/>
                  <a:gd name="connsiteY146" fmla="*/ 199652 h 2066630"/>
                  <a:gd name="connsiteX147" fmla="*/ 1892651 w 1893230"/>
                  <a:gd name="connsiteY147" fmla="*/ 187204 h 2066630"/>
                  <a:gd name="connsiteX148" fmla="*/ 502905 w 1893230"/>
                  <a:gd name="connsiteY148" fmla="*/ 1108296 h 2066630"/>
                  <a:gd name="connsiteX149" fmla="*/ 502822 w 1893230"/>
                  <a:gd name="connsiteY149" fmla="*/ 1110526 h 2066630"/>
                  <a:gd name="connsiteX150" fmla="*/ 502347 w 1893230"/>
                  <a:gd name="connsiteY150" fmla="*/ 1119609 h 2066630"/>
                  <a:gd name="connsiteX151" fmla="*/ 501025 w 1893230"/>
                  <a:gd name="connsiteY151" fmla="*/ 1128631 h 2066630"/>
                  <a:gd name="connsiteX152" fmla="*/ 500673 w 1893230"/>
                  <a:gd name="connsiteY152" fmla="*/ 1130881 h 2066630"/>
                  <a:gd name="connsiteX153" fmla="*/ 500115 w 1893230"/>
                  <a:gd name="connsiteY153" fmla="*/ 1133111 h 2066630"/>
                  <a:gd name="connsiteX154" fmla="*/ 498999 w 1893230"/>
                  <a:gd name="connsiteY154" fmla="*/ 1137529 h 2066630"/>
                  <a:gd name="connsiteX155" fmla="*/ 484017 w 1893230"/>
                  <a:gd name="connsiteY155" fmla="*/ 1170663 h 2066630"/>
                  <a:gd name="connsiteX156" fmla="*/ 459095 w 1893230"/>
                  <a:gd name="connsiteY156" fmla="*/ 1197067 h 2066630"/>
                  <a:gd name="connsiteX157" fmla="*/ 391169 w 1893230"/>
                  <a:gd name="connsiteY157" fmla="*/ 1220168 h 2066630"/>
                  <a:gd name="connsiteX158" fmla="*/ 151764 w 1893230"/>
                  <a:gd name="connsiteY158" fmla="*/ 1220086 h 2066630"/>
                  <a:gd name="connsiteX159" fmla="*/ 142651 w 1893230"/>
                  <a:gd name="connsiteY159" fmla="*/ 1219611 h 2066630"/>
                  <a:gd name="connsiteX160" fmla="*/ 133620 w 1893230"/>
                  <a:gd name="connsiteY160" fmla="*/ 1218290 h 2066630"/>
                  <a:gd name="connsiteX161" fmla="*/ 131368 w 1893230"/>
                  <a:gd name="connsiteY161" fmla="*/ 1217918 h 2066630"/>
                  <a:gd name="connsiteX162" fmla="*/ 129157 w 1893230"/>
                  <a:gd name="connsiteY162" fmla="*/ 1217381 h 2066630"/>
                  <a:gd name="connsiteX163" fmla="*/ 124714 w 1893230"/>
                  <a:gd name="connsiteY163" fmla="*/ 1216246 h 2066630"/>
                  <a:gd name="connsiteX164" fmla="*/ 120312 w 1893230"/>
                  <a:gd name="connsiteY164" fmla="*/ 1215069 h 2066630"/>
                  <a:gd name="connsiteX165" fmla="*/ 116014 w 1893230"/>
                  <a:gd name="connsiteY165" fmla="*/ 1213521 h 2066630"/>
                  <a:gd name="connsiteX166" fmla="*/ 84231 w 1893230"/>
                  <a:gd name="connsiteY166" fmla="*/ 1195849 h 2066630"/>
                  <a:gd name="connsiteX167" fmla="*/ 45442 w 1893230"/>
                  <a:gd name="connsiteY167" fmla="*/ 1135588 h 2066630"/>
                  <a:gd name="connsiteX168" fmla="*/ 44327 w 1893230"/>
                  <a:gd name="connsiteY168" fmla="*/ 1131149 h 2066630"/>
                  <a:gd name="connsiteX169" fmla="*/ 43603 w 1893230"/>
                  <a:gd name="connsiteY169" fmla="*/ 1126649 h 2066630"/>
                  <a:gd name="connsiteX170" fmla="*/ 42921 w 1893230"/>
                  <a:gd name="connsiteY170" fmla="*/ 1122148 h 2066630"/>
                  <a:gd name="connsiteX171" fmla="*/ 42611 w 1893230"/>
                  <a:gd name="connsiteY171" fmla="*/ 1119878 h 2066630"/>
                  <a:gd name="connsiteX172" fmla="*/ 42467 w 1893230"/>
                  <a:gd name="connsiteY172" fmla="*/ 1117607 h 2066630"/>
                  <a:gd name="connsiteX173" fmla="*/ 42033 w 1893230"/>
                  <a:gd name="connsiteY173" fmla="*/ 1108523 h 2066630"/>
                  <a:gd name="connsiteX174" fmla="*/ 42033 w 1893230"/>
                  <a:gd name="connsiteY174" fmla="*/ 199879 h 2066630"/>
                  <a:gd name="connsiteX175" fmla="*/ 42115 w 1893230"/>
                  <a:gd name="connsiteY175" fmla="*/ 197670 h 2066630"/>
                  <a:gd name="connsiteX176" fmla="*/ 42591 w 1893230"/>
                  <a:gd name="connsiteY176" fmla="*/ 188566 h 2066630"/>
                  <a:gd name="connsiteX177" fmla="*/ 43913 w 1893230"/>
                  <a:gd name="connsiteY177" fmla="*/ 179545 h 2066630"/>
                  <a:gd name="connsiteX178" fmla="*/ 44285 w 1893230"/>
                  <a:gd name="connsiteY178" fmla="*/ 177294 h 2066630"/>
                  <a:gd name="connsiteX179" fmla="*/ 44823 w 1893230"/>
                  <a:gd name="connsiteY179" fmla="*/ 175085 h 2066630"/>
                  <a:gd name="connsiteX180" fmla="*/ 45959 w 1893230"/>
                  <a:gd name="connsiteY180" fmla="*/ 170647 h 2066630"/>
                  <a:gd name="connsiteX181" fmla="*/ 60921 w 1893230"/>
                  <a:gd name="connsiteY181" fmla="*/ 137533 h 2066630"/>
                  <a:gd name="connsiteX182" fmla="*/ 85843 w 1893230"/>
                  <a:gd name="connsiteY182" fmla="*/ 111129 h 2066630"/>
                  <a:gd name="connsiteX183" fmla="*/ 153769 w 1893230"/>
                  <a:gd name="connsiteY183" fmla="*/ 88007 h 2066630"/>
                  <a:gd name="connsiteX184" fmla="*/ 393174 w 1893230"/>
                  <a:gd name="connsiteY184" fmla="*/ 88090 h 2066630"/>
                  <a:gd name="connsiteX185" fmla="*/ 402287 w 1893230"/>
                  <a:gd name="connsiteY185" fmla="*/ 88565 h 2066630"/>
                  <a:gd name="connsiteX186" fmla="*/ 411317 w 1893230"/>
                  <a:gd name="connsiteY186" fmla="*/ 89906 h 2066630"/>
                  <a:gd name="connsiteX187" fmla="*/ 413570 w 1893230"/>
                  <a:gd name="connsiteY187" fmla="*/ 90257 h 2066630"/>
                  <a:gd name="connsiteX188" fmla="*/ 415781 w 1893230"/>
                  <a:gd name="connsiteY188" fmla="*/ 90815 h 2066630"/>
                  <a:gd name="connsiteX189" fmla="*/ 420224 w 1893230"/>
                  <a:gd name="connsiteY189" fmla="*/ 91930 h 2066630"/>
                  <a:gd name="connsiteX190" fmla="*/ 424626 w 1893230"/>
                  <a:gd name="connsiteY190" fmla="*/ 93127 h 2066630"/>
                  <a:gd name="connsiteX191" fmla="*/ 428924 w 1893230"/>
                  <a:gd name="connsiteY191" fmla="*/ 94675 h 2066630"/>
                  <a:gd name="connsiteX192" fmla="*/ 460707 w 1893230"/>
                  <a:gd name="connsiteY192" fmla="*/ 112326 h 2066630"/>
                  <a:gd name="connsiteX193" fmla="*/ 499495 w 1893230"/>
                  <a:gd name="connsiteY193" fmla="*/ 172608 h 2066630"/>
                  <a:gd name="connsiteX194" fmla="*/ 500611 w 1893230"/>
                  <a:gd name="connsiteY194" fmla="*/ 177026 h 2066630"/>
                  <a:gd name="connsiteX195" fmla="*/ 501335 w 1893230"/>
                  <a:gd name="connsiteY195" fmla="*/ 181526 h 2066630"/>
                  <a:gd name="connsiteX196" fmla="*/ 502016 w 1893230"/>
                  <a:gd name="connsiteY196" fmla="*/ 186048 h 2066630"/>
                  <a:gd name="connsiteX197" fmla="*/ 502347 w 1893230"/>
                  <a:gd name="connsiteY197" fmla="*/ 188298 h 2066630"/>
                  <a:gd name="connsiteX198" fmla="*/ 502471 w 1893230"/>
                  <a:gd name="connsiteY198" fmla="*/ 190569 h 2066630"/>
                  <a:gd name="connsiteX199" fmla="*/ 502905 w 1893230"/>
                  <a:gd name="connsiteY199" fmla="*/ 199652 h 2066630"/>
                  <a:gd name="connsiteX200" fmla="*/ 502905 w 1893230"/>
                  <a:gd name="connsiteY200" fmla="*/ 1108296 h 2066630"/>
                  <a:gd name="connsiteX201" fmla="*/ 674714 w 1893230"/>
                  <a:gd name="connsiteY201" fmla="*/ 770450 h 2066630"/>
                  <a:gd name="connsiteX202" fmla="*/ 544938 w 1893230"/>
                  <a:gd name="connsiteY202" fmla="*/ 608887 h 2066630"/>
                  <a:gd name="connsiteX203" fmla="*/ 544938 w 1893230"/>
                  <a:gd name="connsiteY203" fmla="*/ 548543 h 2066630"/>
                  <a:gd name="connsiteX204" fmla="*/ 674714 w 1893230"/>
                  <a:gd name="connsiteY204" fmla="*/ 710086 h 2066630"/>
                  <a:gd name="connsiteX205" fmla="*/ 674714 w 1893230"/>
                  <a:gd name="connsiteY205" fmla="*/ 770450 h 2066630"/>
                  <a:gd name="connsiteX206" fmla="*/ 880270 w 1893230"/>
                  <a:gd name="connsiteY206" fmla="*/ 109932 h 2066630"/>
                  <a:gd name="connsiteX207" fmla="*/ 948981 w 1893230"/>
                  <a:gd name="connsiteY207" fmla="*/ 41289 h 2066630"/>
                  <a:gd name="connsiteX208" fmla="*/ 951916 w 1893230"/>
                  <a:gd name="connsiteY208" fmla="*/ 41289 h 2066630"/>
                  <a:gd name="connsiteX209" fmla="*/ 1020627 w 1893230"/>
                  <a:gd name="connsiteY209" fmla="*/ 109932 h 2066630"/>
                  <a:gd name="connsiteX210" fmla="*/ 1020627 w 1893230"/>
                  <a:gd name="connsiteY210" fmla="*/ 253637 h 2066630"/>
                  <a:gd name="connsiteX211" fmla="*/ 880270 w 1893230"/>
                  <a:gd name="connsiteY211" fmla="*/ 253575 h 2066630"/>
                  <a:gd name="connsiteX212" fmla="*/ 880270 w 1893230"/>
                  <a:gd name="connsiteY212" fmla="*/ 109932 h 2066630"/>
                  <a:gd name="connsiteX213" fmla="*/ 1020627 w 1893230"/>
                  <a:gd name="connsiteY213" fmla="*/ 1956699 h 2066630"/>
                  <a:gd name="connsiteX214" fmla="*/ 951916 w 1893230"/>
                  <a:gd name="connsiteY214" fmla="*/ 2025342 h 2066630"/>
                  <a:gd name="connsiteX215" fmla="*/ 948981 w 1893230"/>
                  <a:gd name="connsiteY215" fmla="*/ 2025342 h 2066630"/>
                  <a:gd name="connsiteX216" fmla="*/ 880270 w 1893230"/>
                  <a:gd name="connsiteY216" fmla="*/ 1956699 h 2066630"/>
                  <a:gd name="connsiteX217" fmla="*/ 880270 w 1893230"/>
                  <a:gd name="connsiteY217" fmla="*/ 1469635 h 2066630"/>
                  <a:gd name="connsiteX218" fmla="*/ 1020627 w 1893230"/>
                  <a:gd name="connsiteY218" fmla="*/ 1469697 h 2066630"/>
                  <a:gd name="connsiteX219" fmla="*/ 1020627 w 1893230"/>
                  <a:gd name="connsiteY219" fmla="*/ 1956699 h 2066630"/>
                  <a:gd name="connsiteX220" fmla="*/ 1177640 w 1893230"/>
                  <a:gd name="connsiteY220" fmla="*/ 1315855 h 2066630"/>
                  <a:gd name="connsiteX221" fmla="*/ 1177558 w 1893230"/>
                  <a:gd name="connsiteY221" fmla="*/ 1318064 h 2066630"/>
                  <a:gd name="connsiteX222" fmla="*/ 1177082 w 1893230"/>
                  <a:gd name="connsiteY222" fmla="*/ 1327168 h 2066630"/>
                  <a:gd name="connsiteX223" fmla="*/ 1175739 w 1893230"/>
                  <a:gd name="connsiteY223" fmla="*/ 1336190 h 2066630"/>
                  <a:gd name="connsiteX224" fmla="*/ 1175388 w 1893230"/>
                  <a:gd name="connsiteY224" fmla="*/ 1338440 h 2066630"/>
                  <a:gd name="connsiteX225" fmla="*/ 1174850 w 1893230"/>
                  <a:gd name="connsiteY225" fmla="*/ 1340649 h 2066630"/>
                  <a:gd name="connsiteX226" fmla="*/ 1173714 w 1893230"/>
                  <a:gd name="connsiteY226" fmla="*/ 1345088 h 2066630"/>
                  <a:gd name="connsiteX227" fmla="*/ 1158732 w 1893230"/>
                  <a:gd name="connsiteY227" fmla="*/ 1378201 h 2066630"/>
                  <a:gd name="connsiteX228" fmla="*/ 1133830 w 1893230"/>
                  <a:gd name="connsiteY228" fmla="*/ 1404605 h 2066630"/>
                  <a:gd name="connsiteX229" fmla="*/ 1065904 w 1893230"/>
                  <a:gd name="connsiteY229" fmla="*/ 1427727 h 2066630"/>
                  <a:gd name="connsiteX230" fmla="*/ 1061957 w 1893230"/>
                  <a:gd name="connsiteY230" fmla="*/ 1427727 h 2066630"/>
                  <a:gd name="connsiteX231" fmla="*/ 1020627 w 1893230"/>
                  <a:gd name="connsiteY231" fmla="*/ 1427686 h 2066630"/>
                  <a:gd name="connsiteX232" fmla="*/ 880270 w 1893230"/>
                  <a:gd name="connsiteY232" fmla="*/ 1427645 h 2066630"/>
                  <a:gd name="connsiteX233" fmla="*/ 826479 w 1893230"/>
                  <a:gd name="connsiteY233" fmla="*/ 1427645 h 2066630"/>
                  <a:gd name="connsiteX234" fmla="*/ 817386 w 1893230"/>
                  <a:gd name="connsiteY234" fmla="*/ 1427170 h 2066630"/>
                  <a:gd name="connsiteX235" fmla="*/ 808355 w 1893230"/>
                  <a:gd name="connsiteY235" fmla="*/ 1425828 h 2066630"/>
                  <a:gd name="connsiteX236" fmla="*/ 806103 w 1893230"/>
                  <a:gd name="connsiteY236" fmla="*/ 1425477 h 2066630"/>
                  <a:gd name="connsiteX237" fmla="*/ 803871 w 1893230"/>
                  <a:gd name="connsiteY237" fmla="*/ 1424940 h 2066630"/>
                  <a:gd name="connsiteX238" fmla="*/ 799449 w 1893230"/>
                  <a:gd name="connsiteY238" fmla="*/ 1423805 h 2066630"/>
                  <a:gd name="connsiteX239" fmla="*/ 795026 w 1893230"/>
                  <a:gd name="connsiteY239" fmla="*/ 1422628 h 2066630"/>
                  <a:gd name="connsiteX240" fmla="*/ 790728 w 1893230"/>
                  <a:gd name="connsiteY240" fmla="*/ 1421080 h 2066630"/>
                  <a:gd name="connsiteX241" fmla="*/ 758966 w 1893230"/>
                  <a:gd name="connsiteY241" fmla="*/ 1403408 h 2066630"/>
                  <a:gd name="connsiteX242" fmla="*/ 720178 w 1893230"/>
                  <a:gd name="connsiteY242" fmla="*/ 1343126 h 2066630"/>
                  <a:gd name="connsiteX243" fmla="*/ 719062 w 1893230"/>
                  <a:gd name="connsiteY243" fmla="*/ 1338709 h 2066630"/>
                  <a:gd name="connsiteX244" fmla="*/ 718338 w 1893230"/>
                  <a:gd name="connsiteY244" fmla="*/ 1334208 h 2066630"/>
                  <a:gd name="connsiteX245" fmla="*/ 717656 w 1893230"/>
                  <a:gd name="connsiteY245" fmla="*/ 1329687 h 2066630"/>
                  <a:gd name="connsiteX246" fmla="*/ 717326 w 1893230"/>
                  <a:gd name="connsiteY246" fmla="*/ 1327437 h 2066630"/>
                  <a:gd name="connsiteX247" fmla="*/ 717202 w 1893230"/>
                  <a:gd name="connsiteY247" fmla="*/ 1325166 h 2066630"/>
                  <a:gd name="connsiteX248" fmla="*/ 716747 w 1893230"/>
                  <a:gd name="connsiteY248" fmla="*/ 1316082 h 2066630"/>
                  <a:gd name="connsiteX249" fmla="*/ 716747 w 1893230"/>
                  <a:gd name="connsiteY249" fmla="*/ 407438 h 2066630"/>
                  <a:gd name="connsiteX250" fmla="*/ 716830 w 1893230"/>
                  <a:gd name="connsiteY250" fmla="*/ 405209 h 2066630"/>
                  <a:gd name="connsiteX251" fmla="*/ 717305 w 1893230"/>
                  <a:gd name="connsiteY251" fmla="*/ 396125 h 2066630"/>
                  <a:gd name="connsiteX252" fmla="*/ 718648 w 1893230"/>
                  <a:gd name="connsiteY252" fmla="*/ 387104 h 2066630"/>
                  <a:gd name="connsiteX253" fmla="*/ 719000 w 1893230"/>
                  <a:gd name="connsiteY253" fmla="*/ 384853 h 2066630"/>
                  <a:gd name="connsiteX254" fmla="*/ 719537 w 1893230"/>
                  <a:gd name="connsiteY254" fmla="*/ 382624 h 2066630"/>
                  <a:gd name="connsiteX255" fmla="*/ 720674 w 1893230"/>
                  <a:gd name="connsiteY255" fmla="*/ 378206 h 2066630"/>
                  <a:gd name="connsiteX256" fmla="*/ 735656 w 1893230"/>
                  <a:gd name="connsiteY256" fmla="*/ 345072 h 2066630"/>
                  <a:gd name="connsiteX257" fmla="*/ 760557 w 1893230"/>
                  <a:gd name="connsiteY257" fmla="*/ 318667 h 2066630"/>
                  <a:gd name="connsiteX258" fmla="*/ 828483 w 1893230"/>
                  <a:gd name="connsiteY258" fmla="*/ 295566 h 2066630"/>
                  <a:gd name="connsiteX259" fmla="*/ 880270 w 1893230"/>
                  <a:gd name="connsiteY259" fmla="*/ 295566 h 2066630"/>
                  <a:gd name="connsiteX260" fmla="*/ 1020627 w 1893230"/>
                  <a:gd name="connsiteY260" fmla="*/ 295649 h 2066630"/>
                  <a:gd name="connsiteX261" fmla="*/ 1067909 w 1893230"/>
                  <a:gd name="connsiteY261" fmla="*/ 295649 h 2066630"/>
                  <a:gd name="connsiteX262" fmla="*/ 1077001 w 1893230"/>
                  <a:gd name="connsiteY262" fmla="*/ 296124 h 2066630"/>
                  <a:gd name="connsiteX263" fmla="*/ 1086032 w 1893230"/>
                  <a:gd name="connsiteY263" fmla="*/ 297445 h 2066630"/>
                  <a:gd name="connsiteX264" fmla="*/ 1088284 w 1893230"/>
                  <a:gd name="connsiteY264" fmla="*/ 297816 h 2066630"/>
                  <a:gd name="connsiteX265" fmla="*/ 1090516 w 1893230"/>
                  <a:gd name="connsiteY265" fmla="*/ 298353 h 2066630"/>
                  <a:gd name="connsiteX266" fmla="*/ 1094939 w 1893230"/>
                  <a:gd name="connsiteY266" fmla="*/ 299489 h 2066630"/>
                  <a:gd name="connsiteX267" fmla="*/ 1099361 w 1893230"/>
                  <a:gd name="connsiteY267" fmla="*/ 300665 h 2066630"/>
                  <a:gd name="connsiteX268" fmla="*/ 1103659 w 1893230"/>
                  <a:gd name="connsiteY268" fmla="*/ 302214 h 2066630"/>
                  <a:gd name="connsiteX269" fmla="*/ 1135421 w 1893230"/>
                  <a:gd name="connsiteY269" fmla="*/ 319885 h 2066630"/>
                  <a:gd name="connsiteX270" fmla="*/ 1174210 w 1893230"/>
                  <a:gd name="connsiteY270" fmla="*/ 380146 h 2066630"/>
                  <a:gd name="connsiteX271" fmla="*/ 1175326 w 1893230"/>
                  <a:gd name="connsiteY271" fmla="*/ 384585 h 2066630"/>
                  <a:gd name="connsiteX272" fmla="*/ 1176049 w 1893230"/>
                  <a:gd name="connsiteY272" fmla="*/ 389086 h 2066630"/>
                  <a:gd name="connsiteX273" fmla="*/ 1176731 w 1893230"/>
                  <a:gd name="connsiteY273" fmla="*/ 393586 h 2066630"/>
                  <a:gd name="connsiteX274" fmla="*/ 1177062 w 1893230"/>
                  <a:gd name="connsiteY274" fmla="*/ 395857 h 2066630"/>
                  <a:gd name="connsiteX275" fmla="*/ 1177186 w 1893230"/>
                  <a:gd name="connsiteY275" fmla="*/ 398128 h 2066630"/>
                  <a:gd name="connsiteX276" fmla="*/ 1177640 w 1893230"/>
                  <a:gd name="connsiteY276" fmla="*/ 407211 h 2066630"/>
                  <a:gd name="connsiteX277" fmla="*/ 1177640 w 1893230"/>
                  <a:gd name="connsiteY277" fmla="*/ 1315855 h 2066630"/>
                  <a:gd name="connsiteX278" fmla="*/ 1348272 w 1893230"/>
                  <a:gd name="connsiteY278" fmla="*/ 614213 h 2066630"/>
                  <a:gd name="connsiteX279" fmla="*/ 1219673 w 1893230"/>
                  <a:gd name="connsiteY279" fmla="*/ 774311 h 2066630"/>
                  <a:gd name="connsiteX280" fmla="*/ 1219673 w 1893230"/>
                  <a:gd name="connsiteY280" fmla="*/ 713967 h 2066630"/>
                  <a:gd name="connsiteX281" fmla="*/ 1348272 w 1893230"/>
                  <a:gd name="connsiteY281" fmla="*/ 553849 h 2066630"/>
                  <a:gd name="connsiteX282" fmla="*/ 1348272 w 1893230"/>
                  <a:gd name="connsiteY282" fmla="*/ 614213 h 2066630"/>
                  <a:gd name="connsiteX283" fmla="*/ 1851197 w 1893230"/>
                  <a:gd name="connsiteY283" fmla="*/ 1108296 h 2066630"/>
                  <a:gd name="connsiteX284" fmla="*/ 1851115 w 1893230"/>
                  <a:gd name="connsiteY284" fmla="*/ 1110526 h 2066630"/>
                  <a:gd name="connsiteX285" fmla="*/ 1850639 w 1893230"/>
                  <a:gd name="connsiteY285" fmla="*/ 1119609 h 2066630"/>
                  <a:gd name="connsiteX286" fmla="*/ 1849317 w 1893230"/>
                  <a:gd name="connsiteY286" fmla="*/ 1128631 h 2066630"/>
                  <a:gd name="connsiteX287" fmla="*/ 1848945 w 1893230"/>
                  <a:gd name="connsiteY287" fmla="*/ 1130881 h 2066630"/>
                  <a:gd name="connsiteX288" fmla="*/ 1848408 w 1893230"/>
                  <a:gd name="connsiteY288" fmla="*/ 1133111 h 2066630"/>
                  <a:gd name="connsiteX289" fmla="*/ 1847271 w 1893230"/>
                  <a:gd name="connsiteY289" fmla="*/ 1137529 h 2066630"/>
                  <a:gd name="connsiteX290" fmla="*/ 1832289 w 1893230"/>
                  <a:gd name="connsiteY290" fmla="*/ 1170663 h 2066630"/>
                  <a:gd name="connsiteX291" fmla="*/ 1807387 w 1893230"/>
                  <a:gd name="connsiteY291" fmla="*/ 1197067 h 2066630"/>
                  <a:gd name="connsiteX292" fmla="*/ 1739461 w 1893230"/>
                  <a:gd name="connsiteY292" fmla="*/ 1220168 h 2066630"/>
                  <a:gd name="connsiteX293" fmla="*/ 1500036 w 1893230"/>
                  <a:gd name="connsiteY293" fmla="*/ 1220086 h 2066630"/>
                  <a:gd name="connsiteX294" fmla="*/ 1490943 w 1893230"/>
                  <a:gd name="connsiteY294" fmla="*/ 1219611 h 2066630"/>
                  <a:gd name="connsiteX295" fmla="*/ 1481913 w 1893230"/>
                  <a:gd name="connsiteY295" fmla="*/ 1218290 h 2066630"/>
                  <a:gd name="connsiteX296" fmla="*/ 1479660 w 1893230"/>
                  <a:gd name="connsiteY296" fmla="*/ 1217918 h 2066630"/>
                  <a:gd name="connsiteX297" fmla="*/ 1477428 w 1893230"/>
                  <a:gd name="connsiteY297" fmla="*/ 1217381 h 2066630"/>
                  <a:gd name="connsiteX298" fmla="*/ 1473006 w 1893230"/>
                  <a:gd name="connsiteY298" fmla="*/ 1216246 h 2066630"/>
                  <a:gd name="connsiteX299" fmla="*/ 1468584 w 1893230"/>
                  <a:gd name="connsiteY299" fmla="*/ 1215069 h 2066630"/>
                  <a:gd name="connsiteX300" fmla="*/ 1464285 w 1893230"/>
                  <a:gd name="connsiteY300" fmla="*/ 1213521 h 2066630"/>
                  <a:gd name="connsiteX301" fmla="*/ 1432523 w 1893230"/>
                  <a:gd name="connsiteY301" fmla="*/ 1195849 h 2066630"/>
                  <a:gd name="connsiteX302" fmla="*/ 1393735 w 1893230"/>
                  <a:gd name="connsiteY302" fmla="*/ 1135588 h 2066630"/>
                  <a:gd name="connsiteX303" fmla="*/ 1392619 w 1893230"/>
                  <a:gd name="connsiteY303" fmla="*/ 1131149 h 2066630"/>
                  <a:gd name="connsiteX304" fmla="*/ 1391896 w 1893230"/>
                  <a:gd name="connsiteY304" fmla="*/ 1126649 h 2066630"/>
                  <a:gd name="connsiteX305" fmla="*/ 1391214 w 1893230"/>
                  <a:gd name="connsiteY305" fmla="*/ 1122148 h 2066630"/>
                  <a:gd name="connsiteX306" fmla="*/ 1390883 w 1893230"/>
                  <a:gd name="connsiteY306" fmla="*/ 1119878 h 2066630"/>
                  <a:gd name="connsiteX307" fmla="*/ 1390759 w 1893230"/>
                  <a:gd name="connsiteY307" fmla="*/ 1117607 h 2066630"/>
                  <a:gd name="connsiteX308" fmla="*/ 1390304 w 1893230"/>
                  <a:gd name="connsiteY308" fmla="*/ 1108523 h 2066630"/>
                  <a:gd name="connsiteX309" fmla="*/ 1390304 w 1893230"/>
                  <a:gd name="connsiteY309" fmla="*/ 199879 h 2066630"/>
                  <a:gd name="connsiteX310" fmla="*/ 1390387 w 1893230"/>
                  <a:gd name="connsiteY310" fmla="*/ 197670 h 2066630"/>
                  <a:gd name="connsiteX311" fmla="*/ 1390862 w 1893230"/>
                  <a:gd name="connsiteY311" fmla="*/ 188566 h 2066630"/>
                  <a:gd name="connsiteX312" fmla="*/ 1392206 w 1893230"/>
                  <a:gd name="connsiteY312" fmla="*/ 179545 h 2066630"/>
                  <a:gd name="connsiteX313" fmla="*/ 1392557 w 1893230"/>
                  <a:gd name="connsiteY313" fmla="*/ 177294 h 2066630"/>
                  <a:gd name="connsiteX314" fmla="*/ 1393094 w 1893230"/>
                  <a:gd name="connsiteY314" fmla="*/ 175085 h 2066630"/>
                  <a:gd name="connsiteX315" fmla="*/ 1394231 w 1893230"/>
                  <a:gd name="connsiteY315" fmla="*/ 170647 h 2066630"/>
                  <a:gd name="connsiteX316" fmla="*/ 1409213 w 1893230"/>
                  <a:gd name="connsiteY316" fmla="*/ 137533 h 2066630"/>
                  <a:gd name="connsiteX317" fmla="*/ 1434114 w 1893230"/>
                  <a:gd name="connsiteY317" fmla="*/ 111129 h 2066630"/>
                  <a:gd name="connsiteX318" fmla="*/ 1502040 w 1893230"/>
                  <a:gd name="connsiteY318" fmla="*/ 88007 h 2066630"/>
                  <a:gd name="connsiteX319" fmla="*/ 1741466 w 1893230"/>
                  <a:gd name="connsiteY319" fmla="*/ 88090 h 2066630"/>
                  <a:gd name="connsiteX320" fmla="*/ 1750558 w 1893230"/>
                  <a:gd name="connsiteY320" fmla="*/ 88565 h 2066630"/>
                  <a:gd name="connsiteX321" fmla="*/ 1759589 w 1893230"/>
                  <a:gd name="connsiteY321" fmla="*/ 89906 h 2066630"/>
                  <a:gd name="connsiteX322" fmla="*/ 1761862 w 1893230"/>
                  <a:gd name="connsiteY322" fmla="*/ 90257 h 2066630"/>
                  <a:gd name="connsiteX323" fmla="*/ 1764073 w 1893230"/>
                  <a:gd name="connsiteY323" fmla="*/ 90815 h 2066630"/>
                  <a:gd name="connsiteX324" fmla="*/ 1768496 w 1893230"/>
                  <a:gd name="connsiteY324" fmla="*/ 91930 h 2066630"/>
                  <a:gd name="connsiteX325" fmla="*/ 1772918 w 1893230"/>
                  <a:gd name="connsiteY325" fmla="*/ 93127 h 2066630"/>
                  <a:gd name="connsiteX326" fmla="*/ 1777216 w 1893230"/>
                  <a:gd name="connsiteY326" fmla="*/ 94675 h 2066630"/>
                  <a:gd name="connsiteX327" fmla="*/ 1808979 w 1893230"/>
                  <a:gd name="connsiteY327" fmla="*/ 112326 h 2066630"/>
                  <a:gd name="connsiteX328" fmla="*/ 1847767 w 1893230"/>
                  <a:gd name="connsiteY328" fmla="*/ 172608 h 2066630"/>
                  <a:gd name="connsiteX329" fmla="*/ 1848883 w 1893230"/>
                  <a:gd name="connsiteY329" fmla="*/ 177026 h 2066630"/>
                  <a:gd name="connsiteX330" fmla="*/ 1849627 w 1893230"/>
                  <a:gd name="connsiteY330" fmla="*/ 181526 h 2066630"/>
                  <a:gd name="connsiteX331" fmla="*/ 1850288 w 1893230"/>
                  <a:gd name="connsiteY331" fmla="*/ 186048 h 2066630"/>
                  <a:gd name="connsiteX332" fmla="*/ 1850619 w 1893230"/>
                  <a:gd name="connsiteY332" fmla="*/ 188298 h 2066630"/>
                  <a:gd name="connsiteX333" fmla="*/ 1850743 w 1893230"/>
                  <a:gd name="connsiteY333" fmla="*/ 190569 h 2066630"/>
                  <a:gd name="connsiteX334" fmla="*/ 1851197 w 1893230"/>
                  <a:gd name="connsiteY334" fmla="*/ 199652 h 2066630"/>
                  <a:gd name="connsiteX335" fmla="*/ 1851197 w 1893230"/>
                  <a:gd name="connsiteY335" fmla="*/ 1108296 h 2066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</a:cxnLst>
                <a:rect l="l" t="t" r="r" b="b"/>
                <a:pathLst>
                  <a:path w="1893230" h="2066630">
                    <a:moveTo>
                      <a:pt x="1892651" y="187204"/>
                    </a:moveTo>
                    <a:lnTo>
                      <a:pt x="1892445" y="184086"/>
                    </a:lnTo>
                    <a:lnTo>
                      <a:pt x="1892011" y="180969"/>
                    </a:lnTo>
                    <a:lnTo>
                      <a:pt x="1891102" y="174755"/>
                    </a:lnTo>
                    <a:cubicBezTo>
                      <a:pt x="1890771" y="172691"/>
                      <a:pt x="1890440" y="170626"/>
                      <a:pt x="1890068" y="168562"/>
                    </a:cubicBezTo>
                    <a:lnTo>
                      <a:pt x="1888560" y="162451"/>
                    </a:lnTo>
                    <a:cubicBezTo>
                      <a:pt x="1884530" y="146163"/>
                      <a:pt x="1877855" y="130473"/>
                      <a:pt x="1868680" y="116476"/>
                    </a:cubicBezTo>
                    <a:cubicBezTo>
                      <a:pt x="1859567" y="102438"/>
                      <a:pt x="1848222" y="89927"/>
                      <a:pt x="1835182" y="79481"/>
                    </a:cubicBezTo>
                    <a:cubicBezTo>
                      <a:pt x="1809123" y="58548"/>
                      <a:pt x="1775563" y="46636"/>
                      <a:pt x="1742210" y="46120"/>
                    </a:cubicBezTo>
                    <a:lnTo>
                      <a:pt x="1502040" y="46016"/>
                    </a:lnTo>
                    <a:cubicBezTo>
                      <a:pt x="1485405" y="46140"/>
                      <a:pt x="1468625" y="48865"/>
                      <a:pt x="1452692" y="54212"/>
                    </a:cubicBezTo>
                    <a:cubicBezTo>
                      <a:pt x="1436718" y="59497"/>
                      <a:pt x="1421757" y="67631"/>
                      <a:pt x="1408531" y="77809"/>
                    </a:cubicBezTo>
                    <a:cubicBezTo>
                      <a:pt x="1395285" y="88007"/>
                      <a:pt x="1383692" y="100291"/>
                      <a:pt x="1374310" y="114143"/>
                    </a:cubicBezTo>
                    <a:cubicBezTo>
                      <a:pt x="1364990" y="128057"/>
                      <a:pt x="1358025" y="143561"/>
                      <a:pt x="1353644" y="159767"/>
                    </a:cubicBezTo>
                    <a:lnTo>
                      <a:pt x="1352095" y="165857"/>
                    </a:lnTo>
                    <a:lnTo>
                      <a:pt x="1351371" y="168933"/>
                    </a:lnTo>
                    <a:lnTo>
                      <a:pt x="1350855" y="172030"/>
                    </a:lnTo>
                    <a:cubicBezTo>
                      <a:pt x="1350173" y="176159"/>
                      <a:pt x="1349532" y="180308"/>
                      <a:pt x="1349036" y="184458"/>
                    </a:cubicBezTo>
                    <a:cubicBezTo>
                      <a:pt x="1348747" y="188607"/>
                      <a:pt x="1348520" y="192778"/>
                      <a:pt x="1348375" y="196927"/>
                    </a:cubicBezTo>
                    <a:lnTo>
                      <a:pt x="1348272" y="199879"/>
                    </a:lnTo>
                    <a:lnTo>
                      <a:pt x="1348272" y="487890"/>
                    </a:lnTo>
                    <a:lnTo>
                      <a:pt x="1219673" y="648008"/>
                    </a:lnTo>
                    <a:lnTo>
                      <a:pt x="1219673" y="407211"/>
                    </a:lnTo>
                    <a:cubicBezTo>
                      <a:pt x="1219549" y="403082"/>
                      <a:pt x="1219342" y="398892"/>
                      <a:pt x="1219094" y="394742"/>
                    </a:cubicBezTo>
                    <a:lnTo>
                      <a:pt x="1218888" y="391625"/>
                    </a:lnTo>
                    <a:lnTo>
                      <a:pt x="1218454" y="388528"/>
                    </a:lnTo>
                    <a:lnTo>
                      <a:pt x="1217544" y="382314"/>
                    </a:lnTo>
                    <a:cubicBezTo>
                      <a:pt x="1217214" y="380229"/>
                      <a:pt x="1216883" y="378165"/>
                      <a:pt x="1216490" y="376121"/>
                    </a:cubicBezTo>
                    <a:lnTo>
                      <a:pt x="1215003" y="369989"/>
                    </a:lnTo>
                    <a:cubicBezTo>
                      <a:pt x="1210973" y="353722"/>
                      <a:pt x="1204298" y="338011"/>
                      <a:pt x="1195123" y="324035"/>
                    </a:cubicBezTo>
                    <a:cubicBezTo>
                      <a:pt x="1186009" y="309997"/>
                      <a:pt x="1174664" y="297486"/>
                      <a:pt x="1161604" y="287040"/>
                    </a:cubicBezTo>
                    <a:cubicBezTo>
                      <a:pt x="1135566" y="266107"/>
                      <a:pt x="1102006" y="254174"/>
                      <a:pt x="1068653" y="253658"/>
                    </a:cubicBezTo>
                    <a:lnTo>
                      <a:pt x="1061957" y="253658"/>
                    </a:lnTo>
                    <a:lnTo>
                      <a:pt x="1061957" y="109932"/>
                    </a:lnTo>
                    <a:cubicBezTo>
                      <a:pt x="1061957" y="49299"/>
                      <a:pt x="1012588" y="0"/>
                      <a:pt x="951916" y="0"/>
                    </a:cubicBezTo>
                    <a:lnTo>
                      <a:pt x="948981" y="0"/>
                    </a:lnTo>
                    <a:cubicBezTo>
                      <a:pt x="888309" y="0"/>
                      <a:pt x="838940" y="49299"/>
                      <a:pt x="838940" y="109932"/>
                    </a:cubicBezTo>
                    <a:lnTo>
                      <a:pt x="838940" y="253575"/>
                    </a:lnTo>
                    <a:lnTo>
                      <a:pt x="828483" y="253575"/>
                    </a:lnTo>
                    <a:cubicBezTo>
                      <a:pt x="811848" y="253699"/>
                      <a:pt x="795047" y="256404"/>
                      <a:pt x="779135" y="261771"/>
                    </a:cubicBezTo>
                    <a:cubicBezTo>
                      <a:pt x="763161" y="267036"/>
                      <a:pt x="748199" y="275170"/>
                      <a:pt x="734974" y="285368"/>
                    </a:cubicBezTo>
                    <a:cubicBezTo>
                      <a:pt x="721727" y="295546"/>
                      <a:pt x="710134" y="307850"/>
                      <a:pt x="700752" y="321702"/>
                    </a:cubicBezTo>
                    <a:cubicBezTo>
                      <a:pt x="691432" y="335596"/>
                      <a:pt x="684448" y="351120"/>
                      <a:pt x="680087" y="367306"/>
                    </a:cubicBezTo>
                    <a:lnTo>
                      <a:pt x="678537" y="373416"/>
                    </a:lnTo>
                    <a:lnTo>
                      <a:pt x="677814" y="376472"/>
                    </a:lnTo>
                    <a:lnTo>
                      <a:pt x="677298" y="379568"/>
                    </a:lnTo>
                    <a:cubicBezTo>
                      <a:pt x="676616" y="383718"/>
                      <a:pt x="675975" y="387847"/>
                      <a:pt x="675479" y="391996"/>
                    </a:cubicBezTo>
                    <a:cubicBezTo>
                      <a:pt x="675190" y="396146"/>
                      <a:pt x="674962" y="400316"/>
                      <a:pt x="674818" y="404486"/>
                    </a:cubicBezTo>
                    <a:lnTo>
                      <a:pt x="674714" y="407438"/>
                    </a:lnTo>
                    <a:lnTo>
                      <a:pt x="674714" y="644127"/>
                    </a:lnTo>
                    <a:lnTo>
                      <a:pt x="544938" y="482563"/>
                    </a:lnTo>
                    <a:lnTo>
                      <a:pt x="544938" y="199652"/>
                    </a:lnTo>
                    <a:cubicBezTo>
                      <a:pt x="544814" y="195544"/>
                      <a:pt x="544628" y="191353"/>
                      <a:pt x="544359" y="187204"/>
                    </a:cubicBezTo>
                    <a:lnTo>
                      <a:pt x="544153" y="184086"/>
                    </a:lnTo>
                    <a:lnTo>
                      <a:pt x="543739" y="180969"/>
                    </a:lnTo>
                    <a:lnTo>
                      <a:pt x="542809" y="174755"/>
                    </a:lnTo>
                    <a:cubicBezTo>
                      <a:pt x="542479" y="172691"/>
                      <a:pt x="542148" y="170626"/>
                      <a:pt x="541776" y="168562"/>
                    </a:cubicBezTo>
                    <a:lnTo>
                      <a:pt x="540268" y="162451"/>
                    </a:lnTo>
                    <a:cubicBezTo>
                      <a:pt x="536238" y="146163"/>
                      <a:pt x="529584" y="130473"/>
                      <a:pt x="520388" y="116476"/>
                    </a:cubicBezTo>
                    <a:cubicBezTo>
                      <a:pt x="511274" y="102438"/>
                      <a:pt x="499929" y="89927"/>
                      <a:pt x="486890" y="79481"/>
                    </a:cubicBezTo>
                    <a:cubicBezTo>
                      <a:pt x="460852" y="58548"/>
                      <a:pt x="427271" y="46636"/>
                      <a:pt x="393938" y="46120"/>
                    </a:cubicBezTo>
                    <a:lnTo>
                      <a:pt x="153769" y="46016"/>
                    </a:lnTo>
                    <a:cubicBezTo>
                      <a:pt x="137113" y="46140"/>
                      <a:pt x="120333" y="48865"/>
                      <a:pt x="104400" y="54212"/>
                    </a:cubicBezTo>
                    <a:cubicBezTo>
                      <a:pt x="88426" y="59497"/>
                      <a:pt x="73485" y="67631"/>
                      <a:pt x="60259" y="77809"/>
                    </a:cubicBezTo>
                    <a:cubicBezTo>
                      <a:pt x="46992" y="88007"/>
                      <a:pt x="35420" y="100291"/>
                      <a:pt x="26017" y="114143"/>
                    </a:cubicBezTo>
                    <a:cubicBezTo>
                      <a:pt x="16718" y="128057"/>
                      <a:pt x="9733" y="143561"/>
                      <a:pt x="5352" y="159767"/>
                    </a:cubicBezTo>
                    <a:lnTo>
                      <a:pt x="3802" y="165857"/>
                    </a:lnTo>
                    <a:lnTo>
                      <a:pt x="3079" y="168933"/>
                    </a:lnTo>
                    <a:lnTo>
                      <a:pt x="2562" y="172030"/>
                    </a:lnTo>
                    <a:cubicBezTo>
                      <a:pt x="1901" y="176159"/>
                      <a:pt x="1240" y="180308"/>
                      <a:pt x="765" y="184458"/>
                    </a:cubicBezTo>
                    <a:cubicBezTo>
                      <a:pt x="475" y="188607"/>
                      <a:pt x="248" y="192778"/>
                      <a:pt x="83" y="196927"/>
                    </a:cubicBezTo>
                    <a:lnTo>
                      <a:pt x="0" y="199879"/>
                    </a:lnTo>
                    <a:lnTo>
                      <a:pt x="0" y="1108523"/>
                    </a:lnTo>
                    <a:cubicBezTo>
                      <a:pt x="124" y="1112652"/>
                      <a:pt x="310" y="1116843"/>
                      <a:pt x="579" y="1120992"/>
                    </a:cubicBezTo>
                    <a:lnTo>
                      <a:pt x="785" y="1124110"/>
                    </a:lnTo>
                    <a:lnTo>
                      <a:pt x="1199" y="1127206"/>
                    </a:lnTo>
                    <a:lnTo>
                      <a:pt x="2129" y="1133420"/>
                    </a:lnTo>
                    <a:cubicBezTo>
                      <a:pt x="2459" y="1135505"/>
                      <a:pt x="2790" y="1137570"/>
                      <a:pt x="3162" y="1139614"/>
                    </a:cubicBezTo>
                    <a:lnTo>
                      <a:pt x="4670" y="1145745"/>
                    </a:lnTo>
                    <a:cubicBezTo>
                      <a:pt x="8700" y="1162013"/>
                      <a:pt x="15354" y="1177723"/>
                      <a:pt x="24550" y="1191700"/>
                    </a:cubicBezTo>
                    <a:cubicBezTo>
                      <a:pt x="33663" y="1205738"/>
                      <a:pt x="45009" y="1218248"/>
                      <a:pt x="58048" y="1228694"/>
                    </a:cubicBezTo>
                    <a:cubicBezTo>
                      <a:pt x="84107" y="1249628"/>
                      <a:pt x="117667" y="1261560"/>
                      <a:pt x="151020" y="1262076"/>
                    </a:cubicBezTo>
                    <a:lnTo>
                      <a:pt x="391169" y="1262159"/>
                    </a:lnTo>
                    <a:cubicBezTo>
                      <a:pt x="407825" y="1262035"/>
                      <a:pt x="424605" y="1259331"/>
                      <a:pt x="440538" y="1253963"/>
                    </a:cubicBezTo>
                    <a:cubicBezTo>
                      <a:pt x="456512" y="1248699"/>
                      <a:pt x="471453" y="1240565"/>
                      <a:pt x="484699" y="1230366"/>
                    </a:cubicBezTo>
                    <a:cubicBezTo>
                      <a:pt x="497945" y="1220189"/>
                      <a:pt x="509518" y="1207905"/>
                      <a:pt x="518920" y="1194053"/>
                    </a:cubicBezTo>
                    <a:cubicBezTo>
                      <a:pt x="528240" y="1180139"/>
                      <a:pt x="535205" y="1164614"/>
                      <a:pt x="539586" y="1148429"/>
                    </a:cubicBezTo>
                    <a:lnTo>
                      <a:pt x="541135" y="1142318"/>
                    </a:lnTo>
                    <a:lnTo>
                      <a:pt x="541859" y="1139263"/>
                    </a:lnTo>
                    <a:lnTo>
                      <a:pt x="542375" y="1136166"/>
                    </a:lnTo>
                    <a:cubicBezTo>
                      <a:pt x="543037" y="1132037"/>
                      <a:pt x="543698" y="1127888"/>
                      <a:pt x="544173" y="1123738"/>
                    </a:cubicBezTo>
                    <a:cubicBezTo>
                      <a:pt x="544463" y="1119589"/>
                      <a:pt x="544690" y="1115418"/>
                      <a:pt x="544855" y="1111248"/>
                    </a:cubicBezTo>
                    <a:lnTo>
                      <a:pt x="544938" y="1108296"/>
                    </a:lnTo>
                    <a:lnTo>
                      <a:pt x="544938" y="674846"/>
                    </a:lnTo>
                    <a:lnTo>
                      <a:pt x="674714" y="836409"/>
                    </a:lnTo>
                    <a:lnTo>
                      <a:pt x="674714" y="1316082"/>
                    </a:lnTo>
                    <a:cubicBezTo>
                      <a:pt x="674838" y="1320211"/>
                      <a:pt x="675045" y="1324402"/>
                      <a:pt x="675293" y="1328551"/>
                    </a:cubicBezTo>
                    <a:lnTo>
                      <a:pt x="675500" y="1331648"/>
                    </a:lnTo>
                    <a:lnTo>
                      <a:pt x="675934" y="1334765"/>
                    </a:lnTo>
                    <a:lnTo>
                      <a:pt x="676843" y="1340979"/>
                    </a:lnTo>
                    <a:cubicBezTo>
                      <a:pt x="677174" y="1343044"/>
                      <a:pt x="677504" y="1345108"/>
                      <a:pt x="677897" y="1347173"/>
                    </a:cubicBezTo>
                    <a:lnTo>
                      <a:pt x="679385" y="1353283"/>
                    </a:lnTo>
                    <a:cubicBezTo>
                      <a:pt x="683414" y="1369572"/>
                      <a:pt x="690089" y="1385262"/>
                      <a:pt x="699265" y="1399259"/>
                    </a:cubicBezTo>
                    <a:cubicBezTo>
                      <a:pt x="708378" y="1413297"/>
                      <a:pt x="719723" y="1425807"/>
                      <a:pt x="732783" y="1436253"/>
                    </a:cubicBezTo>
                    <a:cubicBezTo>
                      <a:pt x="758821" y="1457187"/>
                      <a:pt x="792381" y="1469099"/>
                      <a:pt x="825735" y="1469615"/>
                    </a:cubicBezTo>
                    <a:lnTo>
                      <a:pt x="838940" y="1469615"/>
                    </a:lnTo>
                    <a:lnTo>
                      <a:pt x="838940" y="1956699"/>
                    </a:lnTo>
                    <a:cubicBezTo>
                      <a:pt x="838940" y="2017332"/>
                      <a:pt x="888309" y="2066631"/>
                      <a:pt x="948981" y="2066631"/>
                    </a:cubicBezTo>
                    <a:lnTo>
                      <a:pt x="951916" y="2066631"/>
                    </a:lnTo>
                    <a:cubicBezTo>
                      <a:pt x="1012588" y="2066631"/>
                      <a:pt x="1061957" y="2017332"/>
                      <a:pt x="1061957" y="1956699"/>
                    </a:cubicBezTo>
                    <a:lnTo>
                      <a:pt x="1061957" y="1469718"/>
                    </a:lnTo>
                    <a:lnTo>
                      <a:pt x="1065904" y="1469718"/>
                    </a:lnTo>
                    <a:cubicBezTo>
                      <a:pt x="1074232" y="1469656"/>
                      <a:pt x="1082581" y="1468954"/>
                      <a:pt x="1090847" y="1467571"/>
                    </a:cubicBezTo>
                    <a:cubicBezTo>
                      <a:pt x="1099113" y="1466208"/>
                      <a:pt x="1107296" y="1464206"/>
                      <a:pt x="1115252" y="1461522"/>
                    </a:cubicBezTo>
                    <a:cubicBezTo>
                      <a:pt x="1131226" y="1456258"/>
                      <a:pt x="1146188" y="1448124"/>
                      <a:pt x="1159414" y="1437926"/>
                    </a:cubicBezTo>
                    <a:cubicBezTo>
                      <a:pt x="1172660" y="1427748"/>
                      <a:pt x="1184253" y="1415444"/>
                      <a:pt x="1193635" y="1401591"/>
                    </a:cubicBezTo>
                    <a:cubicBezTo>
                      <a:pt x="1202955" y="1387677"/>
                      <a:pt x="1209919" y="1372173"/>
                      <a:pt x="1214300" y="1355967"/>
                    </a:cubicBezTo>
                    <a:lnTo>
                      <a:pt x="1215850" y="1349877"/>
                    </a:lnTo>
                    <a:lnTo>
                      <a:pt x="1216573" y="1346801"/>
                    </a:lnTo>
                    <a:lnTo>
                      <a:pt x="1217090" y="1343704"/>
                    </a:lnTo>
                    <a:cubicBezTo>
                      <a:pt x="1217772" y="1339576"/>
                      <a:pt x="1218412" y="1335426"/>
                      <a:pt x="1218908" y="1331276"/>
                    </a:cubicBezTo>
                    <a:cubicBezTo>
                      <a:pt x="1219198" y="1327127"/>
                      <a:pt x="1219425" y="1322977"/>
                      <a:pt x="1219570" y="1318807"/>
                    </a:cubicBezTo>
                    <a:lnTo>
                      <a:pt x="1219673" y="1315855"/>
                    </a:lnTo>
                    <a:lnTo>
                      <a:pt x="1219673" y="840290"/>
                    </a:lnTo>
                    <a:lnTo>
                      <a:pt x="1348272" y="680172"/>
                    </a:lnTo>
                    <a:lnTo>
                      <a:pt x="1348272" y="1108523"/>
                    </a:lnTo>
                    <a:cubicBezTo>
                      <a:pt x="1348396" y="1112652"/>
                      <a:pt x="1348602" y="1116843"/>
                      <a:pt x="1348850" y="1120992"/>
                    </a:cubicBezTo>
                    <a:lnTo>
                      <a:pt x="1349078" y="1124110"/>
                    </a:lnTo>
                    <a:lnTo>
                      <a:pt x="1349491" y="1127206"/>
                    </a:lnTo>
                    <a:lnTo>
                      <a:pt x="1350400" y="1133420"/>
                    </a:lnTo>
                    <a:cubicBezTo>
                      <a:pt x="1350731" y="1135505"/>
                      <a:pt x="1351061" y="1137570"/>
                      <a:pt x="1351454" y="1139614"/>
                    </a:cubicBezTo>
                    <a:lnTo>
                      <a:pt x="1352942" y="1145745"/>
                    </a:lnTo>
                    <a:cubicBezTo>
                      <a:pt x="1356972" y="1162013"/>
                      <a:pt x="1363646" y="1177723"/>
                      <a:pt x="1372842" y="1191700"/>
                    </a:cubicBezTo>
                    <a:cubicBezTo>
                      <a:pt x="1381956" y="1205738"/>
                      <a:pt x="1393280" y="1218248"/>
                      <a:pt x="1406340" y="1228694"/>
                    </a:cubicBezTo>
                    <a:cubicBezTo>
                      <a:pt x="1432378" y="1249628"/>
                      <a:pt x="1465938" y="1261560"/>
                      <a:pt x="1499292" y="1262076"/>
                    </a:cubicBezTo>
                    <a:lnTo>
                      <a:pt x="1739461" y="1262159"/>
                    </a:lnTo>
                    <a:cubicBezTo>
                      <a:pt x="1756097" y="1262035"/>
                      <a:pt x="1772897" y="1259331"/>
                      <a:pt x="1788809" y="1253963"/>
                    </a:cubicBezTo>
                    <a:cubicBezTo>
                      <a:pt x="1804784" y="1248699"/>
                      <a:pt x="1819745" y="1240565"/>
                      <a:pt x="1832971" y="1230366"/>
                    </a:cubicBezTo>
                    <a:cubicBezTo>
                      <a:pt x="1846217" y="1220189"/>
                      <a:pt x="1857810" y="1207905"/>
                      <a:pt x="1867213" y="1194053"/>
                    </a:cubicBezTo>
                    <a:cubicBezTo>
                      <a:pt x="1876512" y="1180139"/>
                      <a:pt x="1883497" y="1164614"/>
                      <a:pt x="1887857" y="1148429"/>
                    </a:cubicBezTo>
                    <a:lnTo>
                      <a:pt x="1889407" y="1142318"/>
                    </a:lnTo>
                    <a:lnTo>
                      <a:pt x="1890130" y="1139263"/>
                    </a:lnTo>
                    <a:lnTo>
                      <a:pt x="1890647" y="1136166"/>
                    </a:lnTo>
                    <a:cubicBezTo>
                      <a:pt x="1891329" y="1132037"/>
                      <a:pt x="1891969" y="1127888"/>
                      <a:pt x="1892465" y="1123738"/>
                    </a:cubicBezTo>
                    <a:cubicBezTo>
                      <a:pt x="1892755" y="1119589"/>
                      <a:pt x="1892982" y="1115418"/>
                      <a:pt x="1893127" y="1111248"/>
                    </a:cubicBezTo>
                    <a:lnTo>
                      <a:pt x="1893230" y="1108296"/>
                    </a:lnTo>
                    <a:lnTo>
                      <a:pt x="1893230" y="199652"/>
                    </a:lnTo>
                    <a:cubicBezTo>
                      <a:pt x="1893106" y="195544"/>
                      <a:pt x="1892899" y="191353"/>
                      <a:pt x="1892651" y="187204"/>
                    </a:cubicBezTo>
                    <a:close/>
                    <a:moveTo>
                      <a:pt x="502905" y="1108296"/>
                    </a:moveTo>
                    <a:lnTo>
                      <a:pt x="502822" y="1110526"/>
                    </a:lnTo>
                    <a:lnTo>
                      <a:pt x="502347" y="1119609"/>
                    </a:lnTo>
                    <a:cubicBezTo>
                      <a:pt x="501975" y="1122623"/>
                      <a:pt x="501479" y="1125637"/>
                      <a:pt x="501025" y="1128631"/>
                    </a:cubicBezTo>
                    <a:lnTo>
                      <a:pt x="500673" y="1130881"/>
                    </a:lnTo>
                    <a:lnTo>
                      <a:pt x="500115" y="1133111"/>
                    </a:lnTo>
                    <a:lnTo>
                      <a:pt x="498999" y="1137529"/>
                    </a:lnTo>
                    <a:cubicBezTo>
                      <a:pt x="495817" y="1149275"/>
                      <a:pt x="490775" y="1160526"/>
                      <a:pt x="484017" y="1170663"/>
                    </a:cubicBezTo>
                    <a:cubicBezTo>
                      <a:pt x="477177" y="1180717"/>
                      <a:pt x="468725" y="1189656"/>
                      <a:pt x="459095" y="1197067"/>
                    </a:cubicBezTo>
                    <a:cubicBezTo>
                      <a:pt x="439939" y="1212138"/>
                      <a:pt x="415430" y="1219982"/>
                      <a:pt x="391169" y="1220168"/>
                    </a:cubicBezTo>
                    <a:lnTo>
                      <a:pt x="151764" y="1220086"/>
                    </a:lnTo>
                    <a:lnTo>
                      <a:pt x="142651" y="1219611"/>
                    </a:lnTo>
                    <a:cubicBezTo>
                      <a:pt x="139634" y="1219239"/>
                      <a:pt x="136637" y="1218744"/>
                      <a:pt x="133620" y="1218290"/>
                    </a:cubicBezTo>
                    <a:lnTo>
                      <a:pt x="131368" y="1217918"/>
                    </a:lnTo>
                    <a:lnTo>
                      <a:pt x="129157" y="1217381"/>
                    </a:lnTo>
                    <a:lnTo>
                      <a:pt x="124714" y="1216246"/>
                    </a:lnTo>
                    <a:cubicBezTo>
                      <a:pt x="123246" y="1215854"/>
                      <a:pt x="121759" y="1215503"/>
                      <a:pt x="120312" y="1215069"/>
                    </a:cubicBezTo>
                    <a:lnTo>
                      <a:pt x="116014" y="1213521"/>
                    </a:lnTo>
                    <a:cubicBezTo>
                      <a:pt x="104565" y="1209392"/>
                      <a:pt x="93675" y="1203529"/>
                      <a:pt x="84231" y="1195849"/>
                    </a:cubicBezTo>
                    <a:cubicBezTo>
                      <a:pt x="65302" y="1180675"/>
                      <a:pt x="51105" y="1159350"/>
                      <a:pt x="45442" y="1135588"/>
                    </a:cubicBezTo>
                    <a:lnTo>
                      <a:pt x="44327" y="1131149"/>
                    </a:lnTo>
                    <a:lnTo>
                      <a:pt x="43603" y="1126649"/>
                    </a:lnTo>
                    <a:lnTo>
                      <a:pt x="42921" y="1122148"/>
                    </a:lnTo>
                    <a:lnTo>
                      <a:pt x="42611" y="1119878"/>
                    </a:lnTo>
                    <a:lnTo>
                      <a:pt x="42467" y="1117607"/>
                    </a:lnTo>
                    <a:lnTo>
                      <a:pt x="42033" y="1108523"/>
                    </a:lnTo>
                    <a:lnTo>
                      <a:pt x="42033" y="199879"/>
                    </a:lnTo>
                    <a:lnTo>
                      <a:pt x="42115" y="197670"/>
                    </a:lnTo>
                    <a:lnTo>
                      <a:pt x="42591" y="188566"/>
                    </a:lnTo>
                    <a:cubicBezTo>
                      <a:pt x="42963" y="185552"/>
                      <a:pt x="43459" y="182559"/>
                      <a:pt x="43913" y="179545"/>
                    </a:cubicBezTo>
                    <a:lnTo>
                      <a:pt x="44285" y="177294"/>
                    </a:lnTo>
                    <a:lnTo>
                      <a:pt x="44823" y="175085"/>
                    </a:lnTo>
                    <a:lnTo>
                      <a:pt x="45959" y="170647"/>
                    </a:lnTo>
                    <a:cubicBezTo>
                      <a:pt x="49142" y="158900"/>
                      <a:pt x="54163" y="147649"/>
                      <a:pt x="60921" y="137533"/>
                    </a:cubicBezTo>
                    <a:cubicBezTo>
                      <a:pt x="67781" y="127479"/>
                      <a:pt x="76213" y="118540"/>
                      <a:pt x="85843" y="111129"/>
                    </a:cubicBezTo>
                    <a:cubicBezTo>
                      <a:pt x="104999" y="96038"/>
                      <a:pt x="129508" y="88214"/>
                      <a:pt x="153769" y="88007"/>
                    </a:cubicBezTo>
                    <a:lnTo>
                      <a:pt x="393174" y="88090"/>
                    </a:lnTo>
                    <a:lnTo>
                      <a:pt x="402287" y="88565"/>
                    </a:lnTo>
                    <a:cubicBezTo>
                      <a:pt x="405304" y="88957"/>
                      <a:pt x="408300" y="89432"/>
                      <a:pt x="411317" y="89906"/>
                    </a:cubicBezTo>
                    <a:lnTo>
                      <a:pt x="413570" y="90257"/>
                    </a:lnTo>
                    <a:lnTo>
                      <a:pt x="415781" y="90815"/>
                    </a:lnTo>
                    <a:lnTo>
                      <a:pt x="420224" y="91930"/>
                    </a:lnTo>
                    <a:cubicBezTo>
                      <a:pt x="421691" y="92322"/>
                      <a:pt x="423179" y="92693"/>
                      <a:pt x="424626" y="93127"/>
                    </a:cubicBezTo>
                    <a:lnTo>
                      <a:pt x="428924" y="94675"/>
                    </a:lnTo>
                    <a:cubicBezTo>
                      <a:pt x="440373" y="98784"/>
                      <a:pt x="451263" y="104647"/>
                      <a:pt x="460707" y="112326"/>
                    </a:cubicBezTo>
                    <a:cubicBezTo>
                      <a:pt x="479636" y="127500"/>
                      <a:pt x="493833" y="148846"/>
                      <a:pt x="499495" y="172608"/>
                    </a:cubicBezTo>
                    <a:lnTo>
                      <a:pt x="500611" y="177026"/>
                    </a:lnTo>
                    <a:lnTo>
                      <a:pt x="501335" y="181526"/>
                    </a:lnTo>
                    <a:lnTo>
                      <a:pt x="502016" y="186048"/>
                    </a:lnTo>
                    <a:lnTo>
                      <a:pt x="502347" y="188298"/>
                    </a:lnTo>
                    <a:lnTo>
                      <a:pt x="502471" y="190569"/>
                    </a:lnTo>
                    <a:lnTo>
                      <a:pt x="502905" y="199652"/>
                    </a:lnTo>
                    <a:lnTo>
                      <a:pt x="502905" y="1108296"/>
                    </a:lnTo>
                    <a:close/>
                    <a:moveTo>
                      <a:pt x="674714" y="770450"/>
                    </a:moveTo>
                    <a:lnTo>
                      <a:pt x="544938" y="608887"/>
                    </a:lnTo>
                    <a:lnTo>
                      <a:pt x="544938" y="548543"/>
                    </a:lnTo>
                    <a:lnTo>
                      <a:pt x="674714" y="710086"/>
                    </a:lnTo>
                    <a:lnTo>
                      <a:pt x="674714" y="770450"/>
                    </a:lnTo>
                    <a:close/>
                    <a:moveTo>
                      <a:pt x="880270" y="109932"/>
                    </a:moveTo>
                    <a:cubicBezTo>
                      <a:pt x="880270" y="72090"/>
                      <a:pt x="911102" y="41289"/>
                      <a:pt x="948981" y="41289"/>
                    </a:cubicBezTo>
                    <a:lnTo>
                      <a:pt x="951916" y="41289"/>
                    </a:lnTo>
                    <a:cubicBezTo>
                      <a:pt x="989795" y="41289"/>
                      <a:pt x="1020627" y="72090"/>
                      <a:pt x="1020627" y="109932"/>
                    </a:cubicBezTo>
                    <a:lnTo>
                      <a:pt x="1020627" y="253637"/>
                    </a:lnTo>
                    <a:lnTo>
                      <a:pt x="880270" y="253575"/>
                    </a:lnTo>
                    <a:lnTo>
                      <a:pt x="880270" y="109932"/>
                    </a:lnTo>
                    <a:close/>
                    <a:moveTo>
                      <a:pt x="1020627" y="1956699"/>
                    </a:moveTo>
                    <a:cubicBezTo>
                      <a:pt x="1020627" y="1994541"/>
                      <a:pt x="989795" y="2025342"/>
                      <a:pt x="951916" y="2025342"/>
                    </a:cubicBezTo>
                    <a:lnTo>
                      <a:pt x="948981" y="2025342"/>
                    </a:lnTo>
                    <a:cubicBezTo>
                      <a:pt x="911102" y="2025342"/>
                      <a:pt x="880270" y="1994541"/>
                      <a:pt x="880270" y="1956699"/>
                    </a:cubicBezTo>
                    <a:lnTo>
                      <a:pt x="880270" y="1469635"/>
                    </a:lnTo>
                    <a:lnTo>
                      <a:pt x="1020627" y="1469697"/>
                    </a:lnTo>
                    <a:lnTo>
                      <a:pt x="1020627" y="1956699"/>
                    </a:lnTo>
                    <a:close/>
                    <a:moveTo>
                      <a:pt x="1177640" y="1315855"/>
                    </a:moveTo>
                    <a:lnTo>
                      <a:pt x="1177558" y="1318064"/>
                    </a:lnTo>
                    <a:lnTo>
                      <a:pt x="1177082" y="1327168"/>
                    </a:lnTo>
                    <a:cubicBezTo>
                      <a:pt x="1176710" y="1330182"/>
                      <a:pt x="1176214" y="1333176"/>
                      <a:pt x="1175739" y="1336190"/>
                    </a:cubicBezTo>
                    <a:lnTo>
                      <a:pt x="1175388" y="1338440"/>
                    </a:lnTo>
                    <a:lnTo>
                      <a:pt x="1174850" y="1340649"/>
                    </a:lnTo>
                    <a:lnTo>
                      <a:pt x="1173714" y="1345088"/>
                    </a:lnTo>
                    <a:cubicBezTo>
                      <a:pt x="1170531" y="1356834"/>
                      <a:pt x="1165510" y="1368086"/>
                      <a:pt x="1158732" y="1378201"/>
                    </a:cubicBezTo>
                    <a:cubicBezTo>
                      <a:pt x="1151891" y="1388276"/>
                      <a:pt x="1143460" y="1397194"/>
                      <a:pt x="1133830" y="1404605"/>
                    </a:cubicBezTo>
                    <a:cubicBezTo>
                      <a:pt x="1114674" y="1419697"/>
                      <a:pt x="1090144" y="1427521"/>
                      <a:pt x="1065904" y="1427727"/>
                    </a:cubicBezTo>
                    <a:lnTo>
                      <a:pt x="1061957" y="1427727"/>
                    </a:lnTo>
                    <a:lnTo>
                      <a:pt x="1020627" y="1427686"/>
                    </a:lnTo>
                    <a:lnTo>
                      <a:pt x="880270" y="1427645"/>
                    </a:lnTo>
                    <a:lnTo>
                      <a:pt x="826479" y="1427645"/>
                    </a:lnTo>
                    <a:lnTo>
                      <a:pt x="817386" y="1427170"/>
                    </a:lnTo>
                    <a:cubicBezTo>
                      <a:pt x="814369" y="1426778"/>
                      <a:pt x="811352" y="1426303"/>
                      <a:pt x="808355" y="1425828"/>
                    </a:cubicBezTo>
                    <a:lnTo>
                      <a:pt x="806103" y="1425477"/>
                    </a:lnTo>
                    <a:lnTo>
                      <a:pt x="803871" y="1424940"/>
                    </a:lnTo>
                    <a:lnTo>
                      <a:pt x="799449" y="1423805"/>
                    </a:lnTo>
                    <a:cubicBezTo>
                      <a:pt x="797982" y="1423413"/>
                      <a:pt x="796494" y="1423041"/>
                      <a:pt x="795026" y="1422628"/>
                    </a:cubicBezTo>
                    <a:lnTo>
                      <a:pt x="790728" y="1421080"/>
                    </a:lnTo>
                    <a:cubicBezTo>
                      <a:pt x="779280" y="1416951"/>
                      <a:pt x="768389" y="1411088"/>
                      <a:pt x="758966" y="1403408"/>
                    </a:cubicBezTo>
                    <a:cubicBezTo>
                      <a:pt x="740037" y="1388234"/>
                      <a:pt x="725840" y="1366888"/>
                      <a:pt x="720178" y="1343126"/>
                    </a:cubicBezTo>
                    <a:lnTo>
                      <a:pt x="719062" y="1338709"/>
                    </a:lnTo>
                    <a:lnTo>
                      <a:pt x="718338" y="1334208"/>
                    </a:lnTo>
                    <a:lnTo>
                      <a:pt x="717656" y="1329687"/>
                    </a:lnTo>
                    <a:lnTo>
                      <a:pt x="717326" y="1327437"/>
                    </a:lnTo>
                    <a:lnTo>
                      <a:pt x="717202" y="1325166"/>
                    </a:lnTo>
                    <a:lnTo>
                      <a:pt x="716747" y="1316082"/>
                    </a:lnTo>
                    <a:lnTo>
                      <a:pt x="716747" y="407438"/>
                    </a:lnTo>
                    <a:lnTo>
                      <a:pt x="716830" y="405209"/>
                    </a:lnTo>
                    <a:lnTo>
                      <a:pt x="717305" y="396125"/>
                    </a:lnTo>
                    <a:cubicBezTo>
                      <a:pt x="717677" y="393111"/>
                      <a:pt x="718173" y="390097"/>
                      <a:pt x="718648" y="387104"/>
                    </a:cubicBezTo>
                    <a:lnTo>
                      <a:pt x="719000" y="384853"/>
                    </a:lnTo>
                    <a:lnTo>
                      <a:pt x="719537" y="382624"/>
                    </a:lnTo>
                    <a:lnTo>
                      <a:pt x="720674" y="378206"/>
                    </a:lnTo>
                    <a:cubicBezTo>
                      <a:pt x="723856" y="366459"/>
                      <a:pt x="728878" y="355208"/>
                      <a:pt x="735656" y="345072"/>
                    </a:cubicBezTo>
                    <a:cubicBezTo>
                      <a:pt x="742496" y="335018"/>
                      <a:pt x="750927" y="326079"/>
                      <a:pt x="760557" y="318667"/>
                    </a:cubicBezTo>
                    <a:cubicBezTo>
                      <a:pt x="779714" y="303597"/>
                      <a:pt x="804243" y="295752"/>
                      <a:pt x="828483" y="295566"/>
                    </a:cubicBezTo>
                    <a:lnTo>
                      <a:pt x="880270" y="295566"/>
                    </a:lnTo>
                    <a:lnTo>
                      <a:pt x="1020627" y="295649"/>
                    </a:lnTo>
                    <a:lnTo>
                      <a:pt x="1067909" y="295649"/>
                    </a:lnTo>
                    <a:lnTo>
                      <a:pt x="1077001" y="296124"/>
                    </a:lnTo>
                    <a:cubicBezTo>
                      <a:pt x="1080018" y="296495"/>
                      <a:pt x="1083036" y="296991"/>
                      <a:pt x="1086032" y="297445"/>
                    </a:cubicBezTo>
                    <a:lnTo>
                      <a:pt x="1088284" y="297816"/>
                    </a:lnTo>
                    <a:lnTo>
                      <a:pt x="1090516" y="298353"/>
                    </a:lnTo>
                    <a:lnTo>
                      <a:pt x="1094939" y="299489"/>
                    </a:lnTo>
                    <a:cubicBezTo>
                      <a:pt x="1096406" y="299881"/>
                      <a:pt x="1097894" y="300232"/>
                      <a:pt x="1099361" y="300665"/>
                    </a:cubicBezTo>
                    <a:lnTo>
                      <a:pt x="1103659" y="302214"/>
                    </a:lnTo>
                    <a:cubicBezTo>
                      <a:pt x="1115108" y="306343"/>
                      <a:pt x="1125998" y="312206"/>
                      <a:pt x="1135421" y="319885"/>
                    </a:cubicBezTo>
                    <a:cubicBezTo>
                      <a:pt x="1154351" y="335059"/>
                      <a:pt x="1168547" y="356385"/>
                      <a:pt x="1174210" y="380146"/>
                    </a:cubicBezTo>
                    <a:lnTo>
                      <a:pt x="1175326" y="384585"/>
                    </a:lnTo>
                    <a:lnTo>
                      <a:pt x="1176049" y="389086"/>
                    </a:lnTo>
                    <a:lnTo>
                      <a:pt x="1176731" y="393586"/>
                    </a:lnTo>
                    <a:lnTo>
                      <a:pt x="1177062" y="395857"/>
                    </a:lnTo>
                    <a:lnTo>
                      <a:pt x="1177186" y="398128"/>
                    </a:lnTo>
                    <a:lnTo>
                      <a:pt x="1177640" y="407211"/>
                    </a:lnTo>
                    <a:lnTo>
                      <a:pt x="1177640" y="1315855"/>
                    </a:lnTo>
                    <a:close/>
                    <a:moveTo>
                      <a:pt x="1348272" y="614213"/>
                    </a:moveTo>
                    <a:lnTo>
                      <a:pt x="1219673" y="774311"/>
                    </a:lnTo>
                    <a:lnTo>
                      <a:pt x="1219673" y="713967"/>
                    </a:lnTo>
                    <a:lnTo>
                      <a:pt x="1348272" y="553849"/>
                    </a:lnTo>
                    <a:lnTo>
                      <a:pt x="1348272" y="614213"/>
                    </a:lnTo>
                    <a:close/>
                    <a:moveTo>
                      <a:pt x="1851197" y="1108296"/>
                    </a:moveTo>
                    <a:lnTo>
                      <a:pt x="1851115" y="1110526"/>
                    </a:lnTo>
                    <a:lnTo>
                      <a:pt x="1850639" y="1119609"/>
                    </a:lnTo>
                    <a:cubicBezTo>
                      <a:pt x="1850267" y="1122623"/>
                      <a:pt x="1849771" y="1125637"/>
                      <a:pt x="1849317" y="1128631"/>
                    </a:cubicBezTo>
                    <a:lnTo>
                      <a:pt x="1848945" y="1130881"/>
                    </a:lnTo>
                    <a:lnTo>
                      <a:pt x="1848408" y="1133111"/>
                    </a:lnTo>
                    <a:lnTo>
                      <a:pt x="1847271" y="1137529"/>
                    </a:lnTo>
                    <a:cubicBezTo>
                      <a:pt x="1844089" y="1149275"/>
                      <a:pt x="1839067" y="1160526"/>
                      <a:pt x="1832289" y="1170663"/>
                    </a:cubicBezTo>
                    <a:cubicBezTo>
                      <a:pt x="1825449" y="1180717"/>
                      <a:pt x="1817017" y="1189656"/>
                      <a:pt x="1807387" y="1197067"/>
                    </a:cubicBezTo>
                    <a:cubicBezTo>
                      <a:pt x="1788231" y="1212138"/>
                      <a:pt x="1763701" y="1219982"/>
                      <a:pt x="1739461" y="1220168"/>
                    </a:cubicBezTo>
                    <a:lnTo>
                      <a:pt x="1500036" y="1220086"/>
                    </a:lnTo>
                    <a:lnTo>
                      <a:pt x="1490943" y="1219611"/>
                    </a:lnTo>
                    <a:cubicBezTo>
                      <a:pt x="1487926" y="1219239"/>
                      <a:pt x="1484909" y="1218744"/>
                      <a:pt x="1481913" y="1218290"/>
                    </a:cubicBezTo>
                    <a:lnTo>
                      <a:pt x="1479660" y="1217918"/>
                    </a:lnTo>
                    <a:lnTo>
                      <a:pt x="1477428" y="1217381"/>
                    </a:lnTo>
                    <a:lnTo>
                      <a:pt x="1473006" y="1216246"/>
                    </a:lnTo>
                    <a:cubicBezTo>
                      <a:pt x="1471539" y="1215854"/>
                      <a:pt x="1470051" y="1215503"/>
                      <a:pt x="1468584" y="1215069"/>
                    </a:cubicBezTo>
                    <a:lnTo>
                      <a:pt x="1464285" y="1213521"/>
                    </a:lnTo>
                    <a:cubicBezTo>
                      <a:pt x="1452837" y="1209392"/>
                      <a:pt x="1441946" y="1203529"/>
                      <a:pt x="1432523" y="1195849"/>
                    </a:cubicBezTo>
                    <a:cubicBezTo>
                      <a:pt x="1413594" y="1180675"/>
                      <a:pt x="1399397" y="1159350"/>
                      <a:pt x="1393735" y="1135588"/>
                    </a:cubicBezTo>
                    <a:lnTo>
                      <a:pt x="1392619" y="1131149"/>
                    </a:lnTo>
                    <a:lnTo>
                      <a:pt x="1391896" y="1126649"/>
                    </a:lnTo>
                    <a:lnTo>
                      <a:pt x="1391214" y="1122148"/>
                    </a:lnTo>
                    <a:lnTo>
                      <a:pt x="1390883" y="1119878"/>
                    </a:lnTo>
                    <a:lnTo>
                      <a:pt x="1390759" y="1117607"/>
                    </a:lnTo>
                    <a:lnTo>
                      <a:pt x="1390304" y="1108523"/>
                    </a:lnTo>
                    <a:lnTo>
                      <a:pt x="1390304" y="199879"/>
                    </a:lnTo>
                    <a:lnTo>
                      <a:pt x="1390387" y="197670"/>
                    </a:lnTo>
                    <a:lnTo>
                      <a:pt x="1390862" y="188566"/>
                    </a:lnTo>
                    <a:cubicBezTo>
                      <a:pt x="1391234" y="185552"/>
                      <a:pt x="1391730" y="182559"/>
                      <a:pt x="1392206" y="179545"/>
                    </a:cubicBezTo>
                    <a:lnTo>
                      <a:pt x="1392557" y="177294"/>
                    </a:lnTo>
                    <a:lnTo>
                      <a:pt x="1393094" y="175085"/>
                    </a:lnTo>
                    <a:lnTo>
                      <a:pt x="1394231" y="170647"/>
                    </a:lnTo>
                    <a:cubicBezTo>
                      <a:pt x="1397413" y="158900"/>
                      <a:pt x="1402455" y="147649"/>
                      <a:pt x="1409213" y="137533"/>
                    </a:cubicBezTo>
                    <a:cubicBezTo>
                      <a:pt x="1416053" y="127479"/>
                      <a:pt x="1424484" y="118540"/>
                      <a:pt x="1434114" y="111129"/>
                    </a:cubicBezTo>
                    <a:cubicBezTo>
                      <a:pt x="1453291" y="96038"/>
                      <a:pt x="1477800" y="88214"/>
                      <a:pt x="1502040" y="88007"/>
                    </a:cubicBezTo>
                    <a:lnTo>
                      <a:pt x="1741466" y="88090"/>
                    </a:lnTo>
                    <a:lnTo>
                      <a:pt x="1750558" y="88565"/>
                    </a:lnTo>
                    <a:cubicBezTo>
                      <a:pt x="1753576" y="88957"/>
                      <a:pt x="1756593" y="89432"/>
                      <a:pt x="1759589" y="89906"/>
                    </a:cubicBezTo>
                    <a:lnTo>
                      <a:pt x="1761862" y="90257"/>
                    </a:lnTo>
                    <a:lnTo>
                      <a:pt x="1764073" y="90815"/>
                    </a:lnTo>
                    <a:lnTo>
                      <a:pt x="1768496" y="91930"/>
                    </a:lnTo>
                    <a:cubicBezTo>
                      <a:pt x="1769984" y="92322"/>
                      <a:pt x="1771451" y="92693"/>
                      <a:pt x="1772918" y="93127"/>
                    </a:cubicBezTo>
                    <a:lnTo>
                      <a:pt x="1777216" y="94675"/>
                    </a:lnTo>
                    <a:cubicBezTo>
                      <a:pt x="1788665" y="98784"/>
                      <a:pt x="1799555" y="104647"/>
                      <a:pt x="1808979" y="112326"/>
                    </a:cubicBezTo>
                    <a:cubicBezTo>
                      <a:pt x="1827908" y="127500"/>
                      <a:pt x="1842105" y="148846"/>
                      <a:pt x="1847767" y="172608"/>
                    </a:cubicBezTo>
                    <a:lnTo>
                      <a:pt x="1848883" y="177026"/>
                    </a:lnTo>
                    <a:lnTo>
                      <a:pt x="1849627" y="181526"/>
                    </a:lnTo>
                    <a:lnTo>
                      <a:pt x="1850288" y="186048"/>
                    </a:lnTo>
                    <a:lnTo>
                      <a:pt x="1850619" y="188298"/>
                    </a:lnTo>
                    <a:lnTo>
                      <a:pt x="1850743" y="190569"/>
                    </a:lnTo>
                    <a:lnTo>
                      <a:pt x="1851197" y="199652"/>
                    </a:lnTo>
                    <a:lnTo>
                      <a:pt x="1851197" y="1108296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55" name="Freeform 89">
                <a:extLst>
                  <a:ext uri="{FF2B5EF4-FFF2-40B4-BE49-F238E27FC236}">
                    <a16:creationId xmlns:a16="http://schemas.microsoft.com/office/drawing/2014/main" id="{81B80735-F8D5-FDE2-B0A0-071AE47E12F5}"/>
                  </a:ext>
                </a:extLst>
              </p:cNvPr>
              <p:cNvSpPr/>
              <p:nvPr/>
            </p:nvSpPr>
            <p:spPr>
              <a:xfrm>
                <a:off x="3128533" y="3074729"/>
                <a:ext cx="379637" cy="1050966"/>
              </a:xfrm>
              <a:custGeom>
                <a:avLst/>
                <a:gdLst>
                  <a:gd name="connsiteX0" fmla="*/ 379328 w 379637"/>
                  <a:gd name="connsiteY0" fmla="*/ 65236 h 1050966"/>
                  <a:gd name="connsiteX1" fmla="*/ 379266 w 379637"/>
                  <a:gd name="connsiteY1" fmla="*/ 63771 h 1050966"/>
                  <a:gd name="connsiteX2" fmla="*/ 379039 w 379637"/>
                  <a:gd name="connsiteY2" fmla="*/ 62346 h 1050966"/>
                  <a:gd name="connsiteX3" fmla="*/ 378584 w 379637"/>
                  <a:gd name="connsiteY3" fmla="*/ 59477 h 1050966"/>
                  <a:gd name="connsiteX4" fmla="*/ 378171 w 379637"/>
                  <a:gd name="connsiteY4" fmla="*/ 56607 h 1050966"/>
                  <a:gd name="connsiteX5" fmla="*/ 377427 w 379637"/>
                  <a:gd name="connsiteY5" fmla="*/ 53820 h 1050966"/>
                  <a:gd name="connsiteX6" fmla="*/ 352732 w 379637"/>
                  <a:gd name="connsiteY6" fmla="*/ 15483 h 1050966"/>
                  <a:gd name="connsiteX7" fmla="*/ 332542 w 379637"/>
                  <a:gd name="connsiteY7" fmla="*/ 4253 h 1050966"/>
                  <a:gd name="connsiteX8" fmla="*/ 329835 w 379637"/>
                  <a:gd name="connsiteY8" fmla="*/ 3241 h 1050966"/>
                  <a:gd name="connsiteX9" fmla="*/ 327025 w 379637"/>
                  <a:gd name="connsiteY9" fmla="*/ 2539 h 1050966"/>
                  <a:gd name="connsiteX10" fmla="*/ 324214 w 379637"/>
                  <a:gd name="connsiteY10" fmla="*/ 1796 h 1050966"/>
                  <a:gd name="connsiteX11" fmla="*/ 322809 w 379637"/>
                  <a:gd name="connsiteY11" fmla="*/ 1424 h 1050966"/>
                  <a:gd name="connsiteX12" fmla="*/ 321362 w 379637"/>
                  <a:gd name="connsiteY12" fmla="*/ 1239 h 1050966"/>
                  <a:gd name="connsiteX13" fmla="*/ 315638 w 379637"/>
                  <a:gd name="connsiteY13" fmla="*/ 351 h 1050966"/>
                  <a:gd name="connsiteX14" fmla="*/ 309811 w 379637"/>
                  <a:gd name="connsiteY14" fmla="*/ 83 h 1050966"/>
                  <a:gd name="connsiteX15" fmla="*/ 304582 w 379637"/>
                  <a:gd name="connsiteY15" fmla="*/ 83 h 1050966"/>
                  <a:gd name="connsiteX16" fmla="*/ 263252 w 379637"/>
                  <a:gd name="connsiteY16" fmla="*/ 41 h 1050966"/>
                  <a:gd name="connsiteX17" fmla="*/ 122895 w 379637"/>
                  <a:gd name="connsiteY17" fmla="*/ 0 h 1050966"/>
                  <a:gd name="connsiteX18" fmla="*/ 71109 w 379637"/>
                  <a:gd name="connsiteY18" fmla="*/ 0 h 1050966"/>
                  <a:gd name="connsiteX19" fmla="*/ 27919 w 379637"/>
                  <a:gd name="connsiteY19" fmla="*/ 14719 h 1050966"/>
                  <a:gd name="connsiteX20" fmla="*/ 12006 w 379637"/>
                  <a:gd name="connsiteY20" fmla="*/ 31545 h 1050966"/>
                  <a:gd name="connsiteX21" fmla="*/ 2542 w 379637"/>
                  <a:gd name="connsiteY21" fmla="*/ 52581 h 1050966"/>
                  <a:gd name="connsiteX22" fmla="*/ 1798 w 379637"/>
                  <a:gd name="connsiteY22" fmla="*/ 55389 h 1050966"/>
                  <a:gd name="connsiteX23" fmla="*/ 1447 w 379637"/>
                  <a:gd name="connsiteY23" fmla="*/ 56772 h 1050966"/>
                  <a:gd name="connsiteX24" fmla="*/ 1240 w 379637"/>
                  <a:gd name="connsiteY24" fmla="*/ 58217 h 1050966"/>
                  <a:gd name="connsiteX25" fmla="*/ 372 w 379637"/>
                  <a:gd name="connsiteY25" fmla="*/ 63956 h 1050966"/>
                  <a:gd name="connsiteX26" fmla="*/ 83 w 379637"/>
                  <a:gd name="connsiteY26" fmla="*/ 69778 h 1050966"/>
                  <a:gd name="connsiteX27" fmla="*/ 0 w 379637"/>
                  <a:gd name="connsiteY27" fmla="*/ 71285 h 1050966"/>
                  <a:gd name="connsiteX28" fmla="*/ 0 w 379637"/>
                  <a:gd name="connsiteY28" fmla="*/ 979929 h 1050966"/>
                  <a:gd name="connsiteX29" fmla="*/ 310 w 379637"/>
                  <a:gd name="connsiteY29" fmla="*/ 985751 h 1050966"/>
                  <a:gd name="connsiteX30" fmla="*/ 372 w 379637"/>
                  <a:gd name="connsiteY30" fmla="*/ 987196 h 1050966"/>
                  <a:gd name="connsiteX31" fmla="*/ 599 w 379637"/>
                  <a:gd name="connsiteY31" fmla="*/ 988641 h 1050966"/>
                  <a:gd name="connsiteX32" fmla="*/ 1054 w 379637"/>
                  <a:gd name="connsiteY32" fmla="*/ 991490 h 1050966"/>
                  <a:gd name="connsiteX33" fmla="*/ 1467 w 379637"/>
                  <a:gd name="connsiteY33" fmla="*/ 994359 h 1050966"/>
                  <a:gd name="connsiteX34" fmla="*/ 2211 w 379637"/>
                  <a:gd name="connsiteY34" fmla="*/ 997167 h 1050966"/>
                  <a:gd name="connsiteX35" fmla="*/ 26885 w 379637"/>
                  <a:gd name="connsiteY35" fmla="*/ 1035504 h 1050966"/>
                  <a:gd name="connsiteX36" fmla="*/ 47096 w 379637"/>
                  <a:gd name="connsiteY36" fmla="*/ 1046714 h 1050966"/>
                  <a:gd name="connsiteX37" fmla="*/ 49803 w 379637"/>
                  <a:gd name="connsiteY37" fmla="*/ 1047725 h 1050966"/>
                  <a:gd name="connsiteX38" fmla="*/ 52613 w 379637"/>
                  <a:gd name="connsiteY38" fmla="*/ 1048448 h 1050966"/>
                  <a:gd name="connsiteX39" fmla="*/ 55424 w 379637"/>
                  <a:gd name="connsiteY39" fmla="*/ 1049170 h 1050966"/>
                  <a:gd name="connsiteX40" fmla="*/ 56829 w 379637"/>
                  <a:gd name="connsiteY40" fmla="*/ 1049542 h 1050966"/>
                  <a:gd name="connsiteX41" fmla="*/ 58255 w 379637"/>
                  <a:gd name="connsiteY41" fmla="*/ 1049748 h 1050966"/>
                  <a:gd name="connsiteX42" fmla="*/ 64000 w 379637"/>
                  <a:gd name="connsiteY42" fmla="*/ 1050616 h 1050966"/>
                  <a:gd name="connsiteX43" fmla="*/ 69827 w 379637"/>
                  <a:gd name="connsiteY43" fmla="*/ 1050905 h 1050966"/>
                  <a:gd name="connsiteX44" fmla="*/ 122895 w 379637"/>
                  <a:gd name="connsiteY44" fmla="*/ 1050905 h 1050966"/>
                  <a:gd name="connsiteX45" fmla="*/ 263252 w 379637"/>
                  <a:gd name="connsiteY45" fmla="*/ 1050966 h 1050966"/>
                  <a:gd name="connsiteX46" fmla="*/ 308529 w 379637"/>
                  <a:gd name="connsiteY46" fmla="*/ 1050966 h 1050966"/>
                  <a:gd name="connsiteX47" fmla="*/ 331344 w 379637"/>
                  <a:gd name="connsiteY47" fmla="*/ 1047168 h 1050966"/>
                  <a:gd name="connsiteX48" fmla="*/ 351719 w 379637"/>
                  <a:gd name="connsiteY48" fmla="*/ 1036268 h 1050966"/>
                  <a:gd name="connsiteX49" fmla="*/ 367611 w 379637"/>
                  <a:gd name="connsiteY49" fmla="*/ 1019442 h 1050966"/>
                  <a:gd name="connsiteX50" fmla="*/ 377096 w 379637"/>
                  <a:gd name="connsiteY50" fmla="*/ 998406 h 1050966"/>
                  <a:gd name="connsiteX51" fmla="*/ 377819 w 379637"/>
                  <a:gd name="connsiteY51" fmla="*/ 995598 h 1050966"/>
                  <a:gd name="connsiteX52" fmla="*/ 378191 w 379637"/>
                  <a:gd name="connsiteY52" fmla="*/ 994194 h 1050966"/>
                  <a:gd name="connsiteX53" fmla="*/ 378398 w 379637"/>
                  <a:gd name="connsiteY53" fmla="*/ 992770 h 1050966"/>
                  <a:gd name="connsiteX54" fmla="*/ 379266 w 379637"/>
                  <a:gd name="connsiteY54" fmla="*/ 987031 h 1050966"/>
                  <a:gd name="connsiteX55" fmla="*/ 379555 w 379637"/>
                  <a:gd name="connsiteY55" fmla="*/ 981209 h 1050966"/>
                  <a:gd name="connsiteX56" fmla="*/ 379638 w 379637"/>
                  <a:gd name="connsiteY56" fmla="*/ 979702 h 1050966"/>
                  <a:gd name="connsiteX57" fmla="*/ 379638 w 379637"/>
                  <a:gd name="connsiteY57" fmla="*/ 71058 h 1050966"/>
                  <a:gd name="connsiteX58" fmla="*/ 379328 w 379637"/>
                  <a:gd name="connsiteY58" fmla="*/ 65236 h 1050966"/>
                  <a:gd name="connsiteX59" fmla="*/ 337605 w 379637"/>
                  <a:gd name="connsiteY59" fmla="*/ 979702 h 1050966"/>
                  <a:gd name="connsiteX60" fmla="*/ 337564 w 379637"/>
                  <a:gd name="connsiteY60" fmla="*/ 980177 h 1050966"/>
                  <a:gd name="connsiteX61" fmla="*/ 337523 w 379637"/>
                  <a:gd name="connsiteY61" fmla="*/ 980486 h 1050966"/>
                  <a:gd name="connsiteX62" fmla="*/ 337440 w 379637"/>
                  <a:gd name="connsiteY62" fmla="*/ 982902 h 1050966"/>
                  <a:gd name="connsiteX63" fmla="*/ 337047 w 379637"/>
                  <a:gd name="connsiteY63" fmla="*/ 985235 h 1050966"/>
                  <a:gd name="connsiteX64" fmla="*/ 337006 w 379637"/>
                  <a:gd name="connsiteY64" fmla="*/ 985833 h 1050966"/>
                  <a:gd name="connsiteX65" fmla="*/ 336820 w 379637"/>
                  <a:gd name="connsiteY65" fmla="*/ 986391 h 1050966"/>
                  <a:gd name="connsiteX66" fmla="*/ 336510 w 379637"/>
                  <a:gd name="connsiteY66" fmla="*/ 987505 h 1050966"/>
                  <a:gd name="connsiteX67" fmla="*/ 332708 w 379637"/>
                  <a:gd name="connsiteY67" fmla="*/ 996052 h 1050966"/>
                  <a:gd name="connsiteX68" fmla="*/ 326115 w 379637"/>
                  <a:gd name="connsiteY68" fmla="*/ 1002948 h 1050966"/>
                  <a:gd name="connsiteX69" fmla="*/ 317849 w 379637"/>
                  <a:gd name="connsiteY69" fmla="*/ 1007407 h 1050966"/>
                  <a:gd name="connsiteX70" fmla="*/ 308529 w 379637"/>
                  <a:gd name="connsiteY70" fmla="*/ 1008996 h 1050966"/>
                  <a:gd name="connsiteX71" fmla="*/ 304582 w 379637"/>
                  <a:gd name="connsiteY71" fmla="*/ 1008996 h 1050966"/>
                  <a:gd name="connsiteX72" fmla="*/ 263252 w 379637"/>
                  <a:gd name="connsiteY72" fmla="*/ 1008955 h 1050966"/>
                  <a:gd name="connsiteX73" fmla="*/ 122895 w 379637"/>
                  <a:gd name="connsiteY73" fmla="*/ 1008955 h 1050966"/>
                  <a:gd name="connsiteX74" fmla="*/ 81565 w 379637"/>
                  <a:gd name="connsiteY74" fmla="*/ 1008914 h 1050966"/>
                  <a:gd name="connsiteX75" fmla="*/ 70571 w 379637"/>
                  <a:gd name="connsiteY75" fmla="*/ 1008914 h 1050966"/>
                  <a:gd name="connsiteX76" fmla="*/ 68133 w 379637"/>
                  <a:gd name="connsiteY76" fmla="*/ 1008831 h 1050966"/>
                  <a:gd name="connsiteX77" fmla="*/ 65798 w 379637"/>
                  <a:gd name="connsiteY77" fmla="*/ 1008439 h 1050966"/>
                  <a:gd name="connsiteX78" fmla="*/ 65219 w 379637"/>
                  <a:gd name="connsiteY78" fmla="*/ 1008398 h 1050966"/>
                  <a:gd name="connsiteX79" fmla="*/ 64661 w 379637"/>
                  <a:gd name="connsiteY79" fmla="*/ 1008212 h 1050966"/>
                  <a:gd name="connsiteX80" fmla="*/ 63524 w 379637"/>
                  <a:gd name="connsiteY80" fmla="*/ 1007902 h 1050966"/>
                  <a:gd name="connsiteX81" fmla="*/ 62388 w 379637"/>
                  <a:gd name="connsiteY81" fmla="*/ 1007675 h 1050966"/>
                  <a:gd name="connsiteX82" fmla="*/ 61313 w 379637"/>
                  <a:gd name="connsiteY82" fmla="*/ 1007200 h 1050966"/>
                  <a:gd name="connsiteX83" fmla="*/ 53089 w 379637"/>
                  <a:gd name="connsiteY83" fmla="*/ 1002659 h 1050966"/>
                  <a:gd name="connsiteX84" fmla="*/ 43004 w 379637"/>
                  <a:gd name="connsiteY84" fmla="*/ 987010 h 1050966"/>
                  <a:gd name="connsiteX85" fmla="*/ 42632 w 379637"/>
                  <a:gd name="connsiteY85" fmla="*/ 985895 h 1050966"/>
                  <a:gd name="connsiteX86" fmla="*/ 42529 w 379637"/>
                  <a:gd name="connsiteY86" fmla="*/ 984718 h 1050966"/>
                  <a:gd name="connsiteX87" fmla="*/ 42322 w 379637"/>
                  <a:gd name="connsiteY87" fmla="*/ 983562 h 1050966"/>
                  <a:gd name="connsiteX88" fmla="*/ 42198 w 379637"/>
                  <a:gd name="connsiteY88" fmla="*/ 982984 h 1050966"/>
                  <a:gd name="connsiteX89" fmla="*/ 42198 w 379637"/>
                  <a:gd name="connsiteY89" fmla="*/ 982365 h 1050966"/>
                  <a:gd name="connsiteX90" fmla="*/ 42033 w 379637"/>
                  <a:gd name="connsiteY90" fmla="*/ 979929 h 1050966"/>
                  <a:gd name="connsiteX91" fmla="*/ 42033 w 379637"/>
                  <a:gd name="connsiteY91" fmla="*/ 71285 h 1050966"/>
                  <a:gd name="connsiteX92" fmla="*/ 42074 w 379637"/>
                  <a:gd name="connsiteY92" fmla="*/ 70810 h 1050966"/>
                  <a:gd name="connsiteX93" fmla="*/ 42115 w 379637"/>
                  <a:gd name="connsiteY93" fmla="*/ 70501 h 1050966"/>
                  <a:gd name="connsiteX94" fmla="*/ 42198 w 379637"/>
                  <a:gd name="connsiteY94" fmla="*/ 68085 h 1050966"/>
                  <a:gd name="connsiteX95" fmla="*/ 42591 w 379637"/>
                  <a:gd name="connsiteY95" fmla="*/ 65752 h 1050966"/>
                  <a:gd name="connsiteX96" fmla="*/ 42632 w 379637"/>
                  <a:gd name="connsiteY96" fmla="*/ 65154 h 1050966"/>
                  <a:gd name="connsiteX97" fmla="*/ 42818 w 379637"/>
                  <a:gd name="connsiteY97" fmla="*/ 64596 h 1050966"/>
                  <a:gd name="connsiteX98" fmla="*/ 43128 w 379637"/>
                  <a:gd name="connsiteY98" fmla="*/ 63461 h 1050966"/>
                  <a:gd name="connsiteX99" fmla="*/ 46930 w 379637"/>
                  <a:gd name="connsiteY99" fmla="*/ 54935 h 1050966"/>
                  <a:gd name="connsiteX100" fmla="*/ 53523 w 379637"/>
                  <a:gd name="connsiteY100" fmla="*/ 48019 h 1050966"/>
                  <a:gd name="connsiteX101" fmla="*/ 61789 w 379637"/>
                  <a:gd name="connsiteY101" fmla="*/ 43580 h 1050966"/>
                  <a:gd name="connsiteX102" fmla="*/ 71109 w 379637"/>
                  <a:gd name="connsiteY102" fmla="*/ 41991 h 1050966"/>
                  <a:gd name="connsiteX103" fmla="*/ 122895 w 379637"/>
                  <a:gd name="connsiteY103" fmla="*/ 41991 h 1050966"/>
                  <a:gd name="connsiteX104" fmla="*/ 263252 w 379637"/>
                  <a:gd name="connsiteY104" fmla="*/ 42053 h 1050966"/>
                  <a:gd name="connsiteX105" fmla="*/ 309046 w 379637"/>
                  <a:gd name="connsiteY105" fmla="*/ 42053 h 1050966"/>
                  <a:gd name="connsiteX106" fmla="*/ 309087 w 379637"/>
                  <a:gd name="connsiteY106" fmla="*/ 40009 h 1050966"/>
                  <a:gd name="connsiteX107" fmla="*/ 309087 w 379637"/>
                  <a:gd name="connsiteY107" fmla="*/ 40009 h 1050966"/>
                  <a:gd name="connsiteX108" fmla="*/ 309046 w 379637"/>
                  <a:gd name="connsiteY108" fmla="*/ 42053 h 1050966"/>
                  <a:gd name="connsiteX109" fmla="*/ 311464 w 379637"/>
                  <a:gd name="connsiteY109" fmla="*/ 42135 h 1050966"/>
                  <a:gd name="connsiteX110" fmla="*/ 313799 w 379637"/>
                  <a:gd name="connsiteY110" fmla="*/ 42548 h 1050966"/>
                  <a:gd name="connsiteX111" fmla="*/ 314398 w 379637"/>
                  <a:gd name="connsiteY111" fmla="*/ 42548 h 1050966"/>
                  <a:gd name="connsiteX112" fmla="*/ 314956 w 379637"/>
                  <a:gd name="connsiteY112" fmla="*/ 42775 h 1050966"/>
                  <a:gd name="connsiteX113" fmla="*/ 316093 w 379637"/>
                  <a:gd name="connsiteY113" fmla="*/ 43085 h 1050966"/>
                  <a:gd name="connsiteX114" fmla="*/ 317229 w 379637"/>
                  <a:gd name="connsiteY114" fmla="*/ 43312 h 1050966"/>
                  <a:gd name="connsiteX115" fmla="*/ 318304 w 379637"/>
                  <a:gd name="connsiteY115" fmla="*/ 43787 h 1050966"/>
                  <a:gd name="connsiteX116" fmla="*/ 326529 w 379637"/>
                  <a:gd name="connsiteY116" fmla="*/ 48329 h 1050966"/>
                  <a:gd name="connsiteX117" fmla="*/ 336613 w 379637"/>
                  <a:gd name="connsiteY117" fmla="*/ 63956 h 1050966"/>
                  <a:gd name="connsiteX118" fmla="*/ 336965 w 379637"/>
                  <a:gd name="connsiteY118" fmla="*/ 65071 h 1050966"/>
                  <a:gd name="connsiteX119" fmla="*/ 337089 w 379637"/>
                  <a:gd name="connsiteY119" fmla="*/ 66269 h 1050966"/>
                  <a:gd name="connsiteX120" fmla="*/ 337295 w 379637"/>
                  <a:gd name="connsiteY120" fmla="*/ 67425 h 1050966"/>
                  <a:gd name="connsiteX121" fmla="*/ 337419 w 379637"/>
                  <a:gd name="connsiteY121" fmla="*/ 68003 h 1050966"/>
                  <a:gd name="connsiteX122" fmla="*/ 337419 w 379637"/>
                  <a:gd name="connsiteY122" fmla="*/ 68622 h 1050966"/>
                  <a:gd name="connsiteX123" fmla="*/ 337584 w 379637"/>
                  <a:gd name="connsiteY123" fmla="*/ 71058 h 1050966"/>
                  <a:gd name="connsiteX124" fmla="*/ 337584 w 379637"/>
                  <a:gd name="connsiteY124" fmla="*/ 979702 h 1050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</a:cxnLst>
                <a:rect l="l" t="t" r="r" b="b"/>
                <a:pathLst>
                  <a:path w="379637" h="1050966">
                    <a:moveTo>
                      <a:pt x="379328" y="65236"/>
                    </a:moveTo>
                    <a:lnTo>
                      <a:pt x="379266" y="63771"/>
                    </a:lnTo>
                    <a:lnTo>
                      <a:pt x="379039" y="62346"/>
                    </a:lnTo>
                    <a:lnTo>
                      <a:pt x="378584" y="59477"/>
                    </a:lnTo>
                    <a:lnTo>
                      <a:pt x="378171" y="56607"/>
                    </a:lnTo>
                    <a:lnTo>
                      <a:pt x="377427" y="53820"/>
                    </a:lnTo>
                    <a:cubicBezTo>
                      <a:pt x="373914" y="38750"/>
                      <a:pt x="364780" y="25207"/>
                      <a:pt x="352732" y="15483"/>
                    </a:cubicBezTo>
                    <a:cubicBezTo>
                      <a:pt x="346739" y="10529"/>
                      <a:pt x="339796" y="6875"/>
                      <a:pt x="332542" y="4253"/>
                    </a:cubicBezTo>
                    <a:lnTo>
                      <a:pt x="329835" y="3241"/>
                    </a:lnTo>
                    <a:cubicBezTo>
                      <a:pt x="328905" y="2973"/>
                      <a:pt x="327955" y="2787"/>
                      <a:pt x="327025" y="2539"/>
                    </a:cubicBezTo>
                    <a:lnTo>
                      <a:pt x="324214" y="1796"/>
                    </a:lnTo>
                    <a:lnTo>
                      <a:pt x="322809" y="1424"/>
                    </a:lnTo>
                    <a:lnTo>
                      <a:pt x="321362" y="1239"/>
                    </a:lnTo>
                    <a:lnTo>
                      <a:pt x="315638" y="351"/>
                    </a:lnTo>
                    <a:lnTo>
                      <a:pt x="309811" y="83"/>
                    </a:lnTo>
                    <a:lnTo>
                      <a:pt x="304582" y="83"/>
                    </a:lnTo>
                    <a:lnTo>
                      <a:pt x="263252" y="41"/>
                    </a:lnTo>
                    <a:lnTo>
                      <a:pt x="122895" y="0"/>
                    </a:lnTo>
                    <a:lnTo>
                      <a:pt x="71109" y="0"/>
                    </a:lnTo>
                    <a:cubicBezTo>
                      <a:pt x="55589" y="248"/>
                      <a:pt x="40152" y="5037"/>
                      <a:pt x="27919" y="14719"/>
                    </a:cubicBezTo>
                    <a:cubicBezTo>
                      <a:pt x="21781" y="19447"/>
                      <a:pt x="16408" y="25145"/>
                      <a:pt x="12006" y="31545"/>
                    </a:cubicBezTo>
                    <a:cubicBezTo>
                      <a:pt x="7708" y="37986"/>
                      <a:pt x="4567" y="45149"/>
                      <a:pt x="2542" y="52581"/>
                    </a:cubicBezTo>
                    <a:lnTo>
                      <a:pt x="1798" y="55389"/>
                    </a:lnTo>
                    <a:cubicBezTo>
                      <a:pt x="1695" y="55843"/>
                      <a:pt x="1550" y="56318"/>
                      <a:pt x="1447" y="56772"/>
                    </a:cubicBezTo>
                    <a:lnTo>
                      <a:pt x="1240" y="58217"/>
                    </a:lnTo>
                    <a:lnTo>
                      <a:pt x="372" y="63956"/>
                    </a:lnTo>
                    <a:lnTo>
                      <a:pt x="83" y="69778"/>
                    </a:lnTo>
                    <a:cubicBezTo>
                      <a:pt x="62" y="70274"/>
                      <a:pt x="21" y="70687"/>
                      <a:pt x="0" y="71285"/>
                    </a:cubicBezTo>
                    <a:lnTo>
                      <a:pt x="0" y="979929"/>
                    </a:lnTo>
                    <a:lnTo>
                      <a:pt x="310" y="985751"/>
                    </a:lnTo>
                    <a:lnTo>
                      <a:pt x="372" y="987196"/>
                    </a:lnTo>
                    <a:lnTo>
                      <a:pt x="599" y="988641"/>
                    </a:lnTo>
                    <a:lnTo>
                      <a:pt x="1054" y="991490"/>
                    </a:lnTo>
                    <a:lnTo>
                      <a:pt x="1467" y="994359"/>
                    </a:lnTo>
                    <a:lnTo>
                      <a:pt x="2211" y="997167"/>
                    </a:lnTo>
                    <a:cubicBezTo>
                      <a:pt x="5724" y="1012238"/>
                      <a:pt x="14858" y="1025780"/>
                      <a:pt x="26885" y="1035504"/>
                    </a:cubicBezTo>
                    <a:cubicBezTo>
                      <a:pt x="32878" y="1040438"/>
                      <a:pt x="39842" y="1044113"/>
                      <a:pt x="47096" y="1046714"/>
                    </a:cubicBezTo>
                    <a:lnTo>
                      <a:pt x="49803" y="1047725"/>
                    </a:lnTo>
                    <a:cubicBezTo>
                      <a:pt x="50733" y="1047994"/>
                      <a:pt x="51683" y="1048200"/>
                      <a:pt x="52613" y="1048448"/>
                    </a:cubicBezTo>
                    <a:lnTo>
                      <a:pt x="55424" y="1049170"/>
                    </a:lnTo>
                    <a:lnTo>
                      <a:pt x="56829" y="1049542"/>
                    </a:lnTo>
                    <a:lnTo>
                      <a:pt x="58255" y="1049748"/>
                    </a:lnTo>
                    <a:lnTo>
                      <a:pt x="64000" y="1050616"/>
                    </a:lnTo>
                    <a:lnTo>
                      <a:pt x="69827" y="1050905"/>
                    </a:lnTo>
                    <a:lnTo>
                      <a:pt x="122895" y="1050905"/>
                    </a:lnTo>
                    <a:lnTo>
                      <a:pt x="263252" y="1050966"/>
                    </a:lnTo>
                    <a:lnTo>
                      <a:pt x="308529" y="1050966"/>
                    </a:lnTo>
                    <a:cubicBezTo>
                      <a:pt x="316279" y="1050863"/>
                      <a:pt x="324008" y="1049604"/>
                      <a:pt x="331344" y="1047168"/>
                    </a:cubicBezTo>
                    <a:cubicBezTo>
                      <a:pt x="338680" y="1044732"/>
                      <a:pt x="345603" y="1041098"/>
                      <a:pt x="351719" y="1036268"/>
                    </a:cubicBezTo>
                    <a:cubicBezTo>
                      <a:pt x="357836" y="1031540"/>
                      <a:pt x="363230" y="1025842"/>
                      <a:pt x="367611" y="1019442"/>
                    </a:cubicBezTo>
                    <a:cubicBezTo>
                      <a:pt x="371909" y="1012981"/>
                      <a:pt x="375071" y="1005838"/>
                      <a:pt x="377096" y="998406"/>
                    </a:cubicBezTo>
                    <a:lnTo>
                      <a:pt x="377819" y="995598"/>
                    </a:lnTo>
                    <a:cubicBezTo>
                      <a:pt x="377943" y="995123"/>
                      <a:pt x="378088" y="994669"/>
                      <a:pt x="378191" y="994194"/>
                    </a:cubicBezTo>
                    <a:lnTo>
                      <a:pt x="378398" y="992770"/>
                    </a:lnTo>
                    <a:lnTo>
                      <a:pt x="379266" y="987031"/>
                    </a:lnTo>
                    <a:lnTo>
                      <a:pt x="379555" y="981209"/>
                    </a:lnTo>
                    <a:cubicBezTo>
                      <a:pt x="379576" y="980693"/>
                      <a:pt x="379617" y="980301"/>
                      <a:pt x="379638" y="979702"/>
                    </a:cubicBezTo>
                    <a:lnTo>
                      <a:pt x="379638" y="71058"/>
                    </a:lnTo>
                    <a:lnTo>
                      <a:pt x="379328" y="65236"/>
                    </a:lnTo>
                    <a:close/>
                    <a:moveTo>
                      <a:pt x="337605" y="979702"/>
                    </a:moveTo>
                    <a:cubicBezTo>
                      <a:pt x="337605" y="980115"/>
                      <a:pt x="337584" y="980012"/>
                      <a:pt x="337564" y="980177"/>
                    </a:cubicBezTo>
                    <a:lnTo>
                      <a:pt x="337523" y="980486"/>
                    </a:lnTo>
                    <a:cubicBezTo>
                      <a:pt x="337440" y="981291"/>
                      <a:pt x="337399" y="982097"/>
                      <a:pt x="337440" y="982902"/>
                    </a:cubicBezTo>
                    <a:cubicBezTo>
                      <a:pt x="337295" y="983686"/>
                      <a:pt x="337109" y="984450"/>
                      <a:pt x="337047" y="985235"/>
                    </a:cubicBezTo>
                    <a:lnTo>
                      <a:pt x="337006" y="985833"/>
                    </a:lnTo>
                    <a:cubicBezTo>
                      <a:pt x="336965" y="986019"/>
                      <a:pt x="336882" y="986205"/>
                      <a:pt x="336820" y="986391"/>
                    </a:cubicBezTo>
                    <a:cubicBezTo>
                      <a:pt x="336696" y="986762"/>
                      <a:pt x="336593" y="987134"/>
                      <a:pt x="336510" y="987505"/>
                    </a:cubicBezTo>
                    <a:cubicBezTo>
                      <a:pt x="335683" y="990499"/>
                      <a:pt x="334464" y="993389"/>
                      <a:pt x="332708" y="996052"/>
                    </a:cubicBezTo>
                    <a:cubicBezTo>
                      <a:pt x="330868" y="998653"/>
                      <a:pt x="328637" y="1001007"/>
                      <a:pt x="326115" y="1002948"/>
                    </a:cubicBezTo>
                    <a:cubicBezTo>
                      <a:pt x="323615" y="1004909"/>
                      <a:pt x="320846" y="1006519"/>
                      <a:pt x="317849" y="1007407"/>
                    </a:cubicBezTo>
                    <a:cubicBezTo>
                      <a:pt x="314894" y="1008336"/>
                      <a:pt x="311815" y="1008852"/>
                      <a:pt x="308529" y="1008996"/>
                    </a:cubicBezTo>
                    <a:lnTo>
                      <a:pt x="304582" y="1008996"/>
                    </a:lnTo>
                    <a:lnTo>
                      <a:pt x="263252" y="1008955"/>
                    </a:lnTo>
                    <a:lnTo>
                      <a:pt x="122895" y="1008955"/>
                    </a:lnTo>
                    <a:lnTo>
                      <a:pt x="81565" y="1008914"/>
                    </a:lnTo>
                    <a:lnTo>
                      <a:pt x="70571" y="1008914"/>
                    </a:lnTo>
                    <a:cubicBezTo>
                      <a:pt x="69765" y="1008831"/>
                      <a:pt x="68959" y="1008790"/>
                      <a:pt x="68133" y="1008831"/>
                    </a:cubicBezTo>
                    <a:cubicBezTo>
                      <a:pt x="67368" y="1008687"/>
                      <a:pt x="66604" y="1008501"/>
                      <a:pt x="65798" y="1008439"/>
                    </a:cubicBezTo>
                    <a:lnTo>
                      <a:pt x="65219" y="1008398"/>
                    </a:lnTo>
                    <a:lnTo>
                      <a:pt x="64661" y="1008212"/>
                    </a:lnTo>
                    <a:cubicBezTo>
                      <a:pt x="64289" y="1008088"/>
                      <a:pt x="63917" y="1007985"/>
                      <a:pt x="63524" y="1007902"/>
                    </a:cubicBezTo>
                    <a:lnTo>
                      <a:pt x="62388" y="1007675"/>
                    </a:lnTo>
                    <a:cubicBezTo>
                      <a:pt x="62037" y="1007489"/>
                      <a:pt x="61665" y="1007345"/>
                      <a:pt x="61313" y="1007200"/>
                    </a:cubicBezTo>
                    <a:cubicBezTo>
                      <a:pt x="58399" y="1006147"/>
                      <a:pt x="55506" y="1004764"/>
                      <a:pt x="53089" y="1002659"/>
                    </a:cubicBezTo>
                    <a:cubicBezTo>
                      <a:pt x="48170" y="998591"/>
                      <a:pt x="44285" y="993100"/>
                      <a:pt x="43004" y="987010"/>
                    </a:cubicBezTo>
                    <a:cubicBezTo>
                      <a:pt x="42901" y="986638"/>
                      <a:pt x="42777" y="986267"/>
                      <a:pt x="42632" y="985895"/>
                    </a:cubicBezTo>
                    <a:cubicBezTo>
                      <a:pt x="42632" y="985503"/>
                      <a:pt x="42591" y="985111"/>
                      <a:pt x="42529" y="984718"/>
                    </a:cubicBezTo>
                    <a:cubicBezTo>
                      <a:pt x="42487" y="984326"/>
                      <a:pt x="42405" y="983955"/>
                      <a:pt x="42322" y="983562"/>
                    </a:cubicBezTo>
                    <a:lnTo>
                      <a:pt x="42198" y="982984"/>
                    </a:lnTo>
                    <a:lnTo>
                      <a:pt x="42198" y="982365"/>
                    </a:lnTo>
                    <a:cubicBezTo>
                      <a:pt x="42219" y="981539"/>
                      <a:pt x="42157" y="980775"/>
                      <a:pt x="42033" y="979929"/>
                    </a:cubicBezTo>
                    <a:lnTo>
                      <a:pt x="42033" y="71285"/>
                    </a:lnTo>
                    <a:cubicBezTo>
                      <a:pt x="42033" y="70872"/>
                      <a:pt x="42053" y="70976"/>
                      <a:pt x="42074" y="70810"/>
                    </a:cubicBezTo>
                    <a:lnTo>
                      <a:pt x="42115" y="70501"/>
                    </a:lnTo>
                    <a:cubicBezTo>
                      <a:pt x="42198" y="69696"/>
                      <a:pt x="42239" y="68890"/>
                      <a:pt x="42198" y="68085"/>
                    </a:cubicBezTo>
                    <a:cubicBezTo>
                      <a:pt x="42343" y="67301"/>
                      <a:pt x="42529" y="66537"/>
                      <a:pt x="42591" y="65752"/>
                    </a:cubicBezTo>
                    <a:lnTo>
                      <a:pt x="42632" y="65154"/>
                    </a:lnTo>
                    <a:cubicBezTo>
                      <a:pt x="42673" y="64968"/>
                      <a:pt x="42756" y="64782"/>
                      <a:pt x="42818" y="64596"/>
                    </a:cubicBezTo>
                    <a:cubicBezTo>
                      <a:pt x="42942" y="64225"/>
                      <a:pt x="43045" y="63853"/>
                      <a:pt x="43128" y="63461"/>
                    </a:cubicBezTo>
                    <a:cubicBezTo>
                      <a:pt x="43955" y="60488"/>
                      <a:pt x="45174" y="57598"/>
                      <a:pt x="46930" y="54935"/>
                    </a:cubicBezTo>
                    <a:cubicBezTo>
                      <a:pt x="48770" y="52334"/>
                      <a:pt x="51001" y="49980"/>
                      <a:pt x="53523" y="48019"/>
                    </a:cubicBezTo>
                    <a:cubicBezTo>
                      <a:pt x="56023" y="46058"/>
                      <a:pt x="58792" y="44468"/>
                      <a:pt x="61789" y="43580"/>
                    </a:cubicBezTo>
                    <a:cubicBezTo>
                      <a:pt x="64744" y="42631"/>
                      <a:pt x="67823" y="42115"/>
                      <a:pt x="71109" y="41991"/>
                    </a:cubicBezTo>
                    <a:lnTo>
                      <a:pt x="122895" y="41991"/>
                    </a:lnTo>
                    <a:lnTo>
                      <a:pt x="263252" y="42053"/>
                    </a:lnTo>
                    <a:lnTo>
                      <a:pt x="309046" y="42053"/>
                    </a:lnTo>
                    <a:lnTo>
                      <a:pt x="309087" y="40009"/>
                    </a:lnTo>
                    <a:lnTo>
                      <a:pt x="309087" y="40009"/>
                    </a:lnTo>
                    <a:lnTo>
                      <a:pt x="309046" y="42053"/>
                    </a:lnTo>
                    <a:cubicBezTo>
                      <a:pt x="309852" y="42156"/>
                      <a:pt x="310658" y="42177"/>
                      <a:pt x="311464" y="42135"/>
                    </a:cubicBezTo>
                    <a:cubicBezTo>
                      <a:pt x="312249" y="42300"/>
                      <a:pt x="313014" y="42486"/>
                      <a:pt x="313799" y="42548"/>
                    </a:cubicBezTo>
                    <a:lnTo>
                      <a:pt x="314398" y="42548"/>
                    </a:lnTo>
                    <a:lnTo>
                      <a:pt x="314956" y="42775"/>
                    </a:lnTo>
                    <a:cubicBezTo>
                      <a:pt x="315328" y="42878"/>
                      <a:pt x="315700" y="43002"/>
                      <a:pt x="316093" y="43085"/>
                    </a:cubicBezTo>
                    <a:lnTo>
                      <a:pt x="317229" y="43312"/>
                    </a:lnTo>
                    <a:cubicBezTo>
                      <a:pt x="317581" y="43477"/>
                      <a:pt x="317953" y="43642"/>
                      <a:pt x="318304" y="43787"/>
                    </a:cubicBezTo>
                    <a:cubicBezTo>
                      <a:pt x="321218" y="44840"/>
                      <a:pt x="324111" y="46223"/>
                      <a:pt x="326529" y="48329"/>
                    </a:cubicBezTo>
                    <a:cubicBezTo>
                      <a:pt x="331447" y="52396"/>
                      <a:pt x="335332" y="57887"/>
                      <a:pt x="336613" y="63956"/>
                    </a:cubicBezTo>
                    <a:cubicBezTo>
                      <a:pt x="336717" y="64349"/>
                      <a:pt x="336841" y="64720"/>
                      <a:pt x="336965" y="65071"/>
                    </a:cubicBezTo>
                    <a:cubicBezTo>
                      <a:pt x="337006" y="65463"/>
                      <a:pt x="337027" y="65876"/>
                      <a:pt x="337089" y="66269"/>
                    </a:cubicBezTo>
                    <a:cubicBezTo>
                      <a:pt x="337130" y="66640"/>
                      <a:pt x="337213" y="67032"/>
                      <a:pt x="337295" y="67425"/>
                    </a:cubicBezTo>
                    <a:lnTo>
                      <a:pt x="337419" y="68003"/>
                    </a:lnTo>
                    <a:lnTo>
                      <a:pt x="337419" y="68622"/>
                    </a:lnTo>
                    <a:cubicBezTo>
                      <a:pt x="337399" y="69427"/>
                      <a:pt x="337461" y="70212"/>
                      <a:pt x="337584" y="71058"/>
                    </a:cubicBezTo>
                    <a:lnTo>
                      <a:pt x="337584" y="979702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656" name="Freeform 90">
                <a:extLst>
                  <a:ext uri="{FF2B5EF4-FFF2-40B4-BE49-F238E27FC236}">
                    <a16:creationId xmlns:a16="http://schemas.microsoft.com/office/drawing/2014/main" id="{81C98032-C115-66E4-E251-A045CCC34BF0}"/>
                  </a:ext>
                </a:extLst>
              </p:cNvPr>
              <p:cNvSpPr/>
              <p:nvPr/>
            </p:nvSpPr>
            <p:spPr>
              <a:xfrm>
                <a:off x="3802070" y="2867170"/>
                <a:ext cx="379658" cy="1051028"/>
              </a:xfrm>
              <a:custGeom>
                <a:avLst/>
                <a:gdLst>
                  <a:gd name="connsiteX0" fmla="*/ 379287 w 379658"/>
                  <a:gd name="connsiteY0" fmla="*/ 63791 h 1051028"/>
                  <a:gd name="connsiteX1" fmla="*/ 379059 w 379658"/>
                  <a:gd name="connsiteY1" fmla="*/ 62367 h 1051028"/>
                  <a:gd name="connsiteX2" fmla="*/ 378605 w 379658"/>
                  <a:gd name="connsiteY2" fmla="*/ 59497 h 1051028"/>
                  <a:gd name="connsiteX3" fmla="*/ 378191 w 379658"/>
                  <a:gd name="connsiteY3" fmla="*/ 56628 h 1051028"/>
                  <a:gd name="connsiteX4" fmla="*/ 377447 w 379658"/>
                  <a:gd name="connsiteY4" fmla="*/ 53820 h 1051028"/>
                  <a:gd name="connsiteX5" fmla="*/ 352773 w 379658"/>
                  <a:gd name="connsiteY5" fmla="*/ 15483 h 1051028"/>
                  <a:gd name="connsiteX6" fmla="*/ 332584 w 379658"/>
                  <a:gd name="connsiteY6" fmla="*/ 4273 h 1051028"/>
                  <a:gd name="connsiteX7" fmla="*/ 329876 w 379658"/>
                  <a:gd name="connsiteY7" fmla="*/ 3262 h 1051028"/>
                  <a:gd name="connsiteX8" fmla="*/ 327066 w 379658"/>
                  <a:gd name="connsiteY8" fmla="*/ 2539 h 1051028"/>
                  <a:gd name="connsiteX9" fmla="*/ 324256 w 379658"/>
                  <a:gd name="connsiteY9" fmla="*/ 1817 h 1051028"/>
                  <a:gd name="connsiteX10" fmla="*/ 322850 w 379658"/>
                  <a:gd name="connsiteY10" fmla="*/ 1445 h 1051028"/>
                  <a:gd name="connsiteX11" fmla="*/ 321404 w 379658"/>
                  <a:gd name="connsiteY11" fmla="*/ 1239 h 1051028"/>
                  <a:gd name="connsiteX12" fmla="*/ 315659 w 379658"/>
                  <a:gd name="connsiteY12" fmla="*/ 372 h 1051028"/>
                  <a:gd name="connsiteX13" fmla="*/ 309831 w 379658"/>
                  <a:gd name="connsiteY13" fmla="*/ 83 h 1051028"/>
                  <a:gd name="connsiteX14" fmla="*/ 71129 w 379658"/>
                  <a:gd name="connsiteY14" fmla="*/ 0 h 1051028"/>
                  <a:gd name="connsiteX15" fmla="*/ 27939 w 379658"/>
                  <a:gd name="connsiteY15" fmla="*/ 14719 h 1051028"/>
                  <a:gd name="connsiteX16" fmla="*/ 12027 w 379658"/>
                  <a:gd name="connsiteY16" fmla="*/ 31545 h 1051028"/>
                  <a:gd name="connsiteX17" fmla="*/ 2542 w 379658"/>
                  <a:gd name="connsiteY17" fmla="*/ 52581 h 1051028"/>
                  <a:gd name="connsiteX18" fmla="*/ 1819 w 379658"/>
                  <a:gd name="connsiteY18" fmla="*/ 55389 h 1051028"/>
                  <a:gd name="connsiteX19" fmla="*/ 1447 w 379658"/>
                  <a:gd name="connsiteY19" fmla="*/ 56793 h 1051028"/>
                  <a:gd name="connsiteX20" fmla="*/ 1240 w 379658"/>
                  <a:gd name="connsiteY20" fmla="*/ 58238 h 1051028"/>
                  <a:gd name="connsiteX21" fmla="*/ 372 w 379658"/>
                  <a:gd name="connsiteY21" fmla="*/ 63977 h 1051028"/>
                  <a:gd name="connsiteX22" fmla="*/ 83 w 379658"/>
                  <a:gd name="connsiteY22" fmla="*/ 69799 h 1051028"/>
                  <a:gd name="connsiteX23" fmla="*/ 0 w 379658"/>
                  <a:gd name="connsiteY23" fmla="*/ 71306 h 1051028"/>
                  <a:gd name="connsiteX24" fmla="*/ 0 w 379658"/>
                  <a:gd name="connsiteY24" fmla="*/ 979950 h 1051028"/>
                  <a:gd name="connsiteX25" fmla="*/ 310 w 379658"/>
                  <a:gd name="connsiteY25" fmla="*/ 985771 h 1051028"/>
                  <a:gd name="connsiteX26" fmla="*/ 372 w 379658"/>
                  <a:gd name="connsiteY26" fmla="*/ 987237 h 1051028"/>
                  <a:gd name="connsiteX27" fmla="*/ 599 w 379658"/>
                  <a:gd name="connsiteY27" fmla="*/ 988662 h 1051028"/>
                  <a:gd name="connsiteX28" fmla="*/ 1054 w 379658"/>
                  <a:gd name="connsiteY28" fmla="*/ 991531 h 1051028"/>
                  <a:gd name="connsiteX29" fmla="*/ 1467 w 379658"/>
                  <a:gd name="connsiteY29" fmla="*/ 994401 h 1051028"/>
                  <a:gd name="connsiteX30" fmla="*/ 2211 w 379658"/>
                  <a:gd name="connsiteY30" fmla="*/ 997208 h 1051028"/>
                  <a:gd name="connsiteX31" fmla="*/ 26885 w 379658"/>
                  <a:gd name="connsiteY31" fmla="*/ 1035545 h 1051028"/>
                  <a:gd name="connsiteX32" fmla="*/ 47075 w 379658"/>
                  <a:gd name="connsiteY32" fmla="*/ 1046755 h 1051028"/>
                  <a:gd name="connsiteX33" fmla="*/ 49782 w 379658"/>
                  <a:gd name="connsiteY33" fmla="*/ 1047767 h 1051028"/>
                  <a:gd name="connsiteX34" fmla="*/ 52593 w 379658"/>
                  <a:gd name="connsiteY34" fmla="*/ 1048489 h 1051028"/>
                  <a:gd name="connsiteX35" fmla="*/ 55403 w 379658"/>
                  <a:gd name="connsiteY35" fmla="*/ 1049212 h 1051028"/>
                  <a:gd name="connsiteX36" fmla="*/ 56808 w 379658"/>
                  <a:gd name="connsiteY36" fmla="*/ 1049583 h 1051028"/>
                  <a:gd name="connsiteX37" fmla="*/ 58255 w 379658"/>
                  <a:gd name="connsiteY37" fmla="*/ 1049790 h 1051028"/>
                  <a:gd name="connsiteX38" fmla="*/ 64000 w 379658"/>
                  <a:gd name="connsiteY38" fmla="*/ 1050657 h 1051028"/>
                  <a:gd name="connsiteX39" fmla="*/ 69827 w 379658"/>
                  <a:gd name="connsiteY39" fmla="*/ 1050946 h 1051028"/>
                  <a:gd name="connsiteX40" fmla="*/ 308529 w 379658"/>
                  <a:gd name="connsiteY40" fmla="*/ 1051028 h 1051028"/>
                  <a:gd name="connsiteX41" fmla="*/ 351719 w 379658"/>
                  <a:gd name="connsiteY41" fmla="*/ 1036309 h 1051028"/>
                  <a:gd name="connsiteX42" fmla="*/ 367632 w 379658"/>
                  <a:gd name="connsiteY42" fmla="*/ 1019484 h 1051028"/>
                  <a:gd name="connsiteX43" fmla="*/ 377117 w 379658"/>
                  <a:gd name="connsiteY43" fmla="*/ 998447 h 1051028"/>
                  <a:gd name="connsiteX44" fmla="*/ 377840 w 379658"/>
                  <a:gd name="connsiteY44" fmla="*/ 995639 h 1051028"/>
                  <a:gd name="connsiteX45" fmla="*/ 378212 w 379658"/>
                  <a:gd name="connsiteY45" fmla="*/ 994236 h 1051028"/>
                  <a:gd name="connsiteX46" fmla="*/ 378419 w 379658"/>
                  <a:gd name="connsiteY46" fmla="*/ 992790 h 1051028"/>
                  <a:gd name="connsiteX47" fmla="*/ 379287 w 379658"/>
                  <a:gd name="connsiteY47" fmla="*/ 987051 h 1051028"/>
                  <a:gd name="connsiteX48" fmla="*/ 379576 w 379658"/>
                  <a:gd name="connsiteY48" fmla="*/ 981230 h 1051028"/>
                  <a:gd name="connsiteX49" fmla="*/ 379659 w 379658"/>
                  <a:gd name="connsiteY49" fmla="*/ 979723 h 1051028"/>
                  <a:gd name="connsiteX50" fmla="*/ 379659 w 379658"/>
                  <a:gd name="connsiteY50" fmla="*/ 71058 h 1051028"/>
                  <a:gd name="connsiteX51" fmla="*/ 379349 w 379658"/>
                  <a:gd name="connsiteY51" fmla="*/ 65236 h 1051028"/>
                  <a:gd name="connsiteX52" fmla="*/ 379287 w 379658"/>
                  <a:gd name="connsiteY52" fmla="*/ 63771 h 1051028"/>
                  <a:gd name="connsiteX53" fmla="*/ 337626 w 379658"/>
                  <a:gd name="connsiteY53" fmla="*/ 406902 h 1051028"/>
                  <a:gd name="connsiteX54" fmla="*/ 337626 w 379658"/>
                  <a:gd name="connsiteY54" fmla="*/ 979702 h 1051028"/>
                  <a:gd name="connsiteX55" fmla="*/ 337584 w 379658"/>
                  <a:gd name="connsiteY55" fmla="*/ 980177 h 1051028"/>
                  <a:gd name="connsiteX56" fmla="*/ 337543 w 379658"/>
                  <a:gd name="connsiteY56" fmla="*/ 980486 h 1051028"/>
                  <a:gd name="connsiteX57" fmla="*/ 337461 w 379658"/>
                  <a:gd name="connsiteY57" fmla="*/ 982922 h 1051028"/>
                  <a:gd name="connsiteX58" fmla="*/ 337068 w 379658"/>
                  <a:gd name="connsiteY58" fmla="*/ 985255 h 1051028"/>
                  <a:gd name="connsiteX59" fmla="*/ 337027 w 379658"/>
                  <a:gd name="connsiteY59" fmla="*/ 985854 h 1051028"/>
                  <a:gd name="connsiteX60" fmla="*/ 336841 w 379658"/>
                  <a:gd name="connsiteY60" fmla="*/ 986411 h 1051028"/>
                  <a:gd name="connsiteX61" fmla="*/ 336531 w 379658"/>
                  <a:gd name="connsiteY61" fmla="*/ 987526 h 1051028"/>
                  <a:gd name="connsiteX62" fmla="*/ 332728 w 379658"/>
                  <a:gd name="connsiteY62" fmla="*/ 996073 h 1051028"/>
                  <a:gd name="connsiteX63" fmla="*/ 326136 w 379658"/>
                  <a:gd name="connsiteY63" fmla="*/ 1002968 h 1051028"/>
                  <a:gd name="connsiteX64" fmla="*/ 317870 w 379658"/>
                  <a:gd name="connsiteY64" fmla="*/ 1007407 h 1051028"/>
                  <a:gd name="connsiteX65" fmla="*/ 308550 w 379658"/>
                  <a:gd name="connsiteY65" fmla="*/ 1008996 h 1051028"/>
                  <a:gd name="connsiteX66" fmla="*/ 70592 w 379658"/>
                  <a:gd name="connsiteY66" fmla="*/ 1008914 h 1051028"/>
                  <a:gd name="connsiteX67" fmla="*/ 68153 w 379658"/>
                  <a:gd name="connsiteY67" fmla="*/ 1008831 h 1051028"/>
                  <a:gd name="connsiteX68" fmla="*/ 65818 w 379658"/>
                  <a:gd name="connsiteY68" fmla="*/ 1008439 h 1051028"/>
                  <a:gd name="connsiteX69" fmla="*/ 65219 w 379658"/>
                  <a:gd name="connsiteY69" fmla="*/ 1008398 h 1051028"/>
                  <a:gd name="connsiteX70" fmla="*/ 64661 w 379658"/>
                  <a:gd name="connsiteY70" fmla="*/ 1008212 h 1051028"/>
                  <a:gd name="connsiteX71" fmla="*/ 63545 w 379658"/>
                  <a:gd name="connsiteY71" fmla="*/ 1007902 h 1051028"/>
                  <a:gd name="connsiteX72" fmla="*/ 62388 w 379658"/>
                  <a:gd name="connsiteY72" fmla="*/ 1007675 h 1051028"/>
                  <a:gd name="connsiteX73" fmla="*/ 61313 w 379658"/>
                  <a:gd name="connsiteY73" fmla="*/ 1007200 h 1051028"/>
                  <a:gd name="connsiteX74" fmla="*/ 53089 w 379658"/>
                  <a:gd name="connsiteY74" fmla="*/ 1002658 h 1051028"/>
                  <a:gd name="connsiteX75" fmla="*/ 43004 w 379658"/>
                  <a:gd name="connsiteY75" fmla="*/ 987010 h 1051028"/>
                  <a:gd name="connsiteX76" fmla="*/ 42653 w 379658"/>
                  <a:gd name="connsiteY76" fmla="*/ 985895 h 1051028"/>
                  <a:gd name="connsiteX77" fmla="*/ 42549 w 379658"/>
                  <a:gd name="connsiteY77" fmla="*/ 984719 h 1051028"/>
                  <a:gd name="connsiteX78" fmla="*/ 42343 w 379658"/>
                  <a:gd name="connsiteY78" fmla="*/ 983562 h 1051028"/>
                  <a:gd name="connsiteX79" fmla="*/ 42198 w 379658"/>
                  <a:gd name="connsiteY79" fmla="*/ 982984 h 1051028"/>
                  <a:gd name="connsiteX80" fmla="*/ 42198 w 379658"/>
                  <a:gd name="connsiteY80" fmla="*/ 982365 h 1051028"/>
                  <a:gd name="connsiteX81" fmla="*/ 42053 w 379658"/>
                  <a:gd name="connsiteY81" fmla="*/ 979929 h 1051028"/>
                  <a:gd name="connsiteX82" fmla="*/ 42053 w 379658"/>
                  <a:gd name="connsiteY82" fmla="*/ 71285 h 1051028"/>
                  <a:gd name="connsiteX83" fmla="*/ 42095 w 379658"/>
                  <a:gd name="connsiteY83" fmla="*/ 70810 h 1051028"/>
                  <a:gd name="connsiteX84" fmla="*/ 42136 w 379658"/>
                  <a:gd name="connsiteY84" fmla="*/ 70501 h 1051028"/>
                  <a:gd name="connsiteX85" fmla="*/ 42219 w 379658"/>
                  <a:gd name="connsiteY85" fmla="*/ 68065 h 1051028"/>
                  <a:gd name="connsiteX86" fmla="*/ 42611 w 379658"/>
                  <a:gd name="connsiteY86" fmla="*/ 65732 h 1051028"/>
                  <a:gd name="connsiteX87" fmla="*/ 42653 w 379658"/>
                  <a:gd name="connsiteY87" fmla="*/ 65133 h 1051028"/>
                  <a:gd name="connsiteX88" fmla="*/ 42839 w 379658"/>
                  <a:gd name="connsiteY88" fmla="*/ 64576 h 1051028"/>
                  <a:gd name="connsiteX89" fmla="*/ 43149 w 379658"/>
                  <a:gd name="connsiteY89" fmla="*/ 63461 h 1051028"/>
                  <a:gd name="connsiteX90" fmla="*/ 46951 w 379658"/>
                  <a:gd name="connsiteY90" fmla="*/ 54914 h 1051028"/>
                  <a:gd name="connsiteX91" fmla="*/ 53543 w 379658"/>
                  <a:gd name="connsiteY91" fmla="*/ 48019 h 1051028"/>
                  <a:gd name="connsiteX92" fmla="*/ 61809 w 379658"/>
                  <a:gd name="connsiteY92" fmla="*/ 43580 h 1051028"/>
                  <a:gd name="connsiteX93" fmla="*/ 71129 w 379658"/>
                  <a:gd name="connsiteY93" fmla="*/ 41991 h 1051028"/>
                  <a:gd name="connsiteX94" fmla="*/ 309087 w 379658"/>
                  <a:gd name="connsiteY94" fmla="*/ 42073 h 1051028"/>
                  <a:gd name="connsiteX95" fmla="*/ 311526 w 379658"/>
                  <a:gd name="connsiteY95" fmla="*/ 42156 h 1051028"/>
                  <a:gd name="connsiteX96" fmla="*/ 313861 w 379658"/>
                  <a:gd name="connsiteY96" fmla="*/ 42548 h 1051028"/>
                  <a:gd name="connsiteX97" fmla="*/ 314460 w 379658"/>
                  <a:gd name="connsiteY97" fmla="*/ 42589 h 1051028"/>
                  <a:gd name="connsiteX98" fmla="*/ 315018 w 379658"/>
                  <a:gd name="connsiteY98" fmla="*/ 42775 h 1051028"/>
                  <a:gd name="connsiteX99" fmla="*/ 316134 w 379658"/>
                  <a:gd name="connsiteY99" fmla="*/ 43085 h 1051028"/>
                  <a:gd name="connsiteX100" fmla="*/ 317291 w 379658"/>
                  <a:gd name="connsiteY100" fmla="*/ 43312 h 1051028"/>
                  <a:gd name="connsiteX101" fmla="*/ 318366 w 379658"/>
                  <a:gd name="connsiteY101" fmla="*/ 43787 h 1051028"/>
                  <a:gd name="connsiteX102" fmla="*/ 326591 w 379658"/>
                  <a:gd name="connsiteY102" fmla="*/ 48329 h 1051028"/>
                  <a:gd name="connsiteX103" fmla="*/ 336675 w 379658"/>
                  <a:gd name="connsiteY103" fmla="*/ 63977 h 1051028"/>
                  <a:gd name="connsiteX104" fmla="*/ 337027 w 379658"/>
                  <a:gd name="connsiteY104" fmla="*/ 65092 h 1051028"/>
                  <a:gd name="connsiteX105" fmla="*/ 337130 w 379658"/>
                  <a:gd name="connsiteY105" fmla="*/ 66269 h 1051028"/>
                  <a:gd name="connsiteX106" fmla="*/ 337337 w 379658"/>
                  <a:gd name="connsiteY106" fmla="*/ 67425 h 1051028"/>
                  <a:gd name="connsiteX107" fmla="*/ 337481 w 379658"/>
                  <a:gd name="connsiteY107" fmla="*/ 68003 h 1051028"/>
                  <a:gd name="connsiteX108" fmla="*/ 337481 w 379658"/>
                  <a:gd name="connsiteY108" fmla="*/ 68622 h 1051028"/>
                  <a:gd name="connsiteX109" fmla="*/ 337626 w 379658"/>
                  <a:gd name="connsiteY109" fmla="*/ 71058 h 1051028"/>
                  <a:gd name="connsiteX110" fmla="*/ 337626 w 379658"/>
                  <a:gd name="connsiteY110" fmla="*/ 406902 h 1051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</a:cxnLst>
                <a:rect l="l" t="t" r="r" b="b"/>
                <a:pathLst>
                  <a:path w="379658" h="1051028">
                    <a:moveTo>
                      <a:pt x="379287" y="63791"/>
                    </a:moveTo>
                    <a:lnTo>
                      <a:pt x="379059" y="62367"/>
                    </a:lnTo>
                    <a:lnTo>
                      <a:pt x="378605" y="59497"/>
                    </a:lnTo>
                    <a:lnTo>
                      <a:pt x="378191" y="56628"/>
                    </a:lnTo>
                    <a:lnTo>
                      <a:pt x="377447" y="53820"/>
                    </a:lnTo>
                    <a:cubicBezTo>
                      <a:pt x="373934" y="38750"/>
                      <a:pt x="364800" y="25207"/>
                      <a:pt x="352773" y="15483"/>
                    </a:cubicBezTo>
                    <a:cubicBezTo>
                      <a:pt x="346780" y="10549"/>
                      <a:pt x="339816" y="6875"/>
                      <a:pt x="332584" y="4273"/>
                    </a:cubicBezTo>
                    <a:lnTo>
                      <a:pt x="329876" y="3262"/>
                    </a:lnTo>
                    <a:cubicBezTo>
                      <a:pt x="328947" y="2993"/>
                      <a:pt x="327996" y="2787"/>
                      <a:pt x="327066" y="2539"/>
                    </a:cubicBezTo>
                    <a:lnTo>
                      <a:pt x="324256" y="1817"/>
                    </a:lnTo>
                    <a:lnTo>
                      <a:pt x="322850" y="1445"/>
                    </a:lnTo>
                    <a:lnTo>
                      <a:pt x="321404" y="1239"/>
                    </a:lnTo>
                    <a:lnTo>
                      <a:pt x="315659" y="372"/>
                    </a:lnTo>
                    <a:lnTo>
                      <a:pt x="309831" y="83"/>
                    </a:lnTo>
                    <a:lnTo>
                      <a:pt x="71129" y="0"/>
                    </a:lnTo>
                    <a:cubicBezTo>
                      <a:pt x="55610" y="248"/>
                      <a:pt x="40152" y="5037"/>
                      <a:pt x="27939" y="14719"/>
                    </a:cubicBezTo>
                    <a:cubicBezTo>
                      <a:pt x="21802" y="19447"/>
                      <a:pt x="16408" y="25145"/>
                      <a:pt x="12027" y="31545"/>
                    </a:cubicBezTo>
                    <a:cubicBezTo>
                      <a:pt x="7729" y="38006"/>
                      <a:pt x="4567" y="45149"/>
                      <a:pt x="2542" y="52581"/>
                    </a:cubicBezTo>
                    <a:lnTo>
                      <a:pt x="1819" y="55389"/>
                    </a:lnTo>
                    <a:cubicBezTo>
                      <a:pt x="1695" y="55864"/>
                      <a:pt x="1550" y="56318"/>
                      <a:pt x="1447" y="56793"/>
                    </a:cubicBezTo>
                    <a:lnTo>
                      <a:pt x="1240" y="58238"/>
                    </a:lnTo>
                    <a:lnTo>
                      <a:pt x="372" y="63977"/>
                    </a:lnTo>
                    <a:lnTo>
                      <a:pt x="83" y="69799"/>
                    </a:lnTo>
                    <a:cubicBezTo>
                      <a:pt x="62" y="70315"/>
                      <a:pt x="21" y="70707"/>
                      <a:pt x="0" y="71306"/>
                    </a:cubicBezTo>
                    <a:lnTo>
                      <a:pt x="0" y="979950"/>
                    </a:lnTo>
                    <a:lnTo>
                      <a:pt x="310" y="985771"/>
                    </a:lnTo>
                    <a:lnTo>
                      <a:pt x="372" y="987237"/>
                    </a:lnTo>
                    <a:lnTo>
                      <a:pt x="599" y="988662"/>
                    </a:lnTo>
                    <a:lnTo>
                      <a:pt x="1054" y="991531"/>
                    </a:lnTo>
                    <a:lnTo>
                      <a:pt x="1467" y="994401"/>
                    </a:lnTo>
                    <a:lnTo>
                      <a:pt x="2211" y="997208"/>
                    </a:lnTo>
                    <a:cubicBezTo>
                      <a:pt x="5724" y="1012279"/>
                      <a:pt x="14858" y="1025822"/>
                      <a:pt x="26885" y="1035545"/>
                    </a:cubicBezTo>
                    <a:cubicBezTo>
                      <a:pt x="32878" y="1040479"/>
                      <a:pt x="39842" y="1044154"/>
                      <a:pt x="47075" y="1046755"/>
                    </a:cubicBezTo>
                    <a:lnTo>
                      <a:pt x="49782" y="1047767"/>
                    </a:lnTo>
                    <a:cubicBezTo>
                      <a:pt x="50712" y="1048035"/>
                      <a:pt x="51663" y="1048241"/>
                      <a:pt x="52593" y="1048489"/>
                    </a:cubicBezTo>
                    <a:lnTo>
                      <a:pt x="55403" y="1049212"/>
                    </a:lnTo>
                    <a:lnTo>
                      <a:pt x="56808" y="1049583"/>
                    </a:lnTo>
                    <a:lnTo>
                      <a:pt x="58255" y="1049790"/>
                    </a:lnTo>
                    <a:lnTo>
                      <a:pt x="64000" y="1050657"/>
                    </a:lnTo>
                    <a:lnTo>
                      <a:pt x="69827" y="1050946"/>
                    </a:lnTo>
                    <a:lnTo>
                      <a:pt x="308529" y="1051028"/>
                    </a:lnTo>
                    <a:cubicBezTo>
                      <a:pt x="324049" y="1050781"/>
                      <a:pt x="339506" y="1045991"/>
                      <a:pt x="351719" y="1036309"/>
                    </a:cubicBezTo>
                    <a:cubicBezTo>
                      <a:pt x="357857" y="1031581"/>
                      <a:pt x="363251" y="1025883"/>
                      <a:pt x="367632" y="1019484"/>
                    </a:cubicBezTo>
                    <a:cubicBezTo>
                      <a:pt x="371930" y="1013022"/>
                      <a:pt x="375092" y="1005879"/>
                      <a:pt x="377117" y="998447"/>
                    </a:cubicBezTo>
                    <a:lnTo>
                      <a:pt x="377840" y="995639"/>
                    </a:lnTo>
                    <a:cubicBezTo>
                      <a:pt x="377964" y="995165"/>
                      <a:pt x="378109" y="994710"/>
                      <a:pt x="378212" y="994236"/>
                    </a:cubicBezTo>
                    <a:lnTo>
                      <a:pt x="378419" y="992790"/>
                    </a:lnTo>
                    <a:lnTo>
                      <a:pt x="379287" y="987051"/>
                    </a:lnTo>
                    <a:lnTo>
                      <a:pt x="379576" y="981230"/>
                    </a:lnTo>
                    <a:cubicBezTo>
                      <a:pt x="379597" y="980714"/>
                      <a:pt x="379638" y="980321"/>
                      <a:pt x="379659" y="979723"/>
                    </a:cubicBezTo>
                    <a:lnTo>
                      <a:pt x="379659" y="71058"/>
                    </a:lnTo>
                    <a:lnTo>
                      <a:pt x="379349" y="65236"/>
                    </a:lnTo>
                    <a:lnTo>
                      <a:pt x="379287" y="63771"/>
                    </a:lnTo>
                    <a:close/>
                    <a:moveTo>
                      <a:pt x="337626" y="406902"/>
                    </a:moveTo>
                    <a:lnTo>
                      <a:pt x="337626" y="979702"/>
                    </a:lnTo>
                    <a:cubicBezTo>
                      <a:pt x="337626" y="980115"/>
                      <a:pt x="337605" y="980012"/>
                      <a:pt x="337584" y="980177"/>
                    </a:cubicBezTo>
                    <a:lnTo>
                      <a:pt x="337543" y="980486"/>
                    </a:lnTo>
                    <a:cubicBezTo>
                      <a:pt x="337440" y="981292"/>
                      <a:pt x="337419" y="982097"/>
                      <a:pt x="337461" y="982922"/>
                    </a:cubicBezTo>
                    <a:cubicBezTo>
                      <a:pt x="337295" y="983707"/>
                      <a:pt x="337130" y="984471"/>
                      <a:pt x="337068" y="985255"/>
                    </a:cubicBezTo>
                    <a:lnTo>
                      <a:pt x="337027" y="985854"/>
                    </a:lnTo>
                    <a:cubicBezTo>
                      <a:pt x="336985" y="986040"/>
                      <a:pt x="336903" y="986226"/>
                      <a:pt x="336841" y="986411"/>
                    </a:cubicBezTo>
                    <a:cubicBezTo>
                      <a:pt x="336717" y="986783"/>
                      <a:pt x="336613" y="987155"/>
                      <a:pt x="336531" y="987526"/>
                    </a:cubicBezTo>
                    <a:cubicBezTo>
                      <a:pt x="335704" y="990520"/>
                      <a:pt x="334485" y="993410"/>
                      <a:pt x="332728" y="996073"/>
                    </a:cubicBezTo>
                    <a:cubicBezTo>
                      <a:pt x="330889" y="998674"/>
                      <a:pt x="328657" y="1001028"/>
                      <a:pt x="326136" y="1002968"/>
                    </a:cubicBezTo>
                    <a:cubicBezTo>
                      <a:pt x="323636" y="1004929"/>
                      <a:pt x="320846" y="1006540"/>
                      <a:pt x="317870" y="1007407"/>
                    </a:cubicBezTo>
                    <a:cubicBezTo>
                      <a:pt x="314915" y="1008356"/>
                      <a:pt x="311836" y="1008872"/>
                      <a:pt x="308550" y="1008996"/>
                    </a:cubicBezTo>
                    <a:lnTo>
                      <a:pt x="70592" y="1008914"/>
                    </a:lnTo>
                    <a:cubicBezTo>
                      <a:pt x="69786" y="1008811"/>
                      <a:pt x="68980" y="1008790"/>
                      <a:pt x="68153" y="1008831"/>
                    </a:cubicBezTo>
                    <a:cubicBezTo>
                      <a:pt x="67368" y="1008666"/>
                      <a:pt x="66603" y="1008501"/>
                      <a:pt x="65818" y="1008439"/>
                    </a:cubicBezTo>
                    <a:lnTo>
                      <a:pt x="65219" y="1008398"/>
                    </a:lnTo>
                    <a:lnTo>
                      <a:pt x="64661" y="1008212"/>
                    </a:lnTo>
                    <a:cubicBezTo>
                      <a:pt x="64289" y="1008088"/>
                      <a:pt x="63917" y="1007985"/>
                      <a:pt x="63545" y="1007902"/>
                    </a:cubicBezTo>
                    <a:lnTo>
                      <a:pt x="62388" y="1007675"/>
                    </a:lnTo>
                    <a:cubicBezTo>
                      <a:pt x="62037" y="1007510"/>
                      <a:pt x="61685" y="1007345"/>
                      <a:pt x="61313" y="1007200"/>
                    </a:cubicBezTo>
                    <a:cubicBezTo>
                      <a:pt x="58399" y="1006147"/>
                      <a:pt x="55506" y="1004764"/>
                      <a:pt x="53089" y="1002658"/>
                    </a:cubicBezTo>
                    <a:cubicBezTo>
                      <a:pt x="48191" y="998592"/>
                      <a:pt x="44306" y="993100"/>
                      <a:pt x="43004" y="987010"/>
                    </a:cubicBezTo>
                    <a:cubicBezTo>
                      <a:pt x="42901" y="986638"/>
                      <a:pt x="42777" y="986267"/>
                      <a:pt x="42653" y="985895"/>
                    </a:cubicBezTo>
                    <a:cubicBezTo>
                      <a:pt x="42611" y="985503"/>
                      <a:pt x="42591" y="985111"/>
                      <a:pt x="42549" y="984719"/>
                    </a:cubicBezTo>
                    <a:cubicBezTo>
                      <a:pt x="42508" y="984326"/>
                      <a:pt x="42425" y="983934"/>
                      <a:pt x="42343" y="983562"/>
                    </a:cubicBezTo>
                    <a:lnTo>
                      <a:pt x="42198" y="982984"/>
                    </a:lnTo>
                    <a:lnTo>
                      <a:pt x="42198" y="982365"/>
                    </a:lnTo>
                    <a:cubicBezTo>
                      <a:pt x="42219" y="981539"/>
                      <a:pt x="42177" y="980775"/>
                      <a:pt x="42053" y="979929"/>
                    </a:cubicBezTo>
                    <a:lnTo>
                      <a:pt x="42053" y="71285"/>
                    </a:lnTo>
                    <a:cubicBezTo>
                      <a:pt x="42053" y="70872"/>
                      <a:pt x="42074" y="70976"/>
                      <a:pt x="42095" y="70810"/>
                    </a:cubicBezTo>
                    <a:lnTo>
                      <a:pt x="42136" y="70501"/>
                    </a:lnTo>
                    <a:cubicBezTo>
                      <a:pt x="42239" y="69696"/>
                      <a:pt x="42260" y="68890"/>
                      <a:pt x="42219" y="68065"/>
                    </a:cubicBezTo>
                    <a:cubicBezTo>
                      <a:pt x="42384" y="67280"/>
                      <a:pt x="42549" y="66516"/>
                      <a:pt x="42611" y="65732"/>
                    </a:cubicBezTo>
                    <a:lnTo>
                      <a:pt x="42653" y="65133"/>
                    </a:lnTo>
                    <a:cubicBezTo>
                      <a:pt x="42694" y="64947"/>
                      <a:pt x="42777" y="64762"/>
                      <a:pt x="42839" y="64576"/>
                    </a:cubicBezTo>
                    <a:cubicBezTo>
                      <a:pt x="42963" y="64204"/>
                      <a:pt x="43066" y="63833"/>
                      <a:pt x="43149" y="63461"/>
                    </a:cubicBezTo>
                    <a:cubicBezTo>
                      <a:pt x="43975" y="60468"/>
                      <a:pt x="45194" y="57577"/>
                      <a:pt x="46951" y="54914"/>
                    </a:cubicBezTo>
                    <a:cubicBezTo>
                      <a:pt x="48790" y="52313"/>
                      <a:pt x="51022" y="49960"/>
                      <a:pt x="53543" y="48019"/>
                    </a:cubicBezTo>
                    <a:cubicBezTo>
                      <a:pt x="56044" y="46058"/>
                      <a:pt x="58834" y="44447"/>
                      <a:pt x="61809" y="43580"/>
                    </a:cubicBezTo>
                    <a:cubicBezTo>
                      <a:pt x="64764" y="42631"/>
                      <a:pt x="67843" y="42115"/>
                      <a:pt x="71129" y="41991"/>
                    </a:cubicBezTo>
                    <a:lnTo>
                      <a:pt x="309087" y="42073"/>
                    </a:lnTo>
                    <a:cubicBezTo>
                      <a:pt x="309893" y="42177"/>
                      <a:pt x="310699" y="42197"/>
                      <a:pt x="311526" y="42156"/>
                    </a:cubicBezTo>
                    <a:cubicBezTo>
                      <a:pt x="312311" y="42321"/>
                      <a:pt x="313076" y="42486"/>
                      <a:pt x="313861" y="42548"/>
                    </a:cubicBezTo>
                    <a:lnTo>
                      <a:pt x="314460" y="42589"/>
                    </a:lnTo>
                    <a:lnTo>
                      <a:pt x="315018" y="42775"/>
                    </a:lnTo>
                    <a:cubicBezTo>
                      <a:pt x="315390" y="42899"/>
                      <a:pt x="315762" y="43002"/>
                      <a:pt x="316134" y="43085"/>
                    </a:cubicBezTo>
                    <a:lnTo>
                      <a:pt x="317291" y="43312"/>
                    </a:lnTo>
                    <a:cubicBezTo>
                      <a:pt x="317643" y="43477"/>
                      <a:pt x="317994" y="43642"/>
                      <a:pt x="318366" y="43787"/>
                    </a:cubicBezTo>
                    <a:cubicBezTo>
                      <a:pt x="321280" y="44840"/>
                      <a:pt x="324173" y="46223"/>
                      <a:pt x="326591" y="48329"/>
                    </a:cubicBezTo>
                    <a:cubicBezTo>
                      <a:pt x="331488" y="52396"/>
                      <a:pt x="335373" y="57887"/>
                      <a:pt x="336675" y="63977"/>
                    </a:cubicBezTo>
                    <a:cubicBezTo>
                      <a:pt x="336779" y="64349"/>
                      <a:pt x="336903" y="64720"/>
                      <a:pt x="337027" y="65092"/>
                    </a:cubicBezTo>
                    <a:cubicBezTo>
                      <a:pt x="337068" y="65484"/>
                      <a:pt x="337089" y="65876"/>
                      <a:pt x="337130" y="66269"/>
                    </a:cubicBezTo>
                    <a:cubicBezTo>
                      <a:pt x="337171" y="66661"/>
                      <a:pt x="337254" y="67053"/>
                      <a:pt x="337337" y="67425"/>
                    </a:cubicBezTo>
                    <a:lnTo>
                      <a:pt x="337481" y="68003"/>
                    </a:lnTo>
                    <a:lnTo>
                      <a:pt x="337481" y="68622"/>
                    </a:lnTo>
                    <a:cubicBezTo>
                      <a:pt x="337461" y="69448"/>
                      <a:pt x="337502" y="70212"/>
                      <a:pt x="337626" y="71058"/>
                    </a:cubicBezTo>
                    <a:lnTo>
                      <a:pt x="337626" y="406902"/>
                    </a:lnTo>
                    <a:close/>
                  </a:path>
                </a:pathLst>
              </a:custGeom>
              <a:grpFill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</p:grpSp>
        <p:grpSp>
          <p:nvGrpSpPr>
            <p:cNvPr id="516" name="Group 515">
              <a:extLst>
                <a:ext uri="{FF2B5EF4-FFF2-40B4-BE49-F238E27FC236}">
                  <a16:creationId xmlns:a16="http://schemas.microsoft.com/office/drawing/2014/main" id="{8A537D1C-5829-9AEA-19E8-A0E3D6D31DEC}"/>
                </a:ext>
              </a:extLst>
            </p:cNvPr>
            <p:cNvGrpSpPr/>
            <p:nvPr/>
          </p:nvGrpSpPr>
          <p:grpSpPr>
            <a:xfrm>
              <a:off x="3127177" y="4407862"/>
              <a:ext cx="323003" cy="509562"/>
              <a:chOff x="2792529" y="2686675"/>
              <a:chExt cx="1318152" cy="2079481"/>
            </a:xfrm>
            <a:solidFill>
              <a:schemeClr val="accent5"/>
            </a:solidFill>
          </p:grpSpPr>
          <p:sp>
            <p:nvSpPr>
              <p:cNvPr id="566" name="Freeform 4">
                <a:extLst>
                  <a:ext uri="{FF2B5EF4-FFF2-40B4-BE49-F238E27FC236}">
                    <a16:creationId xmlns:a16="http://schemas.microsoft.com/office/drawing/2014/main" id="{2A717517-4F1B-1EC7-5C06-B5879C0CEB57}"/>
                  </a:ext>
                </a:extLst>
              </p:cNvPr>
              <p:cNvSpPr/>
              <p:nvPr/>
            </p:nvSpPr>
            <p:spPr>
              <a:xfrm>
                <a:off x="2792529" y="3064477"/>
                <a:ext cx="926459" cy="1701679"/>
              </a:xfrm>
              <a:custGeom>
                <a:avLst/>
                <a:gdLst>
                  <a:gd name="connsiteX0" fmla="*/ 926380 w 926459"/>
                  <a:gd name="connsiteY0" fmla="*/ 185894 h 1701679"/>
                  <a:gd name="connsiteX1" fmla="*/ 920604 w 926459"/>
                  <a:gd name="connsiteY1" fmla="*/ 142489 h 1701679"/>
                  <a:gd name="connsiteX2" fmla="*/ 880217 w 926459"/>
                  <a:gd name="connsiteY2" fmla="*/ 65326 h 1701679"/>
                  <a:gd name="connsiteX3" fmla="*/ 809718 w 926459"/>
                  <a:gd name="connsiteY3" fmla="*/ 14408 h 1701679"/>
                  <a:gd name="connsiteX4" fmla="*/ 767499 w 926459"/>
                  <a:gd name="connsiteY4" fmla="*/ 2431 h 1701679"/>
                  <a:gd name="connsiteX5" fmla="*/ 756625 w 926459"/>
                  <a:gd name="connsiteY5" fmla="*/ 977 h 1701679"/>
                  <a:gd name="connsiteX6" fmla="*/ 745712 w 926459"/>
                  <a:gd name="connsiteY6" fmla="*/ 199 h 1701679"/>
                  <a:gd name="connsiteX7" fmla="*/ 740255 w 926459"/>
                  <a:gd name="connsiteY7" fmla="*/ 60 h 1701679"/>
                  <a:gd name="connsiteX8" fmla="*/ 737527 w 926459"/>
                  <a:gd name="connsiteY8" fmla="*/ 0 h 1701679"/>
                  <a:gd name="connsiteX9" fmla="*/ 189092 w 926459"/>
                  <a:gd name="connsiteY9" fmla="*/ 0 h 1701679"/>
                  <a:gd name="connsiteX10" fmla="*/ 104394 w 926459"/>
                  <a:gd name="connsiteY10" fmla="*/ 20048 h 1701679"/>
                  <a:gd name="connsiteX11" fmla="*/ 67790 w 926459"/>
                  <a:gd name="connsiteY11" fmla="*/ 44082 h 1701679"/>
                  <a:gd name="connsiteX12" fmla="*/ 37699 w 926459"/>
                  <a:gd name="connsiteY12" fmla="*/ 75828 h 1701679"/>
                  <a:gd name="connsiteX13" fmla="*/ 2987 w 926459"/>
                  <a:gd name="connsiteY13" fmla="*/ 155762 h 1701679"/>
                  <a:gd name="connsiteX14" fmla="*/ 1374 w 926459"/>
                  <a:gd name="connsiteY14" fmla="*/ 166623 h 1701679"/>
                  <a:gd name="connsiteX15" fmla="*/ 378 w 926459"/>
                  <a:gd name="connsiteY15" fmla="*/ 177544 h 1701679"/>
                  <a:gd name="connsiteX16" fmla="*/ 0 w 926459"/>
                  <a:gd name="connsiteY16" fmla="*/ 188464 h 1701679"/>
                  <a:gd name="connsiteX17" fmla="*/ 0 w 926459"/>
                  <a:gd name="connsiteY17" fmla="*/ 1513036 h 1701679"/>
                  <a:gd name="connsiteX18" fmla="*/ 60 w 926459"/>
                  <a:gd name="connsiteY18" fmla="*/ 1515766 h 1701679"/>
                  <a:gd name="connsiteX19" fmla="*/ 5835 w 926459"/>
                  <a:gd name="connsiteY19" fmla="*/ 1559191 h 1701679"/>
                  <a:gd name="connsiteX20" fmla="*/ 46222 w 926459"/>
                  <a:gd name="connsiteY20" fmla="*/ 1636354 h 1701679"/>
                  <a:gd name="connsiteX21" fmla="*/ 116721 w 926459"/>
                  <a:gd name="connsiteY21" fmla="*/ 1687272 h 1701679"/>
                  <a:gd name="connsiteX22" fmla="*/ 158941 w 926459"/>
                  <a:gd name="connsiteY22" fmla="*/ 1699249 h 1701679"/>
                  <a:gd name="connsiteX23" fmla="*/ 169814 w 926459"/>
                  <a:gd name="connsiteY23" fmla="*/ 1700703 h 1701679"/>
                  <a:gd name="connsiteX24" fmla="*/ 180727 w 926459"/>
                  <a:gd name="connsiteY24" fmla="*/ 1701481 h 1701679"/>
                  <a:gd name="connsiteX25" fmla="*/ 186184 w 926459"/>
                  <a:gd name="connsiteY25" fmla="*/ 1701620 h 1701679"/>
                  <a:gd name="connsiteX26" fmla="*/ 188912 w 926459"/>
                  <a:gd name="connsiteY26" fmla="*/ 1701680 h 1701679"/>
                  <a:gd name="connsiteX27" fmla="*/ 737368 w 926459"/>
                  <a:gd name="connsiteY27" fmla="*/ 1701680 h 1701679"/>
                  <a:gd name="connsiteX28" fmla="*/ 822066 w 926459"/>
                  <a:gd name="connsiteY28" fmla="*/ 1681632 h 1701679"/>
                  <a:gd name="connsiteX29" fmla="*/ 858669 w 926459"/>
                  <a:gd name="connsiteY29" fmla="*/ 1657598 h 1701679"/>
                  <a:gd name="connsiteX30" fmla="*/ 888761 w 926459"/>
                  <a:gd name="connsiteY30" fmla="*/ 1625852 h 1701679"/>
                  <a:gd name="connsiteX31" fmla="*/ 923472 w 926459"/>
                  <a:gd name="connsiteY31" fmla="*/ 1545918 h 1701679"/>
                  <a:gd name="connsiteX32" fmla="*/ 925085 w 926459"/>
                  <a:gd name="connsiteY32" fmla="*/ 1535057 h 1701679"/>
                  <a:gd name="connsiteX33" fmla="*/ 926081 w 926459"/>
                  <a:gd name="connsiteY33" fmla="*/ 1524136 h 1701679"/>
                  <a:gd name="connsiteX34" fmla="*/ 926459 w 926459"/>
                  <a:gd name="connsiteY34" fmla="*/ 1513216 h 1701679"/>
                  <a:gd name="connsiteX35" fmla="*/ 926459 w 926459"/>
                  <a:gd name="connsiteY35" fmla="*/ 188624 h 1701679"/>
                  <a:gd name="connsiteX36" fmla="*/ 926400 w 926459"/>
                  <a:gd name="connsiteY36" fmla="*/ 185894 h 1701679"/>
                  <a:gd name="connsiteX37" fmla="*/ 885933 w 926459"/>
                  <a:gd name="connsiteY37" fmla="*/ 516568 h 1701679"/>
                  <a:gd name="connsiteX38" fmla="*/ 885933 w 926459"/>
                  <a:gd name="connsiteY38" fmla="*/ 1513036 h 1701679"/>
                  <a:gd name="connsiteX39" fmla="*/ 885634 w 926459"/>
                  <a:gd name="connsiteY39" fmla="*/ 1521645 h 1701679"/>
                  <a:gd name="connsiteX40" fmla="*/ 884857 w 926459"/>
                  <a:gd name="connsiteY40" fmla="*/ 1530235 h 1701679"/>
                  <a:gd name="connsiteX41" fmla="*/ 883583 w 926459"/>
                  <a:gd name="connsiteY41" fmla="*/ 1538764 h 1701679"/>
                  <a:gd name="connsiteX42" fmla="*/ 856339 w 926459"/>
                  <a:gd name="connsiteY42" fmla="*/ 1601539 h 1701679"/>
                  <a:gd name="connsiteX43" fmla="*/ 832680 w 926459"/>
                  <a:gd name="connsiteY43" fmla="*/ 1626509 h 1701679"/>
                  <a:gd name="connsiteX44" fmla="*/ 803923 w 926459"/>
                  <a:gd name="connsiteY44" fmla="*/ 1645402 h 1701679"/>
                  <a:gd name="connsiteX45" fmla="*/ 737388 w 926459"/>
                  <a:gd name="connsiteY45" fmla="*/ 1661145 h 1701679"/>
                  <a:gd name="connsiteX46" fmla="*/ 188972 w 926459"/>
                  <a:gd name="connsiteY46" fmla="*/ 1661145 h 1701679"/>
                  <a:gd name="connsiteX47" fmla="*/ 186821 w 926459"/>
                  <a:gd name="connsiteY47" fmla="*/ 1661085 h 1701679"/>
                  <a:gd name="connsiteX48" fmla="*/ 182520 w 926459"/>
                  <a:gd name="connsiteY48" fmla="*/ 1660966 h 1701679"/>
                  <a:gd name="connsiteX49" fmla="*/ 173936 w 926459"/>
                  <a:gd name="connsiteY49" fmla="*/ 1660368 h 1701679"/>
                  <a:gd name="connsiteX50" fmla="*/ 165393 w 926459"/>
                  <a:gd name="connsiteY50" fmla="*/ 1659232 h 1701679"/>
                  <a:gd name="connsiteX51" fmla="*/ 132255 w 926459"/>
                  <a:gd name="connsiteY51" fmla="*/ 1649846 h 1701679"/>
                  <a:gd name="connsiteX52" fmla="*/ 76851 w 926459"/>
                  <a:gd name="connsiteY52" fmla="*/ 1609809 h 1701679"/>
                  <a:gd name="connsiteX53" fmla="*/ 45107 w 926459"/>
                  <a:gd name="connsiteY53" fmla="*/ 1549207 h 1701679"/>
                  <a:gd name="connsiteX54" fmla="*/ 40586 w 926459"/>
                  <a:gd name="connsiteY54" fmla="*/ 1515089 h 1701679"/>
                  <a:gd name="connsiteX55" fmla="*/ 40527 w 926459"/>
                  <a:gd name="connsiteY55" fmla="*/ 1507257 h 1701679"/>
                  <a:gd name="connsiteX56" fmla="*/ 40527 w 926459"/>
                  <a:gd name="connsiteY56" fmla="*/ 188624 h 1701679"/>
                  <a:gd name="connsiteX57" fmla="*/ 40825 w 926459"/>
                  <a:gd name="connsiteY57" fmla="*/ 180015 h 1701679"/>
                  <a:gd name="connsiteX58" fmla="*/ 41602 w 926459"/>
                  <a:gd name="connsiteY58" fmla="*/ 171426 h 1701679"/>
                  <a:gd name="connsiteX59" fmla="*/ 42877 w 926459"/>
                  <a:gd name="connsiteY59" fmla="*/ 162896 h 1701679"/>
                  <a:gd name="connsiteX60" fmla="*/ 70120 w 926459"/>
                  <a:gd name="connsiteY60" fmla="*/ 100121 h 1701679"/>
                  <a:gd name="connsiteX61" fmla="*/ 93779 w 926459"/>
                  <a:gd name="connsiteY61" fmla="*/ 75151 h 1701679"/>
                  <a:gd name="connsiteX62" fmla="*/ 122536 w 926459"/>
                  <a:gd name="connsiteY62" fmla="*/ 56258 h 1701679"/>
                  <a:gd name="connsiteX63" fmla="*/ 189072 w 926459"/>
                  <a:gd name="connsiteY63" fmla="*/ 40515 h 1701679"/>
                  <a:gd name="connsiteX64" fmla="*/ 737487 w 926459"/>
                  <a:gd name="connsiteY64" fmla="*/ 40515 h 1701679"/>
                  <a:gd name="connsiteX65" fmla="*/ 739638 w 926459"/>
                  <a:gd name="connsiteY65" fmla="*/ 40575 h 1701679"/>
                  <a:gd name="connsiteX66" fmla="*/ 743940 w 926459"/>
                  <a:gd name="connsiteY66" fmla="*/ 40694 h 1701679"/>
                  <a:gd name="connsiteX67" fmla="*/ 752523 w 926459"/>
                  <a:gd name="connsiteY67" fmla="*/ 41292 h 1701679"/>
                  <a:gd name="connsiteX68" fmla="*/ 761066 w 926459"/>
                  <a:gd name="connsiteY68" fmla="*/ 42428 h 1701679"/>
                  <a:gd name="connsiteX69" fmla="*/ 794205 w 926459"/>
                  <a:gd name="connsiteY69" fmla="*/ 51814 h 1701679"/>
                  <a:gd name="connsiteX70" fmla="*/ 849608 w 926459"/>
                  <a:gd name="connsiteY70" fmla="*/ 91851 h 1701679"/>
                  <a:gd name="connsiteX71" fmla="*/ 881352 w 926459"/>
                  <a:gd name="connsiteY71" fmla="*/ 152453 h 1701679"/>
                  <a:gd name="connsiteX72" fmla="*/ 885873 w 926459"/>
                  <a:gd name="connsiteY72" fmla="*/ 186571 h 1701679"/>
                  <a:gd name="connsiteX73" fmla="*/ 885933 w 926459"/>
                  <a:gd name="connsiteY73" fmla="*/ 194403 h 1701679"/>
                  <a:gd name="connsiteX74" fmla="*/ 885933 w 926459"/>
                  <a:gd name="connsiteY74" fmla="*/ 516548 h 1701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926459" h="1701679">
                    <a:moveTo>
                      <a:pt x="926380" y="185894"/>
                    </a:moveTo>
                    <a:cubicBezTo>
                      <a:pt x="926121" y="171346"/>
                      <a:pt x="924189" y="156698"/>
                      <a:pt x="920604" y="142489"/>
                    </a:cubicBezTo>
                    <a:cubicBezTo>
                      <a:pt x="913336" y="114051"/>
                      <a:pt x="899415" y="87327"/>
                      <a:pt x="880217" y="65326"/>
                    </a:cubicBezTo>
                    <a:cubicBezTo>
                      <a:pt x="861139" y="43185"/>
                      <a:pt x="836803" y="25668"/>
                      <a:pt x="809718" y="14408"/>
                    </a:cubicBezTo>
                    <a:cubicBezTo>
                      <a:pt x="796156" y="8808"/>
                      <a:pt x="781957" y="4783"/>
                      <a:pt x="767499" y="2431"/>
                    </a:cubicBezTo>
                    <a:cubicBezTo>
                      <a:pt x="763894" y="1833"/>
                      <a:pt x="760250" y="1435"/>
                      <a:pt x="756625" y="977"/>
                    </a:cubicBezTo>
                    <a:cubicBezTo>
                      <a:pt x="752981" y="697"/>
                      <a:pt x="749357" y="359"/>
                      <a:pt x="745712" y="199"/>
                    </a:cubicBezTo>
                    <a:lnTo>
                      <a:pt x="740255" y="60"/>
                    </a:lnTo>
                    <a:lnTo>
                      <a:pt x="737527" y="0"/>
                    </a:lnTo>
                    <a:lnTo>
                      <a:pt x="189092" y="0"/>
                    </a:lnTo>
                    <a:cubicBezTo>
                      <a:pt x="160016" y="40"/>
                      <a:pt x="130522" y="6796"/>
                      <a:pt x="104394" y="20048"/>
                    </a:cubicBezTo>
                    <a:cubicBezTo>
                      <a:pt x="91310" y="26644"/>
                      <a:pt x="78982" y="34676"/>
                      <a:pt x="67790" y="44082"/>
                    </a:cubicBezTo>
                    <a:cubicBezTo>
                      <a:pt x="56598" y="53488"/>
                      <a:pt x="46501" y="64150"/>
                      <a:pt x="37699" y="75828"/>
                    </a:cubicBezTo>
                    <a:cubicBezTo>
                      <a:pt x="20214" y="99244"/>
                      <a:pt x="8046" y="126845"/>
                      <a:pt x="2987" y="155762"/>
                    </a:cubicBezTo>
                    <a:cubicBezTo>
                      <a:pt x="2290" y="159369"/>
                      <a:pt x="1792" y="162996"/>
                      <a:pt x="1374" y="166623"/>
                    </a:cubicBezTo>
                    <a:cubicBezTo>
                      <a:pt x="856" y="170250"/>
                      <a:pt x="657" y="173897"/>
                      <a:pt x="378" y="177544"/>
                    </a:cubicBezTo>
                    <a:cubicBezTo>
                      <a:pt x="100" y="181190"/>
                      <a:pt x="100" y="184818"/>
                      <a:pt x="0" y="188464"/>
                    </a:cubicBezTo>
                    <a:lnTo>
                      <a:pt x="0" y="1513036"/>
                    </a:lnTo>
                    <a:lnTo>
                      <a:pt x="60" y="1515766"/>
                    </a:lnTo>
                    <a:cubicBezTo>
                      <a:pt x="319" y="1530314"/>
                      <a:pt x="2250" y="1544962"/>
                      <a:pt x="5835" y="1559191"/>
                    </a:cubicBezTo>
                    <a:cubicBezTo>
                      <a:pt x="13104" y="1587629"/>
                      <a:pt x="27024" y="1614353"/>
                      <a:pt x="46222" y="1636354"/>
                    </a:cubicBezTo>
                    <a:cubicBezTo>
                      <a:pt x="65301" y="1658495"/>
                      <a:pt x="89637" y="1676012"/>
                      <a:pt x="116721" y="1687272"/>
                    </a:cubicBezTo>
                    <a:cubicBezTo>
                      <a:pt x="130283" y="1692872"/>
                      <a:pt x="144482" y="1696897"/>
                      <a:pt x="158941" y="1699249"/>
                    </a:cubicBezTo>
                    <a:cubicBezTo>
                      <a:pt x="162545" y="1699847"/>
                      <a:pt x="166190" y="1700245"/>
                      <a:pt x="169814" y="1700703"/>
                    </a:cubicBezTo>
                    <a:cubicBezTo>
                      <a:pt x="173458" y="1700983"/>
                      <a:pt x="177083" y="1701321"/>
                      <a:pt x="180727" y="1701481"/>
                    </a:cubicBezTo>
                    <a:lnTo>
                      <a:pt x="186184" y="1701620"/>
                    </a:lnTo>
                    <a:lnTo>
                      <a:pt x="188912" y="1701680"/>
                    </a:lnTo>
                    <a:lnTo>
                      <a:pt x="737368" y="1701680"/>
                    </a:lnTo>
                    <a:cubicBezTo>
                      <a:pt x="766443" y="1701640"/>
                      <a:pt x="795937" y="1694885"/>
                      <a:pt x="822066" y="1681632"/>
                    </a:cubicBezTo>
                    <a:cubicBezTo>
                      <a:pt x="835150" y="1675035"/>
                      <a:pt x="847477" y="1667004"/>
                      <a:pt x="858669" y="1657598"/>
                    </a:cubicBezTo>
                    <a:cubicBezTo>
                      <a:pt x="869861" y="1648192"/>
                      <a:pt x="879958" y="1637530"/>
                      <a:pt x="888761" y="1625852"/>
                    </a:cubicBezTo>
                    <a:cubicBezTo>
                      <a:pt x="906246" y="1602436"/>
                      <a:pt x="918414" y="1574835"/>
                      <a:pt x="923472" y="1545918"/>
                    </a:cubicBezTo>
                    <a:cubicBezTo>
                      <a:pt x="924169" y="1542311"/>
                      <a:pt x="924667" y="1538684"/>
                      <a:pt x="925085" y="1535057"/>
                    </a:cubicBezTo>
                    <a:cubicBezTo>
                      <a:pt x="925603" y="1531430"/>
                      <a:pt x="925802" y="1527783"/>
                      <a:pt x="926081" y="1524136"/>
                    </a:cubicBezTo>
                    <a:cubicBezTo>
                      <a:pt x="926360" y="1520490"/>
                      <a:pt x="926360" y="1516863"/>
                      <a:pt x="926459" y="1513216"/>
                    </a:cubicBezTo>
                    <a:lnTo>
                      <a:pt x="926459" y="188624"/>
                    </a:lnTo>
                    <a:lnTo>
                      <a:pt x="926400" y="185894"/>
                    </a:lnTo>
                    <a:close/>
                    <a:moveTo>
                      <a:pt x="885933" y="516568"/>
                    </a:moveTo>
                    <a:lnTo>
                      <a:pt x="885933" y="1513036"/>
                    </a:lnTo>
                    <a:cubicBezTo>
                      <a:pt x="885833" y="1515906"/>
                      <a:pt x="885853" y="1518776"/>
                      <a:pt x="885634" y="1521645"/>
                    </a:cubicBezTo>
                    <a:cubicBezTo>
                      <a:pt x="885395" y="1524515"/>
                      <a:pt x="885275" y="1527385"/>
                      <a:pt x="884857" y="1530235"/>
                    </a:cubicBezTo>
                    <a:cubicBezTo>
                      <a:pt x="884519" y="1533084"/>
                      <a:pt x="884140" y="1535934"/>
                      <a:pt x="883583" y="1538764"/>
                    </a:cubicBezTo>
                    <a:cubicBezTo>
                      <a:pt x="879620" y="1561463"/>
                      <a:pt x="870061" y="1583105"/>
                      <a:pt x="856339" y="1601539"/>
                    </a:cubicBezTo>
                    <a:cubicBezTo>
                      <a:pt x="849409" y="1610726"/>
                      <a:pt x="841463" y="1619116"/>
                      <a:pt x="832680" y="1626509"/>
                    </a:cubicBezTo>
                    <a:cubicBezTo>
                      <a:pt x="823898" y="1633923"/>
                      <a:pt x="814179" y="1640200"/>
                      <a:pt x="803923" y="1645402"/>
                    </a:cubicBezTo>
                    <a:cubicBezTo>
                      <a:pt x="783391" y="1655824"/>
                      <a:pt x="760310" y="1661085"/>
                      <a:pt x="737388" y="1661145"/>
                    </a:cubicBezTo>
                    <a:lnTo>
                      <a:pt x="188972" y="1661145"/>
                    </a:lnTo>
                    <a:lnTo>
                      <a:pt x="186821" y="1661085"/>
                    </a:lnTo>
                    <a:lnTo>
                      <a:pt x="182520" y="1660966"/>
                    </a:lnTo>
                    <a:cubicBezTo>
                      <a:pt x="179652" y="1660846"/>
                      <a:pt x="176784" y="1660567"/>
                      <a:pt x="173936" y="1660368"/>
                    </a:cubicBezTo>
                    <a:cubicBezTo>
                      <a:pt x="171089" y="1659989"/>
                      <a:pt x="168221" y="1659691"/>
                      <a:pt x="165393" y="1659232"/>
                    </a:cubicBezTo>
                    <a:cubicBezTo>
                      <a:pt x="154041" y="1657379"/>
                      <a:pt x="142889" y="1654230"/>
                      <a:pt x="132255" y="1649846"/>
                    </a:cubicBezTo>
                    <a:cubicBezTo>
                      <a:pt x="111005" y="1640998"/>
                      <a:pt x="91847" y="1627227"/>
                      <a:pt x="76851" y="1609809"/>
                    </a:cubicBezTo>
                    <a:cubicBezTo>
                      <a:pt x="61736" y="1592491"/>
                      <a:pt x="50843" y="1571507"/>
                      <a:pt x="45107" y="1549207"/>
                    </a:cubicBezTo>
                    <a:cubicBezTo>
                      <a:pt x="42299" y="1538047"/>
                      <a:pt x="40786" y="1526548"/>
                      <a:pt x="40586" y="1515089"/>
                    </a:cubicBezTo>
                    <a:cubicBezTo>
                      <a:pt x="40487" y="1512040"/>
                      <a:pt x="40547" y="1509828"/>
                      <a:pt x="40527" y="1507257"/>
                    </a:cubicBezTo>
                    <a:lnTo>
                      <a:pt x="40527" y="188624"/>
                    </a:lnTo>
                    <a:cubicBezTo>
                      <a:pt x="40626" y="185754"/>
                      <a:pt x="40606" y="182884"/>
                      <a:pt x="40825" y="180015"/>
                    </a:cubicBezTo>
                    <a:cubicBezTo>
                      <a:pt x="41064" y="177145"/>
                      <a:pt x="41184" y="174275"/>
                      <a:pt x="41602" y="171426"/>
                    </a:cubicBezTo>
                    <a:cubicBezTo>
                      <a:pt x="41941" y="168576"/>
                      <a:pt x="42319" y="165726"/>
                      <a:pt x="42877" y="162896"/>
                    </a:cubicBezTo>
                    <a:cubicBezTo>
                      <a:pt x="46840" y="140197"/>
                      <a:pt x="56399" y="118555"/>
                      <a:pt x="70120" y="100121"/>
                    </a:cubicBezTo>
                    <a:cubicBezTo>
                      <a:pt x="77051" y="90934"/>
                      <a:pt x="84997" y="82544"/>
                      <a:pt x="93779" y="75151"/>
                    </a:cubicBezTo>
                    <a:cubicBezTo>
                      <a:pt x="102562" y="67737"/>
                      <a:pt x="112280" y="61460"/>
                      <a:pt x="122536" y="56258"/>
                    </a:cubicBezTo>
                    <a:cubicBezTo>
                      <a:pt x="143068" y="45836"/>
                      <a:pt x="166150" y="40575"/>
                      <a:pt x="189072" y="40515"/>
                    </a:cubicBezTo>
                    <a:lnTo>
                      <a:pt x="737487" y="40515"/>
                    </a:lnTo>
                    <a:lnTo>
                      <a:pt x="739638" y="40575"/>
                    </a:lnTo>
                    <a:lnTo>
                      <a:pt x="743940" y="40694"/>
                    </a:lnTo>
                    <a:cubicBezTo>
                      <a:pt x="746807" y="40814"/>
                      <a:pt x="749675" y="41093"/>
                      <a:pt x="752523" y="41292"/>
                    </a:cubicBezTo>
                    <a:cubicBezTo>
                      <a:pt x="755371" y="41671"/>
                      <a:pt x="758239" y="41970"/>
                      <a:pt x="761066" y="42428"/>
                    </a:cubicBezTo>
                    <a:cubicBezTo>
                      <a:pt x="772418" y="44281"/>
                      <a:pt x="783570" y="47430"/>
                      <a:pt x="794205" y="51814"/>
                    </a:cubicBezTo>
                    <a:cubicBezTo>
                      <a:pt x="815454" y="60663"/>
                      <a:pt x="834612" y="74433"/>
                      <a:pt x="849608" y="91851"/>
                    </a:cubicBezTo>
                    <a:cubicBezTo>
                      <a:pt x="864723" y="109169"/>
                      <a:pt x="875617" y="130153"/>
                      <a:pt x="881352" y="152453"/>
                    </a:cubicBezTo>
                    <a:cubicBezTo>
                      <a:pt x="884160" y="163613"/>
                      <a:pt x="885674" y="175112"/>
                      <a:pt x="885873" y="186571"/>
                    </a:cubicBezTo>
                    <a:cubicBezTo>
                      <a:pt x="885973" y="189620"/>
                      <a:pt x="885913" y="191832"/>
                      <a:pt x="885933" y="194403"/>
                    </a:cubicBezTo>
                    <a:lnTo>
                      <a:pt x="885933" y="516548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67" name="Freeform 5">
                <a:extLst>
                  <a:ext uri="{FF2B5EF4-FFF2-40B4-BE49-F238E27FC236}">
                    <a16:creationId xmlns:a16="http://schemas.microsoft.com/office/drawing/2014/main" id="{C14ABBF2-ADA4-FADF-9189-A3F2910B5931}"/>
                  </a:ext>
                </a:extLst>
              </p:cNvPr>
              <p:cNvSpPr/>
              <p:nvPr/>
            </p:nvSpPr>
            <p:spPr>
              <a:xfrm>
                <a:off x="2872218" y="3144211"/>
                <a:ext cx="767080" cy="1542211"/>
              </a:xfrm>
              <a:custGeom>
                <a:avLst/>
                <a:gdLst>
                  <a:gd name="connsiteX0" fmla="*/ 767051 w 767080"/>
                  <a:gd name="connsiteY0" fmla="*/ 107554 h 1542211"/>
                  <a:gd name="connsiteX1" fmla="*/ 763725 w 767080"/>
                  <a:gd name="connsiteY1" fmla="*/ 82405 h 1542211"/>
                  <a:gd name="connsiteX2" fmla="*/ 740345 w 767080"/>
                  <a:gd name="connsiteY2" fmla="*/ 37804 h 1542211"/>
                  <a:gd name="connsiteX3" fmla="*/ 699520 w 767080"/>
                  <a:gd name="connsiteY3" fmla="*/ 8290 h 1542211"/>
                  <a:gd name="connsiteX4" fmla="*/ 675164 w 767080"/>
                  <a:gd name="connsiteY4" fmla="*/ 1395 h 1542211"/>
                  <a:gd name="connsiteX5" fmla="*/ 668871 w 767080"/>
                  <a:gd name="connsiteY5" fmla="*/ 558 h 1542211"/>
                  <a:gd name="connsiteX6" fmla="*/ 662518 w 767080"/>
                  <a:gd name="connsiteY6" fmla="*/ 120 h 1542211"/>
                  <a:gd name="connsiteX7" fmla="*/ 659331 w 767080"/>
                  <a:gd name="connsiteY7" fmla="*/ 40 h 1542211"/>
                  <a:gd name="connsiteX8" fmla="*/ 657738 w 767080"/>
                  <a:gd name="connsiteY8" fmla="*/ 0 h 1542211"/>
                  <a:gd name="connsiteX9" fmla="*/ 109402 w 767080"/>
                  <a:gd name="connsiteY9" fmla="*/ 0 h 1542211"/>
                  <a:gd name="connsiteX10" fmla="*/ 60432 w 767080"/>
                  <a:gd name="connsiteY10" fmla="*/ 11578 h 1542211"/>
                  <a:gd name="connsiteX11" fmla="*/ 39242 w 767080"/>
                  <a:gd name="connsiteY11" fmla="*/ 25489 h 1542211"/>
                  <a:gd name="connsiteX12" fmla="*/ 21777 w 767080"/>
                  <a:gd name="connsiteY12" fmla="*/ 43903 h 1542211"/>
                  <a:gd name="connsiteX13" fmla="*/ 1743 w 767080"/>
                  <a:gd name="connsiteY13" fmla="*/ 90077 h 1542211"/>
                  <a:gd name="connsiteX14" fmla="*/ 807 w 767080"/>
                  <a:gd name="connsiteY14" fmla="*/ 96355 h 1542211"/>
                  <a:gd name="connsiteX15" fmla="*/ 229 w 767080"/>
                  <a:gd name="connsiteY15" fmla="*/ 102692 h 1542211"/>
                  <a:gd name="connsiteX16" fmla="*/ 10 w 767080"/>
                  <a:gd name="connsiteY16" fmla="*/ 109049 h 1542211"/>
                  <a:gd name="connsiteX17" fmla="*/ 10 w 767080"/>
                  <a:gd name="connsiteY17" fmla="*/ 1427503 h 1542211"/>
                  <a:gd name="connsiteX18" fmla="*/ 50 w 767080"/>
                  <a:gd name="connsiteY18" fmla="*/ 1434657 h 1542211"/>
                  <a:gd name="connsiteX19" fmla="*/ 3376 w 767080"/>
                  <a:gd name="connsiteY19" fmla="*/ 1459807 h 1542211"/>
                  <a:gd name="connsiteX20" fmla="*/ 26756 w 767080"/>
                  <a:gd name="connsiteY20" fmla="*/ 1504407 h 1542211"/>
                  <a:gd name="connsiteX21" fmla="*/ 67581 w 767080"/>
                  <a:gd name="connsiteY21" fmla="*/ 1533921 h 1542211"/>
                  <a:gd name="connsiteX22" fmla="*/ 91937 w 767080"/>
                  <a:gd name="connsiteY22" fmla="*/ 1540817 h 1542211"/>
                  <a:gd name="connsiteX23" fmla="*/ 98230 w 767080"/>
                  <a:gd name="connsiteY23" fmla="*/ 1541654 h 1542211"/>
                  <a:gd name="connsiteX24" fmla="*/ 104583 w 767080"/>
                  <a:gd name="connsiteY24" fmla="*/ 1542092 h 1542211"/>
                  <a:gd name="connsiteX25" fmla="*/ 107769 w 767080"/>
                  <a:gd name="connsiteY25" fmla="*/ 1542172 h 1542211"/>
                  <a:gd name="connsiteX26" fmla="*/ 109362 w 767080"/>
                  <a:gd name="connsiteY26" fmla="*/ 1542212 h 1542211"/>
                  <a:gd name="connsiteX27" fmla="*/ 657678 w 767080"/>
                  <a:gd name="connsiteY27" fmla="*/ 1542212 h 1542211"/>
                  <a:gd name="connsiteX28" fmla="*/ 706649 w 767080"/>
                  <a:gd name="connsiteY28" fmla="*/ 1530633 h 1542211"/>
                  <a:gd name="connsiteX29" fmla="*/ 727839 w 767080"/>
                  <a:gd name="connsiteY29" fmla="*/ 1516723 h 1542211"/>
                  <a:gd name="connsiteX30" fmla="*/ 745304 w 767080"/>
                  <a:gd name="connsiteY30" fmla="*/ 1498309 h 1542211"/>
                  <a:gd name="connsiteX31" fmla="*/ 765338 w 767080"/>
                  <a:gd name="connsiteY31" fmla="*/ 1452135 h 1542211"/>
                  <a:gd name="connsiteX32" fmla="*/ 766274 w 767080"/>
                  <a:gd name="connsiteY32" fmla="*/ 1445857 h 1542211"/>
                  <a:gd name="connsiteX33" fmla="*/ 766852 w 767080"/>
                  <a:gd name="connsiteY33" fmla="*/ 1439520 h 1542211"/>
                  <a:gd name="connsiteX34" fmla="*/ 767071 w 767080"/>
                  <a:gd name="connsiteY34" fmla="*/ 1433163 h 1542211"/>
                  <a:gd name="connsiteX35" fmla="*/ 767071 w 767080"/>
                  <a:gd name="connsiteY35" fmla="*/ 114689 h 1542211"/>
                  <a:gd name="connsiteX36" fmla="*/ 767031 w 767080"/>
                  <a:gd name="connsiteY36" fmla="*/ 107535 h 1542211"/>
                  <a:gd name="connsiteX37" fmla="*/ 726604 w 767080"/>
                  <a:gd name="connsiteY37" fmla="*/ 436854 h 1542211"/>
                  <a:gd name="connsiteX38" fmla="*/ 726604 w 767080"/>
                  <a:gd name="connsiteY38" fmla="*/ 1433003 h 1542211"/>
                  <a:gd name="connsiteX39" fmla="*/ 726445 w 767080"/>
                  <a:gd name="connsiteY39" fmla="*/ 1437049 h 1542211"/>
                  <a:gd name="connsiteX40" fmla="*/ 726066 w 767080"/>
                  <a:gd name="connsiteY40" fmla="*/ 1441054 h 1542211"/>
                  <a:gd name="connsiteX41" fmla="*/ 725469 w 767080"/>
                  <a:gd name="connsiteY41" fmla="*/ 1445000 h 1542211"/>
                  <a:gd name="connsiteX42" fmla="*/ 712882 w 767080"/>
                  <a:gd name="connsiteY42" fmla="*/ 1473996 h 1542211"/>
                  <a:gd name="connsiteX43" fmla="*/ 701830 w 767080"/>
                  <a:gd name="connsiteY43" fmla="*/ 1485635 h 1542211"/>
                  <a:gd name="connsiteX44" fmla="*/ 688467 w 767080"/>
                  <a:gd name="connsiteY44" fmla="*/ 1494403 h 1542211"/>
                  <a:gd name="connsiteX45" fmla="*/ 657659 w 767080"/>
                  <a:gd name="connsiteY45" fmla="*/ 1501677 h 1542211"/>
                  <a:gd name="connsiteX46" fmla="*/ 109343 w 767080"/>
                  <a:gd name="connsiteY46" fmla="*/ 1501677 h 1542211"/>
                  <a:gd name="connsiteX47" fmla="*/ 108327 w 767080"/>
                  <a:gd name="connsiteY47" fmla="*/ 1501637 h 1542211"/>
                  <a:gd name="connsiteX48" fmla="*/ 106296 w 767080"/>
                  <a:gd name="connsiteY48" fmla="*/ 1501597 h 1542211"/>
                  <a:gd name="connsiteX49" fmla="*/ 102273 w 767080"/>
                  <a:gd name="connsiteY49" fmla="*/ 1501318 h 1542211"/>
                  <a:gd name="connsiteX50" fmla="*/ 98310 w 767080"/>
                  <a:gd name="connsiteY50" fmla="*/ 1500780 h 1542211"/>
                  <a:gd name="connsiteX51" fmla="*/ 83035 w 767080"/>
                  <a:gd name="connsiteY51" fmla="*/ 1496456 h 1542211"/>
                  <a:gd name="connsiteX52" fmla="*/ 57305 w 767080"/>
                  <a:gd name="connsiteY52" fmla="*/ 1477842 h 1542211"/>
                  <a:gd name="connsiteX53" fmla="*/ 42588 w 767080"/>
                  <a:gd name="connsiteY53" fmla="*/ 1449823 h 1542211"/>
                  <a:gd name="connsiteX54" fmla="*/ 40517 w 767080"/>
                  <a:gd name="connsiteY54" fmla="*/ 1433960 h 1542211"/>
                  <a:gd name="connsiteX55" fmla="*/ 40477 w 767080"/>
                  <a:gd name="connsiteY55" fmla="*/ 1432943 h 1542211"/>
                  <a:gd name="connsiteX56" fmla="*/ 40477 w 767080"/>
                  <a:gd name="connsiteY56" fmla="*/ 109209 h 1542211"/>
                  <a:gd name="connsiteX57" fmla="*/ 40616 w 767080"/>
                  <a:gd name="connsiteY57" fmla="*/ 105163 h 1542211"/>
                  <a:gd name="connsiteX58" fmla="*/ 40995 w 767080"/>
                  <a:gd name="connsiteY58" fmla="*/ 101157 h 1542211"/>
                  <a:gd name="connsiteX59" fmla="*/ 41592 w 767080"/>
                  <a:gd name="connsiteY59" fmla="*/ 97212 h 1542211"/>
                  <a:gd name="connsiteX60" fmla="*/ 54178 w 767080"/>
                  <a:gd name="connsiteY60" fmla="*/ 68215 h 1542211"/>
                  <a:gd name="connsiteX61" fmla="*/ 65231 w 767080"/>
                  <a:gd name="connsiteY61" fmla="*/ 56577 h 1542211"/>
                  <a:gd name="connsiteX62" fmla="*/ 78594 w 767080"/>
                  <a:gd name="connsiteY62" fmla="*/ 47809 h 1542211"/>
                  <a:gd name="connsiteX63" fmla="*/ 109402 w 767080"/>
                  <a:gd name="connsiteY63" fmla="*/ 40535 h 1542211"/>
                  <a:gd name="connsiteX64" fmla="*/ 657738 w 767080"/>
                  <a:gd name="connsiteY64" fmla="*/ 40535 h 1542211"/>
                  <a:gd name="connsiteX65" fmla="*/ 658754 w 767080"/>
                  <a:gd name="connsiteY65" fmla="*/ 40575 h 1542211"/>
                  <a:gd name="connsiteX66" fmla="*/ 660785 w 767080"/>
                  <a:gd name="connsiteY66" fmla="*/ 40614 h 1542211"/>
                  <a:gd name="connsiteX67" fmla="*/ 664808 w 767080"/>
                  <a:gd name="connsiteY67" fmla="*/ 40893 h 1542211"/>
                  <a:gd name="connsiteX68" fmla="*/ 668771 w 767080"/>
                  <a:gd name="connsiteY68" fmla="*/ 41431 h 1542211"/>
                  <a:gd name="connsiteX69" fmla="*/ 684046 w 767080"/>
                  <a:gd name="connsiteY69" fmla="*/ 45756 h 1542211"/>
                  <a:gd name="connsiteX70" fmla="*/ 709776 w 767080"/>
                  <a:gd name="connsiteY70" fmla="*/ 64369 h 1542211"/>
                  <a:gd name="connsiteX71" fmla="*/ 724493 w 767080"/>
                  <a:gd name="connsiteY71" fmla="*/ 92389 h 1542211"/>
                  <a:gd name="connsiteX72" fmla="*/ 726564 w 767080"/>
                  <a:gd name="connsiteY72" fmla="*/ 108252 h 1542211"/>
                  <a:gd name="connsiteX73" fmla="*/ 726604 w 767080"/>
                  <a:gd name="connsiteY73" fmla="*/ 109268 h 1542211"/>
                  <a:gd name="connsiteX74" fmla="*/ 726604 w 767080"/>
                  <a:gd name="connsiteY74" fmla="*/ 436834 h 1542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767080" h="1542211">
                    <a:moveTo>
                      <a:pt x="767051" y="107554"/>
                    </a:moveTo>
                    <a:cubicBezTo>
                      <a:pt x="766892" y="99065"/>
                      <a:pt x="765776" y="90615"/>
                      <a:pt x="763725" y="82405"/>
                    </a:cubicBezTo>
                    <a:cubicBezTo>
                      <a:pt x="759503" y="66023"/>
                      <a:pt x="751517" y="50579"/>
                      <a:pt x="740345" y="37804"/>
                    </a:cubicBezTo>
                    <a:cubicBezTo>
                      <a:pt x="729292" y="24931"/>
                      <a:pt x="715133" y="14807"/>
                      <a:pt x="699520" y="8290"/>
                    </a:cubicBezTo>
                    <a:cubicBezTo>
                      <a:pt x="691693" y="5082"/>
                      <a:pt x="683508" y="2750"/>
                      <a:pt x="675164" y="1395"/>
                    </a:cubicBezTo>
                    <a:cubicBezTo>
                      <a:pt x="673073" y="1036"/>
                      <a:pt x="670962" y="857"/>
                      <a:pt x="668871" y="558"/>
                    </a:cubicBezTo>
                    <a:cubicBezTo>
                      <a:pt x="666760" y="419"/>
                      <a:pt x="664649" y="199"/>
                      <a:pt x="662518" y="120"/>
                    </a:cubicBezTo>
                    <a:lnTo>
                      <a:pt x="659331" y="40"/>
                    </a:lnTo>
                    <a:lnTo>
                      <a:pt x="657738" y="0"/>
                    </a:lnTo>
                    <a:lnTo>
                      <a:pt x="109402" y="0"/>
                    </a:lnTo>
                    <a:cubicBezTo>
                      <a:pt x="92415" y="80"/>
                      <a:pt x="75527" y="3906"/>
                      <a:pt x="60432" y="11578"/>
                    </a:cubicBezTo>
                    <a:cubicBezTo>
                      <a:pt x="52884" y="15405"/>
                      <a:pt x="45715" y="20028"/>
                      <a:pt x="39242" y="25489"/>
                    </a:cubicBezTo>
                    <a:cubicBezTo>
                      <a:pt x="32770" y="30949"/>
                      <a:pt x="26895" y="37147"/>
                      <a:pt x="21777" y="43903"/>
                    </a:cubicBezTo>
                    <a:cubicBezTo>
                      <a:pt x="11660" y="57514"/>
                      <a:pt x="4630" y="73377"/>
                      <a:pt x="1743" y="90077"/>
                    </a:cubicBezTo>
                    <a:cubicBezTo>
                      <a:pt x="1324" y="92150"/>
                      <a:pt x="1046" y="94262"/>
                      <a:pt x="807" y="96355"/>
                    </a:cubicBezTo>
                    <a:cubicBezTo>
                      <a:pt x="488" y="98447"/>
                      <a:pt x="408" y="100579"/>
                      <a:pt x="229" y="102692"/>
                    </a:cubicBezTo>
                    <a:cubicBezTo>
                      <a:pt x="50" y="104804"/>
                      <a:pt x="90" y="106937"/>
                      <a:pt x="10" y="109049"/>
                    </a:cubicBezTo>
                    <a:lnTo>
                      <a:pt x="10" y="1427503"/>
                    </a:lnTo>
                    <a:cubicBezTo>
                      <a:pt x="10" y="1429934"/>
                      <a:pt x="-30" y="1432704"/>
                      <a:pt x="50" y="1434657"/>
                    </a:cubicBezTo>
                    <a:cubicBezTo>
                      <a:pt x="209" y="1443147"/>
                      <a:pt x="1324" y="1451596"/>
                      <a:pt x="3376" y="1459807"/>
                    </a:cubicBezTo>
                    <a:cubicBezTo>
                      <a:pt x="7598" y="1476188"/>
                      <a:pt x="15583" y="1491633"/>
                      <a:pt x="26756" y="1504407"/>
                    </a:cubicBezTo>
                    <a:cubicBezTo>
                      <a:pt x="37808" y="1517281"/>
                      <a:pt x="51968" y="1527405"/>
                      <a:pt x="67581" y="1533921"/>
                    </a:cubicBezTo>
                    <a:cubicBezTo>
                      <a:pt x="75408" y="1537130"/>
                      <a:pt x="83593" y="1539462"/>
                      <a:pt x="91937" y="1540817"/>
                    </a:cubicBezTo>
                    <a:cubicBezTo>
                      <a:pt x="94028" y="1541175"/>
                      <a:pt x="96139" y="1541355"/>
                      <a:pt x="98230" y="1541654"/>
                    </a:cubicBezTo>
                    <a:cubicBezTo>
                      <a:pt x="100341" y="1541793"/>
                      <a:pt x="102452" y="1542012"/>
                      <a:pt x="104583" y="1542092"/>
                    </a:cubicBezTo>
                    <a:lnTo>
                      <a:pt x="107769" y="1542172"/>
                    </a:lnTo>
                    <a:lnTo>
                      <a:pt x="109362" y="1542212"/>
                    </a:lnTo>
                    <a:lnTo>
                      <a:pt x="657678" y="1542212"/>
                    </a:lnTo>
                    <a:cubicBezTo>
                      <a:pt x="674666" y="1542132"/>
                      <a:pt x="691554" y="1538306"/>
                      <a:pt x="706649" y="1530633"/>
                    </a:cubicBezTo>
                    <a:cubicBezTo>
                      <a:pt x="714197" y="1526807"/>
                      <a:pt x="721366" y="1522183"/>
                      <a:pt x="727839" y="1516723"/>
                    </a:cubicBezTo>
                    <a:cubicBezTo>
                      <a:pt x="734311" y="1511263"/>
                      <a:pt x="740186" y="1505065"/>
                      <a:pt x="745304" y="1498309"/>
                    </a:cubicBezTo>
                    <a:cubicBezTo>
                      <a:pt x="755421" y="1484698"/>
                      <a:pt x="762451" y="1468835"/>
                      <a:pt x="765338" y="1452135"/>
                    </a:cubicBezTo>
                    <a:cubicBezTo>
                      <a:pt x="765756" y="1450062"/>
                      <a:pt x="766035" y="1447950"/>
                      <a:pt x="766274" y="1445857"/>
                    </a:cubicBezTo>
                    <a:cubicBezTo>
                      <a:pt x="766593" y="1443765"/>
                      <a:pt x="766672" y="1441632"/>
                      <a:pt x="766852" y="1439520"/>
                    </a:cubicBezTo>
                    <a:cubicBezTo>
                      <a:pt x="767031" y="1437407"/>
                      <a:pt x="766971" y="1435275"/>
                      <a:pt x="767071" y="1433163"/>
                    </a:cubicBezTo>
                    <a:lnTo>
                      <a:pt x="767071" y="114689"/>
                    </a:lnTo>
                    <a:cubicBezTo>
                      <a:pt x="767071" y="112258"/>
                      <a:pt x="767111" y="109488"/>
                      <a:pt x="767031" y="107535"/>
                    </a:cubicBezTo>
                    <a:close/>
                    <a:moveTo>
                      <a:pt x="726604" y="436854"/>
                    </a:moveTo>
                    <a:lnTo>
                      <a:pt x="726604" y="1433003"/>
                    </a:lnTo>
                    <a:cubicBezTo>
                      <a:pt x="726504" y="1434358"/>
                      <a:pt x="726584" y="1435713"/>
                      <a:pt x="726445" y="1437049"/>
                    </a:cubicBezTo>
                    <a:cubicBezTo>
                      <a:pt x="726305" y="1438384"/>
                      <a:pt x="726305" y="1439739"/>
                      <a:pt x="726066" y="1441054"/>
                    </a:cubicBezTo>
                    <a:cubicBezTo>
                      <a:pt x="725907" y="1442390"/>
                      <a:pt x="725747" y="1443705"/>
                      <a:pt x="725469" y="1445000"/>
                    </a:cubicBezTo>
                    <a:cubicBezTo>
                      <a:pt x="723676" y="1455483"/>
                      <a:pt x="719235" y="1465387"/>
                      <a:pt x="712882" y="1473996"/>
                    </a:cubicBezTo>
                    <a:cubicBezTo>
                      <a:pt x="709636" y="1478261"/>
                      <a:pt x="705932" y="1482167"/>
                      <a:pt x="701830" y="1485635"/>
                    </a:cubicBezTo>
                    <a:cubicBezTo>
                      <a:pt x="697747" y="1489102"/>
                      <a:pt x="693207" y="1491992"/>
                      <a:pt x="688467" y="1494403"/>
                    </a:cubicBezTo>
                    <a:cubicBezTo>
                      <a:pt x="678967" y="1499246"/>
                      <a:pt x="668472" y="1501597"/>
                      <a:pt x="657659" y="1501677"/>
                    </a:cubicBezTo>
                    <a:lnTo>
                      <a:pt x="109343" y="1501677"/>
                    </a:lnTo>
                    <a:lnTo>
                      <a:pt x="108327" y="1501637"/>
                    </a:lnTo>
                    <a:lnTo>
                      <a:pt x="106296" y="1501597"/>
                    </a:lnTo>
                    <a:cubicBezTo>
                      <a:pt x="104941" y="1501557"/>
                      <a:pt x="103627" y="1501378"/>
                      <a:pt x="102273" y="1501318"/>
                    </a:cubicBezTo>
                    <a:cubicBezTo>
                      <a:pt x="100958" y="1501099"/>
                      <a:pt x="99624" y="1500999"/>
                      <a:pt x="98310" y="1500780"/>
                    </a:cubicBezTo>
                    <a:cubicBezTo>
                      <a:pt x="93052" y="1499903"/>
                      <a:pt x="87954" y="1498469"/>
                      <a:pt x="83035" y="1496456"/>
                    </a:cubicBezTo>
                    <a:cubicBezTo>
                      <a:pt x="73277" y="1492370"/>
                      <a:pt x="64275" y="1485993"/>
                      <a:pt x="57305" y="1477842"/>
                    </a:cubicBezTo>
                    <a:cubicBezTo>
                      <a:pt x="50215" y="1469771"/>
                      <a:pt x="45257" y="1460046"/>
                      <a:pt x="42588" y="1449823"/>
                    </a:cubicBezTo>
                    <a:cubicBezTo>
                      <a:pt x="41313" y="1444681"/>
                      <a:pt x="40616" y="1439380"/>
                      <a:pt x="40517" y="1433960"/>
                    </a:cubicBezTo>
                    <a:lnTo>
                      <a:pt x="40477" y="1432943"/>
                    </a:lnTo>
                    <a:lnTo>
                      <a:pt x="40477" y="109209"/>
                    </a:lnTo>
                    <a:cubicBezTo>
                      <a:pt x="40577" y="107853"/>
                      <a:pt x="40477" y="106498"/>
                      <a:pt x="40616" y="105163"/>
                    </a:cubicBezTo>
                    <a:cubicBezTo>
                      <a:pt x="40756" y="103828"/>
                      <a:pt x="40756" y="102473"/>
                      <a:pt x="40995" y="101157"/>
                    </a:cubicBezTo>
                    <a:cubicBezTo>
                      <a:pt x="41154" y="99822"/>
                      <a:pt x="41313" y="98507"/>
                      <a:pt x="41592" y="97212"/>
                    </a:cubicBezTo>
                    <a:cubicBezTo>
                      <a:pt x="43385" y="86729"/>
                      <a:pt x="47826" y="76825"/>
                      <a:pt x="54178" y="68215"/>
                    </a:cubicBezTo>
                    <a:cubicBezTo>
                      <a:pt x="57425" y="63951"/>
                      <a:pt x="61129" y="60045"/>
                      <a:pt x="65231" y="56577"/>
                    </a:cubicBezTo>
                    <a:cubicBezTo>
                      <a:pt x="69314" y="53110"/>
                      <a:pt x="73854" y="50220"/>
                      <a:pt x="78594" y="47809"/>
                    </a:cubicBezTo>
                    <a:cubicBezTo>
                      <a:pt x="88093" y="42966"/>
                      <a:pt x="98589" y="40614"/>
                      <a:pt x="109402" y="40535"/>
                    </a:cubicBezTo>
                    <a:lnTo>
                      <a:pt x="657738" y="40535"/>
                    </a:lnTo>
                    <a:lnTo>
                      <a:pt x="658754" y="40575"/>
                    </a:lnTo>
                    <a:lnTo>
                      <a:pt x="660785" y="40614"/>
                    </a:lnTo>
                    <a:cubicBezTo>
                      <a:pt x="662139" y="40654"/>
                      <a:pt x="663454" y="40834"/>
                      <a:pt x="664808" y="40893"/>
                    </a:cubicBezTo>
                    <a:cubicBezTo>
                      <a:pt x="666122" y="41113"/>
                      <a:pt x="667457" y="41212"/>
                      <a:pt x="668771" y="41431"/>
                    </a:cubicBezTo>
                    <a:cubicBezTo>
                      <a:pt x="674029" y="42308"/>
                      <a:pt x="679127" y="43743"/>
                      <a:pt x="684046" y="45756"/>
                    </a:cubicBezTo>
                    <a:cubicBezTo>
                      <a:pt x="693804" y="49841"/>
                      <a:pt x="702806" y="56218"/>
                      <a:pt x="709776" y="64369"/>
                    </a:cubicBezTo>
                    <a:cubicBezTo>
                      <a:pt x="716865" y="72440"/>
                      <a:pt x="721824" y="82165"/>
                      <a:pt x="724493" y="92389"/>
                    </a:cubicBezTo>
                    <a:cubicBezTo>
                      <a:pt x="725767" y="97530"/>
                      <a:pt x="726464" y="102831"/>
                      <a:pt x="726564" y="108252"/>
                    </a:cubicBezTo>
                    <a:lnTo>
                      <a:pt x="726604" y="109268"/>
                    </a:lnTo>
                    <a:lnTo>
                      <a:pt x="726604" y="436834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68" name="Freeform 6">
                <a:extLst>
                  <a:ext uri="{FF2B5EF4-FFF2-40B4-BE49-F238E27FC236}">
                    <a16:creationId xmlns:a16="http://schemas.microsoft.com/office/drawing/2014/main" id="{ED39896A-2968-6979-D278-109CA014B044}"/>
                  </a:ext>
                </a:extLst>
              </p:cNvPr>
              <p:cNvSpPr/>
              <p:nvPr/>
            </p:nvSpPr>
            <p:spPr>
              <a:xfrm>
                <a:off x="3124748" y="4525799"/>
                <a:ext cx="261999" cy="36250"/>
              </a:xfrm>
              <a:custGeom>
                <a:avLst/>
                <a:gdLst>
                  <a:gd name="connsiteX0" fmla="*/ 0 w 261999"/>
                  <a:gd name="connsiteY0" fmla="*/ 0 h 36250"/>
                  <a:gd name="connsiteX1" fmla="*/ 262000 w 261999"/>
                  <a:gd name="connsiteY1" fmla="*/ 0 h 36250"/>
                  <a:gd name="connsiteX2" fmla="*/ 262000 w 261999"/>
                  <a:gd name="connsiteY2" fmla="*/ 36250 h 36250"/>
                  <a:gd name="connsiteX3" fmla="*/ 0 w 261999"/>
                  <a:gd name="connsiteY3" fmla="*/ 36250 h 36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1999" h="36250">
                    <a:moveTo>
                      <a:pt x="0" y="0"/>
                    </a:moveTo>
                    <a:lnTo>
                      <a:pt x="262000" y="0"/>
                    </a:lnTo>
                    <a:lnTo>
                      <a:pt x="262000" y="36250"/>
                    </a:lnTo>
                    <a:lnTo>
                      <a:pt x="0" y="36250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69" name="Freeform 7">
                <a:extLst>
                  <a:ext uri="{FF2B5EF4-FFF2-40B4-BE49-F238E27FC236}">
                    <a16:creationId xmlns:a16="http://schemas.microsoft.com/office/drawing/2014/main" id="{33D5C70F-E1C2-9803-58B5-1EE40A4D5C74}"/>
                  </a:ext>
                </a:extLst>
              </p:cNvPr>
              <p:cNvSpPr/>
              <p:nvPr/>
            </p:nvSpPr>
            <p:spPr>
              <a:xfrm>
                <a:off x="3548564" y="2686675"/>
                <a:ext cx="562117" cy="602735"/>
              </a:xfrm>
              <a:custGeom>
                <a:avLst/>
                <a:gdLst>
                  <a:gd name="connsiteX0" fmla="*/ 422625 w 562117"/>
                  <a:gd name="connsiteY0" fmla="*/ 168433 h 602735"/>
                  <a:gd name="connsiteX1" fmla="*/ 19230 w 562117"/>
                  <a:gd name="connsiteY1" fmla="*/ 315 h 602735"/>
                  <a:gd name="connsiteX2" fmla="*/ 12 w 562117"/>
                  <a:gd name="connsiteY2" fmla="*/ 20921 h 602735"/>
                  <a:gd name="connsiteX3" fmla="*/ 20604 w 562117"/>
                  <a:gd name="connsiteY3" fmla="*/ 40152 h 602735"/>
                  <a:gd name="connsiteX4" fmla="*/ 393370 w 562117"/>
                  <a:gd name="connsiteY4" fmla="*/ 195496 h 602735"/>
                  <a:gd name="connsiteX5" fmla="*/ 519093 w 562117"/>
                  <a:gd name="connsiteY5" fmla="*/ 580515 h 602735"/>
                  <a:gd name="connsiteX6" fmla="*/ 536598 w 562117"/>
                  <a:gd name="connsiteY6" fmla="*/ 602596 h 602735"/>
                  <a:gd name="connsiteX7" fmla="*/ 538908 w 562117"/>
                  <a:gd name="connsiteY7" fmla="*/ 602736 h 602735"/>
                  <a:gd name="connsiteX8" fmla="*/ 558664 w 562117"/>
                  <a:gd name="connsiteY8" fmla="*/ 585079 h 602735"/>
                  <a:gd name="connsiteX9" fmla="*/ 422605 w 562117"/>
                  <a:gd name="connsiteY9" fmla="*/ 168433 h 602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62117" h="602735">
                    <a:moveTo>
                      <a:pt x="422625" y="168433"/>
                    </a:moveTo>
                    <a:cubicBezTo>
                      <a:pt x="318968" y="56315"/>
                      <a:pt x="171977" y="-4966"/>
                      <a:pt x="19230" y="315"/>
                    </a:cubicBezTo>
                    <a:cubicBezTo>
                      <a:pt x="8237" y="694"/>
                      <a:pt x="-366" y="9921"/>
                      <a:pt x="12" y="20921"/>
                    </a:cubicBezTo>
                    <a:cubicBezTo>
                      <a:pt x="390" y="31922"/>
                      <a:pt x="9531" y="40551"/>
                      <a:pt x="20604" y="40152"/>
                    </a:cubicBezTo>
                    <a:cubicBezTo>
                      <a:pt x="161741" y="35290"/>
                      <a:pt x="297600" y="91887"/>
                      <a:pt x="393370" y="195496"/>
                    </a:cubicBezTo>
                    <a:cubicBezTo>
                      <a:pt x="489440" y="299403"/>
                      <a:pt x="535264" y="439740"/>
                      <a:pt x="519093" y="580515"/>
                    </a:cubicBezTo>
                    <a:cubicBezTo>
                      <a:pt x="517838" y="591456"/>
                      <a:pt x="525685" y="601341"/>
                      <a:pt x="536598" y="602596"/>
                    </a:cubicBezTo>
                    <a:cubicBezTo>
                      <a:pt x="537375" y="602676"/>
                      <a:pt x="538132" y="602736"/>
                      <a:pt x="538908" y="602736"/>
                    </a:cubicBezTo>
                    <a:cubicBezTo>
                      <a:pt x="548886" y="602736"/>
                      <a:pt x="557509" y="595243"/>
                      <a:pt x="558664" y="585079"/>
                    </a:cubicBezTo>
                    <a:cubicBezTo>
                      <a:pt x="576169" y="432745"/>
                      <a:pt x="526581" y="280889"/>
                      <a:pt x="422605" y="168433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70" name="Freeform 8">
                <a:extLst>
                  <a:ext uri="{FF2B5EF4-FFF2-40B4-BE49-F238E27FC236}">
                    <a16:creationId xmlns:a16="http://schemas.microsoft.com/office/drawing/2014/main" id="{9371E249-7C2D-593F-0BD2-C3F02DBC5021}"/>
                  </a:ext>
                </a:extLst>
              </p:cNvPr>
              <p:cNvSpPr/>
              <p:nvPr/>
            </p:nvSpPr>
            <p:spPr>
              <a:xfrm>
                <a:off x="3553463" y="2824463"/>
                <a:ext cx="419681" cy="449224"/>
              </a:xfrm>
              <a:custGeom>
                <a:avLst/>
                <a:gdLst>
                  <a:gd name="connsiteX0" fmla="*/ 19230 w 419681"/>
                  <a:gd name="connsiteY0" fmla="*/ 234 h 449224"/>
                  <a:gd name="connsiteX1" fmla="*/ 12 w 419681"/>
                  <a:gd name="connsiteY1" fmla="*/ 20840 h 449224"/>
                  <a:gd name="connsiteX2" fmla="*/ 20604 w 419681"/>
                  <a:gd name="connsiteY2" fmla="*/ 40071 h 449224"/>
                  <a:gd name="connsiteX3" fmla="*/ 287543 w 419681"/>
                  <a:gd name="connsiteY3" fmla="*/ 151292 h 449224"/>
                  <a:gd name="connsiteX4" fmla="*/ 377558 w 419681"/>
                  <a:gd name="connsiteY4" fmla="*/ 427004 h 449224"/>
                  <a:gd name="connsiteX5" fmla="*/ 395063 w 419681"/>
                  <a:gd name="connsiteY5" fmla="*/ 449085 h 449224"/>
                  <a:gd name="connsiteX6" fmla="*/ 397373 w 419681"/>
                  <a:gd name="connsiteY6" fmla="*/ 449224 h 449224"/>
                  <a:gd name="connsiteX7" fmla="*/ 417129 w 419681"/>
                  <a:gd name="connsiteY7" fmla="*/ 431568 h 449224"/>
                  <a:gd name="connsiteX8" fmla="*/ 316778 w 419681"/>
                  <a:gd name="connsiteY8" fmla="*/ 124229 h 449224"/>
                  <a:gd name="connsiteX9" fmla="*/ 19210 w 419681"/>
                  <a:gd name="connsiteY9" fmla="*/ 234 h 449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19681" h="449224">
                    <a:moveTo>
                      <a:pt x="19230" y="234"/>
                    </a:moveTo>
                    <a:cubicBezTo>
                      <a:pt x="8237" y="612"/>
                      <a:pt x="-366" y="9839"/>
                      <a:pt x="12" y="20840"/>
                    </a:cubicBezTo>
                    <a:cubicBezTo>
                      <a:pt x="390" y="31841"/>
                      <a:pt x="9611" y="40430"/>
                      <a:pt x="20604" y="40071"/>
                    </a:cubicBezTo>
                    <a:cubicBezTo>
                      <a:pt x="121652" y="36544"/>
                      <a:pt x="218956" y="77098"/>
                      <a:pt x="287543" y="151292"/>
                    </a:cubicBezTo>
                    <a:cubicBezTo>
                      <a:pt x="356349" y="225706"/>
                      <a:pt x="389148" y="326205"/>
                      <a:pt x="377558" y="427004"/>
                    </a:cubicBezTo>
                    <a:cubicBezTo>
                      <a:pt x="376303" y="437945"/>
                      <a:pt x="384130" y="447829"/>
                      <a:pt x="395063" y="449085"/>
                    </a:cubicBezTo>
                    <a:cubicBezTo>
                      <a:pt x="395840" y="449165"/>
                      <a:pt x="396597" y="449224"/>
                      <a:pt x="397373" y="449224"/>
                    </a:cubicBezTo>
                    <a:cubicBezTo>
                      <a:pt x="407351" y="449224"/>
                      <a:pt x="415954" y="441731"/>
                      <a:pt x="417129" y="431568"/>
                    </a:cubicBezTo>
                    <a:cubicBezTo>
                      <a:pt x="430054" y="319210"/>
                      <a:pt x="393490" y="207192"/>
                      <a:pt x="316778" y="124229"/>
                    </a:cubicBezTo>
                    <a:cubicBezTo>
                      <a:pt x="240305" y="41506"/>
                      <a:pt x="131829" y="-3672"/>
                      <a:pt x="19210" y="234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71" name="Freeform 11">
                <a:extLst>
                  <a:ext uri="{FF2B5EF4-FFF2-40B4-BE49-F238E27FC236}">
                    <a16:creationId xmlns:a16="http://schemas.microsoft.com/office/drawing/2014/main" id="{B31092A6-DE3B-BC9E-40D8-DB012F88DA94}"/>
                  </a:ext>
                </a:extLst>
              </p:cNvPr>
              <p:cNvSpPr/>
              <p:nvPr/>
            </p:nvSpPr>
            <p:spPr>
              <a:xfrm>
                <a:off x="3558251" y="2959607"/>
                <a:ext cx="279012" cy="298635"/>
              </a:xfrm>
              <a:custGeom>
                <a:avLst/>
                <a:gdLst>
                  <a:gd name="connsiteX0" fmla="*/ 20317 w 279012"/>
                  <a:gd name="connsiteY0" fmla="*/ 6 h 298635"/>
                  <a:gd name="connsiteX1" fmla="*/ 4 w 279012"/>
                  <a:gd name="connsiteY1" fmla="*/ 19517 h 298635"/>
                  <a:gd name="connsiteX2" fmla="*/ 19501 w 279012"/>
                  <a:gd name="connsiteY2" fmla="*/ 39844 h 298635"/>
                  <a:gd name="connsiteX3" fmla="*/ 179537 w 279012"/>
                  <a:gd name="connsiteY3" fmla="*/ 111806 h 298635"/>
                  <a:gd name="connsiteX4" fmla="*/ 238783 w 279012"/>
                  <a:gd name="connsiteY4" fmla="*/ 277532 h 298635"/>
                  <a:gd name="connsiteX5" fmla="*/ 257483 w 279012"/>
                  <a:gd name="connsiteY5" fmla="*/ 298596 h 298635"/>
                  <a:gd name="connsiteX6" fmla="*/ 258678 w 279012"/>
                  <a:gd name="connsiteY6" fmla="*/ 298636 h 298635"/>
                  <a:gd name="connsiteX7" fmla="*/ 278533 w 279012"/>
                  <a:gd name="connsiteY7" fmla="*/ 279883 h 298635"/>
                  <a:gd name="connsiteX8" fmla="*/ 208752 w 279012"/>
                  <a:gd name="connsiteY8" fmla="*/ 84743 h 298635"/>
                  <a:gd name="connsiteX9" fmla="*/ 20277 w 279012"/>
                  <a:gd name="connsiteY9" fmla="*/ 6 h 298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9012" h="298635">
                    <a:moveTo>
                      <a:pt x="20317" y="6"/>
                    </a:moveTo>
                    <a:cubicBezTo>
                      <a:pt x="9284" y="-273"/>
                      <a:pt x="223" y="8516"/>
                      <a:pt x="4" y="19517"/>
                    </a:cubicBezTo>
                    <a:cubicBezTo>
                      <a:pt x="-215" y="30517"/>
                      <a:pt x="8508" y="39624"/>
                      <a:pt x="19501" y="39844"/>
                    </a:cubicBezTo>
                    <a:cubicBezTo>
                      <a:pt x="80958" y="41099"/>
                      <a:pt x="137795" y="66648"/>
                      <a:pt x="179537" y="111806"/>
                    </a:cubicBezTo>
                    <a:cubicBezTo>
                      <a:pt x="221398" y="157083"/>
                      <a:pt x="242448" y="215932"/>
                      <a:pt x="238783" y="277532"/>
                    </a:cubicBezTo>
                    <a:cubicBezTo>
                      <a:pt x="238126" y="288512"/>
                      <a:pt x="246510" y="297958"/>
                      <a:pt x="257483" y="298596"/>
                    </a:cubicBezTo>
                    <a:cubicBezTo>
                      <a:pt x="257882" y="298616"/>
                      <a:pt x="258280" y="298636"/>
                      <a:pt x="258678" y="298636"/>
                    </a:cubicBezTo>
                    <a:cubicBezTo>
                      <a:pt x="269134" y="298636"/>
                      <a:pt x="277916" y="290465"/>
                      <a:pt x="278533" y="279883"/>
                    </a:cubicBezTo>
                    <a:cubicBezTo>
                      <a:pt x="282835" y="207363"/>
                      <a:pt x="258041" y="138052"/>
                      <a:pt x="208752" y="84743"/>
                    </a:cubicBezTo>
                    <a:cubicBezTo>
                      <a:pt x="159602" y="31573"/>
                      <a:pt x="92668" y="1481"/>
                      <a:pt x="20277" y="6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</p:grpSp>
        <p:grpSp>
          <p:nvGrpSpPr>
            <p:cNvPr id="517" name="Group 516">
              <a:extLst>
                <a:ext uri="{FF2B5EF4-FFF2-40B4-BE49-F238E27FC236}">
                  <a16:creationId xmlns:a16="http://schemas.microsoft.com/office/drawing/2014/main" id="{46C2255A-5001-A7F6-3C69-18702CC95613}"/>
                </a:ext>
              </a:extLst>
            </p:cNvPr>
            <p:cNvGrpSpPr/>
            <p:nvPr/>
          </p:nvGrpSpPr>
          <p:grpSpPr>
            <a:xfrm>
              <a:off x="2864741" y="4417659"/>
              <a:ext cx="158172" cy="156986"/>
              <a:chOff x="2296249" y="2698787"/>
              <a:chExt cx="2082217" cy="2066613"/>
            </a:xfrm>
            <a:solidFill>
              <a:schemeClr val="accent5"/>
            </a:solidFill>
          </p:grpSpPr>
          <p:sp>
            <p:nvSpPr>
              <p:cNvPr id="551" name="Freeform 4">
                <a:extLst>
                  <a:ext uri="{FF2B5EF4-FFF2-40B4-BE49-F238E27FC236}">
                    <a16:creationId xmlns:a16="http://schemas.microsoft.com/office/drawing/2014/main" id="{C2ACA223-1853-679F-1FFA-D0930393DC24}"/>
                  </a:ext>
                </a:extLst>
              </p:cNvPr>
              <p:cNvSpPr/>
              <p:nvPr/>
            </p:nvSpPr>
            <p:spPr>
              <a:xfrm>
                <a:off x="3046266" y="3083552"/>
                <a:ext cx="582312" cy="1179604"/>
              </a:xfrm>
              <a:custGeom>
                <a:avLst/>
                <a:gdLst>
                  <a:gd name="connsiteX0" fmla="*/ 582293 w 582312"/>
                  <a:gd name="connsiteY0" fmla="*/ 752141 h 1179604"/>
                  <a:gd name="connsiteX1" fmla="*/ 582293 w 582312"/>
                  <a:gd name="connsiteY1" fmla="*/ 316738 h 1179604"/>
                  <a:gd name="connsiteX2" fmla="*/ 508640 w 582312"/>
                  <a:gd name="connsiteY2" fmla="*/ 243014 h 1179604"/>
                  <a:gd name="connsiteX3" fmla="*/ 311074 w 582312"/>
                  <a:gd name="connsiteY3" fmla="*/ 243014 h 1179604"/>
                  <a:gd name="connsiteX4" fmla="*/ 311074 w 582312"/>
                  <a:gd name="connsiteY4" fmla="*/ 127142 h 1179604"/>
                  <a:gd name="connsiteX5" fmla="*/ 357686 w 582312"/>
                  <a:gd name="connsiteY5" fmla="*/ 64888 h 1179604"/>
                  <a:gd name="connsiteX6" fmla="*/ 292860 w 582312"/>
                  <a:gd name="connsiteY6" fmla="*/ 0 h 1179604"/>
                  <a:gd name="connsiteX7" fmla="*/ 228035 w 582312"/>
                  <a:gd name="connsiteY7" fmla="*/ 64888 h 1179604"/>
                  <a:gd name="connsiteX8" fmla="*/ 271219 w 582312"/>
                  <a:gd name="connsiteY8" fmla="*/ 126045 h 1179604"/>
                  <a:gd name="connsiteX9" fmla="*/ 271219 w 582312"/>
                  <a:gd name="connsiteY9" fmla="*/ 243014 h 1179604"/>
                  <a:gd name="connsiteX10" fmla="*/ 73654 w 582312"/>
                  <a:gd name="connsiteY10" fmla="*/ 243014 h 1179604"/>
                  <a:gd name="connsiteX11" fmla="*/ 0 w 582312"/>
                  <a:gd name="connsiteY11" fmla="*/ 316738 h 1179604"/>
                  <a:gd name="connsiteX12" fmla="*/ 0 w 582312"/>
                  <a:gd name="connsiteY12" fmla="*/ 752141 h 1179604"/>
                  <a:gd name="connsiteX13" fmla="*/ 73654 w 582312"/>
                  <a:gd name="connsiteY13" fmla="*/ 825865 h 1179604"/>
                  <a:gd name="connsiteX14" fmla="*/ 271219 w 582312"/>
                  <a:gd name="connsiteY14" fmla="*/ 825865 h 1179604"/>
                  <a:gd name="connsiteX15" fmla="*/ 271219 w 582312"/>
                  <a:gd name="connsiteY15" fmla="*/ 1053021 h 1179604"/>
                  <a:gd name="connsiteX16" fmla="*/ 226421 w 582312"/>
                  <a:gd name="connsiteY16" fmla="*/ 1114717 h 1179604"/>
                  <a:gd name="connsiteX17" fmla="*/ 291246 w 582312"/>
                  <a:gd name="connsiteY17" fmla="*/ 1179605 h 1179604"/>
                  <a:gd name="connsiteX18" fmla="*/ 356072 w 582312"/>
                  <a:gd name="connsiteY18" fmla="*/ 1114717 h 1179604"/>
                  <a:gd name="connsiteX19" fmla="*/ 311094 w 582312"/>
                  <a:gd name="connsiteY19" fmla="*/ 1052961 h 1179604"/>
                  <a:gd name="connsiteX20" fmla="*/ 311094 w 582312"/>
                  <a:gd name="connsiteY20" fmla="*/ 825865 h 1179604"/>
                  <a:gd name="connsiteX21" fmla="*/ 508660 w 582312"/>
                  <a:gd name="connsiteY21" fmla="*/ 825865 h 1179604"/>
                  <a:gd name="connsiteX22" fmla="*/ 582313 w 582312"/>
                  <a:gd name="connsiteY22" fmla="*/ 752141 h 1179604"/>
                  <a:gd name="connsiteX23" fmla="*/ 542437 w 582312"/>
                  <a:gd name="connsiteY23" fmla="*/ 752141 h 1179604"/>
                  <a:gd name="connsiteX24" fmla="*/ 508640 w 582312"/>
                  <a:gd name="connsiteY24" fmla="*/ 785971 h 1179604"/>
                  <a:gd name="connsiteX25" fmla="*/ 73654 w 582312"/>
                  <a:gd name="connsiteY25" fmla="*/ 785971 h 1179604"/>
                  <a:gd name="connsiteX26" fmla="*/ 39856 w 582312"/>
                  <a:gd name="connsiteY26" fmla="*/ 752141 h 1179604"/>
                  <a:gd name="connsiteX27" fmla="*/ 39856 w 582312"/>
                  <a:gd name="connsiteY27" fmla="*/ 316738 h 1179604"/>
                  <a:gd name="connsiteX28" fmla="*/ 73654 w 582312"/>
                  <a:gd name="connsiteY28" fmla="*/ 282908 h 1179604"/>
                  <a:gd name="connsiteX29" fmla="*/ 508640 w 582312"/>
                  <a:gd name="connsiteY29" fmla="*/ 282908 h 1179604"/>
                  <a:gd name="connsiteX30" fmla="*/ 542437 w 582312"/>
                  <a:gd name="connsiteY30" fmla="*/ 316738 h 1179604"/>
                  <a:gd name="connsiteX31" fmla="*/ 542437 w 582312"/>
                  <a:gd name="connsiteY31" fmla="*/ 752141 h 1179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2312" h="1179604">
                    <a:moveTo>
                      <a:pt x="582293" y="752141"/>
                    </a:moveTo>
                    <a:lnTo>
                      <a:pt x="582293" y="316738"/>
                    </a:lnTo>
                    <a:cubicBezTo>
                      <a:pt x="582293" y="276086"/>
                      <a:pt x="549253" y="243014"/>
                      <a:pt x="508640" y="243014"/>
                    </a:cubicBezTo>
                    <a:lnTo>
                      <a:pt x="311074" y="243014"/>
                    </a:lnTo>
                    <a:lnTo>
                      <a:pt x="311074" y="127142"/>
                    </a:lnTo>
                    <a:cubicBezTo>
                      <a:pt x="337977" y="119243"/>
                      <a:pt x="357686" y="94329"/>
                      <a:pt x="357686" y="64888"/>
                    </a:cubicBezTo>
                    <a:cubicBezTo>
                      <a:pt x="357686" y="29103"/>
                      <a:pt x="328611" y="0"/>
                      <a:pt x="292860" y="0"/>
                    </a:cubicBezTo>
                    <a:cubicBezTo>
                      <a:pt x="257110" y="0"/>
                      <a:pt x="228035" y="29103"/>
                      <a:pt x="228035" y="64888"/>
                    </a:cubicBezTo>
                    <a:cubicBezTo>
                      <a:pt x="228035" y="93073"/>
                      <a:pt x="246090" y="117109"/>
                      <a:pt x="271219" y="126045"/>
                    </a:cubicBezTo>
                    <a:lnTo>
                      <a:pt x="271219" y="243014"/>
                    </a:lnTo>
                    <a:lnTo>
                      <a:pt x="73654" y="243014"/>
                    </a:lnTo>
                    <a:cubicBezTo>
                      <a:pt x="33040" y="243014"/>
                      <a:pt x="0" y="276086"/>
                      <a:pt x="0" y="316738"/>
                    </a:cubicBezTo>
                    <a:lnTo>
                      <a:pt x="0" y="752141"/>
                    </a:lnTo>
                    <a:cubicBezTo>
                      <a:pt x="0" y="792793"/>
                      <a:pt x="33040" y="825865"/>
                      <a:pt x="73654" y="825865"/>
                    </a:cubicBezTo>
                    <a:lnTo>
                      <a:pt x="271219" y="825865"/>
                    </a:lnTo>
                    <a:lnTo>
                      <a:pt x="271219" y="1053021"/>
                    </a:lnTo>
                    <a:cubicBezTo>
                      <a:pt x="245253" y="1061479"/>
                      <a:pt x="226421" y="1085934"/>
                      <a:pt x="226421" y="1114717"/>
                    </a:cubicBezTo>
                    <a:cubicBezTo>
                      <a:pt x="226421" y="1150502"/>
                      <a:pt x="255496" y="1179605"/>
                      <a:pt x="291246" y="1179605"/>
                    </a:cubicBezTo>
                    <a:cubicBezTo>
                      <a:pt x="326997" y="1179605"/>
                      <a:pt x="356072" y="1150502"/>
                      <a:pt x="356072" y="1114717"/>
                    </a:cubicBezTo>
                    <a:cubicBezTo>
                      <a:pt x="356072" y="1085874"/>
                      <a:pt x="337160" y="1061359"/>
                      <a:pt x="311094" y="1052961"/>
                    </a:cubicBezTo>
                    <a:lnTo>
                      <a:pt x="311094" y="825865"/>
                    </a:lnTo>
                    <a:lnTo>
                      <a:pt x="508660" y="825865"/>
                    </a:lnTo>
                    <a:cubicBezTo>
                      <a:pt x="549273" y="825865"/>
                      <a:pt x="582313" y="792793"/>
                      <a:pt x="582313" y="752141"/>
                    </a:cubicBezTo>
                    <a:close/>
                    <a:moveTo>
                      <a:pt x="542437" y="752141"/>
                    </a:moveTo>
                    <a:cubicBezTo>
                      <a:pt x="542437" y="770791"/>
                      <a:pt x="527272" y="785971"/>
                      <a:pt x="508640" y="785971"/>
                    </a:cubicBezTo>
                    <a:lnTo>
                      <a:pt x="73654" y="785971"/>
                    </a:lnTo>
                    <a:cubicBezTo>
                      <a:pt x="55021" y="785971"/>
                      <a:pt x="39856" y="770791"/>
                      <a:pt x="39856" y="752141"/>
                    </a:cubicBezTo>
                    <a:lnTo>
                      <a:pt x="39856" y="316738"/>
                    </a:lnTo>
                    <a:cubicBezTo>
                      <a:pt x="39856" y="298088"/>
                      <a:pt x="55021" y="282908"/>
                      <a:pt x="73654" y="282908"/>
                    </a:cubicBezTo>
                    <a:lnTo>
                      <a:pt x="508640" y="282908"/>
                    </a:lnTo>
                    <a:cubicBezTo>
                      <a:pt x="527272" y="282908"/>
                      <a:pt x="542437" y="298088"/>
                      <a:pt x="542437" y="316738"/>
                    </a:cubicBezTo>
                    <a:lnTo>
                      <a:pt x="542437" y="752141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52" name="Freeform 5">
                <a:extLst>
                  <a:ext uri="{FF2B5EF4-FFF2-40B4-BE49-F238E27FC236}">
                    <a16:creationId xmlns:a16="http://schemas.microsoft.com/office/drawing/2014/main" id="{D6FBF914-5C0A-FF11-F1A5-C1E2FB3CD638}"/>
                  </a:ext>
                </a:extLst>
              </p:cNvPr>
              <p:cNvSpPr/>
              <p:nvPr/>
            </p:nvSpPr>
            <p:spPr>
              <a:xfrm>
                <a:off x="3309852" y="3745053"/>
                <a:ext cx="76244" cy="76317"/>
              </a:xfrm>
              <a:custGeom>
                <a:avLst/>
                <a:gdLst>
                  <a:gd name="connsiteX0" fmla="*/ 38122 w 76244"/>
                  <a:gd name="connsiteY0" fmla="*/ 0 h 76317"/>
                  <a:gd name="connsiteX1" fmla="*/ 0 w 76244"/>
                  <a:gd name="connsiteY1" fmla="*/ 38159 h 76317"/>
                  <a:gd name="connsiteX2" fmla="*/ 38122 w 76244"/>
                  <a:gd name="connsiteY2" fmla="*/ 76317 h 76317"/>
                  <a:gd name="connsiteX3" fmla="*/ 76244 w 76244"/>
                  <a:gd name="connsiteY3" fmla="*/ 38159 h 76317"/>
                  <a:gd name="connsiteX4" fmla="*/ 38122 w 76244"/>
                  <a:gd name="connsiteY4" fmla="*/ 0 h 76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244" h="76317">
                    <a:moveTo>
                      <a:pt x="38122" y="0"/>
                    </a:moveTo>
                    <a:cubicBezTo>
                      <a:pt x="17098" y="0"/>
                      <a:pt x="0" y="17115"/>
                      <a:pt x="0" y="38159"/>
                    </a:cubicBezTo>
                    <a:cubicBezTo>
                      <a:pt x="0" y="59203"/>
                      <a:pt x="17098" y="76317"/>
                      <a:pt x="38122" y="76317"/>
                    </a:cubicBezTo>
                    <a:cubicBezTo>
                      <a:pt x="59146" y="76317"/>
                      <a:pt x="76244" y="59203"/>
                      <a:pt x="76244" y="38159"/>
                    </a:cubicBezTo>
                    <a:cubicBezTo>
                      <a:pt x="76244" y="17115"/>
                      <a:pt x="59146" y="0"/>
                      <a:pt x="38122" y="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53" name="Freeform 6">
                <a:extLst>
                  <a:ext uri="{FF2B5EF4-FFF2-40B4-BE49-F238E27FC236}">
                    <a16:creationId xmlns:a16="http://schemas.microsoft.com/office/drawing/2014/main" id="{D3E27701-CBA7-4923-8A98-39BE9C3BB5F4}"/>
                  </a:ext>
                </a:extLst>
              </p:cNvPr>
              <p:cNvSpPr/>
              <p:nvPr/>
            </p:nvSpPr>
            <p:spPr>
              <a:xfrm>
                <a:off x="3365371" y="3417843"/>
                <a:ext cx="184651" cy="403527"/>
              </a:xfrm>
              <a:custGeom>
                <a:avLst/>
                <a:gdLst>
                  <a:gd name="connsiteX0" fmla="*/ 166458 w 184651"/>
                  <a:gd name="connsiteY0" fmla="*/ 332895 h 403527"/>
                  <a:gd name="connsiteX1" fmla="*/ 166458 w 184651"/>
                  <a:gd name="connsiteY1" fmla="*/ 98119 h 403527"/>
                  <a:gd name="connsiteX2" fmla="*/ 86627 w 184651"/>
                  <a:gd name="connsiteY2" fmla="*/ 18212 h 403527"/>
                  <a:gd name="connsiteX3" fmla="*/ 70565 w 184651"/>
                  <a:gd name="connsiteY3" fmla="*/ 18212 h 403527"/>
                  <a:gd name="connsiteX4" fmla="*/ 38122 w 184651"/>
                  <a:gd name="connsiteY4" fmla="*/ 0 h 403527"/>
                  <a:gd name="connsiteX5" fmla="*/ 0 w 184651"/>
                  <a:gd name="connsiteY5" fmla="*/ 38159 h 403527"/>
                  <a:gd name="connsiteX6" fmla="*/ 38122 w 184651"/>
                  <a:gd name="connsiteY6" fmla="*/ 76317 h 403527"/>
                  <a:gd name="connsiteX7" fmla="*/ 70565 w 184651"/>
                  <a:gd name="connsiteY7" fmla="*/ 58106 h 403527"/>
                  <a:gd name="connsiteX8" fmla="*/ 86627 w 184651"/>
                  <a:gd name="connsiteY8" fmla="*/ 58106 h 403527"/>
                  <a:gd name="connsiteX9" fmla="*/ 126602 w 184651"/>
                  <a:gd name="connsiteY9" fmla="*/ 98119 h 403527"/>
                  <a:gd name="connsiteX10" fmla="*/ 126602 w 184651"/>
                  <a:gd name="connsiteY10" fmla="*/ 332895 h 403527"/>
                  <a:gd name="connsiteX11" fmla="*/ 108408 w 184651"/>
                  <a:gd name="connsiteY11" fmla="*/ 365369 h 403527"/>
                  <a:gd name="connsiteX12" fmla="*/ 146530 w 184651"/>
                  <a:gd name="connsiteY12" fmla="*/ 403527 h 403527"/>
                  <a:gd name="connsiteX13" fmla="*/ 184652 w 184651"/>
                  <a:gd name="connsiteY13" fmla="*/ 365369 h 403527"/>
                  <a:gd name="connsiteX14" fmla="*/ 166458 w 184651"/>
                  <a:gd name="connsiteY14" fmla="*/ 332895 h 403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84651" h="403527">
                    <a:moveTo>
                      <a:pt x="166458" y="332895"/>
                    </a:moveTo>
                    <a:lnTo>
                      <a:pt x="166458" y="98119"/>
                    </a:lnTo>
                    <a:cubicBezTo>
                      <a:pt x="166458" y="54056"/>
                      <a:pt x="130647" y="18212"/>
                      <a:pt x="86627" y="18212"/>
                    </a:cubicBezTo>
                    <a:lnTo>
                      <a:pt x="70565" y="18212"/>
                    </a:lnTo>
                    <a:cubicBezTo>
                      <a:pt x="63849" y="7301"/>
                      <a:pt x="51832" y="0"/>
                      <a:pt x="38122" y="0"/>
                    </a:cubicBezTo>
                    <a:cubicBezTo>
                      <a:pt x="17098" y="0"/>
                      <a:pt x="0" y="17115"/>
                      <a:pt x="0" y="38159"/>
                    </a:cubicBezTo>
                    <a:cubicBezTo>
                      <a:pt x="0" y="59203"/>
                      <a:pt x="17098" y="76317"/>
                      <a:pt x="38122" y="76317"/>
                    </a:cubicBezTo>
                    <a:cubicBezTo>
                      <a:pt x="51832" y="76317"/>
                      <a:pt x="63849" y="69017"/>
                      <a:pt x="70565" y="58106"/>
                    </a:cubicBezTo>
                    <a:lnTo>
                      <a:pt x="86627" y="58106"/>
                    </a:lnTo>
                    <a:cubicBezTo>
                      <a:pt x="108667" y="58106"/>
                      <a:pt x="126602" y="76058"/>
                      <a:pt x="126602" y="98119"/>
                    </a:cubicBezTo>
                    <a:lnTo>
                      <a:pt x="126602" y="332895"/>
                    </a:lnTo>
                    <a:cubicBezTo>
                      <a:pt x="115701" y="339617"/>
                      <a:pt x="108408" y="351645"/>
                      <a:pt x="108408" y="365369"/>
                    </a:cubicBezTo>
                    <a:cubicBezTo>
                      <a:pt x="108408" y="386413"/>
                      <a:pt x="125506" y="403527"/>
                      <a:pt x="146530" y="403527"/>
                    </a:cubicBezTo>
                    <a:cubicBezTo>
                      <a:pt x="167554" y="403527"/>
                      <a:pt x="184652" y="386413"/>
                      <a:pt x="184652" y="365369"/>
                    </a:cubicBezTo>
                    <a:cubicBezTo>
                      <a:pt x="184652" y="351645"/>
                      <a:pt x="177358" y="339617"/>
                      <a:pt x="166458" y="332895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54" name="Freeform 7">
                <a:extLst>
                  <a:ext uri="{FF2B5EF4-FFF2-40B4-BE49-F238E27FC236}">
                    <a16:creationId xmlns:a16="http://schemas.microsoft.com/office/drawing/2014/main" id="{474988BF-0B87-86DF-140B-A875F3F4B2AF}"/>
                  </a:ext>
                </a:extLst>
              </p:cNvPr>
              <p:cNvSpPr/>
              <p:nvPr/>
            </p:nvSpPr>
            <p:spPr>
              <a:xfrm>
                <a:off x="3145547" y="3745053"/>
                <a:ext cx="76244" cy="76317"/>
              </a:xfrm>
              <a:custGeom>
                <a:avLst/>
                <a:gdLst>
                  <a:gd name="connsiteX0" fmla="*/ 38122 w 76244"/>
                  <a:gd name="connsiteY0" fmla="*/ 0 h 76317"/>
                  <a:gd name="connsiteX1" fmla="*/ 0 w 76244"/>
                  <a:gd name="connsiteY1" fmla="*/ 38159 h 76317"/>
                  <a:gd name="connsiteX2" fmla="*/ 38122 w 76244"/>
                  <a:gd name="connsiteY2" fmla="*/ 76317 h 76317"/>
                  <a:gd name="connsiteX3" fmla="*/ 76244 w 76244"/>
                  <a:gd name="connsiteY3" fmla="*/ 38159 h 76317"/>
                  <a:gd name="connsiteX4" fmla="*/ 38122 w 76244"/>
                  <a:gd name="connsiteY4" fmla="*/ 0 h 76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244" h="76317">
                    <a:moveTo>
                      <a:pt x="38122" y="0"/>
                    </a:moveTo>
                    <a:cubicBezTo>
                      <a:pt x="17098" y="0"/>
                      <a:pt x="0" y="17115"/>
                      <a:pt x="0" y="38159"/>
                    </a:cubicBezTo>
                    <a:cubicBezTo>
                      <a:pt x="0" y="59203"/>
                      <a:pt x="17098" y="76317"/>
                      <a:pt x="38122" y="76317"/>
                    </a:cubicBezTo>
                    <a:cubicBezTo>
                      <a:pt x="59146" y="76317"/>
                      <a:pt x="76244" y="59203"/>
                      <a:pt x="76244" y="38159"/>
                    </a:cubicBezTo>
                    <a:cubicBezTo>
                      <a:pt x="76244" y="17115"/>
                      <a:pt x="59146" y="0"/>
                      <a:pt x="38122" y="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55" name="Freeform 8">
                <a:extLst>
                  <a:ext uri="{FF2B5EF4-FFF2-40B4-BE49-F238E27FC236}">
                    <a16:creationId xmlns:a16="http://schemas.microsoft.com/office/drawing/2014/main" id="{D0C4D73B-7889-417C-98F3-51C997FEE32E}"/>
                  </a:ext>
                </a:extLst>
              </p:cNvPr>
              <p:cNvSpPr/>
              <p:nvPr/>
            </p:nvSpPr>
            <p:spPr>
              <a:xfrm>
                <a:off x="2743482" y="2951523"/>
                <a:ext cx="342660" cy="341292"/>
              </a:xfrm>
              <a:custGeom>
                <a:avLst/>
                <a:gdLst>
                  <a:gd name="connsiteX0" fmla="*/ 64806 w 342660"/>
                  <a:gd name="connsiteY0" fmla="*/ 341293 h 341292"/>
                  <a:gd name="connsiteX1" fmla="*/ 116777 w 342660"/>
                  <a:gd name="connsiteY1" fmla="*/ 315142 h 341292"/>
                  <a:gd name="connsiteX2" fmla="*/ 240291 w 342660"/>
                  <a:gd name="connsiteY2" fmla="*/ 315142 h 341292"/>
                  <a:gd name="connsiteX3" fmla="*/ 299098 w 342660"/>
                  <a:gd name="connsiteY3" fmla="*/ 256279 h 341292"/>
                  <a:gd name="connsiteX4" fmla="*/ 299098 w 342660"/>
                  <a:gd name="connsiteY4" fmla="*/ 126165 h 341292"/>
                  <a:gd name="connsiteX5" fmla="*/ 342660 w 342660"/>
                  <a:gd name="connsiteY5" fmla="*/ 64888 h 341292"/>
                  <a:gd name="connsiteX6" fmla="*/ 277835 w 342660"/>
                  <a:gd name="connsiteY6" fmla="*/ 0 h 341292"/>
                  <a:gd name="connsiteX7" fmla="*/ 213009 w 342660"/>
                  <a:gd name="connsiteY7" fmla="*/ 64888 h 341292"/>
                  <a:gd name="connsiteX8" fmla="*/ 259242 w 342660"/>
                  <a:gd name="connsiteY8" fmla="*/ 127042 h 341292"/>
                  <a:gd name="connsiteX9" fmla="*/ 259242 w 342660"/>
                  <a:gd name="connsiteY9" fmla="*/ 256279 h 341292"/>
                  <a:gd name="connsiteX10" fmla="*/ 240291 w 342660"/>
                  <a:gd name="connsiteY10" fmla="*/ 275248 h 341292"/>
                  <a:gd name="connsiteX11" fmla="*/ 129611 w 342660"/>
                  <a:gd name="connsiteY11" fmla="*/ 275248 h 341292"/>
                  <a:gd name="connsiteX12" fmla="*/ 64825 w 342660"/>
                  <a:gd name="connsiteY12" fmla="*/ 211518 h 341292"/>
                  <a:gd name="connsiteX13" fmla="*/ 0 w 342660"/>
                  <a:gd name="connsiteY13" fmla="*/ 276405 h 341292"/>
                  <a:gd name="connsiteX14" fmla="*/ 64825 w 342660"/>
                  <a:gd name="connsiteY14" fmla="*/ 341293 h 341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2660" h="341292">
                    <a:moveTo>
                      <a:pt x="64806" y="341293"/>
                    </a:moveTo>
                    <a:cubicBezTo>
                      <a:pt x="86049" y="341293"/>
                      <a:pt x="104940" y="331000"/>
                      <a:pt x="116777" y="315142"/>
                    </a:cubicBezTo>
                    <a:lnTo>
                      <a:pt x="240291" y="315142"/>
                    </a:lnTo>
                    <a:cubicBezTo>
                      <a:pt x="272713" y="315142"/>
                      <a:pt x="299098" y="288733"/>
                      <a:pt x="299098" y="256279"/>
                    </a:cubicBezTo>
                    <a:lnTo>
                      <a:pt x="299098" y="126165"/>
                    </a:lnTo>
                    <a:cubicBezTo>
                      <a:pt x="324426" y="117328"/>
                      <a:pt x="342660" y="93212"/>
                      <a:pt x="342660" y="64888"/>
                    </a:cubicBezTo>
                    <a:cubicBezTo>
                      <a:pt x="342660" y="29103"/>
                      <a:pt x="313585" y="0"/>
                      <a:pt x="277835" y="0"/>
                    </a:cubicBezTo>
                    <a:cubicBezTo>
                      <a:pt x="242084" y="0"/>
                      <a:pt x="213009" y="29103"/>
                      <a:pt x="213009" y="64888"/>
                    </a:cubicBezTo>
                    <a:cubicBezTo>
                      <a:pt x="213009" y="94190"/>
                      <a:pt x="232539" y="119024"/>
                      <a:pt x="259242" y="127042"/>
                    </a:cubicBezTo>
                    <a:lnTo>
                      <a:pt x="259242" y="256279"/>
                    </a:lnTo>
                    <a:cubicBezTo>
                      <a:pt x="259242" y="266751"/>
                      <a:pt x="250733" y="275248"/>
                      <a:pt x="240291" y="275248"/>
                    </a:cubicBezTo>
                    <a:lnTo>
                      <a:pt x="129611" y="275248"/>
                    </a:lnTo>
                    <a:cubicBezTo>
                      <a:pt x="128993" y="240002"/>
                      <a:pt x="100178" y="211518"/>
                      <a:pt x="64825" y="211518"/>
                    </a:cubicBezTo>
                    <a:cubicBezTo>
                      <a:pt x="29473" y="211518"/>
                      <a:pt x="0" y="240620"/>
                      <a:pt x="0" y="276405"/>
                    </a:cubicBezTo>
                    <a:cubicBezTo>
                      <a:pt x="0" y="312190"/>
                      <a:pt x="29075" y="341293"/>
                      <a:pt x="64825" y="341293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56" name="Freeform 9">
                <a:extLst>
                  <a:ext uri="{FF2B5EF4-FFF2-40B4-BE49-F238E27FC236}">
                    <a16:creationId xmlns:a16="http://schemas.microsoft.com/office/drawing/2014/main" id="{397AD5DA-EE1D-B953-77B3-62D488FB35A2}"/>
                  </a:ext>
                </a:extLst>
              </p:cNvPr>
              <p:cNvSpPr/>
              <p:nvPr/>
            </p:nvSpPr>
            <p:spPr>
              <a:xfrm>
                <a:off x="3145567" y="3417863"/>
                <a:ext cx="298838" cy="305567"/>
              </a:xfrm>
              <a:custGeom>
                <a:avLst/>
                <a:gdLst>
                  <a:gd name="connsiteX0" fmla="*/ 256472 w 298838"/>
                  <a:gd name="connsiteY0" fmla="*/ 115214 h 305567"/>
                  <a:gd name="connsiteX1" fmla="*/ 146789 w 298838"/>
                  <a:gd name="connsiteY1" fmla="*/ 115214 h 305567"/>
                  <a:gd name="connsiteX2" fmla="*/ 104422 w 298838"/>
                  <a:gd name="connsiteY2" fmla="*/ 157621 h 305567"/>
                  <a:gd name="connsiteX3" fmla="*/ 104422 w 298838"/>
                  <a:gd name="connsiteY3" fmla="*/ 198093 h 305567"/>
                  <a:gd name="connsiteX4" fmla="*/ 89735 w 298838"/>
                  <a:gd name="connsiteY4" fmla="*/ 198093 h 305567"/>
                  <a:gd name="connsiteX5" fmla="*/ 58050 w 298838"/>
                  <a:gd name="connsiteY5" fmla="*/ 166378 h 305567"/>
                  <a:gd name="connsiteX6" fmla="*/ 58050 w 298838"/>
                  <a:gd name="connsiteY6" fmla="*/ 70632 h 305567"/>
                  <a:gd name="connsiteX7" fmla="*/ 76244 w 298838"/>
                  <a:gd name="connsiteY7" fmla="*/ 38159 h 305567"/>
                  <a:gd name="connsiteX8" fmla="*/ 38122 w 298838"/>
                  <a:gd name="connsiteY8" fmla="*/ 0 h 305567"/>
                  <a:gd name="connsiteX9" fmla="*/ 0 w 298838"/>
                  <a:gd name="connsiteY9" fmla="*/ 38159 h 305567"/>
                  <a:gd name="connsiteX10" fmla="*/ 18194 w 298838"/>
                  <a:gd name="connsiteY10" fmla="*/ 70632 h 305567"/>
                  <a:gd name="connsiteX11" fmla="*/ 18194 w 298838"/>
                  <a:gd name="connsiteY11" fmla="*/ 166378 h 305567"/>
                  <a:gd name="connsiteX12" fmla="*/ 89735 w 298838"/>
                  <a:gd name="connsiteY12" fmla="*/ 237987 h 305567"/>
                  <a:gd name="connsiteX13" fmla="*/ 104422 w 298838"/>
                  <a:gd name="connsiteY13" fmla="*/ 237987 h 305567"/>
                  <a:gd name="connsiteX14" fmla="*/ 104422 w 298838"/>
                  <a:gd name="connsiteY14" fmla="*/ 263160 h 305567"/>
                  <a:gd name="connsiteX15" fmla="*/ 146789 w 298838"/>
                  <a:gd name="connsiteY15" fmla="*/ 305568 h 305567"/>
                  <a:gd name="connsiteX16" fmla="*/ 256472 w 298838"/>
                  <a:gd name="connsiteY16" fmla="*/ 305568 h 305567"/>
                  <a:gd name="connsiteX17" fmla="*/ 298839 w 298838"/>
                  <a:gd name="connsiteY17" fmla="*/ 263160 h 305567"/>
                  <a:gd name="connsiteX18" fmla="*/ 298839 w 298838"/>
                  <a:gd name="connsiteY18" fmla="*/ 157621 h 305567"/>
                  <a:gd name="connsiteX19" fmla="*/ 256472 w 298838"/>
                  <a:gd name="connsiteY19" fmla="*/ 115214 h 305567"/>
                  <a:gd name="connsiteX20" fmla="*/ 258983 w 298838"/>
                  <a:gd name="connsiteY20" fmla="*/ 263160 h 305567"/>
                  <a:gd name="connsiteX21" fmla="*/ 256472 w 298838"/>
                  <a:gd name="connsiteY21" fmla="*/ 265674 h 305567"/>
                  <a:gd name="connsiteX22" fmla="*/ 146789 w 298838"/>
                  <a:gd name="connsiteY22" fmla="*/ 265674 h 305567"/>
                  <a:gd name="connsiteX23" fmla="*/ 144278 w 298838"/>
                  <a:gd name="connsiteY23" fmla="*/ 263160 h 305567"/>
                  <a:gd name="connsiteX24" fmla="*/ 144278 w 298838"/>
                  <a:gd name="connsiteY24" fmla="*/ 157621 h 305567"/>
                  <a:gd name="connsiteX25" fmla="*/ 146789 w 298838"/>
                  <a:gd name="connsiteY25" fmla="*/ 155108 h 305567"/>
                  <a:gd name="connsiteX26" fmla="*/ 256472 w 298838"/>
                  <a:gd name="connsiteY26" fmla="*/ 155108 h 305567"/>
                  <a:gd name="connsiteX27" fmla="*/ 258983 w 298838"/>
                  <a:gd name="connsiteY27" fmla="*/ 157621 h 305567"/>
                  <a:gd name="connsiteX28" fmla="*/ 258983 w 298838"/>
                  <a:gd name="connsiteY28" fmla="*/ 263160 h 305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98838" h="305567">
                    <a:moveTo>
                      <a:pt x="256472" y="115214"/>
                    </a:moveTo>
                    <a:lnTo>
                      <a:pt x="146789" y="115214"/>
                    </a:lnTo>
                    <a:cubicBezTo>
                      <a:pt x="123433" y="115214"/>
                      <a:pt x="104422" y="134243"/>
                      <a:pt x="104422" y="157621"/>
                    </a:cubicBezTo>
                    <a:lnTo>
                      <a:pt x="104422" y="198093"/>
                    </a:lnTo>
                    <a:lnTo>
                      <a:pt x="89735" y="198093"/>
                    </a:lnTo>
                    <a:cubicBezTo>
                      <a:pt x="72259" y="198093"/>
                      <a:pt x="58050" y="183871"/>
                      <a:pt x="58050" y="166378"/>
                    </a:cubicBezTo>
                    <a:lnTo>
                      <a:pt x="58050" y="70632"/>
                    </a:lnTo>
                    <a:cubicBezTo>
                      <a:pt x="68951" y="63910"/>
                      <a:pt x="76244" y="51882"/>
                      <a:pt x="76244" y="38159"/>
                    </a:cubicBezTo>
                    <a:cubicBezTo>
                      <a:pt x="76244" y="17114"/>
                      <a:pt x="59146" y="0"/>
                      <a:pt x="38122" y="0"/>
                    </a:cubicBezTo>
                    <a:cubicBezTo>
                      <a:pt x="17098" y="0"/>
                      <a:pt x="0" y="17114"/>
                      <a:pt x="0" y="38159"/>
                    </a:cubicBezTo>
                    <a:cubicBezTo>
                      <a:pt x="0" y="51882"/>
                      <a:pt x="7294" y="63910"/>
                      <a:pt x="18194" y="70632"/>
                    </a:cubicBezTo>
                    <a:lnTo>
                      <a:pt x="18194" y="166378"/>
                    </a:lnTo>
                    <a:cubicBezTo>
                      <a:pt x="18194" y="205873"/>
                      <a:pt x="50298" y="237987"/>
                      <a:pt x="89735" y="237987"/>
                    </a:cubicBezTo>
                    <a:lnTo>
                      <a:pt x="104422" y="237987"/>
                    </a:lnTo>
                    <a:lnTo>
                      <a:pt x="104422" y="263160"/>
                    </a:lnTo>
                    <a:cubicBezTo>
                      <a:pt x="104422" y="286538"/>
                      <a:pt x="123433" y="305568"/>
                      <a:pt x="146789" y="305568"/>
                    </a:cubicBezTo>
                    <a:lnTo>
                      <a:pt x="256472" y="305568"/>
                    </a:lnTo>
                    <a:cubicBezTo>
                      <a:pt x="279828" y="305568"/>
                      <a:pt x="298839" y="286538"/>
                      <a:pt x="298839" y="263160"/>
                    </a:cubicBezTo>
                    <a:lnTo>
                      <a:pt x="298839" y="157621"/>
                    </a:lnTo>
                    <a:cubicBezTo>
                      <a:pt x="298839" y="134243"/>
                      <a:pt x="279828" y="115214"/>
                      <a:pt x="256472" y="115214"/>
                    </a:cubicBezTo>
                    <a:close/>
                    <a:moveTo>
                      <a:pt x="258983" y="263160"/>
                    </a:moveTo>
                    <a:cubicBezTo>
                      <a:pt x="258983" y="264557"/>
                      <a:pt x="257847" y="265674"/>
                      <a:pt x="256472" y="265674"/>
                    </a:cubicBezTo>
                    <a:lnTo>
                      <a:pt x="146789" y="265674"/>
                    </a:lnTo>
                    <a:cubicBezTo>
                      <a:pt x="145394" y="265674"/>
                      <a:pt x="144278" y="264537"/>
                      <a:pt x="144278" y="263160"/>
                    </a:cubicBezTo>
                    <a:lnTo>
                      <a:pt x="144278" y="157621"/>
                    </a:lnTo>
                    <a:cubicBezTo>
                      <a:pt x="144278" y="156225"/>
                      <a:pt x="145414" y="155108"/>
                      <a:pt x="146789" y="155108"/>
                    </a:cubicBezTo>
                    <a:lnTo>
                      <a:pt x="256472" y="155108"/>
                    </a:lnTo>
                    <a:cubicBezTo>
                      <a:pt x="257867" y="155108"/>
                      <a:pt x="258983" y="156245"/>
                      <a:pt x="258983" y="157621"/>
                    </a:cubicBezTo>
                    <a:lnTo>
                      <a:pt x="258983" y="263160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57" name="Freeform 10">
                <a:extLst>
                  <a:ext uri="{FF2B5EF4-FFF2-40B4-BE49-F238E27FC236}">
                    <a16:creationId xmlns:a16="http://schemas.microsoft.com/office/drawing/2014/main" id="{6700803D-BBE2-86C3-85E5-AE6F3D7AF28B}"/>
                  </a:ext>
                </a:extLst>
              </p:cNvPr>
              <p:cNvSpPr/>
              <p:nvPr/>
            </p:nvSpPr>
            <p:spPr>
              <a:xfrm>
                <a:off x="2296249" y="2698787"/>
                <a:ext cx="2082217" cy="2066613"/>
              </a:xfrm>
              <a:custGeom>
                <a:avLst/>
                <a:gdLst>
                  <a:gd name="connsiteX0" fmla="*/ 2082217 w 2082217"/>
                  <a:gd name="connsiteY0" fmla="*/ 1284054 h 2066613"/>
                  <a:gd name="connsiteX1" fmla="*/ 2074884 w 2082217"/>
                  <a:gd name="connsiteY1" fmla="*/ 1214579 h 2066613"/>
                  <a:gd name="connsiteX2" fmla="*/ 2033175 w 2082217"/>
                  <a:gd name="connsiteY2" fmla="*/ 1099245 h 2066613"/>
                  <a:gd name="connsiteX3" fmla="*/ 2000074 w 2082217"/>
                  <a:gd name="connsiteY3" fmla="*/ 1047762 h 2066613"/>
                  <a:gd name="connsiteX4" fmla="*/ 1998321 w 2082217"/>
                  <a:gd name="connsiteY4" fmla="*/ 1045388 h 2066613"/>
                  <a:gd name="connsiteX5" fmla="*/ 1997922 w 2082217"/>
                  <a:gd name="connsiteY5" fmla="*/ 1044910 h 2066613"/>
                  <a:gd name="connsiteX6" fmla="*/ 1997623 w 2082217"/>
                  <a:gd name="connsiteY6" fmla="*/ 1044551 h 2066613"/>
                  <a:gd name="connsiteX7" fmla="*/ 1997703 w 2082217"/>
                  <a:gd name="connsiteY7" fmla="*/ 1044271 h 2066613"/>
                  <a:gd name="connsiteX8" fmla="*/ 1998241 w 2082217"/>
                  <a:gd name="connsiteY8" fmla="*/ 1042237 h 2066613"/>
                  <a:gd name="connsiteX9" fmla="*/ 2000313 w 2082217"/>
                  <a:gd name="connsiteY9" fmla="*/ 1034058 h 2066613"/>
                  <a:gd name="connsiteX10" fmla="*/ 2002207 w 2082217"/>
                  <a:gd name="connsiteY10" fmla="*/ 1025840 h 2066613"/>
                  <a:gd name="connsiteX11" fmla="*/ 2010835 w 2082217"/>
                  <a:gd name="connsiteY11" fmla="*/ 955886 h 2066613"/>
                  <a:gd name="connsiteX12" fmla="*/ 2010257 w 2082217"/>
                  <a:gd name="connsiteY12" fmla="*/ 920680 h 2066613"/>
                  <a:gd name="connsiteX13" fmla="*/ 2009580 w 2082217"/>
                  <a:gd name="connsiteY13" fmla="*/ 911883 h 2066613"/>
                  <a:gd name="connsiteX14" fmla="*/ 2008683 w 2082217"/>
                  <a:gd name="connsiteY14" fmla="*/ 903107 h 2066613"/>
                  <a:gd name="connsiteX15" fmla="*/ 2006471 w 2082217"/>
                  <a:gd name="connsiteY15" fmla="*/ 885613 h 2066613"/>
                  <a:gd name="connsiteX16" fmla="*/ 2003442 w 2082217"/>
                  <a:gd name="connsiteY16" fmla="*/ 868219 h 2066613"/>
                  <a:gd name="connsiteX17" fmla="*/ 2001529 w 2082217"/>
                  <a:gd name="connsiteY17" fmla="*/ 859602 h 2066613"/>
                  <a:gd name="connsiteX18" fmla="*/ 1999437 w 2082217"/>
                  <a:gd name="connsiteY18" fmla="*/ 851025 h 2066613"/>
                  <a:gd name="connsiteX19" fmla="*/ 1997324 w 2082217"/>
                  <a:gd name="connsiteY19" fmla="*/ 842448 h 2066613"/>
                  <a:gd name="connsiteX20" fmla="*/ 1994793 w 2082217"/>
                  <a:gd name="connsiteY20" fmla="*/ 833990 h 2066613"/>
                  <a:gd name="connsiteX21" fmla="*/ 1989453 w 2082217"/>
                  <a:gd name="connsiteY21" fmla="*/ 817155 h 2066613"/>
                  <a:gd name="connsiteX22" fmla="*/ 1983116 w 2082217"/>
                  <a:gd name="connsiteY22" fmla="*/ 800699 h 2066613"/>
                  <a:gd name="connsiteX23" fmla="*/ 1979867 w 2082217"/>
                  <a:gd name="connsiteY23" fmla="*/ 792501 h 2066613"/>
                  <a:gd name="connsiteX24" fmla="*/ 1976141 w 2082217"/>
                  <a:gd name="connsiteY24" fmla="*/ 784502 h 2066613"/>
                  <a:gd name="connsiteX25" fmla="*/ 1968548 w 2082217"/>
                  <a:gd name="connsiteY25" fmla="*/ 768584 h 2066613"/>
                  <a:gd name="connsiteX26" fmla="*/ 1960059 w 2082217"/>
                  <a:gd name="connsiteY26" fmla="*/ 753165 h 2066613"/>
                  <a:gd name="connsiteX27" fmla="*/ 1956472 w 2082217"/>
                  <a:gd name="connsiteY27" fmla="*/ 746842 h 2066613"/>
                  <a:gd name="connsiteX28" fmla="*/ 1952566 w 2082217"/>
                  <a:gd name="connsiteY28" fmla="*/ 740718 h 2066613"/>
                  <a:gd name="connsiteX29" fmla="*/ 1944715 w 2082217"/>
                  <a:gd name="connsiteY29" fmla="*/ 728491 h 2066613"/>
                  <a:gd name="connsiteX30" fmla="*/ 1940550 w 2082217"/>
                  <a:gd name="connsiteY30" fmla="*/ 722546 h 2066613"/>
                  <a:gd name="connsiteX31" fmla="*/ 1936265 w 2082217"/>
                  <a:gd name="connsiteY31" fmla="*/ 716682 h 2066613"/>
                  <a:gd name="connsiteX32" fmla="*/ 1927577 w 2082217"/>
                  <a:gd name="connsiteY32" fmla="*/ 705053 h 2066613"/>
                  <a:gd name="connsiteX33" fmla="*/ 1918290 w 2082217"/>
                  <a:gd name="connsiteY33" fmla="*/ 693923 h 2066613"/>
                  <a:gd name="connsiteX34" fmla="*/ 1908705 w 2082217"/>
                  <a:gd name="connsiteY34" fmla="*/ 683051 h 2066613"/>
                  <a:gd name="connsiteX35" fmla="*/ 1888319 w 2082217"/>
                  <a:gd name="connsiteY35" fmla="*/ 662486 h 2066613"/>
                  <a:gd name="connsiteX36" fmla="*/ 1877677 w 2082217"/>
                  <a:gd name="connsiteY36" fmla="*/ 652672 h 2066613"/>
                  <a:gd name="connsiteX37" fmla="*/ 1866518 w 2082217"/>
                  <a:gd name="connsiteY37" fmla="*/ 643457 h 2066613"/>
                  <a:gd name="connsiteX38" fmla="*/ 1860898 w 2082217"/>
                  <a:gd name="connsiteY38" fmla="*/ 638889 h 2066613"/>
                  <a:gd name="connsiteX39" fmla="*/ 1855179 w 2082217"/>
                  <a:gd name="connsiteY39" fmla="*/ 634461 h 2066613"/>
                  <a:gd name="connsiteX40" fmla="*/ 1849878 w 2082217"/>
                  <a:gd name="connsiteY40" fmla="*/ 630651 h 2066613"/>
                  <a:gd name="connsiteX41" fmla="*/ 1849499 w 2082217"/>
                  <a:gd name="connsiteY41" fmla="*/ 630411 h 2066613"/>
                  <a:gd name="connsiteX42" fmla="*/ 1849539 w 2082217"/>
                  <a:gd name="connsiteY42" fmla="*/ 630012 h 2066613"/>
                  <a:gd name="connsiteX43" fmla="*/ 1849539 w 2082217"/>
                  <a:gd name="connsiteY43" fmla="*/ 629913 h 2066613"/>
                  <a:gd name="connsiteX44" fmla="*/ 1849539 w 2082217"/>
                  <a:gd name="connsiteY44" fmla="*/ 629813 h 2066613"/>
                  <a:gd name="connsiteX45" fmla="*/ 1849539 w 2082217"/>
                  <a:gd name="connsiteY45" fmla="*/ 629434 h 2066613"/>
                  <a:gd name="connsiteX46" fmla="*/ 1849659 w 2082217"/>
                  <a:gd name="connsiteY46" fmla="*/ 627878 h 2066613"/>
                  <a:gd name="connsiteX47" fmla="*/ 1850017 w 2082217"/>
                  <a:gd name="connsiteY47" fmla="*/ 621675 h 2066613"/>
                  <a:gd name="connsiteX48" fmla="*/ 1850256 w 2082217"/>
                  <a:gd name="connsiteY48" fmla="*/ 596881 h 2066613"/>
                  <a:gd name="connsiteX49" fmla="*/ 1841668 w 2082217"/>
                  <a:gd name="connsiteY49" fmla="*/ 525989 h 2066613"/>
                  <a:gd name="connsiteX50" fmla="*/ 1819069 w 2082217"/>
                  <a:gd name="connsiteY50" fmla="*/ 458289 h 2066613"/>
                  <a:gd name="connsiteX51" fmla="*/ 1783857 w 2082217"/>
                  <a:gd name="connsiteY51" fmla="*/ 396593 h 2066613"/>
                  <a:gd name="connsiteX52" fmla="*/ 1737903 w 2082217"/>
                  <a:gd name="connsiteY52" fmla="*/ 342955 h 2066613"/>
                  <a:gd name="connsiteX53" fmla="*/ 1650579 w 2082217"/>
                  <a:gd name="connsiteY53" fmla="*/ 279424 h 2066613"/>
                  <a:gd name="connsiteX54" fmla="*/ 1638562 w 2082217"/>
                  <a:gd name="connsiteY54" fmla="*/ 273241 h 2066613"/>
                  <a:gd name="connsiteX55" fmla="*/ 1626367 w 2082217"/>
                  <a:gd name="connsiteY55" fmla="*/ 267476 h 2066613"/>
                  <a:gd name="connsiteX56" fmla="*/ 1613971 w 2082217"/>
                  <a:gd name="connsiteY56" fmla="*/ 262170 h 2066613"/>
                  <a:gd name="connsiteX57" fmla="*/ 1601975 w 2082217"/>
                  <a:gd name="connsiteY57" fmla="*/ 257523 h 2066613"/>
                  <a:gd name="connsiteX58" fmla="*/ 1598726 w 2082217"/>
                  <a:gd name="connsiteY58" fmla="*/ 256286 h 2066613"/>
                  <a:gd name="connsiteX59" fmla="*/ 1598069 w 2082217"/>
                  <a:gd name="connsiteY59" fmla="*/ 254630 h 2066613"/>
                  <a:gd name="connsiteX60" fmla="*/ 1592210 w 2082217"/>
                  <a:gd name="connsiteY60" fmla="*/ 240328 h 2066613"/>
                  <a:gd name="connsiteX61" fmla="*/ 1585893 w 2082217"/>
                  <a:gd name="connsiteY61" fmla="*/ 226166 h 2066613"/>
                  <a:gd name="connsiteX62" fmla="*/ 1579118 w 2082217"/>
                  <a:gd name="connsiteY62" fmla="*/ 212183 h 2066613"/>
                  <a:gd name="connsiteX63" fmla="*/ 1544124 w 2082217"/>
                  <a:gd name="connsiteY63" fmla="*/ 153619 h 2066613"/>
                  <a:gd name="connsiteX64" fmla="*/ 1499725 w 2082217"/>
                  <a:gd name="connsiteY64" fmla="*/ 100261 h 2066613"/>
                  <a:gd name="connsiteX65" fmla="*/ 1493507 w 2082217"/>
                  <a:gd name="connsiteY65" fmla="*/ 94057 h 2066613"/>
                  <a:gd name="connsiteX66" fmla="*/ 1487071 w 2082217"/>
                  <a:gd name="connsiteY66" fmla="*/ 88033 h 2066613"/>
                  <a:gd name="connsiteX67" fmla="*/ 1473799 w 2082217"/>
                  <a:gd name="connsiteY67" fmla="*/ 76304 h 2066613"/>
                  <a:gd name="connsiteX68" fmla="*/ 1459909 w 2082217"/>
                  <a:gd name="connsiteY68" fmla="*/ 65154 h 2066613"/>
                  <a:gd name="connsiteX69" fmla="*/ 1452655 w 2082217"/>
                  <a:gd name="connsiteY69" fmla="*/ 59868 h 2066613"/>
                  <a:gd name="connsiteX70" fmla="*/ 1445302 w 2082217"/>
                  <a:gd name="connsiteY70" fmla="*/ 54702 h 2066613"/>
                  <a:gd name="connsiteX71" fmla="*/ 1380974 w 2082217"/>
                  <a:gd name="connsiteY71" fmla="*/ 20592 h 2066613"/>
                  <a:gd name="connsiteX72" fmla="*/ 1372346 w 2082217"/>
                  <a:gd name="connsiteY72" fmla="*/ 17301 h 2066613"/>
                  <a:gd name="connsiteX73" fmla="*/ 1363558 w 2082217"/>
                  <a:gd name="connsiteY73" fmla="*/ 14369 h 2066613"/>
                  <a:gd name="connsiteX74" fmla="*/ 1359153 w 2082217"/>
                  <a:gd name="connsiteY74" fmla="*/ 12933 h 2066613"/>
                  <a:gd name="connsiteX75" fmla="*/ 1354690 w 2082217"/>
                  <a:gd name="connsiteY75" fmla="*/ 11656 h 2066613"/>
                  <a:gd name="connsiteX76" fmla="*/ 1345722 w 2082217"/>
                  <a:gd name="connsiteY76" fmla="*/ 9163 h 2066613"/>
                  <a:gd name="connsiteX77" fmla="*/ 1309035 w 2082217"/>
                  <a:gd name="connsiteY77" fmla="*/ 2281 h 2066613"/>
                  <a:gd name="connsiteX78" fmla="*/ 1290422 w 2082217"/>
                  <a:gd name="connsiteY78" fmla="*/ 546 h 2066613"/>
                  <a:gd name="connsiteX79" fmla="*/ 1281076 w 2082217"/>
                  <a:gd name="connsiteY79" fmla="*/ 167 h 2066613"/>
                  <a:gd name="connsiteX80" fmla="*/ 1271829 w 2082217"/>
                  <a:gd name="connsiteY80" fmla="*/ 7 h 2066613"/>
                  <a:gd name="connsiteX81" fmla="*/ 1254412 w 2082217"/>
                  <a:gd name="connsiteY81" fmla="*/ 426 h 2066613"/>
                  <a:gd name="connsiteX82" fmla="*/ 1236896 w 2082217"/>
                  <a:gd name="connsiteY82" fmla="*/ 1663 h 2066613"/>
                  <a:gd name="connsiteX83" fmla="*/ 1166610 w 2082217"/>
                  <a:gd name="connsiteY83" fmla="*/ 15227 h 2066613"/>
                  <a:gd name="connsiteX84" fmla="*/ 1099274 w 2082217"/>
                  <a:gd name="connsiteY84" fmla="*/ 44509 h 2066613"/>
                  <a:gd name="connsiteX85" fmla="*/ 1088293 w 2082217"/>
                  <a:gd name="connsiteY85" fmla="*/ 51390 h 2066613"/>
                  <a:gd name="connsiteX86" fmla="*/ 1077532 w 2082217"/>
                  <a:gd name="connsiteY86" fmla="*/ 58591 h 2066613"/>
                  <a:gd name="connsiteX87" fmla="*/ 1057126 w 2082217"/>
                  <a:gd name="connsiteY87" fmla="*/ 74429 h 2066613"/>
                  <a:gd name="connsiteX88" fmla="*/ 1047342 w 2082217"/>
                  <a:gd name="connsiteY88" fmla="*/ 82827 h 2066613"/>
                  <a:gd name="connsiteX89" fmla="*/ 1042738 w 2082217"/>
                  <a:gd name="connsiteY89" fmla="*/ 87295 h 2066613"/>
                  <a:gd name="connsiteX90" fmla="*/ 1041582 w 2082217"/>
                  <a:gd name="connsiteY90" fmla="*/ 88412 h 2066613"/>
                  <a:gd name="connsiteX91" fmla="*/ 1041383 w 2082217"/>
                  <a:gd name="connsiteY91" fmla="*/ 88592 h 2066613"/>
                  <a:gd name="connsiteX92" fmla="*/ 1041323 w 2082217"/>
                  <a:gd name="connsiteY92" fmla="*/ 88631 h 2066613"/>
                  <a:gd name="connsiteX93" fmla="*/ 1041144 w 2082217"/>
                  <a:gd name="connsiteY93" fmla="*/ 88851 h 2066613"/>
                  <a:gd name="connsiteX94" fmla="*/ 1041104 w 2082217"/>
                  <a:gd name="connsiteY94" fmla="*/ 88911 h 2066613"/>
                  <a:gd name="connsiteX95" fmla="*/ 1041024 w 2082217"/>
                  <a:gd name="connsiteY95" fmla="*/ 88771 h 2066613"/>
                  <a:gd name="connsiteX96" fmla="*/ 1040865 w 2082217"/>
                  <a:gd name="connsiteY96" fmla="*/ 88612 h 2066613"/>
                  <a:gd name="connsiteX97" fmla="*/ 1040825 w 2082217"/>
                  <a:gd name="connsiteY97" fmla="*/ 88572 h 2066613"/>
                  <a:gd name="connsiteX98" fmla="*/ 1040387 w 2082217"/>
                  <a:gd name="connsiteY98" fmla="*/ 88153 h 2066613"/>
                  <a:gd name="connsiteX99" fmla="*/ 1039410 w 2082217"/>
                  <a:gd name="connsiteY99" fmla="*/ 87195 h 2066613"/>
                  <a:gd name="connsiteX100" fmla="*/ 1035465 w 2082217"/>
                  <a:gd name="connsiteY100" fmla="*/ 83365 h 2066613"/>
                  <a:gd name="connsiteX101" fmla="*/ 1031320 w 2082217"/>
                  <a:gd name="connsiteY101" fmla="*/ 79715 h 2066613"/>
                  <a:gd name="connsiteX102" fmla="*/ 996067 w 2082217"/>
                  <a:gd name="connsiteY102" fmla="*/ 52727 h 2066613"/>
                  <a:gd name="connsiteX103" fmla="*/ 930126 w 2082217"/>
                  <a:gd name="connsiteY103" fmla="*/ 19914 h 2066613"/>
                  <a:gd name="connsiteX104" fmla="*/ 860039 w 2082217"/>
                  <a:gd name="connsiteY104" fmla="*/ 3318 h 2066613"/>
                  <a:gd name="connsiteX105" fmla="*/ 851231 w 2082217"/>
                  <a:gd name="connsiteY105" fmla="*/ 2201 h 2066613"/>
                  <a:gd name="connsiteX106" fmla="*/ 842463 w 2082217"/>
                  <a:gd name="connsiteY106" fmla="*/ 1443 h 2066613"/>
                  <a:gd name="connsiteX107" fmla="*/ 833695 w 2082217"/>
                  <a:gd name="connsiteY107" fmla="*/ 785 h 2066613"/>
                  <a:gd name="connsiteX108" fmla="*/ 829311 w 2082217"/>
                  <a:gd name="connsiteY108" fmla="*/ 486 h 2066613"/>
                  <a:gd name="connsiteX109" fmla="*/ 824966 w 2082217"/>
                  <a:gd name="connsiteY109" fmla="*/ 366 h 2066613"/>
                  <a:gd name="connsiteX110" fmla="*/ 816258 w 2082217"/>
                  <a:gd name="connsiteY110" fmla="*/ 147 h 2066613"/>
                  <a:gd name="connsiteX111" fmla="*/ 811913 w 2082217"/>
                  <a:gd name="connsiteY111" fmla="*/ 47 h 2066613"/>
                  <a:gd name="connsiteX112" fmla="*/ 807430 w 2082217"/>
                  <a:gd name="connsiteY112" fmla="*/ 47 h 2066613"/>
                  <a:gd name="connsiteX113" fmla="*/ 788757 w 2082217"/>
                  <a:gd name="connsiteY113" fmla="*/ 805 h 2066613"/>
                  <a:gd name="connsiteX114" fmla="*/ 779431 w 2082217"/>
                  <a:gd name="connsiteY114" fmla="*/ 1543 h 2066613"/>
                  <a:gd name="connsiteX115" fmla="*/ 770145 w 2082217"/>
                  <a:gd name="connsiteY115" fmla="*/ 2700 h 2066613"/>
                  <a:gd name="connsiteX116" fmla="*/ 765501 w 2082217"/>
                  <a:gd name="connsiteY116" fmla="*/ 3298 h 2066613"/>
                  <a:gd name="connsiteX117" fmla="*/ 760898 w 2082217"/>
                  <a:gd name="connsiteY117" fmla="*/ 4096 h 2066613"/>
                  <a:gd name="connsiteX118" fmla="*/ 751691 w 2082217"/>
                  <a:gd name="connsiteY118" fmla="*/ 5732 h 2066613"/>
                  <a:gd name="connsiteX119" fmla="*/ 715761 w 2082217"/>
                  <a:gd name="connsiteY119" fmla="*/ 15366 h 2066613"/>
                  <a:gd name="connsiteX120" fmla="*/ 649561 w 2082217"/>
                  <a:gd name="connsiteY120" fmla="*/ 46523 h 2066613"/>
                  <a:gd name="connsiteX121" fmla="*/ 593006 w 2082217"/>
                  <a:gd name="connsiteY121" fmla="*/ 90048 h 2066613"/>
                  <a:gd name="connsiteX122" fmla="*/ 546554 w 2082217"/>
                  <a:gd name="connsiteY122" fmla="*/ 142030 h 2066613"/>
                  <a:gd name="connsiteX123" fmla="*/ 509627 w 2082217"/>
                  <a:gd name="connsiteY123" fmla="*/ 199656 h 2066613"/>
                  <a:gd name="connsiteX124" fmla="*/ 485734 w 2082217"/>
                  <a:gd name="connsiteY124" fmla="*/ 250721 h 2066613"/>
                  <a:gd name="connsiteX125" fmla="*/ 483482 w 2082217"/>
                  <a:gd name="connsiteY125" fmla="*/ 256306 h 2066613"/>
                  <a:gd name="connsiteX126" fmla="*/ 476348 w 2082217"/>
                  <a:gd name="connsiteY126" fmla="*/ 259019 h 2066613"/>
                  <a:gd name="connsiteX127" fmla="*/ 471824 w 2082217"/>
                  <a:gd name="connsiteY127" fmla="*/ 260754 h 2066613"/>
                  <a:gd name="connsiteX128" fmla="*/ 469552 w 2082217"/>
                  <a:gd name="connsiteY128" fmla="*/ 261632 h 2066613"/>
                  <a:gd name="connsiteX129" fmla="*/ 467201 w 2082217"/>
                  <a:gd name="connsiteY129" fmla="*/ 262629 h 2066613"/>
                  <a:gd name="connsiteX130" fmla="*/ 457815 w 2082217"/>
                  <a:gd name="connsiteY130" fmla="*/ 266638 h 2066613"/>
                  <a:gd name="connsiteX131" fmla="*/ 421386 w 2082217"/>
                  <a:gd name="connsiteY131" fmla="*/ 285109 h 2066613"/>
                  <a:gd name="connsiteX132" fmla="*/ 355027 w 2082217"/>
                  <a:gd name="connsiteY132" fmla="*/ 332942 h 2066613"/>
                  <a:gd name="connsiteX133" fmla="*/ 307080 w 2082217"/>
                  <a:gd name="connsiteY133" fmla="*/ 384704 h 2066613"/>
                  <a:gd name="connsiteX134" fmla="*/ 269476 w 2082217"/>
                  <a:gd name="connsiteY134" fmla="*/ 444865 h 2066613"/>
                  <a:gd name="connsiteX135" fmla="*/ 244108 w 2082217"/>
                  <a:gd name="connsiteY135" fmla="*/ 511527 h 2066613"/>
                  <a:gd name="connsiteX136" fmla="*/ 232570 w 2082217"/>
                  <a:gd name="connsiteY136" fmla="*/ 582040 h 2066613"/>
                  <a:gd name="connsiteX137" fmla="*/ 232131 w 2082217"/>
                  <a:gd name="connsiteY137" fmla="*/ 589181 h 2066613"/>
                  <a:gd name="connsiteX138" fmla="*/ 231952 w 2082217"/>
                  <a:gd name="connsiteY138" fmla="*/ 596322 h 2066613"/>
                  <a:gd name="connsiteX139" fmla="*/ 231832 w 2082217"/>
                  <a:gd name="connsiteY139" fmla="*/ 610604 h 2066613"/>
                  <a:gd name="connsiteX140" fmla="*/ 232350 w 2082217"/>
                  <a:gd name="connsiteY140" fmla="*/ 624886 h 2066613"/>
                  <a:gd name="connsiteX141" fmla="*/ 232570 w 2082217"/>
                  <a:gd name="connsiteY141" fmla="*/ 628457 h 2066613"/>
                  <a:gd name="connsiteX142" fmla="*/ 232669 w 2082217"/>
                  <a:gd name="connsiteY142" fmla="*/ 629973 h 2066613"/>
                  <a:gd name="connsiteX143" fmla="*/ 232669 w 2082217"/>
                  <a:gd name="connsiteY143" fmla="*/ 630212 h 2066613"/>
                  <a:gd name="connsiteX144" fmla="*/ 232709 w 2082217"/>
                  <a:gd name="connsiteY144" fmla="*/ 630491 h 2066613"/>
                  <a:gd name="connsiteX145" fmla="*/ 232709 w 2082217"/>
                  <a:gd name="connsiteY145" fmla="*/ 630491 h 2066613"/>
                  <a:gd name="connsiteX146" fmla="*/ 232390 w 2082217"/>
                  <a:gd name="connsiteY146" fmla="*/ 630711 h 2066613"/>
                  <a:gd name="connsiteX147" fmla="*/ 232311 w 2082217"/>
                  <a:gd name="connsiteY147" fmla="*/ 630770 h 2066613"/>
                  <a:gd name="connsiteX148" fmla="*/ 231254 w 2082217"/>
                  <a:gd name="connsiteY148" fmla="*/ 631528 h 2066613"/>
                  <a:gd name="connsiteX149" fmla="*/ 229122 w 2082217"/>
                  <a:gd name="connsiteY149" fmla="*/ 633064 h 2066613"/>
                  <a:gd name="connsiteX150" fmla="*/ 224858 w 2082217"/>
                  <a:gd name="connsiteY150" fmla="*/ 636136 h 2066613"/>
                  <a:gd name="connsiteX151" fmla="*/ 220772 w 2082217"/>
                  <a:gd name="connsiteY151" fmla="*/ 639427 h 2066613"/>
                  <a:gd name="connsiteX152" fmla="*/ 212622 w 2082217"/>
                  <a:gd name="connsiteY152" fmla="*/ 646070 h 2066613"/>
                  <a:gd name="connsiteX153" fmla="*/ 204551 w 2082217"/>
                  <a:gd name="connsiteY153" fmla="*/ 652772 h 2066613"/>
                  <a:gd name="connsiteX154" fmla="*/ 196819 w 2082217"/>
                  <a:gd name="connsiteY154" fmla="*/ 659893 h 2066613"/>
                  <a:gd name="connsiteX155" fmla="*/ 181734 w 2082217"/>
                  <a:gd name="connsiteY155" fmla="*/ 674534 h 2066613"/>
                  <a:gd name="connsiteX156" fmla="*/ 174480 w 2082217"/>
                  <a:gd name="connsiteY156" fmla="*/ 682154 h 2066613"/>
                  <a:gd name="connsiteX157" fmla="*/ 167405 w 2082217"/>
                  <a:gd name="connsiteY157" fmla="*/ 689933 h 2066613"/>
                  <a:gd name="connsiteX158" fmla="*/ 153894 w 2082217"/>
                  <a:gd name="connsiteY158" fmla="*/ 706090 h 2066613"/>
                  <a:gd name="connsiteX159" fmla="*/ 141380 w 2082217"/>
                  <a:gd name="connsiteY159" fmla="*/ 723065 h 2066613"/>
                  <a:gd name="connsiteX160" fmla="*/ 138331 w 2082217"/>
                  <a:gd name="connsiteY160" fmla="*/ 727354 h 2066613"/>
                  <a:gd name="connsiteX161" fmla="*/ 135461 w 2082217"/>
                  <a:gd name="connsiteY161" fmla="*/ 731782 h 2066613"/>
                  <a:gd name="connsiteX162" fmla="*/ 129762 w 2082217"/>
                  <a:gd name="connsiteY162" fmla="*/ 740678 h 2066613"/>
                  <a:gd name="connsiteX163" fmla="*/ 125079 w 2082217"/>
                  <a:gd name="connsiteY163" fmla="*/ 748119 h 2066613"/>
                  <a:gd name="connsiteX164" fmla="*/ 120794 w 2082217"/>
                  <a:gd name="connsiteY164" fmla="*/ 755818 h 2066613"/>
                  <a:gd name="connsiteX165" fmla="*/ 112404 w 2082217"/>
                  <a:gd name="connsiteY165" fmla="*/ 771297 h 2066613"/>
                  <a:gd name="connsiteX166" fmla="*/ 98096 w 2082217"/>
                  <a:gd name="connsiteY166" fmla="*/ 803511 h 2066613"/>
                  <a:gd name="connsiteX167" fmla="*/ 94888 w 2082217"/>
                  <a:gd name="connsiteY167" fmla="*/ 811729 h 2066613"/>
                  <a:gd name="connsiteX168" fmla="*/ 93294 w 2082217"/>
                  <a:gd name="connsiteY168" fmla="*/ 815839 h 2066613"/>
                  <a:gd name="connsiteX169" fmla="*/ 91919 w 2082217"/>
                  <a:gd name="connsiteY169" fmla="*/ 820027 h 2066613"/>
                  <a:gd name="connsiteX170" fmla="*/ 86598 w 2082217"/>
                  <a:gd name="connsiteY170" fmla="*/ 836863 h 2066613"/>
                  <a:gd name="connsiteX171" fmla="*/ 85303 w 2082217"/>
                  <a:gd name="connsiteY171" fmla="*/ 841091 h 2066613"/>
                  <a:gd name="connsiteX172" fmla="*/ 84246 w 2082217"/>
                  <a:gd name="connsiteY172" fmla="*/ 845380 h 2066613"/>
                  <a:gd name="connsiteX173" fmla="*/ 82134 w 2082217"/>
                  <a:gd name="connsiteY173" fmla="*/ 853957 h 2066613"/>
                  <a:gd name="connsiteX174" fmla="*/ 78328 w 2082217"/>
                  <a:gd name="connsiteY174" fmla="*/ 871191 h 2066613"/>
                  <a:gd name="connsiteX175" fmla="*/ 75319 w 2082217"/>
                  <a:gd name="connsiteY175" fmla="*/ 888605 h 2066613"/>
                  <a:gd name="connsiteX176" fmla="*/ 74223 w 2082217"/>
                  <a:gd name="connsiteY176" fmla="*/ 897362 h 2066613"/>
                  <a:gd name="connsiteX177" fmla="*/ 73306 w 2082217"/>
                  <a:gd name="connsiteY177" fmla="*/ 906138 h 2066613"/>
                  <a:gd name="connsiteX178" fmla="*/ 71333 w 2082217"/>
                  <a:gd name="connsiteY178" fmla="*/ 941325 h 2066613"/>
                  <a:gd name="connsiteX179" fmla="*/ 77212 w 2082217"/>
                  <a:gd name="connsiteY179" fmla="*/ 1011518 h 2066613"/>
                  <a:gd name="connsiteX180" fmla="*/ 81915 w 2082217"/>
                  <a:gd name="connsiteY180" fmla="*/ 1033919 h 2066613"/>
                  <a:gd name="connsiteX181" fmla="*/ 84665 w 2082217"/>
                  <a:gd name="connsiteY181" fmla="*/ 1044670 h 2066613"/>
                  <a:gd name="connsiteX182" fmla="*/ 83987 w 2082217"/>
                  <a:gd name="connsiteY182" fmla="*/ 1045528 h 2066613"/>
                  <a:gd name="connsiteX183" fmla="*/ 83808 w 2082217"/>
                  <a:gd name="connsiteY183" fmla="*/ 1045747 h 2066613"/>
                  <a:gd name="connsiteX184" fmla="*/ 83728 w 2082217"/>
                  <a:gd name="connsiteY184" fmla="*/ 1045847 h 2066613"/>
                  <a:gd name="connsiteX185" fmla="*/ 82931 w 2082217"/>
                  <a:gd name="connsiteY185" fmla="*/ 1046924 h 2066613"/>
                  <a:gd name="connsiteX186" fmla="*/ 79464 w 2082217"/>
                  <a:gd name="connsiteY186" fmla="*/ 1051672 h 2066613"/>
                  <a:gd name="connsiteX187" fmla="*/ 72569 w 2082217"/>
                  <a:gd name="connsiteY187" fmla="*/ 1061186 h 2066613"/>
                  <a:gd name="connsiteX188" fmla="*/ 66072 w 2082217"/>
                  <a:gd name="connsiteY188" fmla="*/ 1070980 h 2066613"/>
                  <a:gd name="connsiteX189" fmla="*/ 62844 w 2082217"/>
                  <a:gd name="connsiteY189" fmla="*/ 1075887 h 2066613"/>
                  <a:gd name="connsiteX190" fmla="*/ 59795 w 2082217"/>
                  <a:gd name="connsiteY190" fmla="*/ 1080914 h 2066613"/>
                  <a:gd name="connsiteX191" fmla="*/ 53757 w 2082217"/>
                  <a:gd name="connsiteY191" fmla="*/ 1091007 h 2066613"/>
                  <a:gd name="connsiteX192" fmla="*/ 48097 w 2082217"/>
                  <a:gd name="connsiteY192" fmla="*/ 1101340 h 2066613"/>
                  <a:gd name="connsiteX193" fmla="*/ 42637 w 2082217"/>
                  <a:gd name="connsiteY193" fmla="*/ 1111792 h 2066613"/>
                  <a:gd name="connsiteX194" fmla="*/ 32733 w 2082217"/>
                  <a:gd name="connsiteY194" fmla="*/ 1133195 h 2066613"/>
                  <a:gd name="connsiteX195" fmla="*/ 28169 w 2082217"/>
                  <a:gd name="connsiteY195" fmla="*/ 1144086 h 2066613"/>
                  <a:gd name="connsiteX196" fmla="*/ 24024 w 2082217"/>
                  <a:gd name="connsiteY196" fmla="*/ 1155157 h 2066613"/>
                  <a:gd name="connsiteX197" fmla="*/ 21992 w 2082217"/>
                  <a:gd name="connsiteY197" fmla="*/ 1160702 h 2066613"/>
                  <a:gd name="connsiteX198" fmla="*/ 20178 w 2082217"/>
                  <a:gd name="connsiteY198" fmla="*/ 1166327 h 2066613"/>
                  <a:gd name="connsiteX199" fmla="*/ 16571 w 2082217"/>
                  <a:gd name="connsiteY199" fmla="*/ 1177597 h 2066613"/>
                  <a:gd name="connsiteX200" fmla="*/ 13443 w 2082217"/>
                  <a:gd name="connsiteY200" fmla="*/ 1189007 h 2066613"/>
                  <a:gd name="connsiteX201" fmla="*/ 10553 w 2082217"/>
                  <a:gd name="connsiteY201" fmla="*/ 1200476 h 2066613"/>
                  <a:gd name="connsiteX202" fmla="*/ 609 w 2082217"/>
                  <a:gd name="connsiteY202" fmla="*/ 1269672 h 2066613"/>
                  <a:gd name="connsiteX203" fmla="*/ 2701 w 2082217"/>
                  <a:gd name="connsiteY203" fmla="*/ 1339447 h 2066613"/>
                  <a:gd name="connsiteX204" fmla="*/ 42677 w 2082217"/>
                  <a:gd name="connsiteY204" fmla="*/ 1472772 h 2066613"/>
                  <a:gd name="connsiteX205" fmla="*/ 78906 w 2082217"/>
                  <a:gd name="connsiteY205" fmla="*/ 1532115 h 2066613"/>
                  <a:gd name="connsiteX206" fmla="*/ 124301 w 2082217"/>
                  <a:gd name="connsiteY206" fmla="*/ 1584396 h 2066613"/>
                  <a:gd name="connsiteX207" fmla="*/ 177330 w 2082217"/>
                  <a:gd name="connsiteY207" fmla="*/ 1628538 h 2066613"/>
                  <a:gd name="connsiteX208" fmla="*/ 184384 w 2082217"/>
                  <a:gd name="connsiteY208" fmla="*/ 1633485 h 2066613"/>
                  <a:gd name="connsiteX209" fmla="*/ 191598 w 2082217"/>
                  <a:gd name="connsiteY209" fmla="*/ 1638193 h 2066613"/>
                  <a:gd name="connsiteX210" fmla="*/ 206225 w 2082217"/>
                  <a:gd name="connsiteY210" fmla="*/ 1647288 h 2066613"/>
                  <a:gd name="connsiteX211" fmla="*/ 213678 w 2082217"/>
                  <a:gd name="connsiteY211" fmla="*/ 1651597 h 2066613"/>
                  <a:gd name="connsiteX212" fmla="*/ 214356 w 2082217"/>
                  <a:gd name="connsiteY212" fmla="*/ 1651996 h 2066613"/>
                  <a:gd name="connsiteX213" fmla="*/ 214475 w 2082217"/>
                  <a:gd name="connsiteY213" fmla="*/ 1652056 h 2066613"/>
                  <a:gd name="connsiteX214" fmla="*/ 214515 w 2082217"/>
                  <a:gd name="connsiteY214" fmla="*/ 1652056 h 2066613"/>
                  <a:gd name="connsiteX215" fmla="*/ 214555 w 2082217"/>
                  <a:gd name="connsiteY215" fmla="*/ 1653691 h 2066613"/>
                  <a:gd name="connsiteX216" fmla="*/ 214555 w 2082217"/>
                  <a:gd name="connsiteY216" fmla="*/ 1653891 h 2066613"/>
                  <a:gd name="connsiteX217" fmla="*/ 214615 w 2082217"/>
                  <a:gd name="connsiteY217" fmla="*/ 1654609 h 2066613"/>
                  <a:gd name="connsiteX218" fmla="*/ 214914 w 2082217"/>
                  <a:gd name="connsiteY218" fmla="*/ 1658359 h 2066613"/>
                  <a:gd name="connsiteX219" fmla="*/ 215511 w 2082217"/>
                  <a:gd name="connsiteY219" fmla="*/ 1665839 h 2066613"/>
                  <a:gd name="connsiteX220" fmla="*/ 219019 w 2082217"/>
                  <a:gd name="connsiteY220" fmla="*/ 1695680 h 2066613"/>
                  <a:gd name="connsiteX221" fmla="*/ 232689 w 2082217"/>
                  <a:gd name="connsiteY221" fmla="*/ 1754144 h 2066613"/>
                  <a:gd name="connsiteX222" fmla="*/ 234881 w 2082217"/>
                  <a:gd name="connsiteY222" fmla="*/ 1761325 h 2066613"/>
                  <a:gd name="connsiteX223" fmla="*/ 237392 w 2082217"/>
                  <a:gd name="connsiteY223" fmla="*/ 1768387 h 2066613"/>
                  <a:gd name="connsiteX224" fmla="*/ 242514 w 2082217"/>
                  <a:gd name="connsiteY224" fmla="*/ 1782489 h 2066613"/>
                  <a:gd name="connsiteX225" fmla="*/ 248333 w 2082217"/>
                  <a:gd name="connsiteY225" fmla="*/ 1796292 h 2066613"/>
                  <a:gd name="connsiteX226" fmla="*/ 251302 w 2082217"/>
                  <a:gd name="connsiteY226" fmla="*/ 1803174 h 2066613"/>
                  <a:gd name="connsiteX227" fmla="*/ 254550 w 2082217"/>
                  <a:gd name="connsiteY227" fmla="*/ 1809916 h 2066613"/>
                  <a:gd name="connsiteX228" fmla="*/ 283944 w 2082217"/>
                  <a:gd name="connsiteY228" fmla="*/ 1861858 h 2066613"/>
                  <a:gd name="connsiteX229" fmla="*/ 293728 w 2082217"/>
                  <a:gd name="connsiteY229" fmla="*/ 1876100 h 2066613"/>
                  <a:gd name="connsiteX230" fmla="*/ 304151 w 2082217"/>
                  <a:gd name="connsiteY230" fmla="*/ 1889844 h 2066613"/>
                  <a:gd name="connsiteX231" fmla="*/ 306761 w 2082217"/>
                  <a:gd name="connsiteY231" fmla="*/ 1893275 h 2066613"/>
                  <a:gd name="connsiteX232" fmla="*/ 309511 w 2082217"/>
                  <a:gd name="connsiteY232" fmla="*/ 1896586 h 2066613"/>
                  <a:gd name="connsiteX233" fmla="*/ 315051 w 2082217"/>
                  <a:gd name="connsiteY233" fmla="*/ 1903168 h 2066613"/>
                  <a:gd name="connsiteX234" fmla="*/ 320611 w 2082217"/>
                  <a:gd name="connsiteY234" fmla="*/ 1909751 h 2066613"/>
                  <a:gd name="connsiteX235" fmla="*/ 326430 w 2082217"/>
                  <a:gd name="connsiteY235" fmla="*/ 1916074 h 2066613"/>
                  <a:gd name="connsiteX236" fmla="*/ 332269 w 2082217"/>
                  <a:gd name="connsiteY236" fmla="*/ 1922377 h 2066613"/>
                  <a:gd name="connsiteX237" fmla="*/ 335198 w 2082217"/>
                  <a:gd name="connsiteY237" fmla="*/ 1925529 h 2066613"/>
                  <a:gd name="connsiteX238" fmla="*/ 338247 w 2082217"/>
                  <a:gd name="connsiteY238" fmla="*/ 1928541 h 2066613"/>
                  <a:gd name="connsiteX239" fmla="*/ 350503 w 2082217"/>
                  <a:gd name="connsiteY239" fmla="*/ 1940549 h 2066613"/>
                  <a:gd name="connsiteX240" fmla="*/ 363297 w 2082217"/>
                  <a:gd name="connsiteY240" fmla="*/ 1951959 h 2066613"/>
                  <a:gd name="connsiteX241" fmla="*/ 366505 w 2082217"/>
                  <a:gd name="connsiteY241" fmla="*/ 1954791 h 2066613"/>
                  <a:gd name="connsiteX242" fmla="*/ 369813 w 2082217"/>
                  <a:gd name="connsiteY242" fmla="*/ 1957504 h 2066613"/>
                  <a:gd name="connsiteX243" fmla="*/ 376469 w 2082217"/>
                  <a:gd name="connsiteY243" fmla="*/ 1962890 h 2066613"/>
                  <a:gd name="connsiteX244" fmla="*/ 493844 w 2082217"/>
                  <a:gd name="connsiteY244" fmla="*/ 2031587 h 2066613"/>
                  <a:gd name="connsiteX245" fmla="*/ 558490 w 2082217"/>
                  <a:gd name="connsiteY245" fmla="*/ 2052491 h 2066613"/>
                  <a:gd name="connsiteX246" fmla="*/ 575050 w 2082217"/>
                  <a:gd name="connsiteY246" fmla="*/ 2056202 h 2066613"/>
                  <a:gd name="connsiteX247" fmla="*/ 583341 w 2082217"/>
                  <a:gd name="connsiteY247" fmla="*/ 2057977 h 2066613"/>
                  <a:gd name="connsiteX248" fmla="*/ 591710 w 2082217"/>
                  <a:gd name="connsiteY248" fmla="*/ 2059393 h 2066613"/>
                  <a:gd name="connsiteX249" fmla="*/ 608450 w 2082217"/>
                  <a:gd name="connsiteY249" fmla="*/ 2062046 h 2066613"/>
                  <a:gd name="connsiteX250" fmla="*/ 625269 w 2082217"/>
                  <a:gd name="connsiteY250" fmla="*/ 2064041 h 2066613"/>
                  <a:gd name="connsiteX251" fmla="*/ 633698 w 2082217"/>
                  <a:gd name="connsiteY251" fmla="*/ 2064799 h 2066613"/>
                  <a:gd name="connsiteX252" fmla="*/ 642148 w 2082217"/>
                  <a:gd name="connsiteY252" fmla="*/ 2065397 h 2066613"/>
                  <a:gd name="connsiteX253" fmla="*/ 650597 w 2082217"/>
                  <a:gd name="connsiteY253" fmla="*/ 2065976 h 2066613"/>
                  <a:gd name="connsiteX254" fmla="*/ 659047 w 2082217"/>
                  <a:gd name="connsiteY254" fmla="*/ 2066255 h 2066613"/>
                  <a:gd name="connsiteX255" fmla="*/ 675925 w 2082217"/>
                  <a:gd name="connsiteY255" fmla="*/ 2066614 h 2066613"/>
                  <a:gd name="connsiteX256" fmla="*/ 692286 w 2082217"/>
                  <a:gd name="connsiteY256" fmla="*/ 2066394 h 2066613"/>
                  <a:gd name="connsiteX257" fmla="*/ 757949 w 2082217"/>
                  <a:gd name="connsiteY257" fmla="*/ 2061208 h 2066613"/>
                  <a:gd name="connsiteX258" fmla="*/ 887540 w 2082217"/>
                  <a:gd name="connsiteY258" fmla="*/ 2027019 h 2066613"/>
                  <a:gd name="connsiteX259" fmla="*/ 948918 w 2082217"/>
                  <a:gd name="connsiteY259" fmla="*/ 1996041 h 2066613"/>
                  <a:gd name="connsiteX260" fmla="*/ 1005194 w 2082217"/>
                  <a:gd name="connsiteY260" fmla="*/ 1954652 h 2066613"/>
                  <a:gd name="connsiteX261" fmla="*/ 1014839 w 2082217"/>
                  <a:gd name="connsiteY261" fmla="*/ 1945875 h 2066613"/>
                  <a:gd name="connsiteX262" fmla="*/ 1024205 w 2082217"/>
                  <a:gd name="connsiteY262" fmla="*/ 1936759 h 2066613"/>
                  <a:gd name="connsiteX263" fmla="*/ 1033272 w 2082217"/>
                  <a:gd name="connsiteY263" fmla="*/ 1927324 h 2066613"/>
                  <a:gd name="connsiteX264" fmla="*/ 1041084 w 2082217"/>
                  <a:gd name="connsiteY264" fmla="*/ 1918527 h 2066613"/>
                  <a:gd name="connsiteX265" fmla="*/ 1053121 w 2082217"/>
                  <a:gd name="connsiteY265" fmla="*/ 1931732 h 2066613"/>
                  <a:gd name="connsiteX266" fmla="*/ 1059518 w 2082217"/>
                  <a:gd name="connsiteY266" fmla="*/ 1938335 h 2066613"/>
                  <a:gd name="connsiteX267" fmla="*/ 1066134 w 2082217"/>
                  <a:gd name="connsiteY267" fmla="*/ 1944698 h 2066613"/>
                  <a:gd name="connsiteX268" fmla="*/ 1121015 w 2082217"/>
                  <a:gd name="connsiteY268" fmla="*/ 1988242 h 2066613"/>
                  <a:gd name="connsiteX269" fmla="*/ 1181536 w 2082217"/>
                  <a:gd name="connsiteY269" fmla="*/ 2021354 h 2066613"/>
                  <a:gd name="connsiteX270" fmla="*/ 1310529 w 2082217"/>
                  <a:gd name="connsiteY270" fmla="*/ 2059174 h 2066613"/>
                  <a:gd name="connsiteX271" fmla="*/ 1376212 w 2082217"/>
                  <a:gd name="connsiteY271" fmla="*/ 2065856 h 2066613"/>
                  <a:gd name="connsiteX272" fmla="*/ 1392612 w 2082217"/>
                  <a:gd name="connsiteY272" fmla="*/ 2066414 h 2066613"/>
                  <a:gd name="connsiteX273" fmla="*/ 1409053 w 2082217"/>
                  <a:gd name="connsiteY273" fmla="*/ 2066554 h 2066613"/>
                  <a:gd name="connsiteX274" fmla="*/ 1425952 w 2082217"/>
                  <a:gd name="connsiteY274" fmla="*/ 2066155 h 2066613"/>
                  <a:gd name="connsiteX275" fmla="*/ 1430176 w 2082217"/>
                  <a:gd name="connsiteY275" fmla="*/ 2066035 h 2066613"/>
                  <a:gd name="connsiteX276" fmla="*/ 1434401 w 2082217"/>
                  <a:gd name="connsiteY276" fmla="*/ 2065756 h 2066613"/>
                  <a:gd name="connsiteX277" fmla="*/ 1442851 w 2082217"/>
                  <a:gd name="connsiteY277" fmla="*/ 2065158 h 2066613"/>
                  <a:gd name="connsiteX278" fmla="*/ 1476529 w 2082217"/>
                  <a:gd name="connsiteY278" fmla="*/ 2061647 h 2066613"/>
                  <a:gd name="connsiteX279" fmla="*/ 1509908 w 2082217"/>
                  <a:gd name="connsiteY279" fmla="*/ 2055563 h 2066613"/>
                  <a:gd name="connsiteX280" fmla="*/ 1542849 w 2082217"/>
                  <a:gd name="connsiteY280" fmla="*/ 2047365 h 2066613"/>
                  <a:gd name="connsiteX281" fmla="*/ 1575112 w 2082217"/>
                  <a:gd name="connsiteY281" fmla="*/ 2036614 h 2066613"/>
                  <a:gd name="connsiteX282" fmla="*/ 1590975 w 2082217"/>
                  <a:gd name="connsiteY282" fmla="*/ 2030450 h 2066613"/>
                  <a:gd name="connsiteX283" fmla="*/ 1606618 w 2082217"/>
                  <a:gd name="connsiteY283" fmla="*/ 2023768 h 2066613"/>
                  <a:gd name="connsiteX284" fmla="*/ 1621982 w 2082217"/>
                  <a:gd name="connsiteY284" fmla="*/ 2016427 h 2066613"/>
                  <a:gd name="connsiteX285" fmla="*/ 1629575 w 2082217"/>
                  <a:gd name="connsiteY285" fmla="*/ 2012558 h 2066613"/>
                  <a:gd name="connsiteX286" fmla="*/ 1637088 w 2082217"/>
                  <a:gd name="connsiteY286" fmla="*/ 2008528 h 2066613"/>
                  <a:gd name="connsiteX287" fmla="*/ 1694480 w 2082217"/>
                  <a:gd name="connsiteY287" fmla="*/ 1971646 h 2066613"/>
                  <a:gd name="connsiteX288" fmla="*/ 1745974 w 2082217"/>
                  <a:gd name="connsiteY288" fmla="*/ 1926526 h 2066613"/>
                  <a:gd name="connsiteX289" fmla="*/ 1790114 w 2082217"/>
                  <a:gd name="connsiteY289" fmla="*/ 1873766 h 2066613"/>
                  <a:gd name="connsiteX290" fmla="*/ 1799042 w 2082217"/>
                  <a:gd name="connsiteY290" fmla="*/ 1860741 h 2066613"/>
                  <a:gd name="connsiteX291" fmla="*/ 1807431 w 2082217"/>
                  <a:gd name="connsiteY291" fmla="*/ 1847337 h 2066613"/>
                  <a:gd name="connsiteX292" fmla="*/ 1811557 w 2082217"/>
                  <a:gd name="connsiteY292" fmla="*/ 1840595 h 2066613"/>
                  <a:gd name="connsiteX293" fmla="*/ 1815383 w 2082217"/>
                  <a:gd name="connsiteY293" fmla="*/ 1833653 h 2066613"/>
                  <a:gd name="connsiteX294" fmla="*/ 1822895 w 2082217"/>
                  <a:gd name="connsiteY294" fmla="*/ 1819690 h 2066613"/>
                  <a:gd name="connsiteX295" fmla="*/ 1847367 w 2082217"/>
                  <a:gd name="connsiteY295" fmla="*/ 1761086 h 2066613"/>
                  <a:gd name="connsiteX296" fmla="*/ 1862612 w 2082217"/>
                  <a:gd name="connsiteY296" fmla="*/ 1699270 h 2066613"/>
                  <a:gd name="connsiteX297" fmla="*/ 1864824 w 2082217"/>
                  <a:gd name="connsiteY297" fmla="*/ 1683492 h 2066613"/>
                  <a:gd name="connsiteX298" fmla="*/ 1865840 w 2082217"/>
                  <a:gd name="connsiteY298" fmla="*/ 1675593 h 2066613"/>
                  <a:gd name="connsiteX299" fmla="*/ 1866498 w 2082217"/>
                  <a:gd name="connsiteY299" fmla="*/ 1667654 h 2066613"/>
                  <a:gd name="connsiteX300" fmla="*/ 1867594 w 2082217"/>
                  <a:gd name="connsiteY300" fmla="*/ 1653811 h 2066613"/>
                  <a:gd name="connsiteX301" fmla="*/ 1867634 w 2082217"/>
                  <a:gd name="connsiteY301" fmla="*/ 1652096 h 2066613"/>
                  <a:gd name="connsiteX302" fmla="*/ 1867833 w 2082217"/>
                  <a:gd name="connsiteY302" fmla="*/ 1652016 h 2066613"/>
                  <a:gd name="connsiteX303" fmla="*/ 1867853 w 2082217"/>
                  <a:gd name="connsiteY303" fmla="*/ 1652016 h 2066613"/>
                  <a:gd name="connsiteX304" fmla="*/ 1867913 w 2082217"/>
                  <a:gd name="connsiteY304" fmla="*/ 1651956 h 2066613"/>
                  <a:gd name="connsiteX305" fmla="*/ 1868152 w 2082217"/>
                  <a:gd name="connsiteY305" fmla="*/ 1651816 h 2066613"/>
                  <a:gd name="connsiteX306" fmla="*/ 1869088 w 2082217"/>
                  <a:gd name="connsiteY306" fmla="*/ 1651298 h 2066613"/>
                  <a:gd name="connsiteX307" fmla="*/ 1870962 w 2082217"/>
                  <a:gd name="connsiteY307" fmla="*/ 1650241 h 2066613"/>
                  <a:gd name="connsiteX308" fmla="*/ 1878375 w 2082217"/>
                  <a:gd name="connsiteY308" fmla="*/ 1645852 h 2066613"/>
                  <a:gd name="connsiteX309" fmla="*/ 1885728 w 2082217"/>
                  <a:gd name="connsiteY309" fmla="*/ 1641384 h 2066613"/>
                  <a:gd name="connsiteX310" fmla="*/ 1892942 w 2082217"/>
                  <a:gd name="connsiteY310" fmla="*/ 1636677 h 2066613"/>
                  <a:gd name="connsiteX311" fmla="*/ 1947385 w 2082217"/>
                  <a:gd name="connsiteY311" fmla="*/ 1594349 h 2066613"/>
                  <a:gd name="connsiteX312" fmla="*/ 1994515 w 2082217"/>
                  <a:gd name="connsiteY312" fmla="*/ 1543684 h 2066613"/>
                  <a:gd name="connsiteX313" fmla="*/ 2032776 w 2082217"/>
                  <a:gd name="connsiteY313" fmla="*/ 1485678 h 2066613"/>
                  <a:gd name="connsiteX314" fmla="*/ 2077534 w 2082217"/>
                  <a:gd name="connsiteY314" fmla="*/ 1353928 h 2066613"/>
                  <a:gd name="connsiteX315" fmla="*/ 2082078 w 2082217"/>
                  <a:gd name="connsiteY315" fmla="*/ 1284253 h 2066613"/>
                  <a:gd name="connsiteX316" fmla="*/ 1997623 w 2082217"/>
                  <a:gd name="connsiteY316" fmla="*/ 1044531 h 2066613"/>
                  <a:gd name="connsiteX317" fmla="*/ 1997623 w 2082217"/>
                  <a:gd name="connsiteY317" fmla="*/ 1044531 h 2066613"/>
                  <a:gd name="connsiteX318" fmla="*/ 1997623 w 2082217"/>
                  <a:gd name="connsiteY318" fmla="*/ 1044531 h 2066613"/>
                  <a:gd name="connsiteX319" fmla="*/ 2037619 w 2082217"/>
                  <a:gd name="connsiteY319" fmla="*/ 1347525 h 2066613"/>
                  <a:gd name="connsiteX320" fmla="*/ 1997344 w 2082217"/>
                  <a:gd name="connsiteY320" fmla="*/ 1466010 h 2066613"/>
                  <a:gd name="connsiteX321" fmla="*/ 1962829 w 2082217"/>
                  <a:gd name="connsiteY321" fmla="*/ 1518351 h 2066613"/>
                  <a:gd name="connsiteX322" fmla="*/ 1920203 w 2082217"/>
                  <a:gd name="connsiteY322" fmla="*/ 1564189 h 2066613"/>
                  <a:gd name="connsiteX323" fmla="*/ 1870862 w 2082217"/>
                  <a:gd name="connsiteY323" fmla="*/ 1602567 h 2066613"/>
                  <a:gd name="connsiteX324" fmla="*/ 1864306 w 2082217"/>
                  <a:gd name="connsiteY324" fmla="*/ 1606836 h 2066613"/>
                  <a:gd name="connsiteX325" fmla="*/ 1857630 w 2082217"/>
                  <a:gd name="connsiteY325" fmla="*/ 1610885 h 2066613"/>
                  <a:gd name="connsiteX326" fmla="*/ 1850914 w 2082217"/>
                  <a:gd name="connsiteY326" fmla="*/ 1614875 h 2066613"/>
                  <a:gd name="connsiteX327" fmla="*/ 1845454 w 2082217"/>
                  <a:gd name="connsiteY327" fmla="*/ 1617927 h 2066613"/>
                  <a:gd name="connsiteX328" fmla="*/ 1836586 w 2082217"/>
                  <a:gd name="connsiteY328" fmla="*/ 1622594 h 2066613"/>
                  <a:gd name="connsiteX329" fmla="*/ 1827539 w 2082217"/>
                  <a:gd name="connsiteY329" fmla="*/ 1626923 h 2066613"/>
                  <a:gd name="connsiteX330" fmla="*/ 1827559 w 2082217"/>
                  <a:gd name="connsiteY330" fmla="*/ 1640546 h 2066613"/>
                  <a:gd name="connsiteX331" fmla="*/ 1827299 w 2082217"/>
                  <a:gd name="connsiteY331" fmla="*/ 1650281 h 2066613"/>
                  <a:gd name="connsiteX332" fmla="*/ 1827260 w 2082217"/>
                  <a:gd name="connsiteY332" fmla="*/ 1651497 h 2066613"/>
                  <a:gd name="connsiteX333" fmla="*/ 1827140 w 2082217"/>
                  <a:gd name="connsiteY333" fmla="*/ 1653213 h 2066613"/>
                  <a:gd name="connsiteX334" fmla="*/ 1826861 w 2082217"/>
                  <a:gd name="connsiteY334" fmla="*/ 1656783 h 2066613"/>
                  <a:gd name="connsiteX335" fmla="*/ 1826283 w 2082217"/>
                  <a:gd name="connsiteY335" fmla="*/ 1663944 h 2066613"/>
                  <a:gd name="connsiteX336" fmla="*/ 1825685 w 2082217"/>
                  <a:gd name="connsiteY336" fmla="*/ 1671105 h 2066613"/>
                  <a:gd name="connsiteX337" fmla="*/ 1824769 w 2082217"/>
                  <a:gd name="connsiteY337" fmla="*/ 1678226 h 2066613"/>
                  <a:gd name="connsiteX338" fmla="*/ 1822776 w 2082217"/>
                  <a:gd name="connsiteY338" fmla="*/ 1692448 h 2066613"/>
                  <a:gd name="connsiteX339" fmla="*/ 1809026 w 2082217"/>
                  <a:gd name="connsiteY339" fmla="*/ 1748180 h 2066613"/>
                  <a:gd name="connsiteX340" fmla="*/ 1786926 w 2082217"/>
                  <a:gd name="connsiteY340" fmla="*/ 1801100 h 2066613"/>
                  <a:gd name="connsiteX341" fmla="*/ 1780130 w 2082217"/>
                  <a:gd name="connsiteY341" fmla="*/ 1813726 h 2066613"/>
                  <a:gd name="connsiteX342" fmla="*/ 1776683 w 2082217"/>
                  <a:gd name="connsiteY342" fmla="*/ 1820009 h 2066613"/>
                  <a:gd name="connsiteX343" fmla="*/ 1772936 w 2082217"/>
                  <a:gd name="connsiteY343" fmla="*/ 1826113 h 2066613"/>
                  <a:gd name="connsiteX344" fmla="*/ 1765344 w 2082217"/>
                  <a:gd name="connsiteY344" fmla="*/ 1838261 h 2066613"/>
                  <a:gd name="connsiteX345" fmla="*/ 1757253 w 2082217"/>
                  <a:gd name="connsiteY345" fmla="*/ 1850070 h 2066613"/>
                  <a:gd name="connsiteX346" fmla="*/ 1717178 w 2082217"/>
                  <a:gd name="connsiteY346" fmla="*/ 1897982 h 2066613"/>
                  <a:gd name="connsiteX347" fmla="*/ 1670268 w 2082217"/>
                  <a:gd name="connsiteY347" fmla="*/ 1939073 h 2066613"/>
                  <a:gd name="connsiteX348" fmla="*/ 1617877 w 2082217"/>
                  <a:gd name="connsiteY348" fmla="*/ 1972743 h 2066613"/>
                  <a:gd name="connsiteX349" fmla="*/ 1611022 w 2082217"/>
                  <a:gd name="connsiteY349" fmla="*/ 1976434 h 2066613"/>
                  <a:gd name="connsiteX350" fmla="*/ 1604087 w 2082217"/>
                  <a:gd name="connsiteY350" fmla="*/ 1979984 h 2066613"/>
                  <a:gd name="connsiteX351" fmla="*/ 1590038 w 2082217"/>
                  <a:gd name="connsiteY351" fmla="*/ 1986706 h 2066613"/>
                  <a:gd name="connsiteX352" fmla="*/ 1575730 w 2082217"/>
                  <a:gd name="connsiteY352" fmla="*/ 1992810 h 2066613"/>
                  <a:gd name="connsiteX353" fmla="*/ 1561222 w 2082217"/>
                  <a:gd name="connsiteY353" fmla="*/ 1998435 h 2066613"/>
                  <a:gd name="connsiteX354" fmla="*/ 1531709 w 2082217"/>
                  <a:gd name="connsiteY354" fmla="*/ 2008269 h 2066613"/>
                  <a:gd name="connsiteX355" fmla="*/ 1501538 w 2082217"/>
                  <a:gd name="connsiteY355" fmla="*/ 2015769 h 2066613"/>
                  <a:gd name="connsiteX356" fmla="*/ 1470969 w 2082217"/>
                  <a:gd name="connsiteY356" fmla="*/ 2021354 h 2066613"/>
                  <a:gd name="connsiteX357" fmla="*/ 1440061 w 2082217"/>
                  <a:gd name="connsiteY357" fmla="*/ 2024566 h 2066613"/>
                  <a:gd name="connsiteX358" fmla="*/ 1432309 w 2082217"/>
                  <a:gd name="connsiteY358" fmla="*/ 2025104 h 2066613"/>
                  <a:gd name="connsiteX359" fmla="*/ 1428443 w 2082217"/>
                  <a:gd name="connsiteY359" fmla="*/ 2025363 h 2066613"/>
                  <a:gd name="connsiteX360" fmla="*/ 1424557 w 2082217"/>
                  <a:gd name="connsiteY360" fmla="*/ 2025463 h 2066613"/>
                  <a:gd name="connsiteX361" fmla="*/ 1409033 w 2082217"/>
                  <a:gd name="connsiteY361" fmla="*/ 2025822 h 2066613"/>
                  <a:gd name="connsiteX362" fmla="*/ 1393649 w 2082217"/>
                  <a:gd name="connsiteY362" fmla="*/ 2025703 h 2066613"/>
                  <a:gd name="connsiteX363" fmla="*/ 1378304 w 2082217"/>
                  <a:gd name="connsiteY363" fmla="*/ 2025164 h 2066613"/>
                  <a:gd name="connsiteX364" fmla="*/ 1317046 w 2082217"/>
                  <a:gd name="connsiteY364" fmla="*/ 2018941 h 2066613"/>
                  <a:gd name="connsiteX365" fmla="*/ 1198315 w 2082217"/>
                  <a:gd name="connsiteY365" fmla="*/ 1984193 h 2066613"/>
                  <a:gd name="connsiteX366" fmla="*/ 1143454 w 2082217"/>
                  <a:gd name="connsiteY366" fmla="*/ 1954193 h 2066613"/>
                  <a:gd name="connsiteX367" fmla="*/ 1094212 w 2082217"/>
                  <a:gd name="connsiteY367" fmla="*/ 1915137 h 2066613"/>
                  <a:gd name="connsiteX368" fmla="*/ 1088293 w 2082217"/>
                  <a:gd name="connsiteY368" fmla="*/ 1909452 h 2066613"/>
                  <a:gd name="connsiteX369" fmla="*/ 1082594 w 2082217"/>
                  <a:gd name="connsiteY369" fmla="*/ 1903547 h 2066613"/>
                  <a:gd name="connsiteX370" fmla="*/ 1071534 w 2082217"/>
                  <a:gd name="connsiteY370" fmla="*/ 1891400 h 2066613"/>
                  <a:gd name="connsiteX371" fmla="*/ 1070777 w 2082217"/>
                  <a:gd name="connsiteY371" fmla="*/ 1890562 h 2066613"/>
                  <a:gd name="connsiteX372" fmla="*/ 1069940 w 2082217"/>
                  <a:gd name="connsiteY372" fmla="*/ 1889565 h 2066613"/>
                  <a:gd name="connsiteX373" fmla="*/ 1068286 w 2082217"/>
                  <a:gd name="connsiteY373" fmla="*/ 1887550 h 2066613"/>
                  <a:gd name="connsiteX374" fmla="*/ 1064998 w 2082217"/>
                  <a:gd name="connsiteY374" fmla="*/ 1883501 h 2066613"/>
                  <a:gd name="connsiteX375" fmla="*/ 1058800 w 2082217"/>
                  <a:gd name="connsiteY375" fmla="*/ 1875123 h 2066613"/>
                  <a:gd name="connsiteX376" fmla="*/ 1043476 w 2082217"/>
                  <a:gd name="connsiteY376" fmla="*/ 1849750 h 2066613"/>
                  <a:gd name="connsiteX377" fmla="*/ 1041782 w 2082217"/>
                  <a:gd name="connsiteY377" fmla="*/ 1846459 h 2066613"/>
                  <a:gd name="connsiteX378" fmla="*/ 1041563 w 2082217"/>
                  <a:gd name="connsiteY378" fmla="*/ 1846040 h 2066613"/>
                  <a:gd name="connsiteX379" fmla="*/ 1041244 w 2082217"/>
                  <a:gd name="connsiteY379" fmla="*/ 1845741 h 2066613"/>
                  <a:gd name="connsiteX380" fmla="*/ 1040945 w 2082217"/>
                  <a:gd name="connsiteY380" fmla="*/ 1846040 h 2066613"/>
                  <a:gd name="connsiteX381" fmla="*/ 1040726 w 2082217"/>
                  <a:gd name="connsiteY381" fmla="*/ 1846459 h 2066613"/>
                  <a:gd name="connsiteX382" fmla="*/ 1039869 w 2082217"/>
                  <a:gd name="connsiteY382" fmla="*/ 1848115 h 2066613"/>
                  <a:gd name="connsiteX383" fmla="*/ 1036441 w 2082217"/>
                  <a:gd name="connsiteY383" fmla="*/ 1854697 h 2066613"/>
                  <a:gd name="connsiteX384" fmla="*/ 1032774 w 2082217"/>
                  <a:gd name="connsiteY384" fmla="*/ 1861140 h 2066613"/>
                  <a:gd name="connsiteX385" fmla="*/ 1028868 w 2082217"/>
                  <a:gd name="connsiteY385" fmla="*/ 1867443 h 2066613"/>
                  <a:gd name="connsiteX386" fmla="*/ 1011153 w 2082217"/>
                  <a:gd name="connsiteY386" fmla="*/ 1891220 h 2066613"/>
                  <a:gd name="connsiteX387" fmla="*/ 1003680 w 2082217"/>
                  <a:gd name="connsiteY387" fmla="*/ 1899618 h 2066613"/>
                  <a:gd name="connsiteX388" fmla="*/ 995589 w 2082217"/>
                  <a:gd name="connsiteY388" fmla="*/ 1908035 h 2066613"/>
                  <a:gd name="connsiteX389" fmla="*/ 987219 w 2082217"/>
                  <a:gd name="connsiteY389" fmla="*/ 1916174 h 2066613"/>
                  <a:gd name="connsiteX390" fmla="*/ 978590 w 2082217"/>
                  <a:gd name="connsiteY390" fmla="*/ 1924013 h 2066613"/>
                  <a:gd name="connsiteX391" fmla="*/ 927993 w 2082217"/>
                  <a:gd name="connsiteY391" fmla="*/ 1961214 h 2066613"/>
                  <a:gd name="connsiteX392" fmla="*/ 872255 w 2082217"/>
                  <a:gd name="connsiteY392" fmla="*/ 1989339 h 2066613"/>
                  <a:gd name="connsiteX393" fmla="*/ 752728 w 2082217"/>
                  <a:gd name="connsiteY393" fmla="*/ 2020836 h 2066613"/>
                  <a:gd name="connsiteX394" fmla="*/ 691390 w 2082217"/>
                  <a:gd name="connsiteY394" fmla="*/ 2025683 h 2066613"/>
                  <a:gd name="connsiteX395" fmla="*/ 676045 w 2082217"/>
                  <a:gd name="connsiteY395" fmla="*/ 2025882 h 2066613"/>
                  <a:gd name="connsiteX396" fmla="*/ 660521 w 2082217"/>
                  <a:gd name="connsiteY396" fmla="*/ 2025543 h 2066613"/>
                  <a:gd name="connsiteX397" fmla="*/ 652769 w 2082217"/>
                  <a:gd name="connsiteY397" fmla="*/ 2025304 h 2066613"/>
                  <a:gd name="connsiteX398" fmla="*/ 645017 w 2082217"/>
                  <a:gd name="connsiteY398" fmla="*/ 2024765 h 2066613"/>
                  <a:gd name="connsiteX399" fmla="*/ 637265 w 2082217"/>
                  <a:gd name="connsiteY399" fmla="*/ 2024207 h 2066613"/>
                  <a:gd name="connsiteX400" fmla="*/ 629533 w 2082217"/>
                  <a:gd name="connsiteY400" fmla="*/ 2023508 h 2066613"/>
                  <a:gd name="connsiteX401" fmla="*/ 614109 w 2082217"/>
                  <a:gd name="connsiteY401" fmla="*/ 2021673 h 2066613"/>
                  <a:gd name="connsiteX402" fmla="*/ 598765 w 2082217"/>
                  <a:gd name="connsiteY402" fmla="*/ 2019240 h 2066613"/>
                  <a:gd name="connsiteX403" fmla="*/ 591092 w 2082217"/>
                  <a:gd name="connsiteY403" fmla="*/ 2017963 h 2066613"/>
                  <a:gd name="connsiteX404" fmla="*/ 583500 w 2082217"/>
                  <a:gd name="connsiteY404" fmla="*/ 2016328 h 2066613"/>
                  <a:gd name="connsiteX405" fmla="*/ 568335 w 2082217"/>
                  <a:gd name="connsiteY405" fmla="*/ 2012937 h 2066613"/>
                  <a:gd name="connsiteX406" fmla="*/ 509169 w 2082217"/>
                  <a:gd name="connsiteY406" fmla="*/ 1993807 h 2066613"/>
                  <a:gd name="connsiteX407" fmla="*/ 401997 w 2082217"/>
                  <a:gd name="connsiteY407" fmla="*/ 1931074 h 2066613"/>
                  <a:gd name="connsiteX408" fmla="*/ 395939 w 2082217"/>
                  <a:gd name="connsiteY408" fmla="*/ 1926167 h 2066613"/>
                  <a:gd name="connsiteX409" fmla="*/ 392910 w 2082217"/>
                  <a:gd name="connsiteY409" fmla="*/ 1923714 h 2066613"/>
                  <a:gd name="connsiteX410" fmla="*/ 390000 w 2082217"/>
                  <a:gd name="connsiteY410" fmla="*/ 1921121 h 2066613"/>
                  <a:gd name="connsiteX411" fmla="*/ 378342 w 2082217"/>
                  <a:gd name="connsiteY411" fmla="*/ 1910728 h 2066613"/>
                  <a:gd name="connsiteX412" fmla="*/ 367183 w 2082217"/>
                  <a:gd name="connsiteY412" fmla="*/ 1899797 h 2066613"/>
                  <a:gd name="connsiteX413" fmla="*/ 364393 w 2082217"/>
                  <a:gd name="connsiteY413" fmla="*/ 1897065 h 2066613"/>
                  <a:gd name="connsiteX414" fmla="*/ 361742 w 2082217"/>
                  <a:gd name="connsiteY414" fmla="*/ 1894212 h 2066613"/>
                  <a:gd name="connsiteX415" fmla="*/ 356422 w 2082217"/>
                  <a:gd name="connsiteY415" fmla="*/ 1888487 h 2066613"/>
                  <a:gd name="connsiteX416" fmla="*/ 351121 w 2082217"/>
                  <a:gd name="connsiteY416" fmla="*/ 1882743 h 2066613"/>
                  <a:gd name="connsiteX417" fmla="*/ 346079 w 2082217"/>
                  <a:gd name="connsiteY417" fmla="*/ 1876758 h 2066613"/>
                  <a:gd name="connsiteX418" fmla="*/ 341057 w 2082217"/>
                  <a:gd name="connsiteY418" fmla="*/ 1870774 h 2066613"/>
                  <a:gd name="connsiteX419" fmla="*/ 338546 w 2082217"/>
                  <a:gd name="connsiteY419" fmla="*/ 1867782 h 2066613"/>
                  <a:gd name="connsiteX420" fmla="*/ 336175 w 2082217"/>
                  <a:gd name="connsiteY420" fmla="*/ 1864671 h 2066613"/>
                  <a:gd name="connsiteX421" fmla="*/ 326709 w 2082217"/>
                  <a:gd name="connsiteY421" fmla="*/ 1852204 h 2066613"/>
                  <a:gd name="connsiteX422" fmla="*/ 317841 w 2082217"/>
                  <a:gd name="connsiteY422" fmla="*/ 1839298 h 2066613"/>
                  <a:gd name="connsiteX423" fmla="*/ 291237 w 2082217"/>
                  <a:gd name="connsiteY423" fmla="*/ 1792283 h 2066613"/>
                  <a:gd name="connsiteX424" fmla="*/ 288288 w 2082217"/>
                  <a:gd name="connsiteY424" fmla="*/ 1786199 h 2066613"/>
                  <a:gd name="connsiteX425" fmla="*/ 285618 w 2082217"/>
                  <a:gd name="connsiteY425" fmla="*/ 1779996 h 2066613"/>
                  <a:gd name="connsiteX426" fmla="*/ 280357 w 2082217"/>
                  <a:gd name="connsiteY426" fmla="*/ 1767529 h 2066613"/>
                  <a:gd name="connsiteX427" fmla="*/ 275734 w 2082217"/>
                  <a:gd name="connsiteY427" fmla="*/ 1754803 h 2066613"/>
                  <a:gd name="connsiteX428" fmla="*/ 273462 w 2082217"/>
                  <a:gd name="connsiteY428" fmla="*/ 1748420 h 2066613"/>
                  <a:gd name="connsiteX429" fmla="*/ 271489 w 2082217"/>
                  <a:gd name="connsiteY429" fmla="*/ 1741937 h 2066613"/>
                  <a:gd name="connsiteX430" fmla="*/ 259153 w 2082217"/>
                  <a:gd name="connsiteY430" fmla="*/ 1689237 h 2066613"/>
                  <a:gd name="connsiteX431" fmla="*/ 256005 w 2082217"/>
                  <a:gd name="connsiteY431" fmla="*/ 1662328 h 2066613"/>
                  <a:gd name="connsiteX432" fmla="*/ 255467 w 2082217"/>
                  <a:gd name="connsiteY432" fmla="*/ 1655586 h 2066613"/>
                  <a:gd name="connsiteX433" fmla="*/ 255188 w 2082217"/>
                  <a:gd name="connsiteY433" fmla="*/ 1652215 h 2066613"/>
                  <a:gd name="connsiteX434" fmla="*/ 255128 w 2082217"/>
                  <a:gd name="connsiteY434" fmla="*/ 1650899 h 2066613"/>
                  <a:gd name="connsiteX435" fmla="*/ 255088 w 2082217"/>
                  <a:gd name="connsiteY435" fmla="*/ 1649762 h 2066613"/>
                  <a:gd name="connsiteX436" fmla="*/ 254849 w 2082217"/>
                  <a:gd name="connsiteY436" fmla="*/ 1640586 h 2066613"/>
                  <a:gd name="connsiteX437" fmla="*/ 254849 w 2082217"/>
                  <a:gd name="connsiteY437" fmla="*/ 1635081 h 2066613"/>
                  <a:gd name="connsiteX438" fmla="*/ 254969 w 2082217"/>
                  <a:gd name="connsiteY438" fmla="*/ 1629576 h 2066613"/>
                  <a:gd name="connsiteX439" fmla="*/ 255008 w 2082217"/>
                  <a:gd name="connsiteY439" fmla="*/ 1628199 h 2066613"/>
                  <a:gd name="connsiteX440" fmla="*/ 255008 w 2082217"/>
                  <a:gd name="connsiteY440" fmla="*/ 1627501 h 2066613"/>
                  <a:gd name="connsiteX441" fmla="*/ 254789 w 2082217"/>
                  <a:gd name="connsiteY441" fmla="*/ 1626923 h 2066613"/>
                  <a:gd name="connsiteX442" fmla="*/ 252298 w 2082217"/>
                  <a:gd name="connsiteY442" fmla="*/ 1625746 h 2066613"/>
                  <a:gd name="connsiteX443" fmla="*/ 247316 w 2082217"/>
                  <a:gd name="connsiteY443" fmla="*/ 1623392 h 2066613"/>
                  <a:gd name="connsiteX444" fmla="*/ 238409 w 2082217"/>
                  <a:gd name="connsiteY444" fmla="*/ 1618784 h 2066613"/>
                  <a:gd name="connsiteX445" fmla="*/ 233765 w 2082217"/>
                  <a:gd name="connsiteY445" fmla="*/ 1616191 h 2066613"/>
                  <a:gd name="connsiteX446" fmla="*/ 227010 w 2082217"/>
                  <a:gd name="connsiteY446" fmla="*/ 1612282 h 2066613"/>
                  <a:gd name="connsiteX447" fmla="*/ 213738 w 2082217"/>
                  <a:gd name="connsiteY447" fmla="*/ 1604023 h 2066613"/>
                  <a:gd name="connsiteX448" fmla="*/ 207201 w 2082217"/>
                  <a:gd name="connsiteY448" fmla="*/ 1599755 h 2066613"/>
                  <a:gd name="connsiteX449" fmla="*/ 200805 w 2082217"/>
                  <a:gd name="connsiteY449" fmla="*/ 1595267 h 2066613"/>
                  <a:gd name="connsiteX450" fmla="*/ 152739 w 2082217"/>
                  <a:gd name="connsiteY450" fmla="*/ 1555273 h 2066613"/>
                  <a:gd name="connsiteX451" fmla="*/ 111687 w 2082217"/>
                  <a:gd name="connsiteY451" fmla="*/ 1507999 h 2066613"/>
                  <a:gd name="connsiteX452" fmla="*/ 79005 w 2082217"/>
                  <a:gd name="connsiteY452" fmla="*/ 1454481 h 2066613"/>
                  <a:gd name="connsiteX453" fmla="*/ 72250 w 2082217"/>
                  <a:gd name="connsiteY453" fmla="*/ 1440299 h 2066613"/>
                  <a:gd name="connsiteX454" fmla="*/ 66112 w 2082217"/>
                  <a:gd name="connsiteY454" fmla="*/ 1425837 h 2066613"/>
                  <a:gd name="connsiteX455" fmla="*/ 60652 w 2082217"/>
                  <a:gd name="connsiteY455" fmla="*/ 1411096 h 2066613"/>
                  <a:gd name="connsiteX456" fmla="*/ 55829 w 2082217"/>
                  <a:gd name="connsiteY456" fmla="*/ 1396136 h 2066613"/>
                  <a:gd name="connsiteX457" fmla="*/ 43055 w 2082217"/>
                  <a:gd name="connsiteY457" fmla="*/ 1334620 h 2066613"/>
                  <a:gd name="connsiteX458" fmla="*/ 41182 w 2082217"/>
                  <a:gd name="connsiteY458" fmla="*/ 1271846 h 2066613"/>
                  <a:gd name="connsiteX459" fmla="*/ 50130 w 2082217"/>
                  <a:gd name="connsiteY459" fmla="*/ 1209652 h 2066613"/>
                  <a:gd name="connsiteX460" fmla="*/ 52740 w 2082217"/>
                  <a:gd name="connsiteY460" fmla="*/ 1199339 h 2066613"/>
                  <a:gd name="connsiteX461" fmla="*/ 55550 w 2082217"/>
                  <a:gd name="connsiteY461" fmla="*/ 1189086 h 2066613"/>
                  <a:gd name="connsiteX462" fmla="*/ 58798 w 2082217"/>
                  <a:gd name="connsiteY462" fmla="*/ 1178953 h 2066613"/>
                  <a:gd name="connsiteX463" fmla="*/ 60433 w 2082217"/>
                  <a:gd name="connsiteY463" fmla="*/ 1173887 h 2066613"/>
                  <a:gd name="connsiteX464" fmla="*/ 62266 w 2082217"/>
                  <a:gd name="connsiteY464" fmla="*/ 1168900 h 2066613"/>
                  <a:gd name="connsiteX465" fmla="*/ 65992 w 2082217"/>
                  <a:gd name="connsiteY465" fmla="*/ 1158947 h 2066613"/>
                  <a:gd name="connsiteX466" fmla="*/ 70098 w 2082217"/>
                  <a:gd name="connsiteY466" fmla="*/ 1149153 h 2066613"/>
                  <a:gd name="connsiteX467" fmla="*/ 79025 w 2082217"/>
                  <a:gd name="connsiteY467" fmla="*/ 1129884 h 2066613"/>
                  <a:gd name="connsiteX468" fmla="*/ 83947 w 2082217"/>
                  <a:gd name="connsiteY468" fmla="*/ 1120469 h 2066613"/>
                  <a:gd name="connsiteX469" fmla="*/ 89049 w 2082217"/>
                  <a:gd name="connsiteY469" fmla="*/ 1111154 h 2066613"/>
                  <a:gd name="connsiteX470" fmla="*/ 94509 w 2082217"/>
                  <a:gd name="connsiteY470" fmla="*/ 1102058 h 2066613"/>
                  <a:gd name="connsiteX471" fmla="*/ 97259 w 2082217"/>
                  <a:gd name="connsiteY471" fmla="*/ 1097530 h 2066613"/>
                  <a:gd name="connsiteX472" fmla="*/ 100189 w 2082217"/>
                  <a:gd name="connsiteY472" fmla="*/ 1093102 h 2066613"/>
                  <a:gd name="connsiteX473" fmla="*/ 106047 w 2082217"/>
                  <a:gd name="connsiteY473" fmla="*/ 1084265 h 2066613"/>
                  <a:gd name="connsiteX474" fmla="*/ 112265 w 2082217"/>
                  <a:gd name="connsiteY474" fmla="*/ 1075688 h 2066613"/>
                  <a:gd name="connsiteX475" fmla="*/ 115394 w 2082217"/>
                  <a:gd name="connsiteY475" fmla="*/ 1071399 h 2066613"/>
                  <a:gd name="connsiteX476" fmla="*/ 116151 w 2082217"/>
                  <a:gd name="connsiteY476" fmla="*/ 1070362 h 2066613"/>
                  <a:gd name="connsiteX477" fmla="*/ 116709 w 2082217"/>
                  <a:gd name="connsiteY477" fmla="*/ 1069664 h 2066613"/>
                  <a:gd name="connsiteX478" fmla="*/ 117825 w 2082217"/>
                  <a:gd name="connsiteY478" fmla="*/ 1068268 h 2066613"/>
                  <a:gd name="connsiteX479" fmla="*/ 122269 w 2082217"/>
                  <a:gd name="connsiteY479" fmla="*/ 1062702 h 2066613"/>
                  <a:gd name="connsiteX480" fmla="*/ 126493 w 2082217"/>
                  <a:gd name="connsiteY480" fmla="*/ 1057775 h 2066613"/>
                  <a:gd name="connsiteX481" fmla="*/ 128626 w 2082217"/>
                  <a:gd name="connsiteY481" fmla="*/ 1055322 h 2066613"/>
                  <a:gd name="connsiteX482" fmla="*/ 129702 w 2082217"/>
                  <a:gd name="connsiteY482" fmla="*/ 1054105 h 2066613"/>
                  <a:gd name="connsiteX483" fmla="*/ 130200 w 2082217"/>
                  <a:gd name="connsiteY483" fmla="*/ 1053467 h 2066613"/>
                  <a:gd name="connsiteX484" fmla="*/ 129961 w 2082217"/>
                  <a:gd name="connsiteY484" fmla="*/ 1052689 h 2066613"/>
                  <a:gd name="connsiteX485" fmla="*/ 125796 w 2082217"/>
                  <a:gd name="connsiteY485" fmla="*/ 1040382 h 2066613"/>
                  <a:gd name="connsiteX486" fmla="*/ 124022 w 2082217"/>
                  <a:gd name="connsiteY486" fmla="*/ 1034258 h 2066613"/>
                  <a:gd name="connsiteX487" fmla="*/ 121492 w 2082217"/>
                  <a:gd name="connsiteY487" fmla="*/ 1024344 h 2066613"/>
                  <a:gd name="connsiteX488" fmla="*/ 117287 w 2082217"/>
                  <a:gd name="connsiteY488" fmla="*/ 1004337 h 2066613"/>
                  <a:gd name="connsiteX489" fmla="*/ 112026 w 2082217"/>
                  <a:gd name="connsiteY489" fmla="*/ 941544 h 2066613"/>
                  <a:gd name="connsiteX490" fmla="*/ 113799 w 2082217"/>
                  <a:gd name="connsiteY490" fmla="*/ 910068 h 2066613"/>
                  <a:gd name="connsiteX491" fmla="*/ 114616 w 2082217"/>
                  <a:gd name="connsiteY491" fmla="*/ 902229 h 2066613"/>
                  <a:gd name="connsiteX492" fmla="*/ 115593 w 2082217"/>
                  <a:gd name="connsiteY492" fmla="*/ 894410 h 2066613"/>
                  <a:gd name="connsiteX493" fmla="*/ 118283 w 2082217"/>
                  <a:gd name="connsiteY493" fmla="*/ 878851 h 2066613"/>
                  <a:gd name="connsiteX494" fmla="*/ 121691 w 2082217"/>
                  <a:gd name="connsiteY494" fmla="*/ 863452 h 2066613"/>
                  <a:gd name="connsiteX495" fmla="*/ 123564 w 2082217"/>
                  <a:gd name="connsiteY495" fmla="*/ 855792 h 2066613"/>
                  <a:gd name="connsiteX496" fmla="*/ 124501 w 2082217"/>
                  <a:gd name="connsiteY496" fmla="*/ 851962 h 2066613"/>
                  <a:gd name="connsiteX497" fmla="*/ 125657 w 2082217"/>
                  <a:gd name="connsiteY497" fmla="*/ 848193 h 2066613"/>
                  <a:gd name="connsiteX498" fmla="*/ 130419 w 2082217"/>
                  <a:gd name="connsiteY498" fmla="*/ 833152 h 2066613"/>
                  <a:gd name="connsiteX499" fmla="*/ 131635 w 2082217"/>
                  <a:gd name="connsiteY499" fmla="*/ 829402 h 2066613"/>
                  <a:gd name="connsiteX500" fmla="*/ 133070 w 2082217"/>
                  <a:gd name="connsiteY500" fmla="*/ 825732 h 2066613"/>
                  <a:gd name="connsiteX501" fmla="*/ 135939 w 2082217"/>
                  <a:gd name="connsiteY501" fmla="*/ 818392 h 2066613"/>
                  <a:gd name="connsiteX502" fmla="*/ 148733 w 2082217"/>
                  <a:gd name="connsiteY502" fmla="*/ 789568 h 2066613"/>
                  <a:gd name="connsiteX503" fmla="*/ 156266 w 2082217"/>
                  <a:gd name="connsiteY503" fmla="*/ 775725 h 2066613"/>
                  <a:gd name="connsiteX504" fmla="*/ 160092 w 2082217"/>
                  <a:gd name="connsiteY504" fmla="*/ 768823 h 2066613"/>
                  <a:gd name="connsiteX505" fmla="*/ 164317 w 2082217"/>
                  <a:gd name="connsiteY505" fmla="*/ 762161 h 2066613"/>
                  <a:gd name="connsiteX506" fmla="*/ 169418 w 2082217"/>
                  <a:gd name="connsiteY506" fmla="*/ 754202 h 2066613"/>
                  <a:gd name="connsiteX507" fmla="*/ 171969 w 2082217"/>
                  <a:gd name="connsiteY507" fmla="*/ 750233 h 2066613"/>
                  <a:gd name="connsiteX508" fmla="*/ 174719 w 2082217"/>
                  <a:gd name="connsiteY508" fmla="*/ 746383 h 2066613"/>
                  <a:gd name="connsiteX509" fmla="*/ 185918 w 2082217"/>
                  <a:gd name="connsiteY509" fmla="*/ 731164 h 2066613"/>
                  <a:gd name="connsiteX510" fmla="*/ 198055 w 2082217"/>
                  <a:gd name="connsiteY510" fmla="*/ 716682 h 2066613"/>
                  <a:gd name="connsiteX511" fmla="*/ 204412 w 2082217"/>
                  <a:gd name="connsiteY511" fmla="*/ 709701 h 2066613"/>
                  <a:gd name="connsiteX512" fmla="*/ 210928 w 2082217"/>
                  <a:gd name="connsiteY512" fmla="*/ 702859 h 2066613"/>
                  <a:gd name="connsiteX513" fmla="*/ 224479 w 2082217"/>
                  <a:gd name="connsiteY513" fmla="*/ 689714 h 2066613"/>
                  <a:gd name="connsiteX514" fmla="*/ 231414 w 2082217"/>
                  <a:gd name="connsiteY514" fmla="*/ 683311 h 2066613"/>
                  <a:gd name="connsiteX515" fmla="*/ 238688 w 2082217"/>
                  <a:gd name="connsiteY515" fmla="*/ 677287 h 2066613"/>
                  <a:gd name="connsiteX516" fmla="*/ 246001 w 2082217"/>
                  <a:gd name="connsiteY516" fmla="*/ 671323 h 2066613"/>
                  <a:gd name="connsiteX517" fmla="*/ 249668 w 2082217"/>
                  <a:gd name="connsiteY517" fmla="*/ 668351 h 2066613"/>
                  <a:gd name="connsiteX518" fmla="*/ 253494 w 2082217"/>
                  <a:gd name="connsiteY518" fmla="*/ 665598 h 2066613"/>
                  <a:gd name="connsiteX519" fmla="*/ 259552 w 2082217"/>
                  <a:gd name="connsiteY519" fmla="*/ 661269 h 2066613"/>
                  <a:gd name="connsiteX520" fmla="*/ 264474 w 2082217"/>
                  <a:gd name="connsiteY520" fmla="*/ 657799 h 2066613"/>
                  <a:gd name="connsiteX521" fmla="*/ 271270 w 2082217"/>
                  <a:gd name="connsiteY521" fmla="*/ 653550 h 2066613"/>
                  <a:gd name="connsiteX522" fmla="*/ 274677 w 2082217"/>
                  <a:gd name="connsiteY522" fmla="*/ 651436 h 2066613"/>
                  <a:gd name="connsiteX523" fmla="*/ 276291 w 2082217"/>
                  <a:gd name="connsiteY523" fmla="*/ 650299 h 2066613"/>
                  <a:gd name="connsiteX524" fmla="*/ 275933 w 2082217"/>
                  <a:gd name="connsiteY524" fmla="*/ 648324 h 2066613"/>
                  <a:gd name="connsiteX525" fmla="*/ 273761 w 2082217"/>
                  <a:gd name="connsiteY525" fmla="*/ 632426 h 2066613"/>
                  <a:gd name="connsiteX526" fmla="*/ 273402 w 2082217"/>
                  <a:gd name="connsiteY526" fmla="*/ 628337 h 2066613"/>
                  <a:gd name="connsiteX527" fmla="*/ 273043 w 2082217"/>
                  <a:gd name="connsiteY527" fmla="*/ 622592 h 2066613"/>
                  <a:gd name="connsiteX528" fmla="*/ 272585 w 2082217"/>
                  <a:gd name="connsiteY528" fmla="*/ 609926 h 2066613"/>
                  <a:gd name="connsiteX529" fmla="*/ 272704 w 2082217"/>
                  <a:gd name="connsiteY529" fmla="*/ 597260 h 2066613"/>
                  <a:gd name="connsiteX530" fmla="*/ 272844 w 2082217"/>
                  <a:gd name="connsiteY530" fmla="*/ 590916 h 2066613"/>
                  <a:gd name="connsiteX531" fmla="*/ 273243 w 2082217"/>
                  <a:gd name="connsiteY531" fmla="*/ 584593 h 2066613"/>
                  <a:gd name="connsiteX532" fmla="*/ 283466 w 2082217"/>
                  <a:gd name="connsiteY532" fmla="*/ 522099 h 2066613"/>
                  <a:gd name="connsiteX533" fmla="*/ 305984 w 2082217"/>
                  <a:gd name="connsiteY533" fmla="*/ 462957 h 2066613"/>
                  <a:gd name="connsiteX534" fmla="*/ 339463 w 2082217"/>
                  <a:gd name="connsiteY534" fmla="*/ 409419 h 2066613"/>
                  <a:gd name="connsiteX535" fmla="*/ 382288 w 2082217"/>
                  <a:gd name="connsiteY535" fmla="*/ 363182 h 2066613"/>
                  <a:gd name="connsiteX536" fmla="*/ 441753 w 2082217"/>
                  <a:gd name="connsiteY536" fmla="*/ 320316 h 2066613"/>
                  <a:gd name="connsiteX537" fmla="*/ 474454 w 2082217"/>
                  <a:gd name="connsiteY537" fmla="*/ 303720 h 2066613"/>
                  <a:gd name="connsiteX538" fmla="*/ 491294 w 2082217"/>
                  <a:gd name="connsiteY538" fmla="*/ 296798 h 2066613"/>
                  <a:gd name="connsiteX539" fmla="*/ 495498 w 2082217"/>
                  <a:gd name="connsiteY539" fmla="*/ 295202 h 2066613"/>
                  <a:gd name="connsiteX540" fmla="*/ 497591 w 2082217"/>
                  <a:gd name="connsiteY540" fmla="*/ 294405 h 2066613"/>
                  <a:gd name="connsiteX541" fmla="*/ 498388 w 2082217"/>
                  <a:gd name="connsiteY541" fmla="*/ 294125 h 2066613"/>
                  <a:gd name="connsiteX542" fmla="*/ 499085 w 2082217"/>
                  <a:gd name="connsiteY542" fmla="*/ 293886 h 2066613"/>
                  <a:gd name="connsiteX543" fmla="*/ 504625 w 2082217"/>
                  <a:gd name="connsiteY543" fmla="*/ 292011 h 2066613"/>
                  <a:gd name="connsiteX544" fmla="*/ 512616 w 2082217"/>
                  <a:gd name="connsiteY544" fmla="*/ 289577 h 2066613"/>
                  <a:gd name="connsiteX545" fmla="*/ 514629 w 2082217"/>
                  <a:gd name="connsiteY545" fmla="*/ 288979 h 2066613"/>
                  <a:gd name="connsiteX546" fmla="*/ 515127 w 2082217"/>
                  <a:gd name="connsiteY546" fmla="*/ 288799 h 2066613"/>
                  <a:gd name="connsiteX547" fmla="*/ 515327 w 2082217"/>
                  <a:gd name="connsiteY547" fmla="*/ 288321 h 2066613"/>
                  <a:gd name="connsiteX548" fmla="*/ 515665 w 2082217"/>
                  <a:gd name="connsiteY548" fmla="*/ 287323 h 2066613"/>
                  <a:gd name="connsiteX549" fmla="*/ 517001 w 2082217"/>
                  <a:gd name="connsiteY549" fmla="*/ 283354 h 2066613"/>
                  <a:gd name="connsiteX550" fmla="*/ 519830 w 2082217"/>
                  <a:gd name="connsiteY550" fmla="*/ 275455 h 2066613"/>
                  <a:gd name="connsiteX551" fmla="*/ 521305 w 2082217"/>
                  <a:gd name="connsiteY551" fmla="*/ 271505 h 2066613"/>
                  <a:gd name="connsiteX552" fmla="*/ 522361 w 2082217"/>
                  <a:gd name="connsiteY552" fmla="*/ 268872 h 2066613"/>
                  <a:gd name="connsiteX553" fmla="*/ 523577 w 2082217"/>
                  <a:gd name="connsiteY553" fmla="*/ 265880 h 2066613"/>
                  <a:gd name="connsiteX554" fmla="*/ 545517 w 2082217"/>
                  <a:gd name="connsiteY554" fmla="*/ 218945 h 2066613"/>
                  <a:gd name="connsiteX555" fmla="*/ 579156 w 2082217"/>
                  <a:gd name="connsiteY555" fmla="*/ 166425 h 2066613"/>
                  <a:gd name="connsiteX556" fmla="*/ 620964 w 2082217"/>
                  <a:gd name="connsiteY556" fmla="*/ 119629 h 2066613"/>
                  <a:gd name="connsiteX557" fmla="*/ 671103 w 2082217"/>
                  <a:gd name="connsiteY557" fmla="*/ 81032 h 2066613"/>
                  <a:gd name="connsiteX558" fmla="*/ 728834 w 2082217"/>
                  <a:gd name="connsiteY558" fmla="*/ 53824 h 2066613"/>
                  <a:gd name="connsiteX559" fmla="*/ 759882 w 2082217"/>
                  <a:gd name="connsiteY559" fmla="*/ 45486 h 2066613"/>
                  <a:gd name="connsiteX560" fmla="*/ 767813 w 2082217"/>
                  <a:gd name="connsiteY560" fmla="*/ 44090 h 2066613"/>
                  <a:gd name="connsiteX561" fmla="*/ 771779 w 2082217"/>
                  <a:gd name="connsiteY561" fmla="*/ 43392 h 2066613"/>
                  <a:gd name="connsiteX562" fmla="*/ 775784 w 2082217"/>
                  <a:gd name="connsiteY562" fmla="*/ 42873 h 2066613"/>
                  <a:gd name="connsiteX563" fmla="*/ 783775 w 2082217"/>
                  <a:gd name="connsiteY563" fmla="*/ 41876 h 2066613"/>
                  <a:gd name="connsiteX564" fmla="*/ 791806 w 2082217"/>
                  <a:gd name="connsiteY564" fmla="*/ 41237 h 2066613"/>
                  <a:gd name="connsiteX565" fmla="*/ 807908 w 2082217"/>
                  <a:gd name="connsiteY565" fmla="*/ 40579 h 2066613"/>
                  <a:gd name="connsiteX566" fmla="*/ 823631 w 2082217"/>
                  <a:gd name="connsiteY566" fmla="*/ 40878 h 2066613"/>
                  <a:gd name="connsiteX567" fmla="*/ 827557 w 2082217"/>
                  <a:gd name="connsiteY567" fmla="*/ 40978 h 2066613"/>
                  <a:gd name="connsiteX568" fmla="*/ 831483 w 2082217"/>
                  <a:gd name="connsiteY568" fmla="*/ 41257 h 2066613"/>
                  <a:gd name="connsiteX569" fmla="*/ 839334 w 2082217"/>
                  <a:gd name="connsiteY569" fmla="*/ 41856 h 2066613"/>
                  <a:gd name="connsiteX570" fmla="*/ 847186 w 2082217"/>
                  <a:gd name="connsiteY570" fmla="*/ 42534 h 2066613"/>
                  <a:gd name="connsiteX571" fmla="*/ 855017 w 2082217"/>
                  <a:gd name="connsiteY571" fmla="*/ 43551 h 2066613"/>
                  <a:gd name="connsiteX572" fmla="*/ 916794 w 2082217"/>
                  <a:gd name="connsiteY572" fmla="*/ 58133 h 2066613"/>
                  <a:gd name="connsiteX573" fmla="*/ 974067 w 2082217"/>
                  <a:gd name="connsiteY573" fmla="*/ 86637 h 2066613"/>
                  <a:gd name="connsiteX574" fmla="*/ 1004656 w 2082217"/>
                  <a:gd name="connsiteY574" fmla="*/ 110055 h 2066613"/>
                  <a:gd name="connsiteX575" fmla="*/ 1008283 w 2082217"/>
                  <a:gd name="connsiteY575" fmla="*/ 113226 h 2066613"/>
                  <a:gd name="connsiteX576" fmla="*/ 1011730 w 2082217"/>
                  <a:gd name="connsiteY576" fmla="*/ 116577 h 2066613"/>
                  <a:gd name="connsiteX577" fmla="*/ 1016593 w 2082217"/>
                  <a:gd name="connsiteY577" fmla="*/ 121345 h 2066613"/>
                  <a:gd name="connsiteX578" fmla="*/ 1020718 w 2082217"/>
                  <a:gd name="connsiteY578" fmla="*/ 125733 h 2066613"/>
                  <a:gd name="connsiteX579" fmla="*/ 1024723 w 2082217"/>
                  <a:gd name="connsiteY579" fmla="*/ 130221 h 2066613"/>
                  <a:gd name="connsiteX580" fmla="*/ 1029147 w 2082217"/>
                  <a:gd name="connsiteY580" fmla="*/ 135647 h 2066613"/>
                  <a:gd name="connsiteX581" fmla="*/ 1033472 w 2082217"/>
                  <a:gd name="connsiteY581" fmla="*/ 141172 h 2066613"/>
                  <a:gd name="connsiteX582" fmla="*/ 1037457 w 2082217"/>
                  <a:gd name="connsiteY582" fmla="*/ 146937 h 2066613"/>
                  <a:gd name="connsiteX583" fmla="*/ 1039430 w 2082217"/>
                  <a:gd name="connsiteY583" fmla="*/ 149829 h 2066613"/>
                  <a:gd name="connsiteX584" fmla="*/ 1040427 w 2082217"/>
                  <a:gd name="connsiteY584" fmla="*/ 151285 h 2066613"/>
                  <a:gd name="connsiteX585" fmla="*/ 1040925 w 2082217"/>
                  <a:gd name="connsiteY585" fmla="*/ 152003 h 2066613"/>
                  <a:gd name="connsiteX586" fmla="*/ 1041184 w 2082217"/>
                  <a:gd name="connsiteY586" fmla="*/ 152362 h 2066613"/>
                  <a:gd name="connsiteX587" fmla="*/ 1041563 w 2082217"/>
                  <a:gd name="connsiteY587" fmla="*/ 152342 h 2066613"/>
                  <a:gd name="connsiteX588" fmla="*/ 1049534 w 2082217"/>
                  <a:gd name="connsiteY588" fmla="*/ 140813 h 2066613"/>
                  <a:gd name="connsiteX589" fmla="*/ 1053858 w 2082217"/>
                  <a:gd name="connsiteY589" fmla="*/ 135287 h 2066613"/>
                  <a:gd name="connsiteX590" fmla="*/ 1058322 w 2082217"/>
                  <a:gd name="connsiteY590" fmla="*/ 129882 h 2066613"/>
                  <a:gd name="connsiteX591" fmla="*/ 1067907 w 2082217"/>
                  <a:gd name="connsiteY591" fmla="*/ 119629 h 2066613"/>
                  <a:gd name="connsiteX592" fmla="*/ 1074922 w 2082217"/>
                  <a:gd name="connsiteY592" fmla="*/ 112767 h 2066613"/>
                  <a:gd name="connsiteX593" fmla="*/ 1083431 w 2082217"/>
                  <a:gd name="connsiteY593" fmla="*/ 105467 h 2066613"/>
                  <a:gd name="connsiteX594" fmla="*/ 1101147 w 2082217"/>
                  <a:gd name="connsiteY594" fmla="*/ 91703 h 2066613"/>
                  <a:gd name="connsiteX595" fmla="*/ 1110473 w 2082217"/>
                  <a:gd name="connsiteY595" fmla="*/ 85460 h 2066613"/>
                  <a:gd name="connsiteX596" fmla="*/ 1119979 w 2082217"/>
                  <a:gd name="connsiteY596" fmla="*/ 79476 h 2066613"/>
                  <a:gd name="connsiteX597" fmla="*/ 1178587 w 2082217"/>
                  <a:gd name="connsiteY597" fmla="*/ 54023 h 2066613"/>
                  <a:gd name="connsiteX598" fmla="*/ 1240762 w 2082217"/>
                  <a:gd name="connsiteY598" fmla="*/ 42055 h 2066613"/>
                  <a:gd name="connsiteX599" fmla="*/ 1256465 w 2082217"/>
                  <a:gd name="connsiteY599" fmla="*/ 40938 h 2066613"/>
                  <a:gd name="connsiteX600" fmla="*/ 1272148 w 2082217"/>
                  <a:gd name="connsiteY600" fmla="*/ 40559 h 2066613"/>
                  <a:gd name="connsiteX601" fmla="*/ 1304252 w 2082217"/>
                  <a:gd name="connsiteY601" fmla="*/ 42514 h 2066613"/>
                  <a:gd name="connsiteX602" fmla="*/ 1335878 w 2082217"/>
                  <a:gd name="connsiteY602" fmla="*/ 48438 h 2066613"/>
                  <a:gd name="connsiteX603" fmla="*/ 1343630 w 2082217"/>
                  <a:gd name="connsiteY603" fmla="*/ 50593 h 2066613"/>
                  <a:gd name="connsiteX604" fmla="*/ 1347496 w 2082217"/>
                  <a:gd name="connsiteY604" fmla="*/ 51690 h 2066613"/>
                  <a:gd name="connsiteX605" fmla="*/ 1351302 w 2082217"/>
                  <a:gd name="connsiteY605" fmla="*/ 52946 h 2066613"/>
                  <a:gd name="connsiteX606" fmla="*/ 1358914 w 2082217"/>
                  <a:gd name="connsiteY606" fmla="*/ 55480 h 2066613"/>
                  <a:gd name="connsiteX607" fmla="*/ 1366407 w 2082217"/>
                  <a:gd name="connsiteY607" fmla="*/ 58352 h 2066613"/>
                  <a:gd name="connsiteX608" fmla="*/ 1471108 w 2082217"/>
                  <a:gd name="connsiteY608" fmla="*/ 128765 h 2066613"/>
                  <a:gd name="connsiteX609" fmla="*/ 1511183 w 2082217"/>
                  <a:gd name="connsiteY609" fmla="*/ 176937 h 2066613"/>
                  <a:gd name="connsiteX610" fmla="*/ 1543148 w 2082217"/>
                  <a:gd name="connsiteY610" fmla="*/ 230415 h 2066613"/>
                  <a:gd name="connsiteX611" fmla="*/ 1549365 w 2082217"/>
                  <a:gd name="connsiteY611" fmla="*/ 243260 h 2066613"/>
                  <a:gd name="connsiteX612" fmla="*/ 1555184 w 2082217"/>
                  <a:gd name="connsiteY612" fmla="*/ 256286 h 2066613"/>
                  <a:gd name="connsiteX613" fmla="*/ 1560585 w 2082217"/>
                  <a:gd name="connsiteY613" fmla="*/ 269471 h 2066613"/>
                  <a:gd name="connsiteX614" fmla="*/ 1561202 w 2082217"/>
                  <a:gd name="connsiteY614" fmla="*/ 271007 h 2066613"/>
                  <a:gd name="connsiteX615" fmla="*/ 1561601 w 2082217"/>
                  <a:gd name="connsiteY615" fmla="*/ 272104 h 2066613"/>
                  <a:gd name="connsiteX616" fmla="*/ 1562418 w 2082217"/>
                  <a:gd name="connsiteY616" fmla="*/ 274278 h 2066613"/>
                  <a:gd name="connsiteX617" fmla="*/ 1564032 w 2082217"/>
                  <a:gd name="connsiteY617" fmla="*/ 278626 h 2066613"/>
                  <a:gd name="connsiteX618" fmla="*/ 1566543 w 2082217"/>
                  <a:gd name="connsiteY618" fmla="*/ 285927 h 2066613"/>
                  <a:gd name="connsiteX619" fmla="*/ 1567161 w 2082217"/>
                  <a:gd name="connsiteY619" fmla="*/ 287762 h 2066613"/>
                  <a:gd name="connsiteX620" fmla="*/ 1567480 w 2082217"/>
                  <a:gd name="connsiteY620" fmla="*/ 288680 h 2066613"/>
                  <a:gd name="connsiteX621" fmla="*/ 1568336 w 2082217"/>
                  <a:gd name="connsiteY621" fmla="*/ 289039 h 2066613"/>
                  <a:gd name="connsiteX622" fmla="*/ 1572043 w 2082217"/>
                  <a:gd name="connsiteY622" fmla="*/ 290136 h 2066613"/>
                  <a:gd name="connsiteX623" fmla="*/ 1579416 w 2082217"/>
                  <a:gd name="connsiteY623" fmla="*/ 292450 h 2066613"/>
                  <a:gd name="connsiteX624" fmla="*/ 1583063 w 2082217"/>
                  <a:gd name="connsiteY624" fmla="*/ 293686 h 2066613"/>
                  <a:gd name="connsiteX625" fmla="*/ 1584976 w 2082217"/>
                  <a:gd name="connsiteY625" fmla="*/ 294345 h 2066613"/>
                  <a:gd name="connsiteX626" fmla="*/ 1587746 w 2082217"/>
                  <a:gd name="connsiteY626" fmla="*/ 295402 h 2066613"/>
                  <a:gd name="connsiteX627" fmla="*/ 1598846 w 2082217"/>
                  <a:gd name="connsiteY627" fmla="*/ 299710 h 2066613"/>
                  <a:gd name="connsiteX628" fmla="*/ 1609986 w 2082217"/>
                  <a:gd name="connsiteY628" fmla="*/ 304478 h 2066613"/>
                  <a:gd name="connsiteX629" fmla="*/ 1620946 w 2082217"/>
                  <a:gd name="connsiteY629" fmla="*/ 309664 h 2066613"/>
                  <a:gd name="connsiteX630" fmla="*/ 1631727 w 2082217"/>
                  <a:gd name="connsiteY630" fmla="*/ 315209 h 2066613"/>
                  <a:gd name="connsiteX631" fmla="*/ 1709964 w 2082217"/>
                  <a:gd name="connsiteY631" fmla="*/ 372118 h 2066613"/>
                  <a:gd name="connsiteX632" fmla="*/ 1750976 w 2082217"/>
                  <a:gd name="connsiteY632" fmla="*/ 419991 h 2066613"/>
                  <a:gd name="connsiteX633" fmla="*/ 1782282 w 2082217"/>
                  <a:gd name="connsiteY633" fmla="*/ 474865 h 2066613"/>
                  <a:gd name="connsiteX634" fmla="*/ 1802330 w 2082217"/>
                  <a:gd name="connsiteY634" fmla="*/ 534905 h 2066613"/>
                  <a:gd name="connsiteX635" fmla="*/ 1809942 w 2082217"/>
                  <a:gd name="connsiteY635" fmla="*/ 597758 h 2066613"/>
                  <a:gd name="connsiteX636" fmla="*/ 1809743 w 2082217"/>
                  <a:gd name="connsiteY636" fmla="*/ 619760 h 2066613"/>
                  <a:gd name="connsiteX637" fmla="*/ 1809125 w 2082217"/>
                  <a:gd name="connsiteY637" fmla="*/ 629554 h 2066613"/>
                  <a:gd name="connsiteX638" fmla="*/ 1808428 w 2082217"/>
                  <a:gd name="connsiteY638" fmla="*/ 636475 h 2066613"/>
                  <a:gd name="connsiteX639" fmla="*/ 1807292 w 2082217"/>
                  <a:gd name="connsiteY639" fmla="*/ 644674 h 2066613"/>
                  <a:gd name="connsiteX640" fmla="*/ 1806594 w 2082217"/>
                  <a:gd name="connsiteY640" fmla="*/ 648763 h 2066613"/>
                  <a:gd name="connsiteX641" fmla="*/ 1806415 w 2082217"/>
                  <a:gd name="connsiteY641" fmla="*/ 649780 h 2066613"/>
                  <a:gd name="connsiteX642" fmla="*/ 1806355 w 2082217"/>
                  <a:gd name="connsiteY642" fmla="*/ 650299 h 2066613"/>
                  <a:gd name="connsiteX643" fmla="*/ 1806754 w 2082217"/>
                  <a:gd name="connsiteY643" fmla="*/ 650618 h 2066613"/>
                  <a:gd name="connsiteX644" fmla="*/ 1808507 w 2082217"/>
                  <a:gd name="connsiteY644" fmla="*/ 651715 h 2066613"/>
                  <a:gd name="connsiteX645" fmla="*/ 1815522 w 2082217"/>
                  <a:gd name="connsiteY645" fmla="*/ 656103 h 2066613"/>
                  <a:gd name="connsiteX646" fmla="*/ 1819029 w 2082217"/>
                  <a:gd name="connsiteY646" fmla="*/ 658317 h 2066613"/>
                  <a:gd name="connsiteX647" fmla="*/ 1822397 w 2082217"/>
                  <a:gd name="connsiteY647" fmla="*/ 660731 h 2066613"/>
                  <a:gd name="connsiteX648" fmla="*/ 1830986 w 2082217"/>
                  <a:gd name="connsiteY648" fmla="*/ 666874 h 2066613"/>
                  <a:gd name="connsiteX649" fmla="*/ 1836128 w 2082217"/>
                  <a:gd name="connsiteY649" fmla="*/ 670864 h 2066613"/>
                  <a:gd name="connsiteX650" fmla="*/ 1841169 w 2082217"/>
                  <a:gd name="connsiteY650" fmla="*/ 674973 h 2066613"/>
                  <a:gd name="connsiteX651" fmla="*/ 1851193 w 2082217"/>
                  <a:gd name="connsiteY651" fmla="*/ 683231 h 2066613"/>
                  <a:gd name="connsiteX652" fmla="*/ 1860739 w 2082217"/>
                  <a:gd name="connsiteY652" fmla="*/ 692067 h 2066613"/>
                  <a:gd name="connsiteX653" fmla="*/ 1879032 w 2082217"/>
                  <a:gd name="connsiteY653" fmla="*/ 710518 h 2066613"/>
                  <a:gd name="connsiteX654" fmla="*/ 1887621 w 2082217"/>
                  <a:gd name="connsiteY654" fmla="*/ 720273 h 2066613"/>
                  <a:gd name="connsiteX655" fmla="*/ 1895971 w 2082217"/>
                  <a:gd name="connsiteY655" fmla="*/ 730246 h 2066613"/>
                  <a:gd name="connsiteX656" fmla="*/ 1903743 w 2082217"/>
                  <a:gd name="connsiteY656" fmla="*/ 740678 h 2066613"/>
                  <a:gd name="connsiteX657" fmla="*/ 1907589 w 2082217"/>
                  <a:gd name="connsiteY657" fmla="*/ 745924 h 2066613"/>
                  <a:gd name="connsiteX658" fmla="*/ 1911335 w 2082217"/>
                  <a:gd name="connsiteY658" fmla="*/ 751250 h 2066613"/>
                  <a:gd name="connsiteX659" fmla="*/ 1918350 w 2082217"/>
                  <a:gd name="connsiteY659" fmla="*/ 762221 h 2066613"/>
                  <a:gd name="connsiteX660" fmla="*/ 1921857 w 2082217"/>
                  <a:gd name="connsiteY660" fmla="*/ 767706 h 2066613"/>
                  <a:gd name="connsiteX661" fmla="*/ 1925066 w 2082217"/>
                  <a:gd name="connsiteY661" fmla="*/ 773371 h 2066613"/>
                  <a:gd name="connsiteX662" fmla="*/ 1932678 w 2082217"/>
                  <a:gd name="connsiteY662" fmla="*/ 787175 h 2066613"/>
                  <a:gd name="connsiteX663" fmla="*/ 1939454 w 2082217"/>
                  <a:gd name="connsiteY663" fmla="*/ 801417 h 2066613"/>
                  <a:gd name="connsiteX664" fmla="*/ 1942802 w 2082217"/>
                  <a:gd name="connsiteY664" fmla="*/ 808558 h 2066613"/>
                  <a:gd name="connsiteX665" fmla="*/ 1945691 w 2082217"/>
                  <a:gd name="connsiteY665" fmla="*/ 815898 h 2066613"/>
                  <a:gd name="connsiteX666" fmla="*/ 1951371 w 2082217"/>
                  <a:gd name="connsiteY666" fmla="*/ 830619 h 2066613"/>
                  <a:gd name="connsiteX667" fmla="*/ 1956133 w 2082217"/>
                  <a:gd name="connsiteY667" fmla="*/ 845659 h 2066613"/>
                  <a:gd name="connsiteX668" fmla="*/ 1958405 w 2082217"/>
                  <a:gd name="connsiteY668" fmla="*/ 853219 h 2066613"/>
                  <a:gd name="connsiteX669" fmla="*/ 1960278 w 2082217"/>
                  <a:gd name="connsiteY669" fmla="*/ 860879 h 2066613"/>
                  <a:gd name="connsiteX670" fmla="*/ 1962152 w 2082217"/>
                  <a:gd name="connsiteY670" fmla="*/ 868538 h 2066613"/>
                  <a:gd name="connsiteX671" fmla="*/ 1963865 w 2082217"/>
                  <a:gd name="connsiteY671" fmla="*/ 876238 h 2066613"/>
                  <a:gd name="connsiteX672" fmla="*/ 1966556 w 2082217"/>
                  <a:gd name="connsiteY672" fmla="*/ 891797 h 2066613"/>
                  <a:gd name="connsiteX673" fmla="*/ 1968528 w 2082217"/>
                  <a:gd name="connsiteY673" fmla="*/ 907435 h 2066613"/>
                  <a:gd name="connsiteX674" fmla="*/ 1969326 w 2082217"/>
                  <a:gd name="connsiteY674" fmla="*/ 915274 h 2066613"/>
                  <a:gd name="connsiteX675" fmla="*/ 1969923 w 2082217"/>
                  <a:gd name="connsiteY675" fmla="*/ 923133 h 2066613"/>
                  <a:gd name="connsiteX676" fmla="*/ 1970442 w 2082217"/>
                  <a:gd name="connsiteY676" fmla="*/ 954650 h 2066613"/>
                  <a:gd name="connsiteX677" fmla="*/ 1962729 w 2082217"/>
                  <a:gd name="connsiteY677" fmla="*/ 1017203 h 2066613"/>
                  <a:gd name="connsiteX678" fmla="*/ 1961036 w 2082217"/>
                  <a:gd name="connsiteY678" fmla="*/ 1024544 h 2066613"/>
                  <a:gd name="connsiteX679" fmla="*/ 1959182 w 2082217"/>
                  <a:gd name="connsiteY679" fmla="*/ 1031844 h 2066613"/>
                  <a:gd name="connsiteX680" fmla="*/ 1958365 w 2082217"/>
                  <a:gd name="connsiteY680" fmla="*/ 1034916 h 2066613"/>
                  <a:gd name="connsiteX681" fmla="*/ 1957708 w 2082217"/>
                  <a:gd name="connsiteY681" fmla="*/ 1037210 h 2066613"/>
                  <a:gd name="connsiteX682" fmla="*/ 1956333 w 2082217"/>
                  <a:gd name="connsiteY682" fmla="*/ 1041798 h 2066613"/>
                  <a:gd name="connsiteX683" fmla="*/ 1953523 w 2082217"/>
                  <a:gd name="connsiteY683" fmla="*/ 1050176 h 2066613"/>
                  <a:gd name="connsiteX684" fmla="*/ 1952766 w 2082217"/>
                  <a:gd name="connsiteY684" fmla="*/ 1052250 h 2066613"/>
                  <a:gd name="connsiteX685" fmla="*/ 1952387 w 2082217"/>
                  <a:gd name="connsiteY685" fmla="*/ 1053287 h 2066613"/>
                  <a:gd name="connsiteX686" fmla="*/ 1952606 w 2082217"/>
                  <a:gd name="connsiteY686" fmla="*/ 1053746 h 2066613"/>
                  <a:gd name="connsiteX687" fmla="*/ 1952965 w 2082217"/>
                  <a:gd name="connsiteY687" fmla="*/ 1054165 h 2066613"/>
                  <a:gd name="connsiteX688" fmla="*/ 1955874 w 2082217"/>
                  <a:gd name="connsiteY688" fmla="*/ 1057496 h 2066613"/>
                  <a:gd name="connsiteX689" fmla="*/ 1961673 w 2082217"/>
                  <a:gd name="connsiteY689" fmla="*/ 1064358 h 2066613"/>
                  <a:gd name="connsiteX690" fmla="*/ 1964563 w 2082217"/>
                  <a:gd name="connsiteY690" fmla="*/ 1067968 h 2066613"/>
                  <a:gd name="connsiteX691" fmla="*/ 1967831 w 2082217"/>
                  <a:gd name="connsiteY691" fmla="*/ 1072237 h 2066613"/>
                  <a:gd name="connsiteX692" fmla="*/ 1997703 w 2082217"/>
                  <a:gd name="connsiteY692" fmla="*/ 1118694 h 2066613"/>
                  <a:gd name="connsiteX693" fmla="*/ 2035247 w 2082217"/>
                  <a:gd name="connsiteY693" fmla="*/ 1222438 h 2066613"/>
                  <a:gd name="connsiteX694" fmla="*/ 2041823 w 2082217"/>
                  <a:gd name="connsiteY694" fmla="*/ 1284912 h 2066613"/>
                  <a:gd name="connsiteX695" fmla="*/ 2037738 w 2082217"/>
                  <a:gd name="connsiteY695" fmla="*/ 1347585 h 2066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</a:cxnLst>
                <a:rect l="l" t="t" r="r" b="b"/>
                <a:pathLst>
                  <a:path w="2082217" h="2066613">
                    <a:moveTo>
                      <a:pt x="2082217" y="1284054"/>
                    </a:moveTo>
                    <a:cubicBezTo>
                      <a:pt x="2081779" y="1260776"/>
                      <a:pt x="2079348" y="1237478"/>
                      <a:pt x="2074884" y="1214579"/>
                    </a:cubicBezTo>
                    <a:cubicBezTo>
                      <a:pt x="2066773" y="1174286"/>
                      <a:pt x="2052903" y="1135110"/>
                      <a:pt x="2033175" y="1099245"/>
                    </a:cubicBezTo>
                    <a:cubicBezTo>
                      <a:pt x="2023350" y="1081313"/>
                      <a:pt x="2012410" y="1063979"/>
                      <a:pt x="2000074" y="1047762"/>
                    </a:cubicBezTo>
                    <a:cubicBezTo>
                      <a:pt x="1997962" y="1044870"/>
                      <a:pt x="1998620" y="1045787"/>
                      <a:pt x="1998321" y="1045388"/>
                    </a:cubicBezTo>
                    <a:lnTo>
                      <a:pt x="1997922" y="1044910"/>
                    </a:lnTo>
                    <a:lnTo>
                      <a:pt x="1997623" y="1044551"/>
                    </a:lnTo>
                    <a:lnTo>
                      <a:pt x="1997703" y="1044271"/>
                    </a:lnTo>
                    <a:lnTo>
                      <a:pt x="1998241" y="1042237"/>
                    </a:lnTo>
                    <a:cubicBezTo>
                      <a:pt x="1998978" y="1039524"/>
                      <a:pt x="1999676" y="1036791"/>
                      <a:pt x="2000313" y="1034058"/>
                    </a:cubicBezTo>
                    <a:cubicBezTo>
                      <a:pt x="2000991" y="1031326"/>
                      <a:pt x="2001629" y="1028593"/>
                      <a:pt x="2002207" y="1025840"/>
                    </a:cubicBezTo>
                    <a:cubicBezTo>
                      <a:pt x="2007229" y="1002841"/>
                      <a:pt x="2010118" y="979364"/>
                      <a:pt x="2010835" y="955886"/>
                    </a:cubicBezTo>
                    <a:cubicBezTo>
                      <a:pt x="2011334" y="944157"/>
                      <a:pt x="2010636" y="932409"/>
                      <a:pt x="2010257" y="920680"/>
                    </a:cubicBezTo>
                    <a:cubicBezTo>
                      <a:pt x="2010218" y="917748"/>
                      <a:pt x="2009879" y="914815"/>
                      <a:pt x="2009580" y="911883"/>
                    </a:cubicBezTo>
                    <a:lnTo>
                      <a:pt x="2008683" y="903107"/>
                    </a:lnTo>
                    <a:cubicBezTo>
                      <a:pt x="2008026" y="897262"/>
                      <a:pt x="2007607" y="891398"/>
                      <a:pt x="2006471" y="885613"/>
                    </a:cubicBezTo>
                    <a:lnTo>
                      <a:pt x="2003442" y="868219"/>
                    </a:lnTo>
                    <a:cubicBezTo>
                      <a:pt x="2003004" y="865307"/>
                      <a:pt x="2002187" y="862475"/>
                      <a:pt x="2001529" y="859602"/>
                    </a:cubicBezTo>
                    <a:lnTo>
                      <a:pt x="1999437" y="851025"/>
                    </a:lnTo>
                    <a:lnTo>
                      <a:pt x="1997324" y="842448"/>
                    </a:lnTo>
                    <a:cubicBezTo>
                      <a:pt x="1996667" y="839575"/>
                      <a:pt x="1995630" y="836803"/>
                      <a:pt x="1994793" y="833990"/>
                    </a:cubicBezTo>
                    <a:lnTo>
                      <a:pt x="1989453" y="817155"/>
                    </a:lnTo>
                    <a:cubicBezTo>
                      <a:pt x="1987440" y="811630"/>
                      <a:pt x="1985228" y="806164"/>
                      <a:pt x="1983116" y="800699"/>
                    </a:cubicBezTo>
                    <a:lnTo>
                      <a:pt x="1979867" y="792501"/>
                    </a:lnTo>
                    <a:lnTo>
                      <a:pt x="1976141" y="784502"/>
                    </a:lnTo>
                    <a:cubicBezTo>
                      <a:pt x="1973630" y="779196"/>
                      <a:pt x="1971199" y="773830"/>
                      <a:pt x="1968548" y="768584"/>
                    </a:cubicBezTo>
                    <a:lnTo>
                      <a:pt x="1960059" y="753165"/>
                    </a:lnTo>
                    <a:cubicBezTo>
                      <a:pt x="1958863" y="751051"/>
                      <a:pt x="1957748" y="748896"/>
                      <a:pt x="1956472" y="746842"/>
                    </a:cubicBezTo>
                    <a:lnTo>
                      <a:pt x="1952566" y="740718"/>
                    </a:lnTo>
                    <a:lnTo>
                      <a:pt x="1944715" y="728491"/>
                    </a:lnTo>
                    <a:cubicBezTo>
                      <a:pt x="1943439" y="726416"/>
                      <a:pt x="1941965" y="724501"/>
                      <a:pt x="1940550" y="722546"/>
                    </a:cubicBezTo>
                    <a:lnTo>
                      <a:pt x="1936265" y="716682"/>
                    </a:lnTo>
                    <a:cubicBezTo>
                      <a:pt x="1933376" y="712812"/>
                      <a:pt x="1930586" y="708843"/>
                      <a:pt x="1927577" y="705053"/>
                    </a:cubicBezTo>
                    <a:lnTo>
                      <a:pt x="1918290" y="693923"/>
                    </a:lnTo>
                    <a:cubicBezTo>
                      <a:pt x="1915182" y="690212"/>
                      <a:pt x="1912113" y="686482"/>
                      <a:pt x="1908705" y="683051"/>
                    </a:cubicBezTo>
                    <a:cubicBezTo>
                      <a:pt x="1902029" y="676090"/>
                      <a:pt x="1895553" y="668889"/>
                      <a:pt x="1888319" y="662486"/>
                    </a:cubicBezTo>
                    <a:lnTo>
                      <a:pt x="1877677" y="652672"/>
                    </a:lnTo>
                    <a:cubicBezTo>
                      <a:pt x="1874030" y="649521"/>
                      <a:pt x="1870244" y="646529"/>
                      <a:pt x="1866518" y="643457"/>
                    </a:cubicBezTo>
                    <a:lnTo>
                      <a:pt x="1860898" y="638889"/>
                    </a:lnTo>
                    <a:cubicBezTo>
                      <a:pt x="1859025" y="637373"/>
                      <a:pt x="1857171" y="635837"/>
                      <a:pt x="1855179" y="634461"/>
                    </a:cubicBezTo>
                    <a:lnTo>
                      <a:pt x="1849878" y="630651"/>
                    </a:lnTo>
                    <a:lnTo>
                      <a:pt x="1849499" y="630411"/>
                    </a:lnTo>
                    <a:cubicBezTo>
                      <a:pt x="1849519" y="630292"/>
                      <a:pt x="1849539" y="630132"/>
                      <a:pt x="1849539" y="630012"/>
                    </a:cubicBezTo>
                    <a:lnTo>
                      <a:pt x="1849539" y="629913"/>
                    </a:lnTo>
                    <a:cubicBezTo>
                      <a:pt x="1849539" y="629913"/>
                      <a:pt x="1849539" y="629913"/>
                      <a:pt x="1849539" y="629813"/>
                    </a:cubicBezTo>
                    <a:lnTo>
                      <a:pt x="1849539" y="629434"/>
                    </a:lnTo>
                    <a:lnTo>
                      <a:pt x="1849659" y="627878"/>
                    </a:lnTo>
                    <a:lnTo>
                      <a:pt x="1850017" y="621675"/>
                    </a:lnTo>
                    <a:cubicBezTo>
                      <a:pt x="1850396" y="613417"/>
                      <a:pt x="1850535" y="605139"/>
                      <a:pt x="1850256" y="596881"/>
                    </a:cubicBezTo>
                    <a:cubicBezTo>
                      <a:pt x="1849738" y="573084"/>
                      <a:pt x="1846909" y="549267"/>
                      <a:pt x="1841668" y="525989"/>
                    </a:cubicBezTo>
                    <a:cubicBezTo>
                      <a:pt x="1836367" y="502711"/>
                      <a:pt x="1828774" y="479991"/>
                      <a:pt x="1819069" y="458289"/>
                    </a:cubicBezTo>
                    <a:cubicBezTo>
                      <a:pt x="1809424" y="436547"/>
                      <a:pt x="1797507" y="415882"/>
                      <a:pt x="1783857" y="396593"/>
                    </a:cubicBezTo>
                    <a:cubicBezTo>
                      <a:pt x="1770186" y="377304"/>
                      <a:pt x="1754842" y="359272"/>
                      <a:pt x="1737903" y="342955"/>
                    </a:cubicBezTo>
                    <a:cubicBezTo>
                      <a:pt x="1711877" y="317723"/>
                      <a:pt x="1682304" y="296459"/>
                      <a:pt x="1650579" y="279424"/>
                    </a:cubicBezTo>
                    <a:cubicBezTo>
                      <a:pt x="1646573" y="277370"/>
                      <a:pt x="1642628" y="275196"/>
                      <a:pt x="1638562" y="273241"/>
                    </a:cubicBezTo>
                    <a:lnTo>
                      <a:pt x="1626367" y="267476"/>
                    </a:lnTo>
                    <a:lnTo>
                      <a:pt x="1613971" y="262170"/>
                    </a:lnTo>
                    <a:cubicBezTo>
                      <a:pt x="1609886" y="260475"/>
                      <a:pt x="1605980" y="259078"/>
                      <a:pt x="1601975" y="257523"/>
                    </a:cubicBezTo>
                    <a:lnTo>
                      <a:pt x="1598726" y="256286"/>
                    </a:lnTo>
                    <a:lnTo>
                      <a:pt x="1598069" y="254630"/>
                    </a:lnTo>
                    <a:cubicBezTo>
                      <a:pt x="1596116" y="249863"/>
                      <a:pt x="1594223" y="245076"/>
                      <a:pt x="1592210" y="240328"/>
                    </a:cubicBezTo>
                    <a:cubicBezTo>
                      <a:pt x="1590118" y="235601"/>
                      <a:pt x="1588065" y="230873"/>
                      <a:pt x="1585893" y="226166"/>
                    </a:cubicBezTo>
                    <a:cubicBezTo>
                      <a:pt x="1583641" y="221498"/>
                      <a:pt x="1581449" y="216811"/>
                      <a:pt x="1579118" y="212183"/>
                    </a:cubicBezTo>
                    <a:cubicBezTo>
                      <a:pt x="1568934" y="192017"/>
                      <a:pt x="1557296" y="172409"/>
                      <a:pt x="1544124" y="153619"/>
                    </a:cubicBezTo>
                    <a:cubicBezTo>
                      <a:pt x="1530952" y="134849"/>
                      <a:pt x="1516225" y="116896"/>
                      <a:pt x="1499725" y="100261"/>
                    </a:cubicBezTo>
                    <a:lnTo>
                      <a:pt x="1493507" y="94057"/>
                    </a:lnTo>
                    <a:cubicBezTo>
                      <a:pt x="1491415" y="92003"/>
                      <a:pt x="1489223" y="90028"/>
                      <a:pt x="1487071" y="88033"/>
                    </a:cubicBezTo>
                    <a:cubicBezTo>
                      <a:pt x="1482806" y="83984"/>
                      <a:pt x="1478282" y="80154"/>
                      <a:pt x="1473799" y="76304"/>
                    </a:cubicBezTo>
                    <a:cubicBezTo>
                      <a:pt x="1469315" y="72435"/>
                      <a:pt x="1464532" y="68844"/>
                      <a:pt x="1459909" y="65154"/>
                    </a:cubicBezTo>
                    <a:lnTo>
                      <a:pt x="1452655" y="59868"/>
                    </a:lnTo>
                    <a:cubicBezTo>
                      <a:pt x="1450244" y="58113"/>
                      <a:pt x="1447833" y="56337"/>
                      <a:pt x="1445302" y="54702"/>
                    </a:cubicBezTo>
                    <a:cubicBezTo>
                      <a:pt x="1425414" y="41257"/>
                      <a:pt x="1403971" y="29469"/>
                      <a:pt x="1380974" y="20592"/>
                    </a:cubicBezTo>
                    <a:lnTo>
                      <a:pt x="1372346" y="17301"/>
                    </a:lnTo>
                    <a:lnTo>
                      <a:pt x="1363558" y="14369"/>
                    </a:lnTo>
                    <a:lnTo>
                      <a:pt x="1359153" y="12933"/>
                    </a:lnTo>
                    <a:lnTo>
                      <a:pt x="1354690" y="11656"/>
                    </a:lnTo>
                    <a:lnTo>
                      <a:pt x="1345722" y="9163"/>
                    </a:lnTo>
                    <a:cubicBezTo>
                      <a:pt x="1333646" y="6231"/>
                      <a:pt x="1321450" y="3677"/>
                      <a:pt x="1309035" y="2281"/>
                    </a:cubicBezTo>
                    <a:cubicBezTo>
                      <a:pt x="1302857" y="1403"/>
                      <a:pt x="1296640" y="1004"/>
                      <a:pt x="1290422" y="546"/>
                    </a:cubicBezTo>
                    <a:cubicBezTo>
                      <a:pt x="1287313" y="266"/>
                      <a:pt x="1284205" y="286"/>
                      <a:pt x="1281076" y="167"/>
                    </a:cubicBezTo>
                    <a:cubicBezTo>
                      <a:pt x="1278007" y="107"/>
                      <a:pt x="1274759" y="-33"/>
                      <a:pt x="1271829" y="7"/>
                    </a:cubicBezTo>
                    <a:lnTo>
                      <a:pt x="1254412" y="426"/>
                    </a:lnTo>
                    <a:cubicBezTo>
                      <a:pt x="1248593" y="685"/>
                      <a:pt x="1242735" y="1244"/>
                      <a:pt x="1236896" y="1663"/>
                    </a:cubicBezTo>
                    <a:cubicBezTo>
                      <a:pt x="1213481" y="3837"/>
                      <a:pt x="1189846" y="8185"/>
                      <a:pt x="1166610" y="15227"/>
                    </a:cubicBezTo>
                    <a:cubicBezTo>
                      <a:pt x="1143394" y="22268"/>
                      <a:pt x="1120577" y="31942"/>
                      <a:pt x="1099274" y="44509"/>
                    </a:cubicBezTo>
                    <a:cubicBezTo>
                      <a:pt x="1095547" y="46683"/>
                      <a:pt x="1091960" y="49097"/>
                      <a:pt x="1088293" y="51390"/>
                    </a:cubicBezTo>
                    <a:cubicBezTo>
                      <a:pt x="1084687" y="53764"/>
                      <a:pt x="1080940" y="55958"/>
                      <a:pt x="1077532" y="58591"/>
                    </a:cubicBezTo>
                    <a:cubicBezTo>
                      <a:pt x="1070617" y="63738"/>
                      <a:pt x="1063523" y="68704"/>
                      <a:pt x="1057126" y="74429"/>
                    </a:cubicBezTo>
                    <a:lnTo>
                      <a:pt x="1047342" y="82827"/>
                    </a:lnTo>
                    <a:lnTo>
                      <a:pt x="1042738" y="87295"/>
                    </a:lnTo>
                    <a:lnTo>
                      <a:pt x="1041582" y="88412"/>
                    </a:lnTo>
                    <a:cubicBezTo>
                      <a:pt x="1041303" y="88691"/>
                      <a:pt x="1041443" y="88552"/>
                      <a:pt x="1041383" y="88592"/>
                    </a:cubicBezTo>
                    <a:lnTo>
                      <a:pt x="1041323" y="88631"/>
                    </a:lnTo>
                    <a:cubicBezTo>
                      <a:pt x="1041323" y="88631"/>
                      <a:pt x="1041204" y="88751"/>
                      <a:pt x="1041144" y="88851"/>
                    </a:cubicBezTo>
                    <a:lnTo>
                      <a:pt x="1041104" y="88911"/>
                    </a:lnTo>
                    <a:lnTo>
                      <a:pt x="1041024" y="88771"/>
                    </a:lnTo>
                    <a:cubicBezTo>
                      <a:pt x="1041024" y="88771"/>
                      <a:pt x="1040925" y="88651"/>
                      <a:pt x="1040865" y="88612"/>
                    </a:cubicBezTo>
                    <a:lnTo>
                      <a:pt x="1040825" y="88572"/>
                    </a:lnTo>
                    <a:lnTo>
                      <a:pt x="1040387" y="88153"/>
                    </a:lnTo>
                    <a:lnTo>
                      <a:pt x="1039410" y="87195"/>
                    </a:lnTo>
                    <a:lnTo>
                      <a:pt x="1035465" y="83365"/>
                    </a:lnTo>
                    <a:cubicBezTo>
                      <a:pt x="1034149" y="82089"/>
                      <a:pt x="1032695" y="80932"/>
                      <a:pt x="1031320" y="79715"/>
                    </a:cubicBezTo>
                    <a:cubicBezTo>
                      <a:pt x="1020260" y="69961"/>
                      <a:pt x="1008522" y="60825"/>
                      <a:pt x="996067" y="52727"/>
                    </a:cubicBezTo>
                    <a:cubicBezTo>
                      <a:pt x="975442" y="39163"/>
                      <a:pt x="953162" y="27993"/>
                      <a:pt x="930126" y="19914"/>
                    </a:cubicBezTo>
                    <a:cubicBezTo>
                      <a:pt x="907109" y="11776"/>
                      <a:pt x="883494" y="6390"/>
                      <a:pt x="860039" y="3318"/>
                    </a:cubicBezTo>
                    <a:lnTo>
                      <a:pt x="851231" y="2201"/>
                    </a:lnTo>
                    <a:cubicBezTo>
                      <a:pt x="848302" y="1822"/>
                      <a:pt x="845392" y="1703"/>
                      <a:pt x="842463" y="1443"/>
                    </a:cubicBezTo>
                    <a:lnTo>
                      <a:pt x="833695" y="785"/>
                    </a:lnTo>
                    <a:lnTo>
                      <a:pt x="829311" y="486"/>
                    </a:lnTo>
                    <a:lnTo>
                      <a:pt x="824966" y="366"/>
                    </a:lnTo>
                    <a:lnTo>
                      <a:pt x="816258" y="147"/>
                    </a:lnTo>
                    <a:lnTo>
                      <a:pt x="811913" y="47"/>
                    </a:lnTo>
                    <a:cubicBezTo>
                      <a:pt x="810459" y="7"/>
                      <a:pt x="809044" y="-33"/>
                      <a:pt x="807430" y="47"/>
                    </a:cubicBezTo>
                    <a:cubicBezTo>
                      <a:pt x="801212" y="226"/>
                      <a:pt x="794975" y="226"/>
                      <a:pt x="788757" y="805"/>
                    </a:cubicBezTo>
                    <a:cubicBezTo>
                      <a:pt x="785648" y="1044"/>
                      <a:pt x="782540" y="1264"/>
                      <a:pt x="779431" y="1543"/>
                    </a:cubicBezTo>
                    <a:lnTo>
                      <a:pt x="770145" y="2700"/>
                    </a:lnTo>
                    <a:lnTo>
                      <a:pt x="765501" y="3298"/>
                    </a:lnTo>
                    <a:lnTo>
                      <a:pt x="760898" y="4096"/>
                    </a:lnTo>
                    <a:lnTo>
                      <a:pt x="751691" y="5732"/>
                    </a:lnTo>
                    <a:cubicBezTo>
                      <a:pt x="739535" y="8345"/>
                      <a:pt x="727439" y="11317"/>
                      <a:pt x="715761" y="15366"/>
                    </a:cubicBezTo>
                    <a:cubicBezTo>
                      <a:pt x="692266" y="23106"/>
                      <a:pt x="670107" y="33857"/>
                      <a:pt x="649561" y="46523"/>
                    </a:cubicBezTo>
                    <a:cubicBezTo>
                      <a:pt x="628936" y="59150"/>
                      <a:pt x="610203" y="73990"/>
                      <a:pt x="593006" y="90048"/>
                    </a:cubicBezTo>
                    <a:cubicBezTo>
                      <a:pt x="575788" y="106105"/>
                      <a:pt x="560384" y="123618"/>
                      <a:pt x="546554" y="142030"/>
                    </a:cubicBezTo>
                    <a:cubicBezTo>
                      <a:pt x="532704" y="160421"/>
                      <a:pt x="520428" y="179729"/>
                      <a:pt x="509627" y="199656"/>
                    </a:cubicBezTo>
                    <a:cubicBezTo>
                      <a:pt x="500660" y="216292"/>
                      <a:pt x="492708" y="233367"/>
                      <a:pt x="485734" y="250721"/>
                    </a:cubicBezTo>
                    <a:lnTo>
                      <a:pt x="483482" y="256306"/>
                    </a:lnTo>
                    <a:lnTo>
                      <a:pt x="476348" y="259019"/>
                    </a:lnTo>
                    <a:lnTo>
                      <a:pt x="471824" y="260754"/>
                    </a:lnTo>
                    <a:lnTo>
                      <a:pt x="469552" y="261632"/>
                    </a:lnTo>
                    <a:lnTo>
                      <a:pt x="467201" y="262629"/>
                    </a:lnTo>
                    <a:lnTo>
                      <a:pt x="457815" y="266638"/>
                    </a:lnTo>
                    <a:cubicBezTo>
                      <a:pt x="445400" y="272223"/>
                      <a:pt x="433184" y="278247"/>
                      <a:pt x="421386" y="285109"/>
                    </a:cubicBezTo>
                    <a:cubicBezTo>
                      <a:pt x="397672" y="298593"/>
                      <a:pt x="375493" y="314750"/>
                      <a:pt x="355027" y="332942"/>
                    </a:cubicBezTo>
                    <a:cubicBezTo>
                      <a:pt x="337510" y="348600"/>
                      <a:pt x="321488" y="365974"/>
                      <a:pt x="307080" y="384704"/>
                    </a:cubicBezTo>
                    <a:cubicBezTo>
                      <a:pt x="292692" y="403415"/>
                      <a:pt x="279998" y="423561"/>
                      <a:pt x="269476" y="444865"/>
                    </a:cubicBezTo>
                    <a:cubicBezTo>
                      <a:pt x="258914" y="466148"/>
                      <a:pt x="250365" y="488509"/>
                      <a:pt x="244108" y="511527"/>
                    </a:cubicBezTo>
                    <a:cubicBezTo>
                      <a:pt x="237930" y="534566"/>
                      <a:pt x="234084" y="558263"/>
                      <a:pt x="232570" y="582040"/>
                    </a:cubicBezTo>
                    <a:lnTo>
                      <a:pt x="232131" y="589181"/>
                    </a:lnTo>
                    <a:lnTo>
                      <a:pt x="231952" y="596322"/>
                    </a:lnTo>
                    <a:cubicBezTo>
                      <a:pt x="231852" y="601089"/>
                      <a:pt x="231713" y="605837"/>
                      <a:pt x="231832" y="610604"/>
                    </a:cubicBezTo>
                    <a:cubicBezTo>
                      <a:pt x="231912" y="615371"/>
                      <a:pt x="232071" y="620119"/>
                      <a:pt x="232350" y="624886"/>
                    </a:cubicBezTo>
                    <a:lnTo>
                      <a:pt x="232570" y="628457"/>
                    </a:lnTo>
                    <a:lnTo>
                      <a:pt x="232669" y="629973"/>
                    </a:lnTo>
                    <a:lnTo>
                      <a:pt x="232669" y="630212"/>
                    </a:lnTo>
                    <a:lnTo>
                      <a:pt x="232709" y="630491"/>
                    </a:lnTo>
                    <a:lnTo>
                      <a:pt x="232709" y="630491"/>
                    </a:lnTo>
                    <a:lnTo>
                      <a:pt x="232390" y="630711"/>
                    </a:lnTo>
                    <a:lnTo>
                      <a:pt x="232311" y="630770"/>
                    </a:lnTo>
                    <a:lnTo>
                      <a:pt x="231254" y="631528"/>
                    </a:lnTo>
                    <a:lnTo>
                      <a:pt x="229122" y="633064"/>
                    </a:lnTo>
                    <a:lnTo>
                      <a:pt x="224858" y="636136"/>
                    </a:lnTo>
                    <a:lnTo>
                      <a:pt x="220772" y="639427"/>
                    </a:lnTo>
                    <a:lnTo>
                      <a:pt x="212622" y="646070"/>
                    </a:lnTo>
                    <a:cubicBezTo>
                      <a:pt x="209932" y="648304"/>
                      <a:pt x="207162" y="650458"/>
                      <a:pt x="204551" y="652772"/>
                    </a:cubicBezTo>
                    <a:lnTo>
                      <a:pt x="196819" y="659893"/>
                    </a:lnTo>
                    <a:cubicBezTo>
                      <a:pt x="191678" y="664660"/>
                      <a:pt x="186457" y="669348"/>
                      <a:pt x="181734" y="674534"/>
                    </a:cubicBezTo>
                    <a:lnTo>
                      <a:pt x="174480" y="682154"/>
                    </a:lnTo>
                    <a:cubicBezTo>
                      <a:pt x="172089" y="684707"/>
                      <a:pt x="169598" y="687200"/>
                      <a:pt x="167405" y="689933"/>
                    </a:cubicBezTo>
                    <a:lnTo>
                      <a:pt x="153894" y="706090"/>
                    </a:lnTo>
                    <a:cubicBezTo>
                      <a:pt x="149670" y="711715"/>
                      <a:pt x="145525" y="717380"/>
                      <a:pt x="141380" y="723065"/>
                    </a:cubicBezTo>
                    <a:cubicBezTo>
                      <a:pt x="140363" y="724501"/>
                      <a:pt x="139267" y="725878"/>
                      <a:pt x="138331" y="727354"/>
                    </a:cubicBezTo>
                    <a:lnTo>
                      <a:pt x="135461" y="731782"/>
                    </a:lnTo>
                    <a:lnTo>
                      <a:pt x="129762" y="740678"/>
                    </a:lnTo>
                    <a:cubicBezTo>
                      <a:pt x="128187" y="743152"/>
                      <a:pt x="126593" y="745605"/>
                      <a:pt x="125079" y="748119"/>
                    </a:cubicBezTo>
                    <a:lnTo>
                      <a:pt x="120794" y="755818"/>
                    </a:lnTo>
                    <a:cubicBezTo>
                      <a:pt x="117984" y="760964"/>
                      <a:pt x="115035" y="766051"/>
                      <a:pt x="112404" y="771297"/>
                    </a:cubicBezTo>
                    <a:cubicBezTo>
                      <a:pt x="107422" y="781949"/>
                      <a:pt x="102122" y="792441"/>
                      <a:pt x="98096" y="803511"/>
                    </a:cubicBezTo>
                    <a:lnTo>
                      <a:pt x="94888" y="811729"/>
                    </a:lnTo>
                    <a:lnTo>
                      <a:pt x="93294" y="815839"/>
                    </a:lnTo>
                    <a:cubicBezTo>
                      <a:pt x="92795" y="817215"/>
                      <a:pt x="92377" y="818631"/>
                      <a:pt x="91919" y="820027"/>
                    </a:cubicBezTo>
                    <a:lnTo>
                      <a:pt x="86598" y="836863"/>
                    </a:lnTo>
                    <a:cubicBezTo>
                      <a:pt x="86179" y="838279"/>
                      <a:pt x="85701" y="839655"/>
                      <a:pt x="85303" y="841091"/>
                    </a:cubicBezTo>
                    <a:lnTo>
                      <a:pt x="84246" y="845380"/>
                    </a:lnTo>
                    <a:lnTo>
                      <a:pt x="82134" y="853957"/>
                    </a:lnTo>
                    <a:cubicBezTo>
                      <a:pt x="80799" y="859682"/>
                      <a:pt x="79205" y="865367"/>
                      <a:pt x="78328" y="871191"/>
                    </a:cubicBezTo>
                    <a:lnTo>
                      <a:pt x="75319" y="888605"/>
                    </a:lnTo>
                    <a:cubicBezTo>
                      <a:pt x="74761" y="891497"/>
                      <a:pt x="74561" y="894430"/>
                      <a:pt x="74223" y="897362"/>
                    </a:cubicBezTo>
                    <a:lnTo>
                      <a:pt x="73306" y="906138"/>
                    </a:lnTo>
                    <a:cubicBezTo>
                      <a:pt x="71791" y="917827"/>
                      <a:pt x="71791" y="929576"/>
                      <a:pt x="71333" y="941325"/>
                    </a:cubicBezTo>
                    <a:cubicBezTo>
                      <a:pt x="71054" y="964783"/>
                      <a:pt x="73107" y="988340"/>
                      <a:pt x="77212" y="1011518"/>
                    </a:cubicBezTo>
                    <a:cubicBezTo>
                      <a:pt x="78567" y="1019018"/>
                      <a:pt x="80101" y="1026499"/>
                      <a:pt x="81915" y="1033919"/>
                    </a:cubicBezTo>
                    <a:cubicBezTo>
                      <a:pt x="82752" y="1037529"/>
                      <a:pt x="83708" y="1041100"/>
                      <a:pt x="84665" y="1044670"/>
                    </a:cubicBezTo>
                    <a:lnTo>
                      <a:pt x="83987" y="1045528"/>
                    </a:lnTo>
                    <a:lnTo>
                      <a:pt x="83808" y="1045747"/>
                    </a:lnTo>
                    <a:lnTo>
                      <a:pt x="83728" y="1045847"/>
                    </a:lnTo>
                    <a:lnTo>
                      <a:pt x="82931" y="1046924"/>
                    </a:lnTo>
                    <a:lnTo>
                      <a:pt x="79464" y="1051672"/>
                    </a:lnTo>
                    <a:lnTo>
                      <a:pt x="72569" y="1061186"/>
                    </a:lnTo>
                    <a:lnTo>
                      <a:pt x="66072" y="1070980"/>
                    </a:lnTo>
                    <a:lnTo>
                      <a:pt x="62844" y="1075887"/>
                    </a:lnTo>
                    <a:cubicBezTo>
                      <a:pt x="61788" y="1077543"/>
                      <a:pt x="60811" y="1079238"/>
                      <a:pt x="59795" y="1080914"/>
                    </a:cubicBezTo>
                    <a:lnTo>
                      <a:pt x="53757" y="1091007"/>
                    </a:lnTo>
                    <a:cubicBezTo>
                      <a:pt x="51784" y="1094398"/>
                      <a:pt x="49970" y="1097889"/>
                      <a:pt x="48097" y="1101340"/>
                    </a:cubicBezTo>
                    <a:cubicBezTo>
                      <a:pt x="46264" y="1104810"/>
                      <a:pt x="44291" y="1108221"/>
                      <a:pt x="42637" y="1111792"/>
                    </a:cubicBezTo>
                    <a:cubicBezTo>
                      <a:pt x="39209" y="1118873"/>
                      <a:pt x="35702" y="1125914"/>
                      <a:pt x="32733" y="1133195"/>
                    </a:cubicBezTo>
                    <a:cubicBezTo>
                      <a:pt x="31218" y="1136825"/>
                      <a:pt x="29584" y="1140416"/>
                      <a:pt x="28169" y="1144086"/>
                    </a:cubicBezTo>
                    <a:lnTo>
                      <a:pt x="24024" y="1155157"/>
                    </a:lnTo>
                    <a:cubicBezTo>
                      <a:pt x="23347" y="1157012"/>
                      <a:pt x="22629" y="1158847"/>
                      <a:pt x="21992" y="1160702"/>
                    </a:cubicBezTo>
                    <a:lnTo>
                      <a:pt x="20178" y="1166327"/>
                    </a:lnTo>
                    <a:lnTo>
                      <a:pt x="16571" y="1177597"/>
                    </a:lnTo>
                    <a:cubicBezTo>
                      <a:pt x="15475" y="1181387"/>
                      <a:pt x="14479" y="1185197"/>
                      <a:pt x="13443" y="1189007"/>
                    </a:cubicBezTo>
                    <a:cubicBezTo>
                      <a:pt x="12426" y="1192817"/>
                      <a:pt x="11330" y="1196606"/>
                      <a:pt x="10553" y="1200476"/>
                    </a:cubicBezTo>
                    <a:cubicBezTo>
                      <a:pt x="5212" y="1223196"/>
                      <a:pt x="1825" y="1246394"/>
                      <a:pt x="609" y="1269672"/>
                    </a:cubicBezTo>
                    <a:cubicBezTo>
                      <a:pt x="-607" y="1292930"/>
                      <a:pt x="-49" y="1316268"/>
                      <a:pt x="2701" y="1339447"/>
                    </a:cubicBezTo>
                    <a:cubicBezTo>
                      <a:pt x="8261" y="1385764"/>
                      <a:pt x="21713" y="1431243"/>
                      <a:pt x="42677" y="1472772"/>
                    </a:cubicBezTo>
                    <a:cubicBezTo>
                      <a:pt x="53119" y="1493557"/>
                      <a:pt x="65215" y="1513444"/>
                      <a:pt x="78906" y="1532115"/>
                    </a:cubicBezTo>
                    <a:cubicBezTo>
                      <a:pt x="92636" y="1550765"/>
                      <a:pt x="107841" y="1568259"/>
                      <a:pt x="124301" y="1584396"/>
                    </a:cubicBezTo>
                    <a:cubicBezTo>
                      <a:pt x="140742" y="1600573"/>
                      <a:pt x="158557" y="1615274"/>
                      <a:pt x="177330" y="1628538"/>
                    </a:cubicBezTo>
                    <a:lnTo>
                      <a:pt x="184384" y="1633485"/>
                    </a:lnTo>
                    <a:lnTo>
                      <a:pt x="191598" y="1638193"/>
                    </a:lnTo>
                    <a:cubicBezTo>
                      <a:pt x="196381" y="1641384"/>
                      <a:pt x="201323" y="1644316"/>
                      <a:pt x="206225" y="1647288"/>
                    </a:cubicBezTo>
                    <a:cubicBezTo>
                      <a:pt x="208676" y="1648804"/>
                      <a:pt x="211167" y="1650221"/>
                      <a:pt x="213678" y="1651597"/>
                    </a:cubicBezTo>
                    <a:cubicBezTo>
                      <a:pt x="214575" y="1652096"/>
                      <a:pt x="214216" y="1651916"/>
                      <a:pt x="214356" y="1651996"/>
                    </a:cubicBezTo>
                    <a:cubicBezTo>
                      <a:pt x="214395" y="1652016"/>
                      <a:pt x="214435" y="1652036"/>
                      <a:pt x="214475" y="1652056"/>
                    </a:cubicBezTo>
                    <a:lnTo>
                      <a:pt x="214515" y="1652056"/>
                    </a:lnTo>
                    <a:lnTo>
                      <a:pt x="214555" y="1653691"/>
                    </a:lnTo>
                    <a:lnTo>
                      <a:pt x="214555" y="1653891"/>
                    </a:lnTo>
                    <a:lnTo>
                      <a:pt x="214615" y="1654609"/>
                    </a:lnTo>
                    <a:lnTo>
                      <a:pt x="214914" y="1658359"/>
                    </a:lnTo>
                    <a:lnTo>
                      <a:pt x="215511" y="1665839"/>
                    </a:lnTo>
                    <a:cubicBezTo>
                      <a:pt x="216129" y="1675833"/>
                      <a:pt x="217664" y="1685746"/>
                      <a:pt x="219019" y="1695680"/>
                    </a:cubicBezTo>
                    <a:cubicBezTo>
                      <a:pt x="222347" y="1715427"/>
                      <a:pt x="226512" y="1735095"/>
                      <a:pt x="232689" y="1754144"/>
                    </a:cubicBezTo>
                    <a:lnTo>
                      <a:pt x="234881" y="1761325"/>
                    </a:lnTo>
                    <a:cubicBezTo>
                      <a:pt x="235659" y="1763699"/>
                      <a:pt x="236555" y="1766033"/>
                      <a:pt x="237392" y="1768387"/>
                    </a:cubicBezTo>
                    <a:lnTo>
                      <a:pt x="242514" y="1782489"/>
                    </a:lnTo>
                    <a:lnTo>
                      <a:pt x="248333" y="1796292"/>
                    </a:lnTo>
                    <a:cubicBezTo>
                      <a:pt x="249329" y="1798586"/>
                      <a:pt x="250246" y="1800920"/>
                      <a:pt x="251302" y="1803174"/>
                    </a:cubicBezTo>
                    <a:lnTo>
                      <a:pt x="254550" y="1809916"/>
                    </a:lnTo>
                    <a:cubicBezTo>
                      <a:pt x="262960" y="1828028"/>
                      <a:pt x="273123" y="1845222"/>
                      <a:pt x="283944" y="1861858"/>
                    </a:cubicBezTo>
                    <a:lnTo>
                      <a:pt x="293728" y="1876100"/>
                    </a:lnTo>
                    <a:lnTo>
                      <a:pt x="304151" y="1889844"/>
                    </a:lnTo>
                    <a:lnTo>
                      <a:pt x="306761" y="1893275"/>
                    </a:lnTo>
                    <a:lnTo>
                      <a:pt x="309511" y="1896586"/>
                    </a:lnTo>
                    <a:lnTo>
                      <a:pt x="315051" y="1903168"/>
                    </a:lnTo>
                    <a:lnTo>
                      <a:pt x="320611" y="1909751"/>
                    </a:lnTo>
                    <a:lnTo>
                      <a:pt x="326430" y="1916074"/>
                    </a:lnTo>
                    <a:lnTo>
                      <a:pt x="332269" y="1922377"/>
                    </a:lnTo>
                    <a:lnTo>
                      <a:pt x="335198" y="1925529"/>
                    </a:lnTo>
                    <a:lnTo>
                      <a:pt x="338247" y="1928541"/>
                    </a:lnTo>
                    <a:lnTo>
                      <a:pt x="350503" y="1940549"/>
                    </a:lnTo>
                    <a:lnTo>
                      <a:pt x="363297" y="1951959"/>
                    </a:lnTo>
                    <a:lnTo>
                      <a:pt x="366505" y="1954791"/>
                    </a:lnTo>
                    <a:lnTo>
                      <a:pt x="369813" y="1957504"/>
                    </a:lnTo>
                    <a:lnTo>
                      <a:pt x="376469" y="1962890"/>
                    </a:lnTo>
                    <a:cubicBezTo>
                      <a:pt x="412000" y="1991553"/>
                      <a:pt x="451816" y="2014512"/>
                      <a:pt x="493844" y="2031587"/>
                    </a:cubicBezTo>
                    <a:cubicBezTo>
                      <a:pt x="514928" y="2039945"/>
                      <a:pt x="536490" y="2047106"/>
                      <a:pt x="558490" y="2052491"/>
                    </a:cubicBezTo>
                    <a:cubicBezTo>
                      <a:pt x="563971" y="2053928"/>
                      <a:pt x="569530" y="2054965"/>
                      <a:pt x="575050" y="2056202"/>
                    </a:cubicBezTo>
                    <a:lnTo>
                      <a:pt x="583341" y="2057977"/>
                    </a:lnTo>
                    <a:lnTo>
                      <a:pt x="591710" y="2059393"/>
                    </a:lnTo>
                    <a:cubicBezTo>
                      <a:pt x="597290" y="2060271"/>
                      <a:pt x="602850" y="2061368"/>
                      <a:pt x="608450" y="2062046"/>
                    </a:cubicBezTo>
                    <a:lnTo>
                      <a:pt x="625269" y="2064041"/>
                    </a:lnTo>
                    <a:cubicBezTo>
                      <a:pt x="628079" y="2064420"/>
                      <a:pt x="630888" y="2064619"/>
                      <a:pt x="633698" y="2064799"/>
                    </a:cubicBezTo>
                    <a:lnTo>
                      <a:pt x="642148" y="2065397"/>
                    </a:lnTo>
                    <a:lnTo>
                      <a:pt x="650597" y="2065976"/>
                    </a:lnTo>
                    <a:cubicBezTo>
                      <a:pt x="653407" y="2066155"/>
                      <a:pt x="656237" y="2066155"/>
                      <a:pt x="659047" y="2066255"/>
                    </a:cubicBezTo>
                    <a:lnTo>
                      <a:pt x="675925" y="2066614"/>
                    </a:lnTo>
                    <a:lnTo>
                      <a:pt x="692286" y="2066394"/>
                    </a:lnTo>
                    <a:cubicBezTo>
                      <a:pt x="714127" y="2065836"/>
                      <a:pt x="736048" y="2064160"/>
                      <a:pt x="757949" y="2061208"/>
                    </a:cubicBezTo>
                    <a:cubicBezTo>
                      <a:pt x="801710" y="2055324"/>
                      <a:pt x="845472" y="2044373"/>
                      <a:pt x="887540" y="2027019"/>
                    </a:cubicBezTo>
                    <a:cubicBezTo>
                      <a:pt x="908564" y="2018342"/>
                      <a:pt x="929149" y="2008049"/>
                      <a:pt x="948918" y="1996041"/>
                    </a:cubicBezTo>
                    <a:cubicBezTo>
                      <a:pt x="968686" y="1984013"/>
                      <a:pt x="987558" y="1970150"/>
                      <a:pt x="1005194" y="1954652"/>
                    </a:cubicBezTo>
                    <a:cubicBezTo>
                      <a:pt x="1008462" y="1951799"/>
                      <a:pt x="1011730" y="1948927"/>
                      <a:pt x="1014839" y="1945875"/>
                    </a:cubicBezTo>
                    <a:cubicBezTo>
                      <a:pt x="1017968" y="1942843"/>
                      <a:pt x="1021196" y="1939931"/>
                      <a:pt x="1024205" y="1936759"/>
                    </a:cubicBezTo>
                    <a:lnTo>
                      <a:pt x="1033272" y="1927324"/>
                    </a:lnTo>
                    <a:lnTo>
                      <a:pt x="1041084" y="1918527"/>
                    </a:lnTo>
                    <a:cubicBezTo>
                      <a:pt x="1045050" y="1922976"/>
                      <a:pt x="1048936" y="1927524"/>
                      <a:pt x="1053121" y="1931732"/>
                    </a:cubicBezTo>
                    <a:lnTo>
                      <a:pt x="1059518" y="1938335"/>
                    </a:lnTo>
                    <a:cubicBezTo>
                      <a:pt x="1061690" y="1940489"/>
                      <a:pt x="1063922" y="1942583"/>
                      <a:pt x="1066134" y="1944698"/>
                    </a:cubicBezTo>
                    <a:cubicBezTo>
                      <a:pt x="1083192" y="1960895"/>
                      <a:pt x="1101585" y="1975536"/>
                      <a:pt x="1121015" y="1988242"/>
                    </a:cubicBezTo>
                    <a:cubicBezTo>
                      <a:pt x="1140425" y="2000988"/>
                      <a:pt x="1160731" y="2011999"/>
                      <a:pt x="1181536" y="2021354"/>
                    </a:cubicBezTo>
                    <a:cubicBezTo>
                      <a:pt x="1223205" y="2040084"/>
                      <a:pt x="1266807" y="2052272"/>
                      <a:pt x="1310529" y="2059174"/>
                    </a:cubicBezTo>
                    <a:cubicBezTo>
                      <a:pt x="1332410" y="2062644"/>
                      <a:pt x="1354331" y="2064819"/>
                      <a:pt x="1376212" y="2065856"/>
                    </a:cubicBezTo>
                    <a:cubicBezTo>
                      <a:pt x="1381672" y="2066035"/>
                      <a:pt x="1387152" y="2066334"/>
                      <a:pt x="1392612" y="2066414"/>
                    </a:cubicBezTo>
                    <a:cubicBezTo>
                      <a:pt x="1398092" y="2066454"/>
                      <a:pt x="1403453" y="2066634"/>
                      <a:pt x="1409053" y="2066554"/>
                    </a:cubicBezTo>
                    <a:lnTo>
                      <a:pt x="1425952" y="2066155"/>
                    </a:lnTo>
                    <a:lnTo>
                      <a:pt x="1430176" y="2066035"/>
                    </a:lnTo>
                    <a:lnTo>
                      <a:pt x="1434401" y="2065756"/>
                    </a:lnTo>
                    <a:lnTo>
                      <a:pt x="1442851" y="2065158"/>
                    </a:lnTo>
                    <a:cubicBezTo>
                      <a:pt x="1454130" y="2064559"/>
                      <a:pt x="1465309" y="2062944"/>
                      <a:pt x="1476529" y="2061647"/>
                    </a:cubicBezTo>
                    <a:cubicBezTo>
                      <a:pt x="1487668" y="2059772"/>
                      <a:pt x="1498868" y="2058156"/>
                      <a:pt x="1509908" y="2055563"/>
                    </a:cubicBezTo>
                    <a:cubicBezTo>
                      <a:pt x="1521008" y="2053389"/>
                      <a:pt x="1531908" y="2050257"/>
                      <a:pt x="1542849" y="2047365"/>
                    </a:cubicBezTo>
                    <a:cubicBezTo>
                      <a:pt x="1553650" y="2043934"/>
                      <a:pt x="1564530" y="2040743"/>
                      <a:pt x="1575112" y="2036614"/>
                    </a:cubicBezTo>
                    <a:cubicBezTo>
                      <a:pt x="1580433" y="2034659"/>
                      <a:pt x="1585773" y="2032744"/>
                      <a:pt x="1590975" y="2030450"/>
                    </a:cubicBezTo>
                    <a:cubicBezTo>
                      <a:pt x="1596196" y="2028236"/>
                      <a:pt x="1601457" y="2026082"/>
                      <a:pt x="1606618" y="2023768"/>
                    </a:cubicBezTo>
                    <a:lnTo>
                      <a:pt x="1621982" y="2016427"/>
                    </a:lnTo>
                    <a:cubicBezTo>
                      <a:pt x="1624553" y="2015230"/>
                      <a:pt x="1627064" y="2013894"/>
                      <a:pt x="1629575" y="2012558"/>
                    </a:cubicBezTo>
                    <a:lnTo>
                      <a:pt x="1637088" y="2008528"/>
                    </a:lnTo>
                    <a:cubicBezTo>
                      <a:pt x="1657016" y="1997597"/>
                      <a:pt x="1676366" y="1985509"/>
                      <a:pt x="1694480" y="1971646"/>
                    </a:cubicBezTo>
                    <a:cubicBezTo>
                      <a:pt x="1712634" y="1957863"/>
                      <a:pt x="1729952" y="1942863"/>
                      <a:pt x="1745974" y="1926526"/>
                    </a:cubicBezTo>
                    <a:cubicBezTo>
                      <a:pt x="1761916" y="1910090"/>
                      <a:pt x="1776703" y="1892457"/>
                      <a:pt x="1790114" y="1873766"/>
                    </a:cubicBezTo>
                    <a:lnTo>
                      <a:pt x="1799042" y="1860741"/>
                    </a:lnTo>
                    <a:cubicBezTo>
                      <a:pt x="1801991" y="1856373"/>
                      <a:pt x="1804641" y="1851805"/>
                      <a:pt x="1807431" y="1847337"/>
                    </a:cubicBezTo>
                    <a:lnTo>
                      <a:pt x="1811557" y="1840595"/>
                    </a:lnTo>
                    <a:lnTo>
                      <a:pt x="1815383" y="1833653"/>
                    </a:lnTo>
                    <a:cubicBezTo>
                      <a:pt x="1817894" y="1829005"/>
                      <a:pt x="1820544" y="1824438"/>
                      <a:pt x="1822895" y="1819690"/>
                    </a:cubicBezTo>
                    <a:cubicBezTo>
                      <a:pt x="1832501" y="1800840"/>
                      <a:pt x="1840532" y="1781173"/>
                      <a:pt x="1847367" y="1761086"/>
                    </a:cubicBezTo>
                    <a:cubicBezTo>
                      <a:pt x="1853923" y="1740880"/>
                      <a:pt x="1859005" y="1720215"/>
                      <a:pt x="1862612" y="1699270"/>
                    </a:cubicBezTo>
                    <a:cubicBezTo>
                      <a:pt x="1863429" y="1694024"/>
                      <a:pt x="1864106" y="1688758"/>
                      <a:pt x="1864824" y="1683492"/>
                    </a:cubicBezTo>
                    <a:cubicBezTo>
                      <a:pt x="1865162" y="1680859"/>
                      <a:pt x="1865561" y="1678226"/>
                      <a:pt x="1865840" y="1675593"/>
                    </a:cubicBezTo>
                    <a:lnTo>
                      <a:pt x="1866498" y="1667654"/>
                    </a:lnTo>
                    <a:lnTo>
                      <a:pt x="1867594" y="1653811"/>
                    </a:lnTo>
                    <a:lnTo>
                      <a:pt x="1867634" y="1652096"/>
                    </a:lnTo>
                    <a:cubicBezTo>
                      <a:pt x="1867634" y="1652096"/>
                      <a:pt x="1867793" y="1652056"/>
                      <a:pt x="1867833" y="1652016"/>
                    </a:cubicBezTo>
                    <a:lnTo>
                      <a:pt x="1867853" y="1652016"/>
                    </a:lnTo>
                    <a:cubicBezTo>
                      <a:pt x="1867853" y="1652016"/>
                      <a:pt x="1867833" y="1652016"/>
                      <a:pt x="1867913" y="1651956"/>
                    </a:cubicBezTo>
                    <a:lnTo>
                      <a:pt x="1868152" y="1651816"/>
                    </a:lnTo>
                    <a:lnTo>
                      <a:pt x="1869088" y="1651298"/>
                    </a:lnTo>
                    <a:lnTo>
                      <a:pt x="1870962" y="1650241"/>
                    </a:lnTo>
                    <a:cubicBezTo>
                      <a:pt x="1873472" y="1648864"/>
                      <a:pt x="1875904" y="1647308"/>
                      <a:pt x="1878375" y="1645852"/>
                    </a:cubicBezTo>
                    <a:lnTo>
                      <a:pt x="1885728" y="1641384"/>
                    </a:lnTo>
                    <a:lnTo>
                      <a:pt x="1892942" y="1636677"/>
                    </a:lnTo>
                    <a:cubicBezTo>
                      <a:pt x="1912152" y="1624050"/>
                      <a:pt x="1930426" y="1609948"/>
                      <a:pt x="1947385" y="1594349"/>
                    </a:cubicBezTo>
                    <a:cubicBezTo>
                      <a:pt x="1964364" y="1578771"/>
                      <a:pt x="1980166" y="1561836"/>
                      <a:pt x="1994515" y="1543684"/>
                    </a:cubicBezTo>
                    <a:cubicBezTo>
                      <a:pt x="2008823" y="1525492"/>
                      <a:pt x="2021616" y="1506064"/>
                      <a:pt x="2032776" y="1485678"/>
                    </a:cubicBezTo>
                    <a:cubicBezTo>
                      <a:pt x="2055175" y="1444966"/>
                      <a:pt x="2070280" y="1400026"/>
                      <a:pt x="2077534" y="1353928"/>
                    </a:cubicBezTo>
                    <a:cubicBezTo>
                      <a:pt x="2081041" y="1330850"/>
                      <a:pt x="2082596" y="1307512"/>
                      <a:pt x="2082078" y="1284253"/>
                    </a:cubicBezTo>
                    <a:close/>
                    <a:moveTo>
                      <a:pt x="1997623" y="1044531"/>
                    </a:moveTo>
                    <a:lnTo>
                      <a:pt x="1997623" y="1044531"/>
                    </a:lnTo>
                    <a:cubicBezTo>
                      <a:pt x="1997623" y="1044531"/>
                      <a:pt x="1997623" y="1044531"/>
                      <a:pt x="1997623" y="1044531"/>
                    </a:cubicBezTo>
                    <a:close/>
                    <a:moveTo>
                      <a:pt x="2037619" y="1347525"/>
                    </a:moveTo>
                    <a:cubicBezTo>
                      <a:pt x="2031082" y="1388955"/>
                      <a:pt x="2017531" y="1429328"/>
                      <a:pt x="1997344" y="1466010"/>
                    </a:cubicBezTo>
                    <a:cubicBezTo>
                      <a:pt x="1987301" y="1484382"/>
                      <a:pt x="1975742" y="1501915"/>
                      <a:pt x="1962829" y="1518351"/>
                    </a:cubicBezTo>
                    <a:cubicBezTo>
                      <a:pt x="1949856" y="1534748"/>
                      <a:pt x="1935588" y="1550067"/>
                      <a:pt x="1920203" y="1564189"/>
                    </a:cubicBezTo>
                    <a:cubicBezTo>
                      <a:pt x="1904839" y="1578332"/>
                      <a:pt x="1888279" y="1591118"/>
                      <a:pt x="1870862" y="1602567"/>
                    </a:cubicBezTo>
                    <a:lnTo>
                      <a:pt x="1864306" y="1606836"/>
                    </a:lnTo>
                    <a:lnTo>
                      <a:pt x="1857630" y="1610885"/>
                    </a:lnTo>
                    <a:cubicBezTo>
                      <a:pt x="1855378" y="1612202"/>
                      <a:pt x="1853206" y="1613638"/>
                      <a:pt x="1850914" y="1614875"/>
                    </a:cubicBezTo>
                    <a:lnTo>
                      <a:pt x="1845454" y="1617927"/>
                    </a:lnTo>
                    <a:cubicBezTo>
                      <a:pt x="1842564" y="1619602"/>
                      <a:pt x="1839535" y="1621038"/>
                      <a:pt x="1836586" y="1622594"/>
                    </a:cubicBezTo>
                    <a:cubicBezTo>
                      <a:pt x="1833597" y="1624090"/>
                      <a:pt x="1830568" y="1625466"/>
                      <a:pt x="1827539" y="1626923"/>
                    </a:cubicBezTo>
                    <a:cubicBezTo>
                      <a:pt x="1827280" y="1631371"/>
                      <a:pt x="1827778" y="1636018"/>
                      <a:pt x="1827559" y="1640546"/>
                    </a:cubicBezTo>
                    <a:lnTo>
                      <a:pt x="1827299" y="1650281"/>
                    </a:lnTo>
                    <a:lnTo>
                      <a:pt x="1827260" y="1651497"/>
                    </a:lnTo>
                    <a:lnTo>
                      <a:pt x="1827140" y="1653213"/>
                    </a:lnTo>
                    <a:lnTo>
                      <a:pt x="1826861" y="1656783"/>
                    </a:lnTo>
                    <a:lnTo>
                      <a:pt x="1826283" y="1663944"/>
                    </a:lnTo>
                    <a:lnTo>
                      <a:pt x="1825685" y="1671105"/>
                    </a:lnTo>
                    <a:cubicBezTo>
                      <a:pt x="1825426" y="1673479"/>
                      <a:pt x="1825068" y="1675853"/>
                      <a:pt x="1824769" y="1678226"/>
                    </a:cubicBezTo>
                    <a:cubicBezTo>
                      <a:pt x="1824111" y="1682974"/>
                      <a:pt x="1823513" y="1687721"/>
                      <a:pt x="1822776" y="1692448"/>
                    </a:cubicBezTo>
                    <a:cubicBezTo>
                      <a:pt x="1819508" y="1711318"/>
                      <a:pt x="1814924" y="1729949"/>
                      <a:pt x="1809026" y="1748180"/>
                    </a:cubicBezTo>
                    <a:cubicBezTo>
                      <a:pt x="1802828" y="1766292"/>
                      <a:pt x="1795594" y="1784045"/>
                      <a:pt x="1786926" y="1801100"/>
                    </a:cubicBezTo>
                    <a:cubicBezTo>
                      <a:pt x="1784793" y="1805388"/>
                      <a:pt x="1782382" y="1809517"/>
                      <a:pt x="1780130" y="1813726"/>
                    </a:cubicBezTo>
                    <a:lnTo>
                      <a:pt x="1776683" y="1820009"/>
                    </a:lnTo>
                    <a:lnTo>
                      <a:pt x="1772936" y="1826113"/>
                    </a:lnTo>
                    <a:cubicBezTo>
                      <a:pt x="1770405" y="1830162"/>
                      <a:pt x="1768014" y="1834311"/>
                      <a:pt x="1765344" y="1838261"/>
                    </a:cubicBezTo>
                    <a:lnTo>
                      <a:pt x="1757253" y="1850070"/>
                    </a:lnTo>
                    <a:cubicBezTo>
                      <a:pt x="1745097" y="1867024"/>
                      <a:pt x="1731666" y="1883022"/>
                      <a:pt x="1717178" y="1897982"/>
                    </a:cubicBezTo>
                    <a:cubicBezTo>
                      <a:pt x="1702591" y="1912863"/>
                      <a:pt x="1686828" y="1926506"/>
                      <a:pt x="1670268" y="1939073"/>
                    </a:cubicBezTo>
                    <a:cubicBezTo>
                      <a:pt x="1653748" y="1951719"/>
                      <a:pt x="1636071" y="1962750"/>
                      <a:pt x="1617877" y="1972743"/>
                    </a:cubicBezTo>
                    <a:lnTo>
                      <a:pt x="1611022" y="1976434"/>
                    </a:lnTo>
                    <a:cubicBezTo>
                      <a:pt x="1608750" y="1977670"/>
                      <a:pt x="1606459" y="1978907"/>
                      <a:pt x="1604087" y="1979984"/>
                    </a:cubicBezTo>
                    <a:lnTo>
                      <a:pt x="1590038" y="1986706"/>
                    </a:lnTo>
                    <a:cubicBezTo>
                      <a:pt x="1585295" y="1988821"/>
                      <a:pt x="1580493" y="1990775"/>
                      <a:pt x="1575730" y="1992810"/>
                    </a:cubicBezTo>
                    <a:cubicBezTo>
                      <a:pt x="1570987" y="1994924"/>
                      <a:pt x="1566085" y="1996660"/>
                      <a:pt x="1561222" y="1998435"/>
                    </a:cubicBezTo>
                    <a:cubicBezTo>
                      <a:pt x="1551557" y="2002205"/>
                      <a:pt x="1541593" y="2005117"/>
                      <a:pt x="1531709" y="2008269"/>
                    </a:cubicBezTo>
                    <a:cubicBezTo>
                      <a:pt x="1521685" y="2010902"/>
                      <a:pt x="1511701" y="2013794"/>
                      <a:pt x="1501538" y="2015769"/>
                    </a:cubicBezTo>
                    <a:cubicBezTo>
                      <a:pt x="1491435" y="2018163"/>
                      <a:pt x="1481172" y="2019599"/>
                      <a:pt x="1470969" y="2021354"/>
                    </a:cubicBezTo>
                    <a:cubicBezTo>
                      <a:pt x="1460686" y="2022531"/>
                      <a:pt x="1450423" y="2024047"/>
                      <a:pt x="1440061" y="2024566"/>
                    </a:cubicBezTo>
                    <a:lnTo>
                      <a:pt x="1432309" y="2025104"/>
                    </a:lnTo>
                    <a:lnTo>
                      <a:pt x="1428443" y="2025363"/>
                    </a:lnTo>
                    <a:lnTo>
                      <a:pt x="1424557" y="2025463"/>
                    </a:lnTo>
                    <a:lnTo>
                      <a:pt x="1409033" y="2025822"/>
                    </a:lnTo>
                    <a:cubicBezTo>
                      <a:pt x="1403872" y="2025902"/>
                      <a:pt x="1398790" y="2025742"/>
                      <a:pt x="1393649" y="2025703"/>
                    </a:cubicBezTo>
                    <a:cubicBezTo>
                      <a:pt x="1388527" y="2025623"/>
                      <a:pt x="1383406" y="2025344"/>
                      <a:pt x="1378304" y="2025164"/>
                    </a:cubicBezTo>
                    <a:cubicBezTo>
                      <a:pt x="1357838" y="2024187"/>
                      <a:pt x="1337372" y="2022152"/>
                      <a:pt x="1317046" y="2018941"/>
                    </a:cubicBezTo>
                    <a:cubicBezTo>
                      <a:pt x="1276413" y="2012538"/>
                      <a:pt x="1236258" y="2001268"/>
                      <a:pt x="1198315" y="1984193"/>
                    </a:cubicBezTo>
                    <a:cubicBezTo>
                      <a:pt x="1179344" y="1975656"/>
                      <a:pt x="1160951" y="1965682"/>
                      <a:pt x="1143454" y="1954193"/>
                    </a:cubicBezTo>
                    <a:cubicBezTo>
                      <a:pt x="1125937" y="1942743"/>
                      <a:pt x="1109457" y="1929598"/>
                      <a:pt x="1094212" y="1915137"/>
                    </a:cubicBezTo>
                    <a:cubicBezTo>
                      <a:pt x="1092239" y="1913242"/>
                      <a:pt x="1090246" y="1911367"/>
                      <a:pt x="1088293" y="1909452"/>
                    </a:cubicBezTo>
                    <a:lnTo>
                      <a:pt x="1082594" y="1903547"/>
                    </a:lnTo>
                    <a:cubicBezTo>
                      <a:pt x="1078728" y="1899678"/>
                      <a:pt x="1075201" y="1895469"/>
                      <a:pt x="1071534" y="1891400"/>
                    </a:cubicBezTo>
                    <a:lnTo>
                      <a:pt x="1070777" y="1890562"/>
                    </a:lnTo>
                    <a:lnTo>
                      <a:pt x="1069940" y="1889565"/>
                    </a:lnTo>
                    <a:lnTo>
                      <a:pt x="1068286" y="1887550"/>
                    </a:lnTo>
                    <a:lnTo>
                      <a:pt x="1064998" y="1883501"/>
                    </a:lnTo>
                    <a:cubicBezTo>
                      <a:pt x="1062945" y="1880708"/>
                      <a:pt x="1060773" y="1877975"/>
                      <a:pt x="1058800" y="1875123"/>
                    </a:cubicBezTo>
                    <a:cubicBezTo>
                      <a:pt x="1053041" y="1867084"/>
                      <a:pt x="1047999" y="1858547"/>
                      <a:pt x="1043476" y="1849750"/>
                    </a:cubicBezTo>
                    <a:lnTo>
                      <a:pt x="1041782" y="1846459"/>
                    </a:lnTo>
                    <a:lnTo>
                      <a:pt x="1041563" y="1846040"/>
                    </a:lnTo>
                    <a:cubicBezTo>
                      <a:pt x="1041503" y="1845901"/>
                      <a:pt x="1041423" y="1845721"/>
                      <a:pt x="1041244" y="1845741"/>
                    </a:cubicBezTo>
                    <a:cubicBezTo>
                      <a:pt x="1041064" y="1845741"/>
                      <a:pt x="1041004" y="1845921"/>
                      <a:pt x="1040945" y="1846040"/>
                    </a:cubicBezTo>
                    <a:lnTo>
                      <a:pt x="1040726" y="1846459"/>
                    </a:lnTo>
                    <a:lnTo>
                      <a:pt x="1039869" y="1848115"/>
                    </a:lnTo>
                    <a:cubicBezTo>
                      <a:pt x="1038713" y="1850309"/>
                      <a:pt x="1037637" y="1852523"/>
                      <a:pt x="1036441" y="1854697"/>
                    </a:cubicBezTo>
                    <a:lnTo>
                      <a:pt x="1032774" y="1861140"/>
                    </a:lnTo>
                    <a:cubicBezTo>
                      <a:pt x="1031519" y="1863274"/>
                      <a:pt x="1030164" y="1865329"/>
                      <a:pt x="1028868" y="1867443"/>
                    </a:cubicBezTo>
                    <a:cubicBezTo>
                      <a:pt x="1023508" y="1875761"/>
                      <a:pt x="1017589" y="1883700"/>
                      <a:pt x="1011153" y="1891220"/>
                    </a:cubicBezTo>
                    <a:lnTo>
                      <a:pt x="1003680" y="1899618"/>
                    </a:lnTo>
                    <a:lnTo>
                      <a:pt x="995589" y="1908035"/>
                    </a:lnTo>
                    <a:cubicBezTo>
                      <a:pt x="992919" y="1910868"/>
                      <a:pt x="990009" y="1913461"/>
                      <a:pt x="987219" y="1916174"/>
                    </a:cubicBezTo>
                    <a:cubicBezTo>
                      <a:pt x="984449" y="1918906"/>
                      <a:pt x="981520" y="1921460"/>
                      <a:pt x="978590" y="1924013"/>
                    </a:cubicBezTo>
                    <a:cubicBezTo>
                      <a:pt x="962807" y="1937896"/>
                      <a:pt x="945849" y="1950343"/>
                      <a:pt x="927993" y="1961214"/>
                    </a:cubicBezTo>
                    <a:cubicBezTo>
                      <a:pt x="910138" y="1972065"/>
                      <a:pt x="891446" y="1981420"/>
                      <a:pt x="872255" y="1989339"/>
                    </a:cubicBezTo>
                    <a:cubicBezTo>
                      <a:pt x="833834" y="2005197"/>
                      <a:pt x="793460" y="2015350"/>
                      <a:pt x="752728" y="2020836"/>
                    </a:cubicBezTo>
                    <a:cubicBezTo>
                      <a:pt x="732361" y="2023568"/>
                      <a:pt x="711875" y="2025144"/>
                      <a:pt x="691390" y="2025683"/>
                    </a:cubicBezTo>
                    <a:lnTo>
                      <a:pt x="676045" y="2025882"/>
                    </a:lnTo>
                    <a:lnTo>
                      <a:pt x="660521" y="2025543"/>
                    </a:lnTo>
                    <a:cubicBezTo>
                      <a:pt x="657931" y="2025463"/>
                      <a:pt x="655340" y="2025463"/>
                      <a:pt x="652769" y="2025304"/>
                    </a:cubicBezTo>
                    <a:lnTo>
                      <a:pt x="645017" y="2024765"/>
                    </a:lnTo>
                    <a:lnTo>
                      <a:pt x="637265" y="2024207"/>
                    </a:lnTo>
                    <a:cubicBezTo>
                      <a:pt x="634675" y="2024027"/>
                      <a:pt x="632104" y="2023848"/>
                      <a:pt x="629533" y="2023508"/>
                    </a:cubicBezTo>
                    <a:lnTo>
                      <a:pt x="614109" y="2021673"/>
                    </a:lnTo>
                    <a:cubicBezTo>
                      <a:pt x="608968" y="2021055"/>
                      <a:pt x="603886" y="2020038"/>
                      <a:pt x="598765" y="2019240"/>
                    </a:cubicBezTo>
                    <a:lnTo>
                      <a:pt x="591092" y="2017963"/>
                    </a:lnTo>
                    <a:lnTo>
                      <a:pt x="583500" y="2016328"/>
                    </a:lnTo>
                    <a:cubicBezTo>
                      <a:pt x="578438" y="2015191"/>
                      <a:pt x="573337" y="2014253"/>
                      <a:pt x="568335" y="2012937"/>
                    </a:cubicBezTo>
                    <a:cubicBezTo>
                      <a:pt x="548188" y="2008010"/>
                      <a:pt x="528459" y="2001447"/>
                      <a:pt x="509169" y="1993807"/>
                    </a:cubicBezTo>
                    <a:cubicBezTo>
                      <a:pt x="470728" y="1978169"/>
                      <a:pt x="434360" y="1957225"/>
                      <a:pt x="401997" y="1931074"/>
                    </a:cubicBezTo>
                    <a:lnTo>
                      <a:pt x="395939" y="1926167"/>
                    </a:lnTo>
                    <a:lnTo>
                      <a:pt x="392910" y="1923714"/>
                    </a:lnTo>
                    <a:lnTo>
                      <a:pt x="390000" y="1921121"/>
                    </a:lnTo>
                    <a:lnTo>
                      <a:pt x="378342" y="1910728"/>
                    </a:lnTo>
                    <a:lnTo>
                      <a:pt x="367183" y="1899797"/>
                    </a:lnTo>
                    <a:lnTo>
                      <a:pt x="364393" y="1897065"/>
                    </a:lnTo>
                    <a:lnTo>
                      <a:pt x="361742" y="1894212"/>
                    </a:lnTo>
                    <a:lnTo>
                      <a:pt x="356422" y="1888487"/>
                    </a:lnTo>
                    <a:lnTo>
                      <a:pt x="351121" y="1882743"/>
                    </a:lnTo>
                    <a:lnTo>
                      <a:pt x="346079" y="1876758"/>
                    </a:lnTo>
                    <a:lnTo>
                      <a:pt x="341057" y="1870774"/>
                    </a:lnTo>
                    <a:lnTo>
                      <a:pt x="338546" y="1867782"/>
                    </a:lnTo>
                    <a:lnTo>
                      <a:pt x="336175" y="1864671"/>
                    </a:lnTo>
                    <a:lnTo>
                      <a:pt x="326709" y="1852204"/>
                    </a:lnTo>
                    <a:lnTo>
                      <a:pt x="317841" y="1839298"/>
                    </a:lnTo>
                    <a:cubicBezTo>
                      <a:pt x="308037" y="1824198"/>
                      <a:pt x="298830" y="1808660"/>
                      <a:pt x="291237" y="1792283"/>
                    </a:cubicBezTo>
                    <a:lnTo>
                      <a:pt x="288288" y="1786199"/>
                    </a:lnTo>
                    <a:cubicBezTo>
                      <a:pt x="287332" y="1784165"/>
                      <a:pt x="286515" y="1782050"/>
                      <a:pt x="285618" y="1779996"/>
                    </a:cubicBezTo>
                    <a:lnTo>
                      <a:pt x="280357" y="1767529"/>
                    </a:lnTo>
                    <a:lnTo>
                      <a:pt x="275734" y="1754803"/>
                    </a:lnTo>
                    <a:cubicBezTo>
                      <a:pt x="274976" y="1752668"/>
                      <a:pt x="274179" y="1750574"/>
                      <a:pt x="273462" y="1748420"/>
                    </a:cubicBezTo>
                    <a:lnTo>
                      <a:pt x="271489" y="1741937"/>
                    </a:lnTo>
                    <a:cubicBezTo>
                      <a:pt x="265889" y="1724763"/>
                      <a:pt x="262183" y="1707030"/>
                      <a:pt x="259153" y="1689237"/>
                    </a:cubicBezTo>
                    <a:cubicBezTo>
                      <a:pt x="257958" y="1680281"/>
                      <a:pt x="256543" y="1671364"/>
                      <a:pt x="256005" y="1662328"/>
                    </a:cubicBezTo>
                    <a:lnTo>
                      <a:pt x="255467" y="1655586"/>
                    </a:lnTo>
                    <a:lnTo>
                      <a:pt x="255188" y="1652215"/>
                    </a:lnTo>
                    <a:cubicBezTo>
                      <a:pt x="255128" y="1651577"/>
                      <a:pt x="255148" y="1651318"/>
                      <a:pt x="255128" y="1650899"/>
                    </a:cubicBezTo>
                    <a:lnTo>
                      <a:pt x="255088" y="1649762"/>
                    </a:lnTo>
                    <a:lnTo>
                      <a:pt x="254849" y="1640586"/>
                    </a:lnTo>
                    <a:cubicBezTo>
                      <a:pt x="254769" y="1638751"/>
                      <a:pt x="254789" y="1636916"/>
                      <a:pt x="254849" y="1635081"/>
                    </a:cubicBezTo>
                    <a:lnTo>
                      <a:pt x="254969" y="1629576"/>
                    </a:lnTo>
                    <a:lnTo>
                      <a:pt x="255008" y="1628199"/>
                    </a:lnTo>
                    <a:lnTo>
                      <a:pt x="255008" y="1627501"/>
                    </a:lnTo>
                    <a:cubicBezTo>
                      <a:pt x="255028" y="1627282"/>
                      <a:pt x="255068" y="1626982"/>
                      <a:pt x="254789" y="1626923"/>
                    </a:cubicBezTo>
                    <a:lnTo>
                      <a:pt x="252298" y="1625746"/>
                    </a:lnTo>
                    <a:lnTo>
                      <a:pt x="247316" y="1623392"/>
                    </a:lnTo>
                    <a:cubicBezTo>
                      <a:pt x="244347" y="1621876"/>
                      <a:pt x="241358" y="1620360"/>
                      <a:pt x="238409" y="1618784"/>
                    </a:cubicBezTo>
                    <a:lnTo>
                      <a:pt x="233765" y="1616191"/>
                    </a:lnTo>
                    <a:cubicBezTo>
                      <a:pt x="231494" y="1614935"/>
                      <a:pt x="229222" y="1613658"/>
                      <a:pt x="227010" y="1612282"/>
                    </a:cubicBezTo>
                    <a:cubicBezTo>
                      <a:pt x="222546" y="1609569"/>
                      <a:pt x="218062" y="1606936"/>
                      <a:pt x="213738" y="1604023"/>
                    </a:cubicBezTo>
                    <a:lnTo>
                      <a:pt x="207201" y="1599755"/>
                    </a:lnTo>
                    <a:lnTo>
                      <a:pt x="200805" y="1595267"/>
                    </a:lnTo>
                    <a:cubicBezTo>
                      <a:pt x="183766" y="1583239"/>
                      <a:pt x="167625" y="1569914"/>
                      <a:pt x="152739" y="1555273"/>
                    </a:cubicBezTo>
                    <a:cubicBezTo>
                      <a:pt x="137832" y="1540652"/>
                      <a:pt x="124082" y="1524834"/>
                      <a:pt x="111687" y="1507999"/>
                    </a:cubicBezTo>
                    <a:cubicBezTo>
                      <a:pt x="99332" y="1491124"/>
                      <a:pt x="88411" y="1473191"/>
                      <a:pt x="79005" y="1454481"/>
                    </a:cubicBezTo>
                    <a:cubicBezTo>
                      <a:pt x="76554" y="1449853"/>
                      <a:pt x="74482" y="1445026"/>
                      <a:pt x="72250" y="1440299"/>
                    </a:cubicBezTo>
                    <a:cubicBezTo>
                      <a:pt x="70078" y="1435531"/>
                      <a:pt x="68145" y="1430664"/>
                      <a:pt x="66112" y="1425837"/>
                    </a:cubicBezTo>
                    <a:cubicBezTo>
                      <a:pt x="64299" y="1420930"/>
                      <a:pt x="62346" y="1416063"/>
                      <a:pt x="60652" y="1411096"/>
                    </a:cubicBezTo>
                    <a:cubicBezTo>
                      <a:pt x="59018" y="1406110"/>
                      <a:pt x="57224" y="1401183"/>
                      <a:pt x="55829" y="1396136"/>
                    </a:cubicBezTo>
                    <a:cubicBezTo>
                      <a:pt x="49811" y="1376049"/>
                      <a:pt x="45526" y="1355444"/>
                      <a:pt x="43055" y="1334620"/>
                    </a:cubicBezTo>
                    <a:cubicBezTo>
                      <a:pt x="40584" y="1313795"/>
                      <a:pt x="40086" y="1292771"/>
                      <a:pt x="41182" y="1271846"/>
                    </a:cubicBezTo>
                    <a:cubicBezTo>
                      <a:pt x="42258" y="1250902"/>
                      <a:pt x="45327" y="1230058"/>
                      <a:pt x="50130" y="1209652"/>
                    </a:cubicBezTo>
                    <a:cubicBezTo>
                      <a:pt x="50827" y="1206181"/>
                      <a:pt x="51824" y="1202770"/>
                      <a:pt x="52740" y="1199339"/>
                    </a:cubicBezTo>
                    <a:cubicBezTo>
                      <a:pt x="53677" y="1195928"/>
                      <a:pt x="54554" y="1192497"/>
                      <a:pt x="55550" y="1189086"/>
                    </a:cubicBezTo>
                    <a:lnTo>
                      <a:pt x="58798" y="1178953"/>
                    </a:lnTo>
                    <a:lnTo>
                      <a:pt x="60433" y="1173887"/>
                    </a:lnTo>
                    <a:cubicBezTo>
                      <a:pt x="61010" y="1172211"/>
                      <a:pt x="61668" y="1170556"/>
                      <a:pt x="62266" y="1168900"/>
                    </a:cubicBezTo>
                    <a:lnTo>
                      <a:pt x="65992" y="1158947"/>
                    </a:lnTo>
                    <a:cubicBezTo>
                      <a:pt x="67268" y="1155635"/>
                      <a:pt x="68742" y="1152424"/>
                      <a:pt x="70098" y="1149153"/>
                    </a:cubicBezTo>
                    <a:cubicBezTo>
                      <a:pt x="72768" y="1142590"/>
                      <a:pt x="75956" y="1136247"/>
                      <a:pt x="79025" y="1129884"/>
                    </a:cubicBezTo>
                    <a:cubicBezTo>
                      <a:pt x="80500" y="1126672"/>
                      <a:pt x="82293" y="1123601"/>
                      <a:pt x="83947" y="1120469"/>
                    </a:cubicBezTo>
                    <a:cubicBezTo>
                      <a:pt x="85641" y="1117377"/>
                      <a:pt x="87255" y="1114205"/>
                      <a:pt x="89049" y="1111154"/>
                    </a:cubicBezTo>
                    <a:lnTo>
                      <a:pt x="94509" y="1102058"/>
                    </a:lnTo>
                    <a:cubicBezTo>
                      <a:pt x="95426" y="1100542"/>
                      <a:pt x="96323" y="1099006"/>
                      <a:pt x="97259" y="1097530"/>
                    </a:cubicBezTo>
                    <a:lnTo>
                      <a:pt x="100189" y="1093102"/>
                    </a:lnTo>
                    <a:lnTo>
                      <a:pt x="106047" y="1084265"/>
                    </a:lnTo>
                    <a:lnTo>
                      <a:pt x="112265" y="1075688"/>
                    </a:lnTo>
                    <a:lnTo>
                      <a:pt x="115394" y="1071399"/>
                    </a:lnTo>
                    <a:lnTo>
                      <a:pt x="116151" y="1070362"/>
                    </a:lnTo>
                    <a:lnTo>
                      <a:pt x="116709" y="1069664"/>
                    </a:lnTo>
                    <a:lnTo>
                      <a:pt x="117825" y="1068268"/>
                    </a:lnTo>
                    <a:lnTo>
                      <a:pt x="122269" y="1062702"/>
                    </a:lnTo>
                    <a:cubicBezTo>
                      <a:pt x="123604" y="1061007"/>
                      <a:pt x="125099" y="1059411"/>
                      <a:pt x="126493" y="1057775"/>
                    </a:cubicBezTo>
                    <a:lnTo>
                      <a:pt x="128626" y="1055322"/>
                    </a:lnTo>
                    <a:lnTo>
                      <a:pt x="129702" y="1054105"/>
                    </a:lnTo>
                    <a:cubicBezTo>
                      <a:pt x="129861" y="1053886"/>
                      <a:pt x="130100" y="1053726"/>
                      <a:pt x="130200" y="1053467"/>
                    </a:cubicBezTo>
                    <a:cubicBezTo>
                      <a:pt x="130180" y="1053208"/>
                      <a:pt x="130041" y="1052948"/>
                      <a:pt x="129961" y="1052689"/>
                    </a:cubicBezTo>
                    <a:cubicBezTo>
                      <a:pt x="128446" y="1048620"/>
                      <a:pt x="127071" y="1044531"/>
                      <a:pt x="125796" y="1040382"/>
                    </a:cubicBezTo>
                    <a:cubicBezTo>
                      <a:pt x="125178" y="1038367"/>
                      <a:pt x="124541" y="1036113"/>
                      <a:pt x="124022" y="1034258"/>
                    </a:cubicBezTo>
                    <a:cubicBezTo>
                      <a:pt x="123146" y="1030967"/>
                      <a:pt x="122269" y="1027675"/>
                      <a:pt x="121492" y="1024344"/>
                    </a:cubicBezTo>
                    <a:cubicBezTo>
                      <a:pt x="119877" y="1017722"/>
                      <a:pt x="118502" y="1011040"/>
                      <a:pt x="117287" y="1004337"/>
                    </a:cubicBezTo>
                    <a:cubicBezTo>
                      <a:pt x="113620" y="983613"/>
                      <a:pt x="111787" y="962569"/>
                      <a:pt x="112026" y="941544"/>
                    </a:cubicBezTo>
                    <a:cubicBezTo>
                      <a:pt x="112464" y="931052"/>
                      <a:pt x="112404" y="920520"/>
                      <a:pt x="113799" y="910068"/>
                    </a:cubicBezTo>
                    <a:lnTo>
                      <a:pt x="114616" y="902229"/>
                    </a:lnTo>
                    <a:cubicBezTo>
                      <a:pt x="114915" y="899616"/>
                      <a:pt x="115075" y="896983"/>
                      <a:pt x="115593" y="894410"/>
                    </a:cubicBezTo>
                    <a:lnTo>
                      <a:pt x="118283" y="878851"/>
                    </a:lnTo>
                    <a:cubicBezTo>
                      <a:pt x="119040" y="873645"/>
                      <a:pt x="120495" y="868578"/>
                      <a:pt x="121691" y="863452"/>
                    </a:cubicBezTo>
                    <a:lnTo>
                      <a:pt x="123564" y="855792"/>
                    </a:lnTo>
                    <a:lnTo>
                      <a:pt x="124501" y="851962"/>
                    </a:lnTo>
                    <a:cubicBezTo>
                      <a:pt x="124839" y="850686"/>
                      <a:pt x="125278" y="849449"/>
                      <a:pt x="125657" y="848193"/>
                    </a:cubicBezTo>
                    <a:lnTo>
                      <a:pt x="130419" y="833152"/>
                    </a:lnTo>
                    <a:cubicBezTo>
                      <a:pt x="130838" y="831896"/>
                      <a:pt x="131196" y="830639"/>
                      <a:pt x="131635" y="829402"/>
                    </a:cubicBezTo>
                    <a:lnTo>
                      <a:pt x="133070" y="825732"/>
                    </a:lnTo>
                    <a:lnTo>
                      <a:pt x="135939" y="818392"/>
                    </a:lnTo>
                    <a:cubicBezTo>
                      <a:pt x="139506" y="808478"/>
                      <a:pt x="144309" y="799103"/>
                      <a:pt x="148733" y="789568"/>
                    </a:cubicBezTo>
                    <a:cubicBezTo>
                      <a:pt x="151085" y="784881"/>
                      <a:pt x="153755" y="780333"/>
                      <a:pt x="156266" y="775725"/>
                    </a:cubicBezTo>
                    <a:lnTo>
                      <a:pt x="160092" y="768823"/>
                    </a:lnTo>
                    <a:cubicBezTo>
                      <a:pt x="161447" y="766589"/>
                      <a:pt x="162902" y="764395"/>
                      <a:pt x="164317" y="762161"/>
                    </a:cubicBezTo>
                    <a:lnTo>
                      <a:pt x="169418" y="754202"/>
                    </a:lnTo>
                    <a:lnTo>
                      <a:pt x="171969" y="750233"/>
                    </a:lnTo>
                    <a:cubicBezTo>
                      <a:pt x="172806" y="748896"/>
                      <a:pt x="173802" y="747680"/>
                      <a:pt x="174719" y="746383"/>
                    </a:cubicBezTo>
                    <a:lnTo>
                      <a:pt x="185918" y="731164"/>
                    </a:lnTo>
                    <a:lnTo>
                      <a:pt x="198055" y="716682"/>
                    </a:lnTo>
                    <a:cubicBezTo>
                      <a:pt x="200027" y="714209"/>
                      <a:pt x="202259" y="711995"/>
                      <a:pt x="204412" y="709701"/>
                    </a:cubicBezTo>
                    <a:lnTo>
                      <a:pt x="210928" y="702859"/>
                    </a:lnTo>
                    <a:cubicBezTo>
                      <a:pt x="215153" y="698191"/>
                      <a:pt x="219876" y="694002"/>
                      <a:pt x="224479" y="689714"/>
                    </a:cubicBezTo>
                    <a:lnTo>
                      <a:pt x="231414" y="683311"/>
                    </a:lnTo>
                    <a:cubicBezTo>
                      <a:pt x="233765" y="681236"/>
                      <a:pt x="236256" y="679301"/>
                      <a:pt x="238688" y="677287"/>
                    </a:cubicBezTo>
                    <a:lnTo>
                      <a:pt x="246001" y="671323"/>
                    </a:lnTo>
                    <a:lnTo>
                      <a:pt x="249668" y="668351"/>
                    </a:lnTo>
                    <a:lnTo>
                      <a:pt x="253494" y="665598"/>
                    </a:lnTo>
                    <a:lnTo>
                      <a:pt x="259552" y="661269"/>
                    </a:lnTo>
                    <a:cubicBezTo>
                      <a:pt x="261206" y="660112"/>
                      <a:pt x="262800" y="658896"/>
                      <a:pt x="264474" y="657799"/>
                    </a:cubicBezTo>
                    <a:lnTo>
                      <a:pt x="271270" y="653550"/>
                    </a:lnTo>
                    <a:lnTo>
                      <a:pt x="274677" y="651436"/>
                    </a:lnTo>
                    <a:cubicBezTo>
                      <a:pt x="275215" y="651057"/>
                      <a:pt x="275893" y="650797"/>
                      <a:pt x="276291" y="650299"/>
                    </a:cubicBezTo>
                    <a:lnTo>
                      <a:pt x="275933" y="648324"/>
                    </a:lnTo>
                    <a:cubicBezTo>
                      <a:pt x="274996" y="643058"/>
                      <a:pt x="274259" y="637752"/>
                      <a:pt x="273761" y="632426"/>
                    </a:cubicBezTo>
                    <a:lnTo>
                      <a:pt x="273402" y="628337"/>
                    </a:lnTo>
                    <a:lnTo>
                      <a:pt x="273043" y="622592"/>
                    </a:lnTo>
                    <a:cubicBezTo>
                      <a:pt x="272804" y="618363"/>
                      <a:pt x="272665" y="614155"/>
                      <a:pt x="272585" y="609926"/>
                    </a:cubicBezTo>
                    <a:cubicBezTo>
                      <a:pt x="272485" y="605697"/>
                      <a:pt x="272585" y="601488"/>
                      <a:pt x="272704" y="597260"/>
                    </a:cubicBezTo>
                    <a:lnTo>
                      <a:pt x="272844" y="590916"/>
                    </a:lnTo>
                    <a:lnTo>
                      <a:pt x="273243" y="584593"/>
                    </a:lnTo>
                    <a:cubicBezTo>
                      <a:pt x="274578" y="563509"/>
                      <a:pt x="277985" y="542525"/>
                      <a:pt x="283466" y="522099"/>
                    </a:cubicBezTo>
                    <a:cubicBezTo>
                      <a:pt x="289025" y="501694"/>
                      <a:pt x="296598" y="481866"/>
                      <a:pt x="305984" y="462957"/>
                    </a:cubicBezTo>
                    <a:cubicBezTo>
                      <a:pt x="315330" y="444027"/>
                      <a:pt x="326629" y="426094"/>
                      <a:pt x="339463" y="409419"/>
                    </a:cubicBezTo>
                    <a:cubicBezTo>
                      <a:pt x="352296" y="392723"/>
                      <a:pt x="366605" y="377185"/>
                      <a:pt x="382288" y="363182"/>
                    </a:cubicBezTo>
                    <a:cubicBezTo>
                      <a:pt x="400602" y="346905"/>
                      <a:pt x="420470" y="332404"/>
                      <a:pt x="441753" y="320316"/>
                    </a:cubicBezTo>
                    <a:cubicBezTo>
                      <a:pt x="452315" y="314152"/>
                      <a:pt x="463315" y="308746"/>
                      <a:pt x="474454" y="303720"/>
                    </a:cubicBezTo>
                    <a:cubicBezTo>
                      <a:pt x="480074" y="301326"/>
                      <a:pt x="485694" y="298833"/>
                      <a:pt x="491294" y="296798"/>
                    </a:cubicBezTo>
                    <a:lnTo>
                      <a:pt x="495498" y="295202"/>
                    </a:lnTo>
                    <a:lnTo>
                      <a:pt x="497591" y="294405"/>
                    </a:lnTo>
                    <a:cubicBezTo>
                      <a:pt x="497989" y="294245"/>
                      <a:pt x="498149" y="294205"/>
                      <a:pt x="498388" y="294125"/>
                    </a:cubicBezTo>
                    <a:lnTo>
                      <a:pt x="499085" y="293886"/>
                    </a:lnTo>
                    <a:lnTo>
                      <a:pt x="504625" y="292011"/>
                    </a:lnTo>
                    <a:cubicBezTo>
                      <a:pt x="507256" y="291073"/>
                      <a:pt x="509966" y="290395"/>
                      <a:pt x="512616" y="289577"/>
                    </a:cubicBezTo>
                    <a:lnTo>
                      <a:pt x="514629" y="288979"/>
                    </a:lnTo>
                    <a:cubicBezTo>
                      <a:pt x="514789" y="288919"/>
                      <a:pt x="514968" y="288899"/>
                      <a:pt x="515127" y="288799"/>
                    </a:cubicBezTo>
                    <a:cubicBezTo>
                      <a:pt x="515247" y="288660"/>
                      <a:pt x="515247" y="288480"/>
                      <a:pt x="515327" y="288321"/>
                    </a:cubicBezTo>
                    <a:lnTo>
                      <a:pt x="515665" y="287323"/>
                    </a:lnTo>
                    <a:lnTo>
                      <a:pt x="517001" y="283354"/>
                    </a:lnTo>
                    <a:cubicBezTo>
                      <a:pt x="517857" y="280701"/>
                      <a:pt x="518814" y="278068"/>
                      <a:pt x="519830" y="275455"/>
                    </a:cubicBezTo>
                    <a:lnTo>
                      <a:pt x="521305" y="271505"/>
                    </a:lnTo>
                    <a:cubicBezTo>
                      <a:pt x="521484" y="270987"/>
                      <a:pt x="521963" y="269830"/>
                      <a:pt x="522361" y="268872"/>
                    </a:cubicBezTo>
                    <a:lnTo>
                      <a:pt x="523577" y="265880"/>
                    </a:lnTo>
                    <a:cubicBezTo>
                      <a:pt x="530013" y="249883"/>
                      <a:pt x="537307" y="234185"/>
                      <a:pt x="545517" y="218945"/>
                    </a:cubicBezTo>
                    <a:cubicBezTo>
                      <a:pt x="555422" y="200714"/>
                      <a:pt x="566621" y="183100"/>
                      <a:pt x="579156" y="166425"/>
                    </a:cubicBezTo>
                    <a:cubicBezTo>
                      <a:pt x="591690" y="149749"/>
                      <a:pt x="605580" y="133971"/>
                      <a:pt x="620964" y="119629"/>
                    </a:cubicBezTo>
                    <a:cubicBezTo>
                      <a:pt x="636329" y="105287"/>
                      <a:pt x="652969" y="92102"/>
                      <a:pt x="671103" y="81032"/>
                    </a:cubicBezTo>
                    <a:cubicBezTo>
                      <a:pt x="689178" y="69901"/>
                      <a:pt x="708488" y="60526"/>
                      <a:pt x="728834" y="53824"/>
                    </a:cubicBezTo>
                    <a:cubicBezTo>
                      <a:pt x="738937" y="50293"/>
                      <a:pt x="749400" y="47760"/>
                      <a:pt x="759882" y="45486"/>
                    </a:cubicBezTo>
                    <a:lnTo>
                      <a:pt x="767813" y="44090"/>
                    </a:lnTo>
                    <a:lnTo>
                      <a:pt x="771779" y="43392"/>
                    </a:lnTo>
                    <a:lnTo>
                      <a:pt x="775784" y="42873"/>
                    </a:lnTo>
                    <a:lnTo>
                      <a:pt x="783775" y="41876"/>
                    </a:lnTo>
                    <a:cubicBezTo>
                      <a:pt x="786446" y="41616"/>
                      <a:pt x="789136" y="41457"/>
                      <a:pt x="791806" y="41237"/>
                    </a:cubicBezTo>
                    <a:cubicBezTo>
                      <a:pt x="797167" y="40719"/>
                      <a:pt x="802527" y="40759"/>
                      <a:pt x="807908" y="40579"/>
                    </a:cubicBezTo>
                    <a:cubicBezTo>
                      <a:pt x="813209" y="40559"/>
                      <a:pt x="818390" y="40779"/>
                      <a:pt x="823631" y="40878"/>
                    </a:cubicBezTo>
                    <a:lnTo>
                      <a:pt x="827557" y="40978"/>
                    </a:lnTo>
                    <a:lnTo>
                      <a:pt x="831483" y="41257"/>
                    </a:lnTo>
                    <a:lnTo>
                      <a:pt x="839334" y="41856"/>
                    </a:lnTo>
                    <a:cubicBezTo>
                      <a:pt x="841945" y="42095"/>
                      <a:pt x="844575" y="42175"/>
                      <a:pt x="847186" y="42534"/>
                    </a:cubicBezTo>
                    <a:lnTo>
                      <a:pt x="855017" y="43551"/>
                    </a:lnTo>
                    <a:cubicBezTo>
                      <a:pt x="875902" y="46284"/>
                      <a:pt x="896687" y="51031"/>
                      <a:pt x="916794" y="58133"/>
                    </a:cubicBezTo>
                    <a:cubicBezTo>
                      <a:pt x="936921" y="65174"/>
                      <a:pt x="956191" y="74888"/>
                      <a:pt x="974067" y="86637"/>
                    </a:cubicBezTo>
                    <a:cubicBezTo>
                      <a:pt x="984848" y="93638"/>
                      <a:pt x="995031" y="101577"/>
                      <a:pt x="1004656" y="110055"/>
                    </a:cubicBezTo>
                    <a:cubicBezTo>
                      <a:pt x="1005852" y="111112"/>
                      <a:pt x="1007127" y="112109"/>
                      <a:pt x="1008283" y="113226"/>
                    </a:cubicBezTo>
                    <a:lnTo>
                      <a:pt x="1011730" y="116577"/>
                    </a:lnTo>
                    <a:lnTo>
                      <a:pt x="1016593" y="121345"/>
                    </a:lnTo>
                    <a:cubicBezTo>
                      <a:pt x="1018068" y="122701"/>
                      <a:pt x="1019383" y="124237"/>
                      <a:pt x="1020718" y="125733"/>
                    </a:cubicBezTo>
                    <a:lnTo>
                      <a:pt x="1024723" y="130221"/>
                    </a:lnTo>
                    <a:cubicBezTo>
                      <a:pt x="1026338" y="131916"/>
                      <a:pt x="1027693" y="133811"/>
                      <a:pt x="1029147" y="135647"/>
                    </a:cubicBezTo>
                    <a:lnTo>
                      <a:pt x="1033472" y="141172"/>
                    </a:lnTo>
                    <a:cubicBezTo>
                      <a:pt x="1034867" y="143047"/>
                      <a:pt x="1036122" y="145022"/>
                      <a:pt x="1037457" y="146937"/>
                    </a:cubicBezTo>
                    <a:lnTo>
                      <a:pt x="1039430" y="149829"/>
                    </a:lnTo>
                    <a:lnTo>
                      <a:pt x="1040427" y="151285"/>
                    </a:lnTo>
                    <a:lnTo>
                      <a:pt x="1040925" y="152003"/>
                    </a:lnTo>
                    <a:lnTo>
                      <a:pt x="1041184" y="152362"/>
                    </a:lnTo>
                    <a:cubicBezTo>
                      <a:pt x="1041284" y="152482"/>
                      <a:pt x="1041483" y="152462"/>
                      <a:pt x="1041563" y="152342"/>
                    </a:cubicBezTo>
                    <a:cubicBezTo>
                      <a:pt x="1044233" y="148512"/>
                      <a:pt x="1046784" y="144583"/>
                      <a:pt x="1049534" y="140813"/>
                    </a:cubicBezTo>
                    <a:lnTo>
                      <a:pt x="1053858" y="135287"/>
                    </a:lnTo>
                    <a:cubicBezTo>
                      <a:pt x="1055293" y="133432"/>
                      <a:pt x="1056708" y="131577"/>
                      <a:pt x="1058322" y="129882"/>
                    </a:cubicBezTo>
                    <a:cubicBezTo>
                      <a:pt x="1061471" y="126411"/>
                      <a:pt x="1064440" y="122841"/>
                      <a:pt x="1067907" y="119629"/>
                    </a:cubicBezTo>
                    <a:lnTo>
                      <a:pt x="1074922" y="112767"/>
                    </a:lnTo>
                    <a:lnTo>
                      <a:pt x="1083431" y="105467"/>
                    </a:lnTo>
                    <a:cubicBezTo>
                      <a:pt x="1088991" y="100460"/>
                      <a:pt x="1095149" y="96191"/>
                      <a:pt x="1101147" y="91703"/>
                    </a:cubicBezTo>
                    <a:cubicBezTo>
                      <a:pt x="1104096" y="89389"/>
                      <a:pt x="1107345" y="87514"/>
                      <a:pt x="1110473" y="85460"/>
                    </a:cubicBezTo>
                    <a:cubicBezTo>
                      <a:pt x="1113642" y="83465"/>
                      <a:pt x="1116750" y="81371"/>
                      <a:pt x="1119979" y="79476"/>
                    </a:cubicBezTo>
                    <a:cubicBezTo>
                      <a:pt x="1138432" y="68585"/>
                      <a:pt x="1158260" y="60187"/>
                      <a:pt x="1178587" y="54023"/>
                    </a:cubicBezTo>
                    <a:cubicBezTo>
                      <a:pt x="1198933" y="47860"/>
                      <a:pt x="1219838" y="43990"/>
                      <a:pt x="1240762" y="42055"/>
                    </a:cubicBezTo>
                    <a:cubicBezTo>
                      <a:pt x="1246003" y="41696"/>
                      <a:pt x="1251224" y="41198"/>
                      <a:pt x="1256465" y="40938"/>
                    </a:cubicBezTo>
                    <a:lnTo>
                      <a:pt x="1272148" y="40559"/>
                    </a:lnTo>
                    <a:cubicBezTo>
                      <a:pt x="1282830" y="40639"/>
                      <a:pt x="1293611" y="41098"/>
                      <a:pt x="1304252" y="42514"/>
                    </a:cubicBezTo>
                    <a:cubicBezTo>
                      <a:pt x="1314933" y="43711"/>
                      <a:pt x="1325455" y="45925"/>
                      <a:pt x="1335878" y="48438"/>
                    </a:cubicBezTo>
                    <a:lnTo>
                      <a:pt x="1343630" y="50593"/>
                    </a:lnTo>
                    <a:lnTo>
                      <a:pt x="1347496" y="51690"/>
                    </a:lnTo>
                    <a:lnTo>
                      <a:pt x="1351302" y="52946"/>
                    </a:lnTo>
                    <a:lnTo>
                      <a:pt x="1358914" y="55480"/>
                    </a:lnTo>
                    <a:lnTo>
                      <a:pt x="1366407" y="58352"/>
                    </a:lnTo>
                    <a:cubicBezTo>
                      <a:pt x="1406323" y="73931"/>
                      <a:pt x="1441675" y="98924"/>
                      <a:pt x="1471108" y="128765"/>
                    </a:cubicBezTo>
                    <a:cubicBezTo>
                      <a:pt x="1485915" y="143665"/>
                      <a:pt x="1499227" y="159882"/>
                      <a:pt x="1511183" y="176937"/>
                    </a:cubicBezTo>
                    <a:cubicBezTo>
                      <a:pt x="1523160" y="193991"/>
                      <a:pt x="1533802" y="211904"/>
                      <a:pt x="1543148" y="230415"/>
                    </a:cubicBezTo>
                    <a:cubicBezTo>
                      <a:pt x="1545280" y="234663"/>
                      <a:pt x="1547293" y="238972"/>
                      <a:pt x="1549365" y="243260"/>
                    </a:cubicBezTo>
                    <a:cubicBezTo>
                      <a:pt x="1551358" y="247569"/>
                      <a:pt x="1553231" y="251937"/>
                      <a:pt x="1555184" y="256286"/>
                    </a:cubicBezTo>
                    <a:cubicBezTo>
                      <a:pt x="1557037" y="260654"/>
                      <a:pt x="1558791" y="265063"/>
                      <a:pt x="1560585" y="269471"/>
                    </a:cubicBezTo>
                    <a:lnTo>
                      <a:pt x="1561202" y="271007"/>
                    </a:lnTo>
                    <a:lnTo>
                      <a:pt x="1561601" y="272104"/>
                    </a:lnTo>
                    <a:lnTo>
                      <a:pt x="1562418" y="274278"/>
                    </a:lnTo>
                    <a:lnTo>
                      <a:pt x="1564032" y="278626"/>
                    </a:lnTo>
                    <a:cubicBezTo>
                      <a:pt x="1564929" y="281040"/>
                      <a:pt x="1565706" y="283494"/>
                      <a:pt x="1566543" y="285927"/>
                    </a:cubicBezTo>
                    <a:lnTo>
                      <a:pt x="1567161" y="287762"/>
                    </a:lnTo>
                    <a:lnTo>
                      <a:pt x="1567480" y="288680"/>
                    </a:lnTo>
                    <a:cubicBezTo>
                      <a:pt x="1567659" y="288959"/>
                      <a:pt x="1568058" y="288919"/>
                      <a:pt x="1568336" y="289039"/>
                    </a:cubicBezTo>
                    <a:lnTo>
                      <a:pt x="1572043" y="290136"/>
                    </a:lnTo>
                    <a:cubicBezTo>
                      <a:pt x="1574514" y="290854"/>
                      <a:pt x="1576985" y="291592"/>
                      <a:pt x="1579416" y="292450"/>
                    </a:cubicBezTo>
                    <a:lnTo>
                      <a:pt x="1583063" y="293686"/>
                    </a:lnTo>
                    <a:lnTo>
                      <a:pt x="1584976" y="294345"/>
                    </a:lnTo>
                    <a:lnTo>
                      <a:pt x="1587746" y="295402"/>
                    </a:lnTo>
                    <a:cubicBezTo>
                      <a:pt x="1591453" y="296838"/>
                      <a:pt x="1595140" y="298175"/>
                      <a:pt x="1598846" y="299710"/>
                    </a:cubicBezTo>
                    <a:lnTo>
                      <a:pt x="1609986" y="304478"/>
                    </a:lnTo>
                    <a:lnTo>
                      <a:pt x="1620946" y="309664"/>
                    </a:lnTo>
                    <a:cubicBezTo>
                      <a:pt x="1624593" y="311399"/>
                      <a:pt x="1628120" y="313374"/>
                      <a:pt x="1631727" y="315209"/>
                    </a:cubicBezTo>
                    <a:cubicBezTo>
                      <a:pt x="1660204" y="330489"/>
                      <a:pt x="1686708" y="349558"/>
                      <a:pt x="1709964" y="372118"/>
                    </a:cubicBezTo>
                    <a:cubicBezTo>
                      <a:pt x="1725109" y="386699"/>
                      <a:pt x="1738800" y="402816"/>
                      <a:pt x="1750976" y="419991"/>
                    </a:cubicBezTo>
                    <a:cubicBezTo>
                      <a:pt x="1763152" y="437185"/>
                      <a:pt x="1773733" y="455556"/>
                      <a:pt x="1782282" y="474865"/>
                    </a:cubicBezTo>
                    <a:cubicBezTo>
                      <a:pt x="1790891" y="494154"/>
                      <a:pt x="1797627" y="514280"/>
                      <a:pt x="1802330" y="534905"/>
                    </a:cubicBezTo>
                    <a:cubicBezTo>
                      <a:pt x="1806973" y="555530"/>
                      <a:pt x="1809464" y="576634"/>
                      <a:pt x="1809942" y="597758"/>
                    </a:cubicBezTo>
                    <a:cubicBezTo>
                      <a:pt x="1810201" y="605099"/>
                      <a:pt x="1810082" y="612439"/>
                      <a:pt x="1809743" y="619760"/>
                    </a:cubicBezTo>
                    <a:cubicBezTo>
                      <a:pt x="1809564" y="623310"/>
                      <a:pt x="1809305" y="627579"/>
                      <a:pt x="1809125" y="629554"/>
                    </a:cubicBezTo>
                    <a:cubicBezTo>
                      <a:pt x="1808926" y="631868"/>
                      <a:pt x="1808707" y="634181"/>
                      <a:pt x="1808428" y="636475"/>
                    </a:cubicBezTo>
                    <a:cubicBezTo>
                      <a:pt x="1808109" y="639228"/>
                      <a:pt x="1807730" y="641961"/>
                      <a:pt x="1807292" y="644674"/>
                    </a:cubicBezTo>
                    <a:lnTo>
                      <a:pt x="1806594" y="648763"/>
                    </a:lnTo>
                    <a:lnTo>
                      <a:pt x="1806415" y="649780"/>
                    </a:lnTo>
                    <a:cubicBezTo>
                      <a:pt x="1806415" y="649959"/>
                      <a:pt x="1806315" y="650119"/>
                      <a:pt x="1806355" y="650299"/>
                    </a:cubicBezTo>
                    <a:cubicBezTo>
                      <a:pt x="1806435" y="650458"/>
                      <a:pt x="1806634" y="650498"/>
                      <a:pt x="1806754" y="650618"/>
                    </a:cubicBezTo>
                    <a:lnTo>
                      <a:pt x="1808507" y="651715"/>
                    </a:lnTo>
                    <a:lnTo>
                      <a:pt x="1815522" y="656103"/>
                    </a:lnTo>
                    <a:cubicBezTo>
                      <a:pt x="1816678" y="656841"/>
                      <a:pt x="1817874" y="657539"/>
                      <a:pt x="1819029" y="658317"/>
                    </a:cubicBezTo>
                    <a:lnTo>
                      <a:pt x="1822397" y="660731"/>
                    </a:lnTo>
                    <a:lnTo>
                      <a:pt x="1830986" y="666874"/>
                    </a:lnTo>
                    <a:cubicBezTo>
                      <a:pt x="1832780" y="668091"/>
                      <a:pt x="1834434" y="669488"/>
                      <a:pt x="1836128" y="670864"/>
                    </a:cubicBezTo>
                    <a:lnTo>
                      <a:pt x="1841169" y="674973"/>
                    </a:lnTo>
                    <a:cubicBezTo>
                      <a:pt x="1844517" y="677726"/>
                      <a:pt x="1847925" y="680418"/>
                      <a:pt x="1851193" y="683231"/>
                    </a:cubicBezTo>
                    <a:lnTo>
                      <a:pt x="1860739" y="692067"/>
                    </a:lnTo>
                    <a:cubicBezTo>
                      <a:pt x="1867255" y="697792"/>
                      <a:pt x="1873034" y="704275"/>
                      <a:pt x="1879032" y="710518"/>
                    </a:cubicBezTo>
                    <a:cubicBezTo>
                      <a:pt x="1882101" y="713590"/>
                      <a:pt x="1884831" y="716941"/>
                      <a:pt x="1887621" y="720273"/>
                    </a:cubicBezTo>
                    <a:lnTo>
                      <a:pt x="1895971" y="730246"/>
                    </a:lnTo>
                    <a:cubicBezTo>
                      <a:pt x="1898681" y="733637"/>
                      <a:pt x="1901152" y="737208"/>
                      <a:pt x="1903743" y="740678"/>
                    </a:cubicBezTo>
                    <a:lnTo>
                      <a:pt x="1907589" y="745924"/>
                    </a:lnTo>
                    <a:cubicBezTo>
                      <a:pt x="1908864" y="747680"/>
                      <a:pt x="1910200" y="749395"/>
                      <a:pt x="1911335" y="751250"/>
                    </a:cubicBezTo>
                    <a:lnTo>
                      <a:pt x="1918350" y="762221"/>
                    </a:lnTo>
                    <a:lnTo>
                      <a:pt x="1921857" y="767706"/>
                    </a:lnTo>
                    <a:cubicBezTo>
                      <a:pt x="1922993" y="769562"/>
                      <a:pt x="1923990" y="771496"/>
                      <a:pt x="1925066" y="773371"/>
                    </a:cubicBezTo>
                    <a:lnTo>
                      <a:pt x="1932678" y="787175"/>
                    </a:lnTo>
                    <a:cubicBezTo>
                      <a:pt x="1935050" y="791862"/>
                      <a:pt x="1937202" y="796669"/>
                      <a:pt x="1939454" y="801417"/>
                    </a:cubicBezTo>
                    <a:lnTo>
                      <a:pt x="1942802" y="808558"/>
                    </a:lnTo>
                    <a:lnTo>
                      <a:pt x="1945691" y="815898"/>
                    </a:lnTo>
                    <a:cubicBezTo>
                      <a:pt x="1947584" y="820805"/>
                      <a:pt x="1949577" y="825672"/>
                      <a:pt x="1951371" y="830619"/>
                    </a:cubicBezTo>
                    <a:lnTo>
                      <a:pt x="1956133" y="845659"/>
                    </a:lnTo>
                    <a:cubicBezTo>
                      <a:pt x="1956871" y="848173"/>
                      <a:pt x="1957827" y="850646"/>
                      <a:pt x="1958405" y="853219"/>
                    </a:cubicBezTo>
                    <a:lnTo>
                      <a:pt x="1960278" y="860879"/>
                    </a:lnTo>
                    <a:lnTo>
                      <a:pt x="1962152" y="868538"/>
                    </a:lnTo>
                    <a:cubicBezTo>
                      <a:pt x="1962729" y="871092"/>
                      <a:pt x="1963487" y="873625"/>
                      <a:pt x="1963865" y="876238"/>
                    </a:cubicBezTo>
                    <a:lnTo>
                      <a:pt x="1966556" y="891797"/>
                    </a:lnTo>
                    <a:cubicBezTo>
                      <a:pt x="1967592" y="896963"/>
                      <a:pt x="1967931" y="902229"/>
                      <a:pt x="1968528" y="907435"/>
                    </a:cubicBezTo>
                    <a:lnTo>
                      <a:pt x="1969326" y="915274"/>
                    </a:lnTo>
                    <a:cubicBezTo>
                      <a:pt x="1969585" y="917887"/>
                      <a:pt x="1969903" y="920500"/>
                      <a:pt x="1969923" y="923133"/>
                    </a:cubicBezTo>
                    <a:cubicBezTo>
                      <a:pt x="1970222" y="933645"/>
                      <a:pt x="1970900" y="944137"/>
                      <a:pt x="1970442" y="954650"/>
                    </a:cubicBezTo>
                    <a:cubicBezTo>
                      <a:pt x="1969804" y="975654"/>
                      <a:pt x="1967213" y="996638"/>
                      <a:pt x="1962729" y="1017203"/>
                    </a:cubicBezTo>
                    <a:cubicBezTo>
                      <a:pt x="1962211" y="1019657"/>
                      <a:pt x="1961653" y="1022110"/>
                      <a:pt x="1961036" y="1024544"/>
                    </a:cubicBezTo>
                    <a:cubicBezTo>
                      <a:pt x="1960458" y="1026997"/>
                      <a:pt x="1959840" y="1029431"/>
                      <a:pt x="1959182" y="1031844"/>
                    </a:cubicBezTo>
                    <a:lnTo>
                      <a:pt x="1958365" y="1034916"/>
                    </a:lnTo>
                    <a:lnTo>
                      <a:pt x="1957708" y="1037210"/>
                    </a:lnTo>
                    <a:cubicBezTo>
                      <a:pt x="1957269" y="1038746"/>
                      <a:pt x="1956811" y="1040282"/>
                      <a:pt x="1956333" y="1041798"/>
                    </a:cubicBezTo>
                    <a:cubicBezTo>
                      <a:pt x="1955476" y="1044610"/>
                      <a:pt x="1954519" y="1047403"/>
                      <a:pt x="1953523" y="1050176"/>
                    </a:cubicBezTo>
                    <a:lnTo>
                      <a:pt x="1952766" y="1052250"/>
                    </a:lnTo>
                    <a:lnTo>
                      <a:pt x="1952387" y="1053287"/>
                    </a:lnTo>
                    <a:cubicBezTo>
                      <a:pt x="1952307" y="1053487"/>
                      <a:pt x="1952506" y="1053626"/>
                      <a:pt x="1952606" y="1053746"/>
                    </a:cubicBezTo>
                    <a:lnTo>
                      <a:pt x="1952965" y="1054165"/>
                    </a:lnTo>
                    <a:lnTo>
                      <a:pt x="1955874" y="1057496"/>
                    </a:lnTo>
                    <a:cubicBezTo>
                      <a:pt x="1957807" y="1059710"/>
                      <a:pt x="1959740" y="1061885"/>
                      <a:pt x="1961673" y="1064358"/>
                    </a:cubicBezTo>
                    <a:lnTo>
                      <a:pt x="1964563" y="1067968"/>
                    </a:lnTo>
                    <a:cubicBezTo>
                      <a:pt x="1965579" y="1069245"/>
                      <a:pt x="1966297" y="1070083"/>
                      <a:pt x="1967831" y="1072237"/>
                    </a:cubicBezTo>
                    <a:cubicBezTo>
                      <a:pt x="1978991" y="1086898"/>
                      <a:pt x="1988855" y="1102517"/>
                      <a:pt x="1997703" y="1118694"/>
                    </a:cubicBezTo>
                    <a:cubicBezTo>
                      <a:pt x="2015499" y="1151008"/>
                      <a:pt x="2027934" y="1186234"/>
                      <a:pt x="2035247" y="1222438"/>
                    </a:cubicBezTo>
                    <a:cubicBezTo>
                      <a:pt x="2039233" y="1243023"/>
                      <a:pt x="2041425" y="1263967"/>
                      <a:pt x="2041823" y="1284912"/>
                    </a:cubicBezTo>
                    <a:cubicBezTo>
                      <a:pt x="2042302" y="1305856"/>
                      <a:pt x="2040887" y="1326860"/>
                      <a:pt x="2037738" y="1347585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58" name="Freeform 11">
                <a:extLst>
                  <a:ext uri="{FF2B5EF4-FFF2-40B4-BE49-F238E27FC236}">
                    <a16:creationId xmlns:a16="http://schemas.microsoft.com/office/drawing/2014/main" id="{9CA609BB-6604-44EE-8737-EEF0424F8322}"/>
                  </a:ext>
                </a:extLst>
              </p:cNvPr>
              <p:cNvSpPr/>
              <p:nvPr/>
            </p:nvSpPr>
            <p:spPr>
              <a:xfrm>
                <a:off x="2376086" y="2778542"/>
                <a:ext cx="1922991" cy="1906800"/>
              </a:xfrm>
              <a:custGeom>
                <a:avLst/>
                <a:gdLst>
                  <a:gd name="connsiteX0" fmla="*/ 1916829 w 1922991"/>
                  <a:gd name="connsiteY0" fmla="*/ 1150163 h 1906800"/>
                  <a:gd name="connsiteX1" fmla="*/ 1883330 w 1922991"/>
                  <a:gd name="connsiteY1" fmla="*/ 1057629 h 1906800"/>
                  <a:gd name="connsiteX2" fmla="*/ 1856607 w 1922991"/>
                  <a:gd name="connsiteY2" fmla="*/ 1016039 h 1906800"/>
                  <a:gd name="connsiteX3" fmla="*/ 1851804 w 1922991"/>
                  <a:gd name="connsiteY3" fmla="*/ 1009975 h 1906800"/>
                  <a:gd name="connsiteX4" fmla="*/ 1846424 w 1922991"/>
                  <a:gd name="connsiteY4" fmla="*/ 1003393 h 1906800"/>
                  <a:gd name="connsiteX5" fmla="*/ 1843733 w 1922991"/>
                  <a:gd name="connsiteY5" fmla="*/ 1000102 h 1906800"/>
                  <a:gd name="connsiteX6" fmla="*/ 1842398 w 1922991"/>
                  <a:gd name="connsiteY6" fmla="*/ 998446 h 1906800"/>
                  <a:gd name="connsiteX7" fmla="*/ 1841262 w 1922991"/>
                  <a:gd name="connsiteY7" fmla="*/ 996751 h 1906800"/>
                  <a:gd name="connsiteX8" fmla="*/ 1836739 w 1922991"/>
                  <a:gd name="connsiteY8" fmla="*/ 989949 h 1906800"/>
                  <a:gd name="connsiteX9" fmla="*/ 1832215 w 1922991"/>
                  <a:gd name="connsiteY9" fmla="*/ 983147 h 1906800"/>
                  <a:gd name="connsiteX10" fmla="*/ 1831657 w 1922991"/>
                  <a:gd name="connsiteY10" fmla="*/ 982289 h 1906800"/>
                  <a:gd name="connsiteX11" fmla="*/ 1831278 w 1922991"/>
                  <a:gd name="connsiteY11" fmla="*/ 981371 h 1906800"/>
                  <a:gd name="connsiteX12" fmla="*/ 1831577 w 1922991"/>
                  <a:gd name="connsiteY12" fmla="*/ 979437 h 1906800"/>
                  <a:gd name="connsiteX13" fmla="*/ 1832175 w 1922991"/>
                  <a:gd name="connsiteY13" fmla="*/ 975567 h 1906800"/>
                  <a:gd name="connsiteX14" fmla="*/ 1833849 w 1922991"/>
                  <a:gd name="connsiteY14" fmla="*/ 967548 h 1906800"/>
                  <a:gd name="connsiteX15" fmla="*/ 1834865 w 1922991"/>
                  <a:gd name="connsiteY15" fmla="*/ 963459 h 1906800"/>
                  <a:gd name="connsiteX16" fmla="*/ 1836161 w 1922991"/>
                  <a:gd name="connsiteY16" fmla="*/ 959310 h 1906800"/>
                  <a:gd name="connsiteX17" fmla="*/ 1839030 w 1922991"/>
                  <a:gd name="connsiteY17" fmla="*/ 950294 h 1906800"/>
                  <a:gd name="connsiteX18" fmla="*/ 1840385 w 1922991"/>
                  <a:gd name="connsiteY18" fmla="*/ 945766 h 1906800"/>
                  <a:gd name="connsiteX19" fmla="*/ 1841402 w 1922991"/>
                  <a:gd name="connsiteY19" fmla="*/ 941976 h 1906800"/>
                  <a:gd name="connsiteX20" fmla="*/ 1843036 w 1922991"/>
                  <a:gd name="connsiteY20" fmla="*/ 935513 h 1906800"/>
                  <a:gd name="connsiteX21" fmla="*/ 1844530 w 1922991"/>
                  <a:gd name="connsiteY21" fmla="*/ 929011 h 1906800"/>
                  <a:gd name="connsiteX22" fmla="*/ 1851366 w 1922991"/>
                  <a:gd name="connsiteY22" fmla="*/ 873618 h 1906800"/>
                  <a:gd name="connsiteX23" fmla="*/ 1850887 w 1922991"/>
                  <a:gd name="connsiteY23" fmla="*/ 845672 h 1906800"/>
                  <a:gd name="connsiteX24" fmla="*/ 1850349 w 1922991"/>
                  <a:gd name="connsiteY24" fmla="*/ 838711 h 1906800"/>
                  <a:gd name="connsiteX25" fmla="*/ 1849632 w 1922991"/>
                  <a:gd name="connsiteY25" fmla="*/ 831769 h 1906800"/>
                  <a:gd name="connsiteX26" fmla="*/ 1847898 w 1922991"/>
                  <a:gd name="connsiteY26" fmla="*/ 817906 h 1906800"/>
                  <a:gd name="connsiteX27" fmla="*/ 1845527 w 1922991"/>
                  <a:gd name="connsiteY27" fmla="*/ 804143 h 1906800"/>
                  <a:gd name="connsiteX28" fmla="*/ 1844012 w 1922991"/>
                  <a:gd name="connsiteY28" fmla="*/ 797321 h 1906800"/>
                  <a:gd name="connsiteX29" fmla="*/ 1842358 w 1922991"/>
                  <a:gd name="connsiteY29" fmla="*/ 790539 h 1906800"/>
                  <a:gd name="connsiteX30" fmla="*/ 1840704 w 1922991"/>
                  <a:gd name="connsiteY30" fmla="*/ 783757 h 1906800"/>
                  <a:gd name="connsiteX31" fmla="*/ 1838692 w 1922991"/>
                  <a:gd name="connsiteY31" fmla="*/ 777074 h 1906800"/>
                  <a:gd name="connsiteX32" fmla="*/ 1834487 w 1922991"/>
                  <a:gd name="connsiteY32" fmla="*/ 763750 h 1906800"/>
                  <a:gd name="connsiteX33" fmla="*/ 1829445 w 1922991"/>
                  <a:gd name="connsiteY33" fmla="*/ 750725 h 1906800"/>
                  <a:gd name="connsiteX34" fmla="*/ 1826914 w 1922991"/>
                  <a:gd name="connsiteY34" fmla="*/ 744222 h 1906800"/>
                  <a:gd name="connsiteX35" fmla="*/ 1823945 w 1922991"/>
                  <a:gd name="connsiteY35" fmla="*/ 737899 h 1906800"/>
                  <a:gd name="connsiteX36" fmla="*/ 1817947 w 1922991"/>
                  <a:gd name="connsiteY36" fmla="*/ 725272 h 1906800"/>
                  <a:gd name="connsiteX37" fmla="*/ 1811191 w 1922991"/>
                  <a:gd name="connsiteY37" fmla="*/ 713045 h 1906800"/>
                  <a:gd name="connsiteX38" fmla="*/ 1808361 w 1922991"/>
                  <a:gd name="connsiteY38" fmla="*/ 708018 h 1906800"/>
                  <a:gd name="connsiteX39" fmla="*/ 1805233 w 1922991"/>
                  <a:gd name="connsiteY39" fmla="*/ 703151 h 1906800"/>
                  <a:gd name="connsiteX40" fmla="*/ 1799015 w 1922991"/>
                  <a:gd name="connsiteY40" fmla="*/ 693417 h 1906800"/>
                  <a:gd name="connsiteX41" fmla="*/ 1795687 w 1922991"/>
                  <a:gd name="connsiteY41" fmla="*/ 688689 h 1906800"/>
                  <a:gd name="connsiteX42" fmla="*/ 1792260 w 1922991"/>
                  <a:gd name="connsiteY42" fmla="*/ 684042 h 1906800"/>
                  <a:gd name="connsiteX43" fmla="*/ 1785365 w 1922991"/>
                  <a:gd name="connsiteY43" fmla="*/ 674766 h 1906800"/>
                  <a:gd name="connsiteX44" fmla="*/ 1777931 w 1922991"/>
                  <a:gd name="connsiteY44" fmla="*/ 665910 h 1906800"/>
                  <a:gd name="connsiteX45" fmla="*/ 1770299 w 1922991"/>
                  <a:gd name="connsiteY45" fmla="*/ 657233 h 1906800"/>
                  <a:gd name="connsiteX46" fmla="*/ 1754018 w 1922991"/>
                  <a:gd name="connsiteY46" fmla="*/ 640817 h 1906800"/>
                  <a:gd name="connsiteX47" fmla="*/ 1745529 w 1922991"/>
                  <a:gd name="connsiteY47" fmla="*/ 632958 h 1906800"/>
                  <a:gd name="connsiteX48" fmla="*/ 1736581 w 1922991"/>
                  <a:gd name="connsiteY48" fmla="*/ 625617 h 1906800"/>
                  <a:gd name="connsiteX49" fmla="*/ 1732097 w 1922991"/>
                  <a:gd name="connsiteY49" fmla="*/ 621947 h 1906800"/>
                  <a:gd name="connsiteX50" fmla="*/ 1727534 w 1922991"/>
                  <a:gd name="connsiteY50" fmla="*/ 618396 h 1906800"/>
                  <a:gd name="connsiteX51" fmla="*/ 1722632 w 1922991"/>
                  <a:gd name="connsiteY51" fmla="*/ 614906 h 1906800"/>
                  <a:gd name="connsiteX52" fmla="*/ 1716095 w 1922991"/>
                  <a:gd name="connsiteY52" fmla="*/ 610278 h 1906800"/>
                  <a:gd name="connsiteX53" fmla="*/ 1709280 w 1922991"/>
                  <a:gd name="connsiteY53" fmla="*/ 605710 h 1906800"/>
                  <a:gd name="connsiteX54" fmla="*/ 1703242 w 1922991"/>
                  <a:gd name="connsiteY54" fmla="*/ 600943 h 1906800"/>
                  <a:gd name="connsiteX55" fmla="*/ 1691345 w 1922991"/>
                  <a:gd name="connsiteY55" fmla="*/ 591368 h 1906800"/>
                  <a:gd name="connsiteX56" fmla="*/ 1688376 w 1922991"/>
                  <a:gd name="connsiteY56" fmla="*/ 588974 h 1906800"/>
                  <a:gd name="connsiteX57" fmla="*/ 1687698 w 1922991"/>
                  <a:gd name="connsiteY57" fmla="*/ 588316 h 1906800"/>
                  <a:gd name="connsiteX58" fmla="*/ 1687598 w 1922991"/>
                  <a:gd name="connsiteY58" fmla="*/ 587439 h 1906800"/>
                  <a:gd name="connsiteX59" fmla="*/ 1687499 w 1922991"/>
                  <a:gd name="connsiteY59" fmla="*/ 585683 h 1906800"/>
                  <a:gd name="connsiteX60" fmla="*/ 1687339 w 1922991"/>
                  <a:gd name="connsiteY60" fmla="*/ 582113 h 1906800"/>
                  <a:gd name="connsiteX61" fmla="*/ 1687260 w 1922991"/>
                  <a:gd name="connsiteY61" fmla="*/ 578423 h 1906800"/>
                  <a:gd name="connsiteX62" fmla="*/ 1688316 w 1922991"/>
                  <a:gd name="connsiteY62" fmla="*/ 562624 h 1906800"/>
                  <a:gd name="connsiteX63" fmla="*/ 1689970 w 1922991"/>
                  <a:gd name="connsiteY63" fmla="*/ 548941 h 1906800"/>
                  <a:gd name="connsiteX64" fmla="*/ 1690687 w 1922991"/>
                  <a:gd name="connsiteY64" fmla="*/ 538130 h 1906800"/>
                  <a:gd name="connsiteX65" fmla="*/ 1690866 w 1922991"/>
                  <a:gd name="connsiteY65" fmla="*/ 518821 h 1906800"/>
                  <a:gd name="connsiteX66" fmla="*/ 1684211 w 1922991"/>
                  <a:gd name="connsiteY66" fmla="*/ 463747 h 1906800"/>
                  <a:gd name="connsiteX67" fmla="*/ 1666634 w 1922991"/>
                  <a:gd name="connsiteY67" fmla="*/ 411107 h 1906800"/>
                  <a:gd name="connsiteX68" fmla="*/ 1639074 w 1922991"/>
                  <a:gd name="connsiteY68" fmla="*/ 362836 h 1906800"/>
                  <a:gd name="connsiteX69" fmla="*/ 1602825 w 1922991"/>
                  <a:gd name="connsiteY69" fmla="*/ 320528 h 1906800"/>
                  <a:gd name="connsiteX70" fmla="*/ 1533356 w 1922991"/>
                  <a:gd name="connsiteY70" fmla="*/ 270002 h 1906800"/>
                  <a:gd name="connsiteX71" fmla="*/ 1523771 w 1922991"/>
                  <a:gd name="connsiteY71" fmla="*/ 265075 h 1906800"/>
                  <a:gd name="connsiteX72" fmla="*/ 1514026 w 1922991"/>
                  <a:gd name="connsiteY72" fmla="*/ 260468 h 1906800"/>
                  <a:gd name="connsiteX73" fmla="*/ 1504102 w 1922991"/>
                  <a:gd name="connsiteY73" fmla="*/ 256219 h 1906800"/>
                  <a:gd name="connsiteX74" fmla="*/ 1493859 w 1922991"/>
                  <a:gd name="connsiteY74" fmla="*/ 252249 h 1906800"/>
                  <a:gd name="connsiteX75" fmla="*/ 1491289 w 1922991"/>
                  <a:gd name="connsiteY75" fmla="*/ 251272 h 1906800"/>
                  <a:gd name="connsiteX76" fmla="*/ 1487761 w 1922991"/>
                  <a:gd name="connsiteY76" fmla="*/ 250095 h 1906800"/>
                  <a:gd name="connsiteX77" fmla="*/ 1480527 w 1922991"/>
                  <a:gd name="connsiteY77" fmla="*/ 247722 h 1906800"/>
                  <a:gd name="connsiteX78" fmla="*/ 1473393 w 1922991"/>
                  <a:gd name="connsiteY78" fmla="*/ 245268 h 1906800"/>
                  <a:gd name="connsiteX79" fmla="*/ 1466817 w 1922991"/>
                  <a:gd name="connsiteY79" fmla="*/ 242356 h 1906800"/>
                  <a:gd name="connsiteX80" fmla="*/ 1460241 w 1922991"/>
                  <a:gd name="connsiteY80" fmla="*/ 239444 h 1906800"/>
                  <a:gd name="connsiteX81" fmla="*/ 1459424 w 1922991"/>
                  <a:gd name="connsiteY81" fmla="*/ 239085 h 1906800"/>
                  <a:gd name="connsiteX82" fmla="*/ 1458687 w 1922991"/>
                  <a:gd name="connsiteY82" fmla="*/ 238586 h 1906800"/>
                  <a:gd name="connsiteX83" fmla="*/ 1457909 w 1922991"/>
                  <a:gd name="connsiteY83" fmla="*/ 236950 h 1906800"/>
                  <a:gd name="connsiteX84" fmla="*/ 1456355 w 1922991"/>
                  <a:gd name="connsiteY84" fmla="*/ 233699 h 1906800"/>
                  <a:gd name="connsiteX85" fmla="*/ 1453246 w 1922991"/>
                  <a:gd name="connsiteY85" fmla="*/ 227176 h 1906800"/>
                  <a:gd name="connsiteX86" fmla="*/ 1450277 w 1922991"/>
                  <a:gd name="connsiteY86" fmla="*/ 220474 h 1906800"/>
                  <a:gd name="connsiteX87" fmla="*/ 1447188 w 1922991"/>
                  <a:gd name="connsiteY87" fmla="*/ 211997 h 1906800"/>
                  <a:gd name="connsiteX88" fmla="*/ 1445654 w 1922991"/>
                  <a:gd name="connsiteY88" fmla="*/ 207748 h 1906800"/>
                  <a:gd name="connsiteX89" fmla="*/ 1444877 w 1922991"/>
                  <a:gd name="connsiteY89" fmla="*/ 205633 h 1906800"/>
                  <a:gd name="connsiteX90" fmla="*/ 1444239 w 1922991"/>
                  <a:gd name="connsiteY90" fmla="*/ 203998 h 1906800"/>
                  <a:gd name="connsiteX91" fmla="*/ 1439277 w 1922991"/>
                  <a:gd name="connsiteY91" fmla="*/ 191910 h 1906800"/>
                  <a:gd name="connsiteX92" fmla="*/ 1433956 w 1922991"/>
                  <a:gd name="connsiteY92" fmla="*/ 179982 h 1906800"/>
                  <a:gd name="connsiteX93" fmla="*/ 1428277 w 1922991"/>
                  <a:gd name="connsiteY93" fmla="*/ 168253 h 1906800"/>
                  <a:gd name="connsiteX94" fmla="*/ 1399262 w 1922991"/>
                  <a:gd name="connsiteY94" fmla="*/ 119702 h 1906800"/>
                  <a:gd name="connsiteX95" fmla="*/ 1363371 w 1922991"/>
                  <a:gd name="connsiteY95" fmla="*/ 76537 h 1906800"/>
                  <a:gd name="connsiteX96" fmla="*/ 1272261 w 1922991"/>
                  <a:gd name="connsiteY96" fmla="*/ 15080 h 1906800"/>
                  <a:gd name="connsiteX97" fmla="*/ 1265864 w 1922991"/>
                  <a:gd name="connsiteY97" fmla="*/ 12626 h 1906800"/>
                  <a:gd name="connsiteX98" fmla="*/ 1259368 w 1922991"/>
                  <a:gd name="connsiteY98" fmla="*/ 10492 h 1906800"/>
                  <a:gd name="connsiteX99" fmla="*/ 1256119 w 1922991"/>
                  <a:gd name="connsiteY99" fmla="*/ 9415 h 1906800"/>
                  <a:gd name="connsiteX100" fmla="*/ 1252831 w 1922991"/>
                  <a:gd name="connsiteY100" fmla="*/ 8497 h 1906800"/>
                  <a:gd name="connsiteX101" fmla="*/ 1246255 w 1922991"/>
                  <a:gd name="connsiteY101" fmla="*/ 6662 h 1906800"/>
                  <a:gd name="connsiteX102" fmla="*/ 1219512 w 1922991"/>
                  <a:gd name="connsiteY102" fmla="*/ 1656 h 1906800"/>
                  <a:gd name="connsiteX103" fmla="*/ 1192330 w 1922991"/>
                  <a:gd name="connsiteY103" fmla="*/ 0 h 1906800"/>
                  <a:gd name="connsiteX104" fmla="*/ 1178301 w 1922991"/>
                  <a:gd name="connsiteY104" fmla="*/ 339 h 1906800"/>
                  <a:gd name="connsiteX105" fmla="*/ 1164352 w 1922991"/>
                  <a:gd name="connsiteY105" fmla="*/ 1317 h 1906800"/>
                  <a:gd name="connsiteX106" fmla="*/ 1059810 w 1922991"/>
                  <a:gd name="connsiteY106" fmla="*/ 33531 h 1906800"/>
                  <a:gd name="connsiteX107" fmla="*/ 1051719 w 1922991"/>
                  <a:gd name="connsiteY107" fmla="*/ 38637 h 1906800"/>
                  <a:gd name="connsiteX108" fmla="*/ 1043768 w 1922991"/>
                  <a:gd name="connsiteY108" fmla="*/ 43943 h 1906800"/>
                  <a:gd name="connsiteX109" fmla="*/ 1028662 w 1922991"/>
                  <a:gd name="connsiteY109" fmla="*/ 55692 h 1906800"/>
                  <a:gd name="connsiteX110" fmla="*/ 1021369 w 1922991"/>
                  <a:gd name="connsiteY110" fmla="*/ 61915 h 1906800"/>
                  <a:gd name="connsiteX111" fmla="*/ 1013517 w 1922991"/>
                  <a:gd name="connsiteY111" fmla="*/ 69595 h 1906800"/>
                  <a:gd name="connsiteX112" fmla="*/ 995184 w 1922991"/>
                  <a:gd name="connsiteY112" fmla="*/ 90998 h 1906800"/>
                  <a:gd name="connsiteX113" fmla="*/ 992952 w 1922991"/>
                  <a:gd name="connsiteY113" fmla="*/ 93771 h 1906800"/>
                  <a:gd name="connsiteX114" fmla="*/ 991836 w 1922991"/>
                  <a:gd name="connsiteY114" fmla="*/ 95147 h 1906800"/>
                  <a:gd name="connsiteX115" fmla="*/ 990720 w 1922991"/>
                  <a:gd name="connsiteY115" fmla="*/ 96324 h 1906800"/>
                  <a:gd name="connsiteX116" fmla="*/ 986256 w 1922991"/>
                  <a:gd name="connsiteY116" fmla="*/ 100812 h 1906800"/>
                  <a:gd name="connsiteX117" fmla="*/ 977268 w 1922991"/>
                  <a:gd name="connsiteY117" fmla="*/ 109589 h 1906800"/>
                  <a:gd name="connsiteX118" fmla="*/ 973223 w 1922991"/>
                  <a:gd name="connsiteY118" fmla="*/ 113179 h 1906800"/>
                  <a:gd name="connsiteX119" fmla="*/ 969397 w 1922991"/>
                  <a:gd name="connsiteY119" fmla="*/ 116411 h 1906800"/>
                  <a:gd name="connsiteX120" fmla="*/ 961745 w 1922991"/>
                  <a:gd name="connsiteY120" fmla="*/ 122873 h 1906800"/>
                  <a:gd name="connsiteX121" fmla="*/ 961047 w 1922991"/>
                  <a:gd name="connsiteY121" fmla="*/ 122893 h 1906800"/>
                  <a:gd name="connsiteX122" fmla="*/ 960569 w 1922991"/>
                  <a:gd name="connsiteY122" fmla="*/ 122494 h 1906800"/>
                  <a:gd name="connsiteX123" fmla="*/ 959612 w 1922991"/>
                  <a:gd name="connsiteY123" fmla="*/ 121677 h 1906800"/>
                  <a:gd name="connsiteX124" fmla="*/ 957699 w 1922991"/>
                  <a:gd name="connsiteY124" fmla="*/ 120061 h 1906800"/>
                  <a:gd name="connsiteX125" fmla="*/ 953873 w 1922991"/>
                  <a:gd name="connsiteY125" fmla="*/ 116829 h 1906800"/>
                  <a:gd name="connsiteX126" fmla="*/ 950047 w 1922991"/>
                  <a:gd name="connsiteY126" fmla="*/ 113598 h 1906800"/>
                  <a:gd name="connsiteX127" fmla="*/ 948134 w 1922991"/>
                  <a:gd name="connsiteY127" fmla="*/ 111982 h 1906800"/>
                  <a:gd name="connsiteX128" fmla="*/ 947177 w 1922991"/>
                  <a:gd name="connsiteY128" fmla="*/ 111165 h 1906800"/>
                  <a:gd name="connsiteX129" fmla="*/ 946081 w 1922991"/>
                  <a:gd name="connsiteY129" fmla="*/ 110147 h 1906800"/>
                  <a:gd name="connsiteX130" fmla="*/ 937094 w 1922991"/>
                  <a:gd name="connsiteY130" fmla="*/ 101390 h 1906800"/>
                  <a:gd name="connsiteX131" fmla="*/ 928126 w 1922991"/>
                  <a:gd name="connsiteY131" fmla="*/ 91676 h 1906800"/>
                  <a:gd name="connsiteX132" fmla="*/ 920454 w 1922991"/>
                  <a:gd name="connsiteY132" fmla="*/ 82202 h 1906800"/>
                  <a:gd name="connsiteX133" fmla="*/ 912563 w 1922991"/>
                  <a:gd name="connsiteY133" fmla="*/ 73046 h 1906800"/>
                  <a:gd name="connsiteX134" fmla="*/ 908438 w 1922991"/>
                  <a:gd name="connsiteY134" fmla="*/ 68837 h 1906800"/>
                  <a:gd name="connsiteX135" fmla="*/ 904731 w 1922991"/>
                  <a:gd name="connsiteY135" fmla="*/ 65207 h 1906800"/>
                  <a:gd name="connsiteX136" fmla="*/ 901782 w 1922991"/>
                  <a:gd name="connsiteY136" fmla="*/ 62314 h 1906800"/>
                  <a:gd name="connsiteX137" fmla="*/ 898673 w 1922991"/>
                  <a:gd name="connsiteY137" fmla="*/ 59602 h 1906800"/>
                  <a:gd name="connsiteX138" fmla="*/ 872567 w 1922991"/>
                  <a:gd name="connsiteY138" fmla="*/ 39615 h 1906800"/>
                  <a:gd name="connsiteX139" fmla="*/ 823664 w 1922991"/>
                  <a:gd name="connsiteY139" fmla="*/ 15279 h 1906800"/>
                  <a:gd name="connsiteX140" fmla="*/ 769939 w 1922991"/>
                  <a:gd name="connsiteY140" fmla="*/ 2633 h 1906800"/>
                  <a:gd name="connsiteX141" fmla="*/ 763044 w 1922991"/>
                  <a:gd name="connsiteY141" fmla="*/ 1735 h 1906800"/>
                  <a:gd name="connsiteX142" fmla="*/ 756089 w 1922991"/>
                  <a:gd name="connsiteY142" fmla="*/ 1157 h 1906800"/>
                  <a:gd name="connsiteX143" fmla="*/ 749114 w 1922991"/>
                  <a:gd name="connsiteY143" fmla="*/ 638 h 1906800"/>
                  <a:gd name="connsiteX144" fmla="*/ 745627 w 1922991"/>
                  <a:gd name="connsiteY144" fmla="*/ 379 h 1906800"/>
                  <a:gd name="connsiteX145" fmla="*/ 742119 w 1922991"/>
                  <a:gd name="connsiteY145" fmla="*/ 299 h 1906800"/>
                  <a:gd name="connsiteX146" fmla="*/ 728130 w 1922991"/>
                  <a:gd name="connsiteY146" fmla="*/ 20 h 1906800"/>
                  <a:gd name="connsiteX147" fmla="*/ 714539 w 1922991"/>
                  <a:gd name="connsiteY147" fmla="*/ 578 h 1906800"/>
                  <a:gd name="connsiteX148" fmla="*/ 707764 w 1922991"/>
                  <a:gd name="connsiteY148" fmla="*/ 1097 h 1906800"/>
                  <a:gd name="connsiteX149" fmla="*/ 701008 w 1922991"/>
                  <a:gd name="connsiteY149" fmla="*/ 1955 h 1906800"/>
                  <a:gd name="connsiteX150" fmla="*/ 697640 w 1922991"/>
                  <a:gd name="connsiteY150" fmla="*/ 2374 h 1906800"/>
                  <a:gd name="connsiteX151" fmla="*/ 694292 w 1922991"/>
                  <a:gd name="connsiteY151" fmla="*/ 2972 h 1906800"/>
                  <a:gd name="connsiteX152" fmla="*/ 687597 w 1922991"/>
                  <a:gd name="connsiteY152" fmla="*/ 4149 h 1906800"/>
                  <a:gd name="connsiteX153" fmla="*/ 661272 w 1922991"/>
                  <a:gd name="connsiteY153" fmla="*/ 11230 h 1906800"/>
                  <a:gd name="connsiteX154" fmla="*/ 611711 w 1922991"/>
                  <a:gd name="connsiteY154" fmla="*/ 34608 h 1906800"/>
                  <a:gd name="connsiteX155" fmla="*/ 567790 w 1922991"/>
                  <a:gd name="connsiteY155" fmla="*/ 68458 h 1906800"/>
                  <a:gd name="connsiteX156" fmla="*/ 530465 w 1922991"/>
                  <a:gd name="connsiteY156" fmla="*/ 110247 h 1906800"/>
                  <a:gd name="connsiteX157" fmla="*/ 499995 w 1922991"/>
                  <a:gd name="connsiteY157" fmla="*/ 157821 h 1906800"/>
                  <a:gd name="connsiteX158" fmla="*/ 479928 w 1922991"/>
                  <a:gd name="connsiteY158" fmla="*/ 200746 h 1906800"/>
                  <a:gd name="connsiteX159" fmla="*/ 478812 w 1922991"/>
                  <a:gd name="connsiteY159" fmla="*/ 203499 h 1906800"/>
                  <a:gd name="connsiteX160" fmla="*/ 477596 w 1922991"/>
                  <a:gd name="connsiteY160" fmla="*/ 206631 h 1906800"/>
                  <a:gd name="connsiteX161" fmla="*/ 474787 w 1922991"/>
                  <a:gd name="connsiteY161" fmla="*/ 214350 h 1906800"/>
                  <a:gd name="connsiteX162" fmla="*/ 471977 w 1922991"/>
                  <a:gd name="connsiteY162" fmla="*/ 222070 h 1906800"/>
                  <a:gd name="connsiteX163" fmla="*/ 468649 w 1922991"/>
                  <a:gd name="connsiteY163" fmla="*/ 229171 h 1906800"/>
                  <a:gd name="connsiteX164" fmla="*/ 465281 w 1922991"/>
                  <a:gd name="connsiteY164" fmla="*/ 236232 h 1906800"/>
                  <a:gd name="connsiteX165" fmla="*/ 464444 w 1922991"/>
                  <a:gd name="connsiteY165" fmla="*/ 237987 h 1906800"/>
                  <a:gd name="connsiteX166" fmla="*/ 463966 w 1922991"/>
                  <a:gd name="connsiteY166" fmla="*/ 238845 h 1906800"/>
                  <a:gd name="connsiteX167" fmla="*/ 463109 w 1922991"/>
                  <a:gd name="connsiteY167" fmla="*/ 239284 h 1906800"/>
                  <a:gd name="connsiteX168" fmla="*/ 459542 w 1922991"/>
                  <a:gd name="connsiteY168" fmla="*/ 240860 h 1906800"/>
                  <a:gd name="connsiteX169" fmla="*/ 452427 w 1922991"/>
                  <a:gd name="connsiteY169" fmla="*/ 244011 h 1906800"/>
                  <a:gd name="connsiteX170" fmla="*/ 448860 w 1922991"/>
                  <a:gd name="connsiteY170" fmla="*/ 245587 h 1906800"/>
                  <a:gd name="connsiteX171" fmla="*/ 444994 w 1922991"/>
                  <a:gd name="connsiteY171" fmla="*/ 246924 h 1906800"/>
                  <a:gd name="connsiteX172" fmla="*/ 434054 w 1922991"/>
                  <a:gd name="connsiteY172" fmla="*/ 250514 h 1906800"/>
                  <a:gd name="connsiteX173" fmla="*/ 432679 w 1922991"/>
                  <a:gd name="connsiteY173" fmla="*/ 250953 h 1906800"/>
                  <a:gd name="connsiteX174" fmla="*/ 431443 w 1922991"/>
                  <a:gd name="connsiteY174" fmla="*/ 251372 h 1906800"/>
                  <a:gd name="connsiteX175" fmla="*/ 429490 w 1922991"/>
                  <a:gd name="connsiteY175" fmla="*/ 252110 h 1906800"/>
                  <a:gd name="connsiteX176" fmla="*/ 425605 w 1922991"/>
                  <a:gd name="connsiteY176" fmla="*/ 253586 h 1906800"/>
                  <a:gd name="connsiteX177" fmla="*/ 410380 w 1922991"/>
                  <a:gd name="connsiteY177" fmla="*/ 259829 h 1906800"/>
                  <a:gd name="connsiteX178" fmla="*/ 381285 w 1922991"/>
                  <a:gd name="connsiteY178" fmla="*/ 274590 h 1906800"/>
                  <a:gd name="connsiteX179" fmla="*/ 328476 w 1922991"/>
                  <a:gd name="connsiteY179" fmla="*/ 312649 h 1906800"/>
                  <a:gd name="connsiteX180" fmla="*/ 290593 w 1922991"/>
                  <a:gd name="connsiteY180" fmla="*/ 353540 h 1906800"/>
                  <a:gd name="connsiteX181" fmla="*/ 261100 w 1922991"/>
                  <a:gd name="connsiteY181" fmla="*/ 400695 h 1906800"/>
                  <a:gd name="connsiteX182" fmla="*/ 241331 w 1922991"/>
                  <a:gd name="connsiteY182" fmla="*/ 452557 h 1906800"/>
                  <a:gd name="connsiteX183" fmla="*/ 232384 w 1922991"/>
                  <a:gd name="connsiteY183" fmla="*/ 507292 h 1906800"/>
                  <a:gd name="connsiteX184" fmla="*/ 232025 w 1922991"/>
                  <a:gd name="connsiteY184" fmla="*/ 512837 h 1906800"/>
                  <a:gd name="connsiteX185" fmla="*/ 231905 w 1922991"/>
                  <a:gd name="connsiteY185" fmla="*/ 518402 h 1906800"/>
                  <a:gd name="connsiteX186" fmla="*/ 231806 w 1922991"/>
                  <a:gd name="connsiteY186" fmla="*/ 529532 h 1906800"/>
                  <a:gd name="connsiteX187" fmla="*/ 232204 w 1922991"/>
                  <a:gd name="connsiteY187" fmla="*/ 540643 h 1906800"/>
                  <a:gd name="connsiteX188" fmla="*/ 232384 w 1922991"/>
                  <a:gd name="connsiteY188" fmla="*/ 543416 h 1906800"/>
                  <a:gd name="connsiteX189" fmla="*/ 232643 w 1922991"/>
                  <a:gd name="connsiteY189" fmla="*/ 546787 h 1906800"/>
                  <a:gd name="connsiteX190" fmla="*/ 233400 w 1922991"/>
                  <a:gd name="connsiteY190" fmla="*/ 554566 h 1906800"/>
                  <a:gd name="connsiteX191" fmla="*/ 235273 w 1922991"/>
                  <a:gd name="connsiteY191" fmla="*/ 570264 h 1906800"/>
                  <a:gd name="connsiteX192" fmla="*/ 235333 w 1922991"/>
                  <a:gd name="connsiteY192" fmla="*/ 584885 h 1906800"/>
                  <a:gd name="connsiteX193" fmla="*/ 235114 w 1922991"/>
                  <a:gd name="connsiteY193" fmla="*/ 588276 h 1906800"/>
                  <a:gd name="connsiteX194" fmla="*/ 234536 w 1922991"/>
                  <a:gd name="connsiteY194" fmla="*/ 588955 h 1906800"/>
                  <a:gd name="connsiteX195" fmla="*/ 233818 w 1922991"/>
                  <a:gd name="connsiteY195" fmla="*/ 589533 h 1906800"/>
                  <a:gd name="connsiteX196" fmla="*/ 232384 w 1922991"/>
                  <a:gd name="connsiteY196" fmla="*/ 590690 h 1906800"/>
                  <a:gd name="connsiteX197" fmla="*/ 226664 w 1922991"/>
                  <a:gd name="connsiteY197" fmla="*/ 595338 h 1906800"/>
                  <a:gd name="connsiteX198" fmla="*/ 215246 w 1922991"/>
                  <a:gd name="connsiteY198" fmla="*/ 604653 h 1906800"/>
                  <a:gd name="connsiteX199" fmla="*/ 205341 w 1922991"/>
                  <a:gd name="connsiteY199" fmla="*/ 611255 h 1906800"/>
                  <a:gd name="connsiteX200" fmla="*/ 196892 w 1922991"/>
                  <a:gd name="connsiteY200" fmla="*/ 617299 h 1906800"/>
                  <a:gd name="connsiteX201" fmla="*/ 193464 w 1922991"/>
                  <a:gd name="connsiteY201" fmla="*/ 619733 h 1906800"/>
                  <a:gd name="connsiteX202" fmla="*/ 190216 w 1922991"/>
                  <a:gd name="connsiteY202" fmla="*/ 622386 h 1906800"/>
                  <a:gd name="connsiteX203" fmla="*/ 183700 w 1922991"/>
                  <a:gd name="connsiteY203" fmla="*/ 627692 h 1906800"/>
                  <a:gd name="connsiteX204" fmla="*/ 177223 w 1922991"/>
                  <a:gd name="connsiteY204" fmla="*/ 633037 h 1906800"/>
                  <a:gd name="connsiteX205" fmla="*/ 171066 w 1922991"/>
                  <a:gd name="connsiteY205" fmla="*/ 638762 h 1906800"/>
                  <a:gd name="connsiteX206" fmla="*/ 159009 w 1922991"/>
                  <a:gd name="connsiteY206" fmla="*/ 650451 h 1906800"/>
                  <a:gd name="connsiteX207" fmla="*/ 153210 w 1922991"/>
                  <a:gd name="connsiteY207" fmla="*/ 656535 h 1906800"/>
                  <a:gd name="connsiteX208" fmla="*/ 147551 w 1922991"/>
                  <a:gd name="connsiteY208" fmla="*/ 662738 h 1906800"/>
                  <a:gd name="connsiteX209" fmla="*/ 136770 w 1922991"/>
                  <a:gd name="connsiteY209" fmla="*/ 675604 h 1906800"/>
                  <a:gd name="connsiteX210" fmla="*/ 126826 w 1922991"/>
                  <a:gd name="connsiteY210" fmla="*/ 689128 h 1906800"/>
                  <a:gd name="connsiteX211" fmla="*/ 124374 w 1922991"/>
                  <a:gd name="connsiteY211" fmla="*/ 692539 h 1906800"/>
                  <a:gd name="connsiteX212" fmla="*/ 122123 w 1922991"/>
                  <a:gd name="connsiteY212" fmla="*/ 696070 h 1906800"/>
                  <a:gd name="connsiteX213" fmla="*/ 117599 w 1922991"/>
                  <a:gd name="connsiteY213" fmla="*/ 703131 h 1906800"/>
                  <a:gd name="connsiteX214" fmla="*/ 113853 w 1922991"/>
                  <a:gd name="connsiteY214" fmla="*/ 709035 h 1906800"/>
                  <a:gd name="connsiteX215" fmla="*/ 110485 w 1922991"/>
                  <a:gd name="connsiteY215" fmla="*/ 715159 h 1906800"/>
                  <a:gd name="connsiteX216" fmla="*/ 103809 w 1922991"/>
                  <a:gd name="connsiteY216" fmla="*/ 727426 h 1906800"/>
                  <a:gd name="connsiteX217" fmla="*/ 92490 w 1922991"/>
                  <a:gd name="connsiteY217" fmla="*/ 752959 h 1906800"/>
                  <a:gd name="connsiteX218" fmla="*/ 89939 w 1922991"/>
                  <a:gd name="connsiteY218" fmla="*/ 759461 h 1906800"/>
                  <a:gd name="connsiteX219" fmla="*/ 88664 w 1922991"/>
                  <a:gd name="connsiteY219" fmla="*/ 762713 h 1906800"/>
                  <a:gd name="connsiteX220" fmla="*/ 87588 w 1922991"/>
                  <a:gd name="connsiteY220" fmla="*/ 766044 h 1906800"/>
                  <a:gd name="connsiteX221" fmla="*/ 83383 w 1922991"/>
                  <a:gd name="connsiteY221" fmla="*/ 779368 h 1906800"/>
                  <a:gd name="connsiteX222" fmla="*/ 82347 w 1922991"/>
                  <a:gd name="connsiteY222" fmla="*/ 782700 h 1906800"/>
                  <a:gd name="connsiteX223" fmla="*/ 81529 w 1922991"/>
                  <a:gd name="connsiteY223" fmla="*/ 786090 h 1906800"/>
                  <a:gd name="connsiteX224" fmla="*/ 79875 w 1922991"/>
                  <a:gd name="connsiteY224" fmla="*/ 792873 h 1906800"/>
                  <a:gd name="connsiteX225" fmla="*/ 76866 w 1922991"/>
                  <a:gd name="connsiteY225" fmla="*/ 806496 h 1906800"/>
                  <a:gd name="connsiteX226" fmla="*/ 74475 w 1922991"/>
                  <a:gd name="connsiteY226" fmla="*/ 820260 h 1906800"/>
                  <a:gd name="connsiteX227" fmla="*/ 73618 w 1922991"/>
                  <a:gd name="connsiteY227" fmla="*/ 827181 h 1906800"/>
                  <a:gd name="connsiteX228" fmla="*/ 72901 w 1922991"/>
                  <a:gd name="connsiteY228" fmla="*/ 834123 h 1906800"/>
                  <a:gd name="connsiteX229" fmla="*/ 71326 w 1922991"/>
                  <a:gd name="connsiteY229" fmla="*/ 862029 h 1906800"/>
                  <a:gd name="connsiteX230" fmla="*/ 75970 w 1922991"/>
                  <a:gd name="connsiteY230" fmla="*/ 917641 h 1906800"/>
                  <a:gd name="connsiteX231" fmla="*/ 79676 w 1922991"/>
                  <a:gd name="connsiteY231" fmla="*/ 935354 h 1906800"/>
                  <a:gd name="connsiteX232" fmla="*/ 81928 w 1922991"/>
                  <a:gd name="connsiteY232" fmla="*/ 944111 h 1906800"/>
                  <a:gd name="connsiteX233" fmla="*/ 83761 w 1922991"/>
                  <a:gd name="connsiteY233" fmla="*/ 950354 h 1906800"/>
                  <a:gd name="connsiteX234" fmla="*/ 85635 w 1922991"/>
                  <a:gd name="connsiteY234" fmla="*/ 956478 h 1906800"/>
                  <a:gd name="connsiteX235" fmla="*/ 87607 w 1922991"/>
                  <a:gd name="connsiteY235" fmla="*/ 962581 h 1906800"/>
                  <a:gd name="connsiteX236" fmla="*/ 88106 w 1922991"/>
                  <a:gd name="connsiteY236" fmla="*/ 964117 h 1906800"/>
                  <a:gd name="connsiteX237" fmla="*/ 88464 w 1922991"/>
                  <a:gd name="connsiteY237" fmla="*/ 965613 h 1906800"/>
                  <a:gd name="connsiteX238" fmla="*/ 89162 w 1922991"/>
                  <a:gd name="connsiteY238" fmla="*/ 968605 h 1906800"/>
                  <a:gd name="connsiteX239" fmla="*/ 89859 w 1922991"/>
                  <a:gd name="connsiteY239" fmla="*/ 971597 h 1906800"/>
                  <a:gd name="connsiteX240" fmla="*/ 90198 w 1922991"/>
                  <a:gd name="connsiteY240" fmla="*/ 973093 h 1906800"/>
                  <a:gd name="connsiteX241" fmla="*/ 90417 w 1922991"/>
                  <a:gd name="connsiteY241" fmla="*/ 974530 h 1906800"/>
                  <a:gd name="connsiteX242" fmla="*/ 91294 w 1922991"/>
                  <a:gd name="connsiteY242" fmla="*/ 980234 h 1906800"/>
                  <a:gd name="connsiteX243" fmla="*/ 91473 w 1922991"/>
                  <a:gd name="connsiteY243" fmla="*/ 981671 h 1906800"/>
                  <a:gd name="connsiteX244" fmla="*/ 90696 w 1922991"/>
                  <a:gd name="connsiteY244" fmla="*/ 982947 h 1906800"/>
                  <a:gd name="connsiteX245" fmla="*/ 89042 w 1922991"/>
                  <a:gd name="connsiteY245" fmla="*/ 985441 h 1906800"/>
                  <a:gd name="connsiteX246" fmla="*/ 85714 w 1922991"/>
                  <a:gd name="connsiteY246" fmla="*/ 990447 h 1906800"/>
                  <a:gd name="connsiteX247" fmla="*/ 82386 w 1922991"/>
                  <a:gd name="connsiteY247" fmla="*/ 995454 h 1906800"/>
                  <a:gd name="connsiteX248" fmla="*/ 80732 w 1922991"/>
                  <a:gd name="connsiteY248" fmla="*/ 997947 h 1906800"/>
                  <a:gd name="connsiteX249" fmla="*/ 78759 w 1922991"/>
                  <a:gd name="connsiteY249" fmla="*/ 1000421 h 1906800"/>
                  <a:gd name="connsiteX250" fmla="*/ 70529 w 1922991"/>
                  <a:gd name="connsiteY250" fmla="*/ 1010494 h 1906800"/>
                  <a:gd name="connsiteX251" fmla="*/ 68477 w 1922991"/>
                  <a:gd name="connsiteY251" fmla="*/ 1013007 h 1906800"/>
                  <a:gd name="connsiteX252" fmla="*/ 67440 w 1922991"/>
                  <a:gd name="connsiteY252" fmla="*/ 1014264 h 1906800"/>
                  <a:gd name="connsiteX253" fmla="*/ 66703 w 1922991"/>
                  <a:gd name="connsiteY253" fmla="*/ 1015261 h 1906800"/>
                  <a:gd name="connsiteX254" fmla="*/ 63913 w 1922991"/>
                  <a:gd name="connsiteY254" fmla="*/ 1019111 h 1906800"/>
                  <a:gd name="connsiteX255" fmla="*/ 58333 w 1922991"/>
                  <a:gd name="connsiteY255" fmla="*/ 1026791 h 1906800"/>
                  <a:gd name="connsiteX256" fmla="*/ 53092 w 1922991"/>
                  <a:gd name="connsiteY256" fmla="*/ 1034710 h 1906800"/>
                  <a:gd name="connsiteX257" fmla="*/ 50462 w 1922991"/>
                  <a:gd name="connsiteY257" fmla="*/ 1038659 h 1906800"/>
                  <a:gd name="connsiteX258" fmla="*/ 48011 w 1922991"/>
                  <a:gd name="connsiteY258" fmla="*/ 1042728 h 1906800"/>
                  <a:gd name="connsiteX259" fmla="*/ 43128 w 1922991"/>
                  <a:gd name="connsiteY259" fmla="*/ 1050867 h 1906800"/>
                  <a:gd name="connsiteX260" fmla="*/ 38585 w 1922991"/>
                  <a:gd name="connsiteY260" fmla="*/ 1059185 h 1906800"/>
                  <a:gd name="connsiteX261" fmla="*/ 34181 w 1922991"/>
                  <a:gd name="connsiteY261" fmla="*/ 1067582 h 1906800"/>
                  <a:gd name="connsiteX262" fmla="*/ 26230 w 1922991"/>
                  <a:gd name="connsiteY262" fmla="*/ 1084797 h 1906800"/>
                  <a:gd name="connsiteX263" fmla="*/ 22563 w 1922991"/>
                  <a:gd name="connsiteY263" fmla="*/ 1093533 h 1906800"/>
                  <a:gd name="connsiteX264" fmla="*/ 19255 w 1922991"/>
                  <a:gd name="connsiteY264" fmla="*/ 1102410 h 1906800"/>
                  <a:gd name="connsiteX265" fmla="*/ 17601 w 1922991"/>
                  <a:gd name="connsiteY265" fmla="*/ 1106858 h 1906800"/>
                  <a:gd name="connsiteX266" fmla="*/ 16166 w 1922991"/>
                  <a:gd name="connsiteY266" fmla="*/ 1111366 h 1906800"/>
                  <a:gd name="connsiteX267" fmla="*/ 13257 w 1922991"/>
                  <a:gd name="connsiteY267" fmla="*/ 1120382 h 1906800"/>
                  <a:gd name="connsiteX268" fmla="*/ 10766 w 1922991"/>
                  <a:gd name="connsiteY268" fmla="*/ 1129518 h 1906800"/>
                  <a:gd name="connsiteX269" fmla="*/ 8454 w 1922991"/>
                  <a:gd name="connsiteY269" fmla="*/ 1138693 h 1906800"/>
                  <a:gd name="connsiteX270" fmla="*/ 483 w 1922991"/>
                  <a:gd name="connsiteY270" fmla="*/ 1194126 h 1906800"/>
                  <a:gd name="connsiteX271" fmla="*/ 2157 w 1922991"/>
                  <a:gd name="connsiteY271" fmla="*/ 1250137 h 1906800"/>
                  <a:gd name="connsiteX272" fmla="*/ 13555 w 1922991"/>
                  <a:gd name="connsiteY272" fmla="*/ 1304971 h 1906800"/>
                  <a:gd name="connsiteX273" fmla="*/ 17860 w 1922991"/>
                  <a:gd name="connsiteY273" fmla="*/ 1318316 h 1906800"/>
                  <a:gd name="connsiteX274" fmla="*/ 22722 w 1922991"/>
                  <a:gd name="connsiteY274" fmla="*/ 1331461 h 1906800"/>
                  <a:gd name="connsiteX275" fmla="*/ 28202 w 1922991"/>
                  <a:gd name="connsiteY275" fmla="*/ 1344367 h 1906800"/>
                  <a:gd name="connsiteX276" fmla="*/ 34221 w 1922991"/>
                  <a:gd name="connsiteY276" fmla="*/ 1357033 h 1906800"/>
                  <a:gd name="connsiteX277" fmla="*/ 63455 w 1922991"/>
                  <a:gd name="connsiteY277" fmla="*/ 1404926 h 1906800"/>
                  <a:gd name="connsiteX278" fmla="*/ 100321 w 1922991"/>
                  <a:gd name="connsiteY278" fmla="*/ 1447353 h 1906800"/>
                  <a:gd name="connsiteX279" fmla="*/ 143565 w 1922991"/>
                  <a:gd name="connsiteY279" fmla="*/ 1483337 h 1906800"/>
                  <a:gd name="connsiteX280" fmla="*/ 149324 w 1922991"/>
                  <a:gd name="connsiteY280" fmla="*/ 1487386 h 1906800"/>
                  <a:gd name="connsiteX281" fmla="*/ 155223 w 1922991"/>
                  <a:gd name="connsiteY281" fmla="*/ 1491236 h 1906800"/>
                  <a:gd name="connsiteX282" fmla="*/ 167199 w 1922991"/>
                  <a:gd name="connsiteY282" fmla="*/ 1498676 h 1906800"/>
                  <a:gd name="connsiteX283" fmla="*/ 173297 w 1922991"/>
                  <a:gd name="connsiteY283" fmla="*/ 1502207 h 1906800"/>
                  <a:gd name="connsiteX284" fmla="*/ 177343 w 1922991"/>
                  <a:gd name="connsiteY284" fmla="*/ 1504461 h 1906800"/>
                  <a:gd name="connsiteX285" fmla="*/ 181667 w 1922991"/>
                  <a:gd name="connsiteY285" fmla="*/ 1506795 h 1906800"/>
                  <a:gd name="connsiteX286" fmla="*/ 198965 w 1922991"/>
                  <a:gd name="connsiteY286" fmla="*/ 1516010 h 1906800"/>
                  <a:gd name="connsiteX287" fmla="*/ 207015 w 1922991"/>
                  <a:gd name="connsiteY287" fmla="*/ 1521715 h 1906800"/>
                  <a:gd name="connsiteX288" fmla="*/ 211041 w 1922991"/>
                  <a:gd name="connsiteY288" fmla="*/ 1524568 h 1906800"/>
                  <a:gd name="connsiteX289" fmla="*/ 211439 w 1922991"/>
                  <a:gd name="connsiteY289" fmla="*/ 1525046 h 1906800"/>
                  <a:gd name="connsiteX290" fmla="*/ 211539 w 1922991"/>
                  <a:gd name="connsiteY290" fmla="*/ 1525665 h 1906800"/>
                  <a:gd name="connsiteX291" fmla="*/ 211698 w 1922991"/>
                  <a:gd name="connsiteY291" fmla="*/ 1526901 h 1906800"/>
                  <a:gd name="connsiteX292" fmla="*/ 212017 w 1922991"/>
                  <a:gd name="connsiteY292" fmla="*/ 1529375 h 1906800"/>
                  <a:gd name="connsiteX293" fmla="*/ 213313 w 1922991"/>
                  <a:gd name="connsiteY293" fmla="*/ 1539308 h 1906800"/>
                  <a:gd name="connsiteX294" fmla="*/ 213970 w 1922991"/>
                  <a:gd name="connsiteY294" fmla="*/ 1544275 h 1906800"/>
                  <a:gd name="connsiteX295" fmla="*/ 214130 w 1922991"/>
                  <a:gd name="connsiteY295" fmla="*/ 1549681 h 1906800"/>
                  <a:gd name="connsiteX296" fmla="*/ 214409 w 1922991"/>
                  <a:gd name="connsiteY296" fmla="*/ 1566217 h 1906800"/>
                  <a:gd name="connsiteX297" fmla="*/ 214449 w 1922991"/>
                  <a:gd name="connsiteY297" fmla="*/ 1568291 h 1906800"/>
                  <a:gd name="connsiteX298" fmla="*/ 214508 w 1922991"/>
                  <a:gd name="connsiteY298" fmla="*/ 1570186 h 1906800"/>
                  <a:gd name="connsiteX299" fmla="*/ 214767 w 1922991"/>
                  <a:gd name="connsiteY299" fmla="*/ 1573198 h 1906800"/>
                  <a:gd name="connsiteX300" fmla="*/ 215266 w 1922991"/>
                  <a:gd name="connsiteY300" fmla="*/ 1579242 h 1906800"/>
                  <a:gd name="connsiteX301" fmla="*/ 218075 w 1922991"/>
                  <a:gd name="connsiteY301" fmla="*/ 1603298 h 1906800"/>
                  <a:gd name="connsiteX302" fmla="*/ 229115 w 1922991"/>
                  <a:gd name="connsiteY302" fmla="*/ 1650433 h 1906800"/>
                  <a:gd name="connsiteX303" fmla="*/ 230869 w 1922991"/>
                  <a:gd name="connsiteY303" fmla="*/ 1656238 h 1906800"/>
                  <a:gd name="connsiteX304" fmla="*/ 232902 w 1922991"/>
                  <a:gd name="connsiteY304" fmla="*/ 1661942 h 1906800"/>
                  <a:gd name="connsiteX305" fmla="*/ 237027 w 1922991"/>
                  <a:gd name="connsiteY305" fmla="*/ 1673332 h 1906800"/>
                  <a:gd name="connsiteX306" fmla="*/ 241750 w 1922991"/>
                  <a:gd name="connsiteY306" fmla="*/ 1684502 h 1906800"/>
                  <a:gd name="connsiteX307" fmla="*/ 244141 w 1922991"/>
                  <a:gd name="connsiteY307" fmla="*/ 1690068 h 1906800"/>
                  <a:gd name="connsiteX308" fmla="*/ 246791 w 1922991"/>
                  <a:gd name="connsiteY308" fmla="*/ 1695533 h 1906800"/>
                  <a:gd name="connsiteX309" fmla="*/ 270685 w 1922991"/>
                  <a:gd name="connsiteY309" fmla="*/ 1737761 h 1906800"/>
                  <a:gd name="connsiteX310" fmla="*/ 278656 w 1922991"/>
                  <a:gd name="connsiteY310" fmla="*/ 1749370 h 1906800"/>
                  <a:gd name="connsiteX311" fmla="*/ 287185 w 1922991"/>
                  <a:gd name="connsiteY311" fmla="*/ 1760600 h 1906800"/>
                  <a:gd name="connsiteX312" fmla="*/ 289318 w 1922991"/>
                  <a:gd name="connsiteY312" fmla="*/ 1763413 h 1906800"/>
                  <a:gd name="connsiteX313" fmla="*/ 291589 w 1922991"/>
                  <a:gd name="connsiteY313" fmla="*/ 1766106 h 1906800"/>
                  <a:gd name="connsiteX314" fmla="*/ 296133 w 1922991"/>
                  <a:gd name="connsiteY314" fmla="*/ 1771511 h 1906800"/>
                  <a:gd name="connsiteX315" fmla="*/ 300677 w 1922991"/>
                  <a:gd name="connsiteY315" fmla="*/ 1776917 h 1906800"/>
                  <a:gd name="connsiteX316" fmla="*/ 305479 w 1922991"/>
                  <a:gd name="connsiteY316" fmla="*/ 1782083 h 1906800"/>
                  <a:gd name="connsiteX317" fmla="*/ 310282 w 1922991"/>
                  <a:gd name="connsiteY317" fmla="*/ 1787249 h 1906800"/>
                  <a:gd name="connsiteX318" fmla="*/ 312673 w 1922991"/>
                  <a:gd name="connsiteY318" fmla="*/ 1789842 h 1906800"/>
                  <a:gd name="connsiteX319" fmla="*/ 315184 w 1922991"/>
                  <a:gd name="connsiteY319" fmla="*/ 1792316 h 1906800"/>
                  <a:gd name="connsiteX320" fmla="*/ 325268 w 1922991"/>
                  <a:gd name="connsiteY320" fmla="*/ 1802210 h 1906800"/>
                  <a:gd name="connsiteX321" fmla="*/ 335809 w 1922991"/>
                  <a:gd name="connsiteY321" fmla="*/ 1811605 h 1906800"/>
                  <a:gd name="connsiteX322" fmla="*/ 338440 w 1922991"/>
                  <a:gd name="connsiteY322" fmla="*/ 1813958 h 1906800"/>
                  <a:gd name="connsiteX323" fmla="*/ 341190 w 1922991"/>
                  <a:gd name="connsiteY323" fmla="*/ 1816192 h 1906800"/>
                  <a:gd name="connsiteX324" fmla="*/ 346690 w 1922991"/>
                  <a:gd name="connsiteY324" fmla="*/ 1820641 h 1906800"/>
                  <a:gd name="connsiteX325" fmla="*/ 444018 w 1922991"/>
                  <a:gd name="connsiteY325" fmla="*/ 1877589 h 1906800"/>
                  <a:gd name="connsiteX326" fmla="*/ 497883 w 1922991"/>
                  <a:gd name="connsiteY326" fmla="*/ 1895003 h 1906800"/>
                  <a:gd name="connsiteX327" fmla="*/ 511713 w 1922991"/>
                  <a:gd name="connsiteY327" fmla="*/ 1898095 h 1906800"/>
                  <a:gd name="connsiteX328" fmla="*/ 518648 w 1922991"/>
                  <a:gd name="connsiteY328" fmla="*/ 1899591 h 1906800"/>
                  <a:gd name="connsiteX329" fmla="*/ 525643 w 1922991"/>
                  <a:gd name="connsiteY329" fmla="*/ 1900748 h 1906800"/>
                  <a:gd name="connsiteX330" fmla="*/ 539632 w 1922991"/>
                  <a:gd name="connsiteY330" fmla="*/ 1902982 h 1906800"/>
                  <a:gd name="connsiteX331" fmla="*/ 553721 w 1922991"/>
                  <a:gd name="connsiteY331" fmla="*/ 1904657 h 1906800"/>
                  <a:gd name="connsiteX332" fmla="*/ 667728 w 1922991"/>
                  <a:gd name="connsiteY332" fmla="*/ 1902144 h 1906800"/>
                  <a:gd name="connsiteX333" fmla="*/ 777511 w 1922991"/>
                  <a:gd name="connsiteY333" fmla="*/ 1873261 h 1906800"/>
                  <a:gd name="connsiteX334" fmla="*/ 827829 w 1922991"/>
                  <a:gd name="connsiteY334" fmla="*/ 1847888 h 1906800"/>
                  <a:gd name="connsiteX335" fmla="*/ 872926 w 1922991"/>
                  <a:gd name="connsiteY335" fmla="*/ 1814736 h 1906800"/>
                  <a:gd name="connsiteX336" fmla="*/ 880578 w 1922991"/>
                  <a:gd name="connsiteY336" fmla="*/ 1807775 h 1906800"/>
                  <a:gd name="connsiteX337" fmla="*/ 887991 w 1922991"/>
                  <a:gd name="connsiteY337" fmla="*/ 1800574 h 1906800"/>
                  <a:gd name="connsiteX338" fmla="*/ 895146 w 1922991"/>
                  <a:gd name="connsiteY338" fmla="*/ 1793134 h 1906800"/>
                  <a:gd name="connsiteX339" fmla="*/ 902300 w 1922991"/>
                  <a:gd name="connsiteY339" fmla="*/ 1785095 h 1906800"/>
                  <a:gd name="connsiteX340" fmla="*/ 920016 w 1922991"/>
                  <a:gd name="connsiteY340" fmla="*/ 1761298 h 1906800"/>
                  <a:gd name="connsiteX341" fmla="*/ 924220 w 1922991"/>
                  <a:gd name="connsiteY341" fmla="*/ 1754975 h 1906800"/>
                  <a:gd name="connsiteX342" fmla="*/ 928425 w 1922991"/>
                  <a:gd name="connsiteY342" fmla="*/ 1748831 h 1906800"/>
                  <a:gd name="connsiteX343" fmla="*/ 932630 w 1922991"/>
                  <a:gd name="connsiteY343" fmla="*/ 1742688 h 1906800"/>
                  <a:gd name="connsiteX344" fmla="*/ 933686 w 1922991"/>
                  <a:gd name="connsiteY344" fmla="*/ 1741152 h 1906800"/>
                  <a:gd name="connsiteX345" fmla="*/ 934742 w 1922991"/>
                  <a:gd name="connsiteY345" fmla="*/ 1739756 h 1906800"/>
                  <a:gd name="connsiteX346" fmla="*/ 936835 w 1922991"/>
                  <a:gd name="connsiteY346" fmla="*/ 1737422 h 1906800"/>
                  <a:gd name="connsiteX347" fmla="*/ 941040 w 1922991"/>
                  <a:gd name="connsiteY347" fmla="*/ 1732754 h 1906800"/>
                  <a:gd name="connsiteX348" fmla="*/ 943132 w 1922991"/>
                  <a:gd name="connsiteY348" fmla="*/ 1730420 h 1906800"/>
                  <a:gd name="connsiteX349" fmla="*/ 945145 w 1922991"/>
                  <a:gd name="connsiteY349" fmla="*/ 1728246 h 1906800"/>
                  <a:gd name="connsiteX350" fmla="*/ 952578 w 1922991"/>
                  <a:gd name="connsiteY350" fmla="*/ 1720606 h 1906800"/>
                  <a:gd name="connsiteX351" fmla="*/ 953494 w 1922991"/>
                  <a:gd name="connsiteY351" fmla="*/ 1719649 h 1906800"/>
                  <a:gd name="connsiteX352" fmla="*/ 954272 w 1922991"/>
                  <a:gd name="connsiteY352" fmla="*/ 1718791 h 1906800"/>
                  <a:gd name="connsiteX353" fmla="*/ 955846 w 1922991"/>
                  <a:gd name="connsiteY353" fmla="*/ 1717076 h 1906800"/>
                  <a:gd name="connsiteX354" fmla="*/ 958995 w 1922991"/>
                  <a:gd name="connsiteY354" fmla="*/ 1713645 h 1906800"/>
                  <a:gd name="connsiteX355" fmla="*/ 960569 w 1922991"/>
                  <a:gd name="connsiteY355" fmla="*/ 1711930 h 1906800"/>
                  <a:gd name="connsiteX356" fmla="*/ 960967 w 1922991"/>
                  <a:gd name="connsiteY356" fmla="*/ 1711491 h 1906800"/>
                  <a:gd name="connsiteX357" fmla="*/ 961506 w 1922991"/>
                  <a:gd name="connsiteY357" fmla="*/ 1711172 h 1906800"/>
                  <a:gd name="connsiteX358" fmla="*/ 962063 w 1922991"/>
                  <a:gd name="connsiteY358" fmla="*/ 1711471 h 1906800"/>
                  <a:gd name="connsiteX359" fmla="*/ 962462 w 1922991"/>
                  <a:gd name="connsiteY359" fmla="*/ 1711910 h 1906800"/>
                  <a:gd name="connsiteX360" fmla="*/ 965611 w 1922991"/>
                  <a:gd name="connsiteY360" fmla="*/ 1715340 h 1906800"/>
                  <a:gd name="connsiteX361" fmla="*/ 968759 w 1922991"/>
                  <a:gd name="connsiteY361" fmla="*/ 1718771 h 1906800"/>
                  <a:gd name="connsiteX362" fmla="*/ 969536 w 1922991"/>
                  <a:gd name="connsiteY362" fmla="*/ 1719629 h 1906800"/>
                  <a:gd name="connsiteX363" fmla="*/ 970453 w 1922991"/>
                  <a:gd name="connsiteY363" fmla="*/ 1720587 h 1906800"/>
                  <a:gd name="connsiteX364" fmla="*/ 972306 w 1922991"/>
                  <a:gd name="connsiteY364" fmla="*/ 1722501 h 1906800"/>
                  <a:gd name="connsiteX365" fmla="*/ 976013 w 1922991"/>
                  <a:gd name="connsiteY365" fmla="*/ 1726331 h 1906800"/>
                  <a:gd name="connsiteX366" fmla="*/ 979879 w 1922991"/>
                  <a:gd name="connsiteY366" fmla="*/ 1730420 h 1906800"/>
                  <a:gd name="connsiteX367" fmla="*/ 988289 w 1922991"/>
                  <a:gd name="connsiteY367" fmla="*/ 1739736 h 1906800"/>
                  <a:gd name="connsiteX368" fmla="*/ 989345 w 1922991"/>
                  <a:gd name="connsiteY368" fmla="*/ 1741112 h 1906800"/>
                  <a:gd name="connsiteX369" fmla="*/ 990401 w 1922991"/>
                  <a:gd name="connsiteY369" fmla="*/ 1742608 h 1906800"/>
                  <a:gd name="connsiteX370" fmla="*/ 992533 w 1922991"/>
                  <a:gd name="connsiteY370" fmla="*/ 1745620 h 1906800"/>
                  <a:gd name="connsiteX371" fmla="*/ 996798 w 1922991"/>
                  <a:gd name="connsiteY371" fmla="*/ 1751624 h 1906800"/>
                  <a:gd name="connsiteX372" fmla="*/ 1002597 w 1922991"/>
                  <a:gd name="connsiteY372" fmla="*/ 1760680 h 1906800"/>
                  <a:gd name="connsiteX373" fmla="*/ 1008495 w 1922991"/>
                  <a:gd name="connsiteY373" fmla="*/ 1769556 h 1906800"/>
                  <a:gd name="connsiteX374" fmla="*/ 1014852 w 1922991"/>
                  <a:gd name="connsiteY374" fmla="*/ 1777715 h 1906800"/>
                  <a:gd name="connsiteX375" fmla="*/ 1018041 w 1922991"/>
                  <a:gd name="connsiteY375" fmla="*/ 1781784 h 1906800"/>
                  <a:gd name="connsiteX376" fmla="*/ 1019635 w 1922991"/>
                  <a:gd name="connsiteY376" fmla="*/ 1783798 h 1906800"/>
                  <a:gd name="connsiteX377" fmla="*/ 1021429 w 1922991"/>
                  <a:gd name="connsiteY377" fmla="*/ 1785873 h 1906800"/>
                  <a:gd name="connsiteX378" fmla="*/ 1031213 w 1922991"/>
                  <a:gd name="connsiteY378" fmla="*/ 1796585 h 1906800"/>
                  <a:gd name="connsiteX379" fmla="*/ 1036255 w 1922991"/>
                  <a:gd name="connsiteY379" fmla="*/ 1801811 h 1906800"/>
                  <a:gd name="connsiteX380" fmla="*/ 1041496 w 1922991"/>
                  <a:gd name="connsiteY380" fmla="*/ 1806837 h 1906800"/>
                  <a:gd name="connsiteX381" fmla="*/ 1134659 w 1922991"/>
                  <a:gd name="connsiteY381" fmla="*/ 1868553 h 1906800"/>
                  <a:gd name="connsiteX382" fmla="*/ 1243485 w 1922991"/>
                  <a:gd name="connsiteY382" fmla="*/ 1900349 h 1906800"/>
                  <a:gd name="connsiteX383" fmla="*/ 1300459 w 1922991"/>
                  <a:gd name="connsiteY383" fmla="*/ 1906133 h 1906800"/>
                  <a:gd name="connsiteX384" fmla="*/ 1314807 w 1922991"/>
                  <a:gd name="connsiteY384" fmla="*/ 1906632 h 1906800"/>
                  <a:gd name="connsiteX385" fmla="*/ 1329155 w 1922991"/>
                  <a:gd name="connsiteY385" fmla="*/ 1906752 h 1906800"/>
                  <a:gd name="connsiteX386" fmla="*/ 1343344 w 1922991"/>
                  <a:gd name="connsiteY386" fmla="*/ 1906413 h 1906800"/>
                  <a:gd name="connsiteX387" fmla="*/ 1346891 w 1922991"/>
                  <a:gd name="connsiteY387" fmla="*/ 1906333 h 1906800"/>
                  <a:gd name="connsiteX388" fmla="*/ 1350438 w 1922991"/>
                  <a:gd name="connsiteY388" fmla="*/ 1906074 h 1906800"/>
                  <a:gd name="connsiteX389" fmla="*/ 1357513 w 1922991"/>
                  <a:gd name="connsiteY389" fmla="*/ 1905575 h 1906800"/>
                  <a:gd name="connsiteX390" fmla="*/ 1385731 w 1922991"/>
                  <a:gd name="connsiteY390" fmla="*/ 1902643 h 1906800"/>
                  <a:gd name="connsiteX391" fmla="*/ 1413610 w 1922991"/>
                  <a:gd name="connsiteY391" fmla="*/ 1897536 h 1906800"/>
                  <a:gd name="connsiteX392" fmla="*/ 1441110 w 1922991"/>
                  <a:gd name="connsiteY392" fmla="*/ 1890714 h 1906800"/>
                  <a:gd name="connsiteX393" fmla="*/ 1467973 w 1922991"/>
                  <a:gd name="connsiteY393" fmla="*/ 1881738 h 1906800"/>
                  <a:gd name="connsiteX394" fmla="*/ 1481165 w 1922991"/>
                  <a:gd name="connsiteY394" fmla="*/ 1876612 h 1906800"/>
                  <a:gd name="connsiteX395" fmla="*/ 1494198 w 1922991"/>
                  <a:gd name="connsiteY395" fmla="*/ 1871067 h 1906800"/>
                  <a:gd name="connsiteX396" fmla="*/ 1506972 w 1922991"/>
                  <a:gd name="connsiteY396" fmla="*/ 1864963 h 1906800"/>
                  <a:gd name="connsiteX397" fmla="*/ 1513269 w 1922991"/>
                  <a:gd name="connsiteY397" fmla="*/ 1861731 h 1906800"/>
                  <a:gd name="connsiteX398" fmla="*/ 1519507 w 1922991"/>
                  <a:gd name="connsiteY398" fmla="*/ 1858380 h 1906800"/>
                  <a:gd name="connsiteX399" fmla="*/ 1567054 w 1922991"/>
                  <a:gd name="connsiteY399" fmla="*/ 1827841 h 1906800"/>
                  <a:gd name="connsiteX400" fmla="*/ 1609521 w 1922991"/>
                  <a:gd name="connsiteY400" fmla="*/ 1790640 h 1906800"/>
                  <a:gd name="connsiteX401" fmla="*/ 1645670 w 1922991"/>
                  <a:gd name="connsiteY401" fmla="*/ 1747415 h 1906800"/>
                  <a:gd name="connsiteX402" fmla="*/ 1652964 w 1922991"/>
                  <a:gd name="connsiteY402" fmla="*/ 1736783 h 1906800"/>
                  <a:gd name="connsiteX403" fmla="*/ 1659799 w 1922991"/>
                  <a:gd name="connsiteY403" fmla="*/ 1725873 h 1906800"/>
                  <a:gd name="connsiteX404" fmla="*/ 1663187 w 1922991"/>
                  <a:gd name="connsiteY404" fmla="*/ 1720387 h 1906800"/>
                  <a:gd name="connsiteX405" fmla="*/ 1666275 w 1922991"/>
                  <a:gd name="connsiteY405" fmla="*/ 1714742 h 1906800"/>
                  <a:gd name="connsiteX406" fmla="*/ 1672393 w 1922991"/>
                  <a:gd name="connsiteY406" fmla="*/ 1703412 h 1906800"/>
                  <a:gd name="connsiteX407" fmla="*/ 1692202 w 1922991"/>
                  <a:gd name="connsiteY407" fmla="*/ 1655998 h 1906800"/>
                  <a:gd name="connsiteX408" fmla="*/ 1704497 w 1922991"/>
                  <a:gd name="connsiteY408" fmla="*/ 1606151 h 1906800"/>
                  <a:gd name="connsiteX409" fmla="*/ 1706271 w 1922991"/>
                  <a:gd name="connsiteY409" fmla="*/ 1593425 h 1906800"/>
                  <a:gd name="connsiteX410" fmla="*/ 1707108 w 1922991"/>
                  <a:gd name="connsiteY410" fmla="*/ 1587061 h 1906800"/>
                  <a:gd name="connsiteX411" fmla="*/ 1707626 w 1922991"/>
                  <a:gd name="connsiteY411" fmla="*/ 1580659 h 1906800"/>
                  <a:gd name="connsiteX412" fmla="*/ 1708144 w 1922991"/>
                  <a:gd name="connsiteY412" fmla="*/ 1574256 h 1906800"/>
                  <a:gd name="connsiteX413" fmla="*/ 1708403 w 1922991"/>
                  <a:gd name="connsiteY413" fmla="*/ 1571044 h 1906800"/>
                  <a:gd name="connsiteX414" fmla="*/ 1708523 w 1922991"/>
                  <a:gd name="connsiteY414" fmla="*/ 1569368 h 1906800"/>
                  <a:gd name="connsiteX415" fmla="*/ 1708562 w 1922991"/>
                  <a:gd name="connsiteY415" fmla="*/ 1567174 h 1906800"/>
                  <a:gd name="connsiteX416" fmla="*/ 1708841 w 1922991"/>
                  <a:gd name="connsiteY416" fmla="*/ 1549641 h 1906800"/>
                  <a:gd name="connsiteX417" fmla="*/ 1708921 w 1922991"/>
                  <a:gd name="connsiteY417" fmla="*/ 1546270 h 1906800"/>
                  <a:gd name="connsiteX418" fmla="*/ 1708961 w 1922991"/>
                  <a:gd name="connsiteY418" fmla="*/ 1544594 h 1906800"/>
                  <a:gd name="connsiteX419" fmla="*/ 1709160 w 1922991"/>
                  <a:gd name="connsiteY419" fmla="*/ 1543058 h 1906800"/>
                  <a:gd name="connsiteX420" fmla="*/ 1709957 w 1922991"/>
                  <a:gd name="connsiteY420" fmla="*/ 1536895 h 1906800"/>
                  <a:gd name="connsiteX421" fmla="*/ 1710754 w 1922991"/>
                  <a:gd name="connsiteY421" fmla="*/ 1530731 h 1906800"/>
                  <a:gd name="connsiteX422" fmla="*/ 1711153 w 1922991"/>
                  <a:gd name="connsiteY422" fmla="*/ 1527659 h 1906800"/>
                  <a:gd name="connsiteX423" fmla="*/ 1711352 w 1922991"/>
                  <a:gd name="connsiteY423" fmla="*/ 1526123 h 1906800"/>
                  <a:gd name="connsiteX424" fmla="*/ 1711771 w 1922991"/>
                  <a:gd name="connsiteY424" fmla="*/ 1524667 h 1906800"/>
                  <a:gd name="connsiteX425" fmla="*/ 1719104 w 1922991"/>
                  <a:gd name="connsiteY425" fmla="*/ 1519481 h 1906800"/>
                  <a:gd name="connsiteX426" fmla="*/ 1722771 w 1922991"/>
                  <a:gd name="connsiteY426" fmla="*/ 1516888 h 1906800"/>
                  <a:gd name="connsiteX427" fmla="*/ 1724604 w 1922991"/>
                  <a:gd name="connsiteY427" fmla="*/ 1515591 h 1906800"/>
                  <a:gd name="connsiteX428" fmla="*/ 1726776 w 1922991"/>
                  <a:gd name="connsiteY428" fmla="*/ 1514454 h 1906800"/>
                  <a:gd name="connsiteX429" fmla="*/ 1744194 w 1922991"/>
                  <a:gd name="connsiteY429" fmla="*/ 1505259 h 1906800"/>
                  <a:gd name="connsiteX430" fmla="*/ 1751726 w 1922991"/>
                  <a:gd name="connsiteY430" fmla="*/ 1501070 h 1906800"/>
                  <a:gd name="connsiteX431" fmla="*/ 1757784 w 1922991"/>
                  <a:gd name="connsiteY431" fmla="*/ 1497460 h 1906800"/>
                  <a:gd name="connsiteX432" fmla="*/ 1763803 w 1922991"/>
                  <a:gd name="connsiteY432" fmla="*/ 1493809 h 1906800"/>
                  <a:gd name="connsiteX433" fmla="*/ 1769701 w 1922991"/>
                  <a:gd name="connsiteY433" fmla="*/ 1489960 h 1906800"/>
                  <a:gd name="connsiteX434" fmla="*/ 1814140 w 1922991"/>
                  <a:gd name="connsiteY434" fmla="*/ 1455411 h 1906800"/>
                  <a:gd name="connsiteX435" fmla="*/ 1852442 w 1922991"/>
                  <a:gd name="connsiteY435" fmla="*/ 1414261 h 1906800"/>
                  <a:gd name="connsiteX436" fmla="*/ 1883350 w 1922991"/>
                  <a:gd name="connsiteY436" fmla="*/ 1367405 h 1906800"/>
                  <a:gd name="connsiteX437" fmla="*/ 1889827 w 1922991"/>
                  <a:gd name="connsiteY437" fmla="*/ 1354958 h 1906800"/>
                  <a:gd name="connsiteX438" fmla="*/ 1895765 w 1922991"/>
                  <a:gd name="connsiteY438" fmla="*/ 1342252 h 1906800"/>
                  <a:gd name="connsiteX439" fmla="*/ 1905888 w 1922991"/>
                  <a:gd name="connsiteY439" fmla="*/ 1316102 h 1906800"/>
                  <a:gd name="connsiteX440" fmla="*/ 1919280 w 1922991"/>
                  <a:gd name="connsiteY440" fmla="*/ 1261726 h 1906800"/>
                  <a:gd name="connsiteX441" fmla="*/ 1922907 w 1922991"/>
                  <a:gd name="connsiteY441" fmla="*/ 1205815 h 1906800"/>
                  <a:gd name="connsiteX442" fmla="*/ 1917048 w 1922991"/>
                  <a:gd name="connsiteY442" fmla="*/ 1150103 h 1906800"/>
                  <a:gd name="connsiteX443" fmla="*/ 1820378 w 1922991"/>
                  <a:gd name="connsiteY443" fmla="*/ 1389207 h 1906800"/>
                  <a:gd name="connsiteX444" fmla="*/ 1786580 w 1922991"/>
                  <a:gd name="connsiteY444" fmla="*/ 1425531 h 1906800"/>
                  <a:gd name="connsiteX445" fmla="*/ 1747242 w 1922991"/>
                  <a:gd name="connsiteY445" fmla="*/ 1456110 h 1906800"/>
                  <a:gd name="connsiteX446" fmla="*/ 1742021 w 1922991"/>
                  <a:gd name="connsiteY446" fmla="*/ 1459520 h 1906800"/>
                  <a:gd name="connsiteX447" fmla="*/ 1736681 w 1922991"/>
                  <a:gd name="connsiteY447" fmla="*/ 1462752 h 1906800"/>
                  <a:gd name="connsiteX448" fmla="*/ 1731320 w 1922991"/>
                  <a:gd name="connsiteY448" fmla="*/ 1465943 h 1906800"/>
                  <a:gd name="connsiteX449" fmla="*/ 1721635 w 1922991"/>
                  <a:gd name="connsiteY449" fmla="*/ 1471289 h 1906800"/>
                  <a:gd name="connsiteX450" fmla="*/ 1714999 w 1922991"/>
                  <a:gd name="connsiteY450" fmla="*/ 1474700 h 1906800"/>
                  <a:gd name="connsiteX451" fmla="*/ 1708463 w 1922991"/>
                  <a:gd name="connsiteY451" fmla="*/ 1478191 h 1906800"/>
                  <a:gd name="connsiteX452" fmla="*/ 1695390 w 1922991"/>
                  <a:gd name="connsiteY452" fmla="*/ 1485192 h 1906800"/>
                  <a:gd name="connsiteX453" fmla="*/ 1692122 w 1922991"/>
                  <a:gd name="connsiteY453" fmla="*/ 1486948 h 1906800"/>
                  <a:gd name="connsiteX454" fmla="*/ 1689970 w 1922991"/>
                  <a:gd name="connsiteY454" fmla="*/ 1489281 h 1906800"/>
                  <a:gd name="connsiteX455" fmla="*/ 1685685 w 1922991"/>
                  <a:gd name="connsiteY455" fmla="*/ 1493969 h 1906800"/>
                  <a:gd name="connsiteX456" fmla="*/ 1677096 w 1922991"/>
                  <a:gd name="connsiteY456" fmla="*/ 1503324 h 1906800"/>
                  <a:gd name="connsiteX457" fmla="*/ 1676239 w 1922991"/>
                  <a:gd name="connsiteY457" fmla="*/ 1505359 h 1906800"/>
                  <a:gd name="connsiteX458" fmla="*/ 1675562 w 1922991"/>
                  <a:gd name="connsiteY458" fmla="*/ 1507453 h 1906800"/>
                  <a:gd name="connsiteX459" fmla="*/ 1674207 w 1922991"/>
                  <a:gd name="connsiteY459" fmla="*/ 1511662 h 1906800"/>
                  <a:gd name="connsiteX460" fmla="*/ 1671497 w 1922991"/>
                  <a:gd name="connsiteY460" fmla="*/ 1520080 h 1906800"/>
                  <a:gd name="connsiteX461" fmla="*/ 1668786 w 1922991"/>
                  <a:gd name="connsiteY461" fmla="*/ 1528497 h 1906800"/>
                  <a:gd name="connsiteX462" fmla="*/ 1668109 w 1922991"/>
                  <a:gd name="connsiteY462" fmla="*/ 1530592 h 1906800"/>
                  <a:gd name="connsiteX463" fmla="*/ 1668049 w 1922991"/>
                  <a:gd name="connsiteY463" fmla="*/ 1533125 h 1906800"/>
                  <a:gd name="connsiteX464" fmla="*/ 1667969 w 1922991"/>
                  <a:gd name="connsiteY464" fmla="*/ 1538251 h 1906800"/>
                  <a:gd name="connsiteX465" fmla="*/ 1667850 w 1922991"/>
                  <a:gd name="connsiteY465" fmla="*/ 1563903 h 1906800"/>
                  <a:gd name="connsiteX466" fmla="*/ 1667850 w 1922991"/>
                  <a:gd name="connsiteY466" fmla="*/ 1567513 h 1906800"/>
                  <a:gd name="connsiteX467" fmla="*/ 1667810 w 1922991"/>
                  <a:gd name="connsiteY467" fmla="*/ 1567713 h 1906800"/>
                  <a:gd name="connsiteX468" fmla="*/ 1667770 w 1922991"/>
                  <a:gd name="connsiteY468" fmla="*/ 1568072 h 1906800"/>
                  <a:gd name="connsiteX469" fmla="*/ 1667710 w 1922991"/>
                  <a:gd name="connsiteY469" fmla="*/ 1568770 h 1906800"/>
                  <a:gd name="connsiteX470" fmla="*/ 1667471 w 1922991"/>
                  <a:gd name="connsiteY470" fmla="*/ 1571583 h 1906800"/>
                  <a:gd name="connsiteX471" fmla="*/ 1667013 w 1922991"/>
                  <a:gd name="connsiteY471" fmla="*/ 1577208 h 1906800"/>
                  <a:gd name="connsiteX472" fmla="*/ 1666574 w 1922991"/>
                  <a:gd name="connsiteY472" fmla="*/ 1582833 h 1906800"/>
                  <a:gd name="connsiteX473" fmla="*/ 1665817 w 1922991"/>
                  <a:gd name="connsiteY473" fmla="*/ 1588418 h 1906800"/>
                  <a:gd name="connsiteX474" fmla="*/ 1664283 w 1922991"/>
                  <a:gd name="connsiteY474" fmla="*/ 1599588 h 1906800"/>
                  <a:gd name="connsiteX475" fmla="*/ 1653482 w 1922991"/>
                  <a:gd name="connsiteY475" fmla="*/ 1643352 h 1906800"/>
                  <a:gd name="connsiteX476" fmla="*/ 1636045 w 1922991"/>
                  <a:gd name="connsiteY476" fmla="*/ 1685081 h 1906800"/>
                  <a:gd name="connsiteX477" fmla="*/ 1630644 w 1922991"/>
                  <a:gd name="connsiteY477" fmla="*/ 1695074 h 1906800"/>
                  <a:gd name="connsiteX478" fmla="*/ 1627934 w 1922991"/>
                  <a:gd name="connsiteY478" fmla="*/ 1700061 h 1906800"/>
                  <a:gd name="connsiteX479" fmla="*/ 1624945 w 1922991"/>
                  <a:gd name="connsiteY479" fmla="*/ 1704908 h 1906800"/>
                  <a:gd name="connsiteX480" fmla="*/ 1618907 w 1922991"/>
                  <a:gd name="connsiteY480" fmla="*/ 1714563 h 1906800"/>
                  <a:gd name="connsiteX481" fmla="*/ 1612450 w 1922991"/>
                  <a:gd name="connsiteY481" fmla="*/ 1723978 h 1906800"/>
                  <a:gd name="connsiteX482" fmla="*/ 1453725 w 1922991"/>
                  <a:gd name="connsiteY482" fmla="*/ 1843799 h 1906800"/>
                  <a:gd name="connsiteX483" fmla="*/ 1429592 w 1922991"/>
                  <a:gd name="connsiteY483" fmla="*/ 1851858 h 1906800"/>
                  <a:gd name="connsiteX484" fmla="*/ 1404861 w 1922991"/>
                  <a:gd name="connsiteY484" fmla="*/ 1857981 h 1906800"/>
                  <a:gd name="connsiteX485" fmla="*/ 1379772 w 1922991"/>
                  <a:gd name="connsiteY485" fmla="*/ 1862589 h 1906800"/>
                  <a:gd name="connsiteX486" fmla="*/ 1354344 w 1922991"/>
                  <a:gd name="connsiteY486" fmla="*/ 1865222 h 1906800"/>
                  <a:gd name="connsiteX487" fmla="*/ 1347967 w 1922991"/>
                  <a:gd name="connsiteY487" fmla="*/ 1865681 h 1906800"/>
                  <a:gd name="connsiteX488" fmla="*/ 1344779 w 1922991"/>
                  <a:gd name="connsiteY488" fmla="*/ 1865920 h 1906800"/>
                  <a:gd name="connsiteX489" fmla="*/ 1341570 w 1922991"/>
                  <a:gd name="connsiteY489" fmla="*/ 1865980 h 1906800"/>
                  <a:gd name="connsiteX490" fmla="*/ 1328757 w 1922991"/>
                  <a:gd name="connsiteY490" fmla="*/ 1866279 h 1906800"/>
                  <a:gd name="connsiteX491" fmla="*/ 1315485 w 1922991"/>
                  <a:gd name="connsiteY491" fmla="*/ 1866180 h 1906800"/>
                  <a:gd name="connsiteX492" fmla="*/ 1302173 w 1922991"/>
                  <a:gd name="connsiteY492" fmla="*/ 1865721 h 1906800"/>
                  <a:gd name="connsiteX493" fmla="*/ 1249643 w 1922991"/>
                  <a:gd name="connsiteY493" fmla="*/ 1860395 h 1906800"/>
                  <a:gd name="connsiteX494" fmla="*/ 1151080 w 1922991"/>
                  <a:gd name="connsiteY494" fmla="*/ 1831651 h 1906800"/>
                  <a:gd name="connsiteX495" fmla="*/ 1069216 w 1922991"/>
                  <a:gd name="connsiteY495" fmla="*/ 1777515 h 1906800"/>
                  <a:gd name="connsiteX496" fmla="*/ 1064672 w 1922991"/>
                  <a:gd name="connsiteY496" fmla="*/ 1773167 h 1906800"/>
                  <a:gd name="connsiteX497" fmla="*/ 1060328 w 1922991"/>
                  <a:gd name="connsiteY497" fmla="*/ 1768659 h 1906800"/>
                  <a:gd name="connsiteX498" fmla="*/ 1051878 w 1922991"/>
                  <a:gd name="connsiteY498" fmla="*/ 1759403 h 1906800"/>
                  <a:gd name="connsiteX499" fmla="*/ 1051101 w 1922991"/>
                  <a:gd name="connsiteY499" fmla="*/ 1758526 h 1906800"/>
                  <a:gd name="connsiteX500" fmla="*/ 1050723 w 1922991"/>
                  <a:gd name="connsiteY500" fmla="*/ 1758107 h 1906800"/>
                  <a:gd name="connsiteX501" fmla="*/ 1050543 w 1922991"/>
                  <a:gd name="connsiteY501" fmla="*/ 1757907 h 1906800"/>
                  <a:gd name="connsiteX502" fmla="*/ 1050244 w 1922991"/>
                  <a:gd name="connsiteY502" fmla="*/ 1757528 h 1906800"/>
                  <a:gd name="connsiteX503" fmla="*/ 1049029 w 1922991"/>
                  <a:gd name="connsiteY503" fmla="*/ 1756032 h 1906800"/>
                  <a:gd name="connsiteX504" fmla="*/ 1046657 w 1922991"/>
                  <a:gd name="connsiteY504" fmla="*/ 1752901 h 1906800"/>
                  <a:gd name="connsiteX505" fmla="*/ 1041954 w 1922991"/>
                  <a:gd name="connsiteY505" fmla="*/ 1746617 h 1906800"/>
                  <a:gd name="connsiteX506" fmla="*/ 1032588 w 1922991"/>
                  <a:gd name="connsiteY506" fmla="*/ 1733971 h 1906800"/>
                  <a:gd name="connsiteX507" fmla="*/ 1024059 w 1922991"/>
                  <a:gd name="connsiteY507" fmla="*/ 1719509 h 1906800"/>
                  <a:gd name="connsiteX508" fmla="*/ 1015689 w 1922991"/>
                  <a:gd name="connsiteY508" fmla="*/ 1704629 h 1906800"/>
                  <a:gd name="connsiteX509" fmla="*/ 1009073 w 1922991"/>
                  <a:gd name="connsiteY509" fmla="*/ 1695573 h 1906800"/>
                  <a:gd name="connsiteX510" fmla="*/ 1005765 w 1922991"/>
                  <a:gd name="connsiteY510" fmla="*/ 1691045 h 1906800"/>
                  <a:gd name="connsiteX511" fmla="*/ 1004111 w 1922991"/>
                  <a:gd name="connsiteY511" fmla="*/ 1688771 h 1906800"/>
                  <a:gd name="connsiteX512" fmla="*/ 1003294 w 1922991"/>
                  <a:gd name="connsiteY512" fmla="*/ 1687634 h 1906800"/>
                  <a:gd name="connsiteX513" fmla="*/ 1003095 w 1922991"/>
                  <a:gd name="connsiteY513" fmla="*/ 1687355 h 1906800"/>
                  <a:gd name="connsiteX514" fmla="*/ 1002876 w 1922991"/>
                  <a:gd name="connsiteY514" fmla="*/ 1687215 h 1906800"/>
                  <a:gd name="connsiteX515" fmla="*/ 1002457 w 1922991"/>
                  <a:gd name="connsiteY515" fmla="*/ 1686916 h 1906800"/>
                  <a:gd name="connsiteX516" fmla="*/ 988747 w 1922991"/>
                  <a:gd name="connsiteY516" fmla="*/ 1677621 h 1906800"/>
                  <a:gd name="connsiteX517" fmla="*/ 987033 w 1922991"/>
                  <a:gd name="connsiteY517" fmla="*/ 1676464 h 1906800"/>
                  <a:gd name="connsiteX518" fmla="*/ 986615 w 1922991"/>
                  <a:gd name="connsiteY518" fmla="*/ 1676185 h 1906800"/>
                  <a:gd name="connsiteX519" fmla="*/ 986256 w 1922991"/>
                  <a:gd name="connsiteY519" fmla="*/ 1676065 h 1906800"/>
                  <a:gd name="connsiteX520" fmla="*/ 985539 w 1922991"/>
                  <a:gd name="connsiteY520" fmla="*/ 1675825 h 1906800"/>
                  <a:gd name="connsiteX521" fmla="*/ 982649 w 1922991"/>
                  <a:gd name="connsiteY521" fmla="*/ 1674908 h 1906800"/>
                  <a:gd name="connsiteX522" fmla="*/ 976890 w 1922991"/>
                  <a:gd name="connsiteY522" fmla="*/ 1673053 h 1906800"/>
                  <a:gd name="connsiteX523" fmla="*/ 974000 w 1922991"/>
                  <a:gd name="connsiteY523" fmla="*/ 1672135 h 1906800"/>
                  <a:gd name="connsiteX524" fmla="*/ 972585 w 1922991"/>
                  <a:gd name="connsiteY524" fmla="*/ 1671697 h 1906800"/>
                  <a:gd name="connsiteX525" fmla="*/ 971489 w 1922991"/>
                  <a:gd name="connsiteY525" fmla="*/ 1671597 h 1906800"/>
                  <a:gd name="connsiteX526" fmla="*/ 967065 w 1922991"/>
                  <a:gd name="connsiteY526" fmla="*/ 1671178 h 1906800"/>
                  <a:gd name="connsiteX527" fmla="*/ 962641 w 1922991"/>
                  <a:gd name="connsiteY527" fmla="*/ 1670759 h 1906800"/>
                  <a:gd name="connsiteX528" fmla="*/ 960051 w 1922991"/>
                  <a:gd name="connsiteY528" fmla="*/ 1670759 h 1906800"/>
                  <a:gd name="connsiteX529" fmla="*/ 957839 w 1922991"/>
                  <a:gd name="connsiteY529" fmla="*/ 1670978 h 1906800"/>
                  <a:gd name="connsiteX530" fmla="*/ 953415 w 1922991"/>
                  <a:gd name="connsiteY530" fmla="*/ 1671397 h 1906800"/>
                  <a:gd name="connsiteX531" fmla="*/ 951203 w 1922991"/>
                  <a:gd name="connsiteY531" fmla="*/ 1671617 h 1906800"/>
                  <a:gd name="connsiteX532" fmla="*/ 950107 w 1922991"/>
                  <a:gd name="connsiteY532" fmla="*/ 1671716 h 1906800"/>
                  <a:gd name="connsiteX533" fmla="*/ 948692 w 1922991"/>
                  <a:gd name="connsiteY533" fmla="*/ 1672155 h 1906800"/>
                  <a:gd name="connsiteX534" fmla="*/ 937154 w 1922991"/>
                  <a:gd name="connsiteY534" fmla="*/ 1675845 h 1906800"/>
                  <a:gd name="connsiteX535" fmla="*/ 936436 w 1922991"/>
                  <a:gd name="connsiteY535" fmla="*/ 1676085 h 1906800"/>
                  <a:gd name="connsiteX536" fmla="*/ 936077 w 1922991"/>
                  <a:gd name="connsiteY536" fmla="*/ 1676204 h 1906800"/>
                  <a:gd name="connsiteX537" fmla="*/ 935659 w 1922991"/>
                  <a:gd name="connsiteY537" fmla="*/ 1676484 h 1906800"/>
                  <a:gd name="connsiteX538" fmla="*/ 933945 w 1922991"/>
                  <a:gd name="connsiteY538" fmla="*/ 1677641 h 1906800"/>
                  <a:gd name="connsiteX539" fmla="*/ 930518 w 1922991"/>
                  <a:gd name="connsiteY539" fmla="*/ 1679974 h 1906800"/>
                  <a:gd name="connsiteX540" fmla="*/ 923662 w 1922991"/>
                  <a:gd name="connsiteY540" fmla="*/ 1684622 h 1906800"/>
                  <a:gd name="connsiteX541" fmla="*/ 920235 w 1922991"/>
                  <a:gd name="connsiteY541" fmla="*/ 1686956 h 1906800"/>
                  <a:gd name="connsiteX542" fmla="*/ 918581 w 1922991"/>
                  <a:gd name="connsiteY542" fmla="*/ 1688891 h 1906800"/>
                  <a:gd name="connsiteX543" fmla="*/ 916967 w 1922991"/>
                  <a:gd name="connsiteY543" fmla="*/ 1691265 h 1906800"/>
                  <a:gd name="connsiteX544" fmla="*/ 910530 w 1922991"/>
                  <a:gd name="connsiteY544" fmla="*/ 1700739 h 1906800"/>
                  <a:gd name="connsiteX545" fmla="*/ 904093 w 1922991"/>
                  <a:gd name="connsiteY545" fmla="*/ 1710234 h 1906800"/>
                  <a:gd name="connsiteX546" fmla="*/ 898035 w 1922991"/>
                  <a:gd name="connsiteY546" fmla="*/ 1720527 h 1906800"/>
                  <a:gd name="connsiteX547" fmla="*/ 872069 w 1922991"/>
                  <a:gd name="connsiteY547" fmla="*/ 1758007 h 1906800"/>
                  <a:gd name="connsiteX548" fmla="*/ 865274 w 1922991"/>
                  <a:gd name="connsiteY548" fmla="*/ 1765647 h 1906800"/>
                  <a:gd name="connsiteX549" fmla="*/ 859076 w 1922991"/>
                  <a:gd name="connsiteY549" fmla="*/ 1772070 h 1906800"/>
                  <a:gd name="connsiteX550" fmla="*/ 852659 w 1922991"/>
                  <a:gd name="connsiteY550" fmla="*/ 1778293 h 1906800"/>
                  <a:gd name="connsiteX551" fmla="*/ 846023 w 1922991"/>
                  <a:gd name="connsiteY551" fmla="*/ 1784317 h 1906800"/>
                  <a:gd name="connsiteX552" fmla="*/ 806606 w 1922991"/>
                  <a:gd name="connsiteY552" fmla="*/ 1813300 h 1906800"/>
                  <a:gd name="connsiteX553" fmla="*/ 761928 w 1922991"/>
                  <a:gd name="connsiteY553" fmla="*/ 1835820 h 1906800"/>
                  <a:gd name="connsiteX554" fmla="*/ 662208 w 1922991"/>
                  <a:gd name="connsiteY554" fmla="*/ 1861991 h 1906800"/>
                  <a:gd name="connsiteX555" fmla="*/ 609419 w 1922991"/>
                  <a:gd name="connsiteY555" fmla="*/ 1866160 h 1906800"/>
                  <a:gd name="connsiteX556" fmla="*/ 596068 w 1922991"/>
                  <a:gd name="connsiteY556" fmla="*/ 1866339 h 1906800"/>
                  <a:gd name="connsiteX557" fmla="*/ 583234 w 1922991"/>
                  <a:gd name="connsiteY557" fmla="*/ 1866040 h 1906800"/>
                  <a:gd name="connsiteX558" fmla="*/ 576837 w 1922991"/>
                  <a:gd name="connsiteY558" fmla="*/ 1865860 h 1906800"/>
                  <a:gd name="connsiteX559" fmla="*/ 570460 w 1922991"/>
                  <a:gd name="connsiteY559" fmla="*/ 1865402 h 1906800"/>
                  <a:gd name="connsiteX560" fmla="*/ 564083 w 1922991"/>
                  <a:gd name="connsiteY560" fmla="*/ 1864963 h 1906800"/>
                  <a:gd name="connsiteX561" fmla="*/ 557726 w 1922991"/>
                  <a:gd name="connsiteY561" fmla="*/ 1864384 h 1906800"/>
                  <a:gd name="connsiteX562" fmla="*/ 545032 w 1922991"/>
                  <a:gd name="connsiteY562" fmla="*/ 1862888 h 1906800"/>
                  <a:gd name="connsiteX563" fmla="*/ 532438 w 1922991"/>
                  <a:gd name="connsiteY563" fmla="*/ 1860874 h 1906800"/>
                  <a:gd name="connsiteX564" fmla="*/ 526141 w 1922991"/>
                  <a:gd name="connsiteY564" fmla="*/ 1859836 h 1906800"/>
                  <a:gd name="connsiteX565" fmla="*/ 519903 w 1922991"/>
                  <a:gd name="connsiteY565" fmla="*/ 1858480 h 1906800"/>
                  <a:gd name="connsiteX566" fmla="*/ 507468 w 1922991"/>
                  <a:gd name="connsiteY566" fmla="*/ 1855707 h 1906800"/>
                  <a:gd name="connsiteX567" fmla="*/ 459083 w 1922991"/>
                  <a:gd name="connsiteY567" fmla="*/ 1840069 h 1906800"/>
                  <a:gd name="connsiteX568" fmla="*/ 371939 w 1922991"/>
                  <a:gd name="connsiteY568" fmla="*/ 1789084 h 1906800"/>
                  <a:gd name="connsiteX569" fmla="*/ 367036 w 1922991"/>
                  <a:gd name="connsiteY569" fmla="*/ 1785115 h 1906800"/>
                  <a:gd name="connsiteX570" fmla="*/ 364585 w 1922991"/>
                  <a:gd name="connsiteY570" fmla="*/ 1783140 h 1906800"/>
                  <a:gd name="connsiteX571" fmla="*/ 362234 w 1922991"/>
                  <a:gd name="connsiteY571" fmla="*/ 1781046 h 1906800"/>
                  <a:gd name="connsiteX572" fmla="*/ 352828 w 1922991"/>
                  <a:gd name="connsiteY572" fmla="*/ 1772668 h 1906800"/>
                  <a:gd name="connsiteX573" fmla="*/ 343860 w 1922991"/>
                  <a:gd name="connsiteY573" fmla="*/ 1763852 h 1906800"/>
                  <a:gd name="connsiteX574" fmla="*/ 341608 w 1922991"/>
                  <a:gd name="connsiteY574" fmla="*/ 1761657 h 1906800"/>
                  <a:gd name="connsiteX575" fmla="*/ 339476 w 1922991"/>
                  <a:gd name="connsiteY575" fmla="*/ 1759344 h 1906800"/>
                  <a:gd name="connsiteX576" fmla="*/ 335212 w 1922991"/>
                  <a:gd name="connsiteY576" fmla="*/ 1754736 h 1906800"/>
                  <a:gd name="connsiteX577" fmla="*/ 330947 w 1922991"/>
                  <a:gd name="connsiteY577" fmla="*/ 1750148 h 1906800"/>
                  <a:gd name="connsiteX578" fmla="*/ 326922 w 1922991"/>
                  <a:gd name="connsiteY578" fmla="*/ 1745341 h 1906800"/>
                  <a:gd name="connsiteX579" fmla="*/ 322876 w 1922991"/>
                  <a:gd name="connsiteY579" fmla="*/ 1740553 h 1906800"/>
                  <a:gd name="connsiteX580" fmla="*/ 320863 w 1922991"/>
                  <a:gd name="connsiteY580" fmla="*/ 1738160 h 1906800"/>
                  <a:gd name="connsiteX581" fmla="*/ 318970 w 1922991"/>
                  <a:gd name="connsiteY581" fmla="*/ 1735666 h 1906800"/>
                  <a:gd name="connsiteX582" fmla="*/ 311398 w 1922991"/>
                  <a:gd name="connsiteY582" fmla="*/ 1725713 h 1906800"/>
                  <a:gd name="connsiteX583" fmla="*/ 304343 w 1922991"/>
                  <a:gd name="connsiteY583" fmla="*/ 1715420 h 1906800"/>
                  <a:gd name="connsiteX584" fmla="*/ 283260 w 1922991"/>
                  <a:gd name="connsiteY584" fmla="*/ 1678139 h 1906800"/>
                  <a:gd name="connsiteX585" fmla="*/ 280908 w 1922991"/>
                  <a:gd name="connsiteY585" fmla="*/ 1673332 h 1906800"/>
                  <a:gd name="connsiteX586" fmla="*/ 278816 w 1922991"/>
                  <a:gd name="connsiteY586" fmla="*/ 1668425 h 1906800"/>
                  <a:gd name="connsiteX587" fmla="*/ 274651 w 1922991"/>
                  <a:gd name="connsiteY587" fmla="*/ 1658591 h 1906800"/>
                  <a:gd name="connsiteX588" fmla="*/ 271024 w 1922991"/>
                  <a:gd name="connsiteY588" fmla="*/ 1648578 h 1906800"/>
                  <a:gd name="connsiteX589" fmla="*/ 269230 w 1922991"/>
                  <a:gd name="connsiteY589" fmla="*/ 1643571 h 1906800"/>
                  <a:gd name="connsiteX590" fmla="*/ 267696 w 1922991"/>
                  <a:gd name="connsiteY590" fmla="*/ 1638485 h 1906800"/>
                  <a:gd name="connsiteX591" fmla="*/ 258011 w 1922991"/>
                  <a:gd name="connsiteY591" fmla="*/ 1597115 h 1906800"/>
                  <a:gd name="connsiteX592" fmla="*/ 255560 w 1922991"/>
                  <a:gd name="connsiteY592" fmla="*/ 1575991 h 1906800"/>
                  <a:gd name="connsiteX593" fmla="*/ 255121 w 1922991"/>
                  <a:gd name="connsiteY593" fmla="*/ 1570685 h 1906800"/>
                  <a:gd name="connsiteX594" fmla="*/ 254902 w 1922991"/>
                  <a:gd name="connsiteY594" fmla="*/ 1568032 h 1906800"/>
                  <a:gd name="connsiteX595" fmla="*/ 254902 w 1922991"/>
                  <a:gd name="connsiteY595" fmla="*/ 1567693 h 1906800"/>
                  <a:gd name="connsiteX596" fmla="*/ 254862 w 1922991"/>
                  <a:gd name="connsiteY596" fmla="*/ 1567035 h 1906800"/>
                  <a:gd name="connsiteX597" fmla="*/ 254862 w 1922991"/>
                  <a:gd name="connsiteY597" fmla="*/ 1562507 h 1906800"/>
                  <a:gd name="connsiteX598" fmla="*/ 254723 w 1922991"/>
                  <a:gd name="connsiteY598" fmla="*/ 1538331 h 1906800"/>
                  <a:gd name="connsiteX599" fmla="*/ 254663 w 1922991"/>
                  <a:gd name="connsiteY599" fmla="*/ 1534202 h 1906800"/>
                  <a:gd name="connsiteX600" fmla="*/ 254623 w 1922991"/>
                  <a:gd name="connsiteY600" fmla="*/ 1532147 h 1906800"/>
                  <a:gd name="connsiteX601" fmla="*/ 254424 w 1922991"/>
                  <a:gd name="connsiteY601" fmla="*/ 1530213 h 1906800"/>
                  <a:gd name="connsiteX602" fmla="*/ 252252 w 1922991"/>
                  <a:gd name="connsiteY602" fmla="*/ 1523431 h 1906800"/>
                  <a:gd name="connsiteX603" fmla="*/ 247888 w 1922991"/>
                  <a:gd name="connsiteY603" fmla="*/ 1509887 h 1906800"/>
                  <a:gd name="connsiteX604" fmla="*/ 246791 w 1922991"/>
                  <a:gd name="connsiteY604" fmla="*/ 1506496 h 1906800"/>
                  <a:gd name="connsiteX605" fmla="*/ 246253 w 1922991"/>
                  <a:gd name="connsiteY605" fmla="*/ 1504800 h 1906800"/>
                  <a:gd name="connsiteX606" fmla="*/ 245955 w 1922991"/>
                  <a:gd name="connsiteY606" fmla="*/ 1503982 h 1906800"/>
                  <a:gd name="connsiteX607" fmla="*/ 245456 w 1922991"/>
                  <a:gd name="connsiteY607" fmla="*/ 1503244 h 1906800"/>
                  <a:gd name="connsiteX608" fmla="*/ 240733 w 1922991"/>
                  <a:gd name="connsiteY608" fmla="*/ 1498098 h 1906800"/>
                  <a:gd name="connsiteX609" fmla="*/ 231288 w 1922991"/>
                  <a:gd name="connsiteY609" fmla="*/ 1487805 h 1906800"/>
                  <a:gd name="connsiteX610" fmla="*/ 228398 w 1922991"/>
                  <a:gd name="connsiteY610" fmla="*/ 1485870 h 1906800"/>
                  <a:gd name="connsiteX611" fmla="*/ 225130 w 1922991"/>
                  <a:gd name="connsiteY611" fmla="*/ 1484115 h 1906800"/>
                  <a:gd name="connsiteX612" fmla="*/ 218594 w 1922991"/>
                  <a:gd name="connsiteY612" fmla="*/ 1480624 h 1906800"/>
                  <a:gd name="connsiteX613" fmla="*/ 205501 w 1922991"/>
                  <a:gd name="connsiteY613" fmla="*/ 1473663 h 1906800"/>
                  <a:gd name="connsiteX614" fmla="*/ 198905 w 1922991"/>
                  <a:gd name="connsiteY614" fmla="*/ 1470232 h 1906800"/>
                  <a:gd name="connsiteX615" fmla="*/ 193225 w 1922991"/>
                  <a:gd name="connsiteY615" fmla="*/ 1467060 h 1906800"/>
                  <a:gd name="connsiteX616" fmla="*/ 187825 w 1922991"/>
                  <a:gd name="connsiteY616" fmla="*/ 1463929 h 1906800"/>
                  <a:gd name="connsiteX617" fmla="*/ 177223 w 1922991"/>
                  <a:gd name="connsiteY617" fmla="*/ 1457326 h 1906800"/>
                  <a:gd name="connsiteX618" fmla="*/ 171982 w 1922991"/>
                  <a:gd name="connsiteY618" fmla="*/ 1453915 h 1906800"/>
                  <a:gd name="connsiteX619" fmla="*/ 166881 w 1922991"/>
                  <a:gd name="connsiteY619" fmla="*/ 1450325 h 1906800"/>
                  <a:gd name="connsiteX620" fmla="*/ 128599 w 1922991"/>
                  <a:gd name="connsiteY620" fmla="*/ 1418470 h 1906800"/>
                  <a:gd name="connsiteX621" fmla="*/ 96097 w 1922991"/>
                  <a:gd name="connsiteY621" fmla="*/ 1381049 h 1906800"/>
                  <a:gd name="connsiteX622" fmla="*/ 70410 w 1922991"/>
                  <a:gd name="connsiteY622" fmla="*/ 1338981 h 1906800"/>
                  <a:gd name="connsiteX623" fmla="*/ 65129 w 1922991"/>
                  <a:gd name="connsiteY623" fmla="*/ 1327890 h 1906800"/>
                  <a:gd name="connsiteX624" fmla="*/ 60326 w 1922991"/>
                  <a:gd name="connsiteY624" fmla="*/ 1316600 h 1906800"/>
                  <a:gd name="connsiteX625" fmla="*/ 56082 w 1922991"/>
                  <a:gd name="connsiteY625" fmla="*/ 1305091 h 1906800"/>
                  <a:gd name="connsiteX626" fmla="*/ 52315 w 1922991"/>
                  <a:gd name="connsiteY626" fmla="*/ 1293422 h 1906800"/>
                  <a:gd name="connsiteX627" fmla="*/ 42351 w 1922991"/>
                  <a:gd name="connsiteY627" fmla="*/ 1245529 h 1906800"/>
                  <a:gd name="connsiteX628" fmla="*/ 40896 w 1922991"/>
                  <a:gd name="connsiteY628" fmla="*/ 1196520 h 1906800"/>
                  <a:gd name="connsiteX629" fmla="*/ 47871 w 1922991"/>
                  <a:gd name="connsiteY629" fmla="*/ 1148068 h 1906800"/>
                  <a:gd name="connsiteX630" fmla="*/ 49904 w 1922991"/>
                  <a:gd name="connsiteY630" fmla="*/ 1140050 h 1906800"/>
                  <a:gd name="connsiteX631" fmla="*/ 52076 w 1922991"/>
                  <a:gd name="connsiteY631" fmla="*/ 1132051 h 1906800"/>
                  <a:gd name="connsiteX632" fmla="*/ 54627 w 1922991"/>
                  <a:gd name="connsiteY632" fmla="*/ 1124172 h 1906800"/>
                  <a:gd name="connsiteX633" fmla="*/ 55882 w 1922991"/>
                  <a:gd name="connsiteY633" fmla="*/ 1120222 h 1906800"/>
                  <a:gd name="connsiteX634" fmla="*/ 57337 w 1922991"/>
                  <a:gd name="connsiteY634" fmla="*/ 1116333 h 1906800"/>
                  <a:gd name="connsiteX635" fmla="*/ 60227 w 1922991"/>
                  <a:gd name="connsiteY635" fmla="*/ 1108553 h 1906800"/>
                  <a:gd name="connsiteX636" fmla="*/ 63455 w 1922991"/>
                  <a:gd name="connsiteY636" fmla="*/ 1100914 h 1906800"/>
                  <a:gd name="connsiteX637" fmla="*/ 70430 w 1922991"/>
                  <a:gd name="connsiteY637" fmla="*/ 1085834 h 1906800"/>
                  <a:gd name="connsiteX638" fmla="*/ 74296 w 1922991"/>
                  <a:gd name="connsiteY638" fmla="*/ 1078453 h 1906800"/>
                  <a:gd name="connsiteX639" fmla="*/ 78281 w 1922991"/>
                  <a:gd name="connsiteY639" fmla="*/ 1071153 h 1906800"/>
                  <a:gd name="connsiteX640" fmla="*/ 82586 w 1922991"/>
                  <a:gd name="connsiteY640" fmla="*/ 1064012 h 1906800"/>
                  <a:gd name="connsiteX641" fmla="*/ 84738 w 1922991"/>
                  <a:gd name="connsiteY641" fmla="*/ 1060441 h 1906800"/>
                  <a:gd name="connsiteX642" fmla="*/ 87049 w 1922991"/>
                  <a:gd name="connsiteY642" fmla="*/ 1056970 h 1906800"/>
                  <a:gd name="connsiteX643" fmla="*/ 91653 w 1922991"/>
                  <a:gd name="connsiteY643" fmla="*/ 1050009 h 1906800"/>
                  <a:gd name="connsiteX644" fmla="*/ 96575 w 1922991"/>
                  <a:gd name="connsiteY644" fmla="*/ 1043247 h 1906800"/>
                  <a:gd name="connsiteX645" fmla="*/ 99026 w 1922991"/>
                  <a:gd name="connsiteY645" fmla="*/ 1039856 h 1906800"/>
                  <a:gd name="connsiteX646" fmla="*/ 99325 w 1922991"/>
                  <a:gd name="connsiteY646" fmla="*/ 1039437 h 1906800"/>
                  <a:gd name="connsiteX647" fmla="*/ 99484 w 1922991"/>
                  <a:gd name="connsiteY647" fmla="*/ 1039218 h 1906800"/>
                  <a:gd name="connsiteX648" fmla="*/ 99724 w 1922991"/>
                  <a:gd name="connsiteY648" fmla="*/ 1038918 h 1906800"/>
                  <a:gd name="connsiteX649" fmla="*/ 101258 w 1922991"/>
                  <a:gd name="connsiteY649" fmla="*/ 1037083 h 1906800"/>
                  <a:gd name="connsiteX650" fmla="*/ 104327 w 1922991"/>
                  <a:gd name="connsiteY650" fmla="*/ 1033413 h 1906800"/>
                  <a:gd name="connsiteX651" fmla="*/ 116583 w 1922991"/>
                  <a:gd name="connsiteY651" fmla="*/ 1018752 h 1906800"/>
                  <a:gd name="connsiteX652" fmla="*/ 118177 w 1922991"/>
                  <a:gd name="connsiteY652" fmla="*/ 1016897 h 1906800"/>
                  <a:gd name="connsiteX653" fmla="*/ 119512 w 1922991"/>
                  <a:gd name="connsiteY653" fmla="*/ 1015002 h 1906800"/>
                  <a:gd name="connsiteX654" fmla="*/ 121345 w 1922991"/>
                  <a:gd name="connsiteY654" fmla="*/ 1011092 h 1906800"/>
                  <a:gd name="connsiteX655" fmla="*/ 124992 w 1922991"/>
                  <a:gd name="connsiteY655" fmla="*/ 1003253 h 1906800"/>
                  <a:gd name="connsiteX656" fmla="*/ 128639 w 1922991"/>
                  <a:gd name="connsiteY656" fmla="*/ 995414 h 1906800"/>
                  <a:gd name="connsiteX657" fmla="*/ 130472 w 1922991"/>
                  <a:gd name="connsiteY657" fmla="*/ 991505 h 1906800"/>
                  <a:gd name="connsiteX658" fmla="*/ 131289 w 1922991"/>
                  <a:gd name="connsiteY658" fmla="*/ 989510 h 1906800"/>
                  <a:gd name="connsiteX659" fmla="*/ 131509 w 1922991"/>
                  <a:gd name="connsiteY659" fmla="*/ 987455 h 1906800"/>
                  <a:gd name="connsiteX660" fmla="*/ 132226 w 1922991"/>
                  <a:gd name="connsiteY660" fmla="*/ 979317 h 1906800"/>
                  <a:gd name="connsiteX661" fmla="*/ 132405 w 1922991"/>
                  <a:gd name="connsiteY661" fmla="*/ 977282 h 1906800"/>
                  <a:gd name="connsiteX662" fmla="*/ 132146 w 1922991"/>
                  <a:gd name="connsiteY662" fmla="*/ 975048 h 1906800"/>
                  <a:gd name="connsiteX663" fmla="*/ 131588 w 1922991"/>
                  <a:gd name="connsiteY663" fmla="*/ 970560 h 1906800"/>
                  <a:gd name="connsiteX664" fmla="*/ 131030 w 1922991"/>
                  <a:gd name="connsiteY664" fmla="*/ 966072 h 1906800"/>
                  <a:gd name="connsiteX665" fmla="*/ 130731 w 1922991"/>
                  <a:gd name="connsiteY665" fmla="*/ 963818 h 1906800"/>
                  <a:gd name="connsiteX666" fmla="*/ 129974 w 1922991"/>
                  <a:gd name="connsiteY666" fmla="*/ 961504 h 1906800"/>
                  <a:gd name="connsiteX667" fmla="*/ 126925 w 1922991"/>
                  <a:gd name="connsiteY667" fmla="*/ 952289 h 1906800"/>
                  <a:gd name="connsiteX668" fmla="*/ 123976 w 1922991"/>
                  <a:gd name="connsiteY668" fmla="*/ 943053 h 1906800"/>
                  <a:gd name="connsiteX669" fmla="*/ 122521 w 1922991"/>
                  <a:gd name="connsiteY669" fmla="*/ 938446 h 1906800"/>
                  <a:gd name="connsiteX670" fmla="*/ 121804 w 1922991"/>
                  <a:gd name="connsiteY670" fmla="*/ 936132 h 1906800"/>
                  <a:gd name="connsiteX671" fmla="*/ 121465 w 1922991"/>
                  <a:gd name="connsiteY671" fmla="*/ 934975 h 1906800"/>
                  <a:gd name="connsiteX672" fmla="*/ 121066 w 1922991"/>
                  <a:gd name="connsiteY672" fmla="*/ 933479 h 1906800"/>
                  <a:gd name="connsiteX673" fmla="*/ 119133 w 1922991"/>
                  <a:gd name="connsiteY673" fmla="*/ 925899 h 1906800"/>
                  <a:gd name="connsiteX674" fmla="*/ 115925 w 1922991"/>
                  <a:gd name="connsiteY674" fmla="*/ 910580 h 1906800"/>
                  <a:gd name="connsiteX675" fmla="*/ 111900 w 1922991"/>
                  <a:gd name="connsiteY675" fmla="*/ 862368 h 1906800"/>
                  <a:gd name="connsiteX676" fmla="*/ 113295 w 1922991"/>
                  <a:gd name="connsiteY676" fmla="*/ 838172 h 1906800"/>
                  <a:gd name="connsiteX677" fmla="*/ 113912 w 1922991"/>
                  <a:gd name="connsiteY677" fmla="*/ 832148 h 1906800"/>
                  <a:gd name="connsiteX678" fmla="*/ 114650 w 1922991"/>
                  <a:gd name="connsiteY678" fmla="*/ 826144 h 1906800"/>
                  <a:gd name="connsiteX679" fmla="*/ 116722 w 1922991"/>
                  <a:gd name="connsiteY679" fmla="*/ 814236 h 1906800"/>
                  <a:gd name="connsiteX680" fmla="*/ 119333 w 1922991"/>
                  <a:gd name="connsiteY680" fmla="*/ 802447 h 1906800"/>
                  <a:gd name="connsiteX681" fmla="*/ 120748 w 1922991"/>
                  <a:gd name="connsiteY681" fmla="*/ 796583 h 1906800"/>
                  <a:gd name="connsiteX682" fmla="*/ 121445 w 1922991"/>
                  <a:gd name="connsiteY682" fmla="*/ 793650 h 1906800"/>
                  <a:gd name="connsiteX683" fmla="*/ 122342 w 1922991"/>
                  <a:gd name="connsiteY683" fmla="*/ 790758 h 1906800"/>
                  <a:gd name="connsiteX684" fmla="*/ 125989 w 1922991"/>
                  <a:gd name="connsiteY684" fmla="*/ 779229 h 1906800"/>
                  <a:gd name="connsiteX685" fmla="*/ 126905 w 1922991"/>
                  <a:gd name="connsiteY685" fmla="*/ 776356 h 1906800"/>
                  <a:gd name="connsiteX686" fmla="*/ 128021 w 1922991"/>
                  <a:gd name="connsiteY686" fmla="*/ 773544 h 1906800"/>
                  <a:gd name="connsiteX687" fmla="*/ 130233 w 1922991"/>
                  <a:gd name="connsiteY687" fmla="*/ 767919 h 1906800"/>
                  <a:gd name="connsiteX688" fmla="*/ 140018 w 1922991"/>
                  <a:gd name="connsiteY688" fmla="*/ 745778 h 1906800"/>
                  <a:gd name="connsiteX689" fmla="*/ 145837 w 1922991"/>
                  <a:gd name="connsiteY689" fmla="*/ 735126 h 1906800"/>
                  <a:gd name="connsiteX690" fmla="*/ 148746 w 1922991"/>
                  <a:gd name="connsiteY690" fmla="*/ 729800 h 1906800"/>
                  <a:gd name="connsiteX691" fmla="*/ 152014 w 1922991"/>
                  <a:gd name="connsiteY691" fmla="*/ 724694 h 1906800"/>
                  <a:gd name="connsiteX692" fmla="*/ 155940 w 1922991"/>
                  <a:gd name="connsiteY692" fmla="*/ 718550 h 1906800"/>
                  <a:gd name="connsiteX693" fmla="*/ 157893 w 1922991"/>
                  <a:gd name="connsiteY693" fmla="*/ 715478 h 1906800"/>
                  <a:gd name="connsiteX694" fmla="*/ 160025 w 1922991"/>
                  <a:gd name="connsiteY694" fmla="*/ 712526 h 1906800"/>
                  <a:gd name="connsiteX695" fmla="*/ 168674 w 1922991"/>
                  <a:gd name="connsiteY695" fmla="*/ 700757 h 1906800"/>
                  <a:gd name="connsiteX696" fmla="*/ 178080 w 1922991"/>
                  <a:gd name="connsiteY696" fmla="*/ 689547 h 1906800"/>
                  <a:gd name="connsiteX697" fmla="*/ 183022 w 1922991"/>
                  <a:gd name="connsiteY697" fmla="*/ 684142 h 1906800"/>
                  <a:gd name="connsiteX698" fmla="*/ 188064 w 1922991"/>
                  <a:gd name="connsiteY698" fmla="*/ 678836 h 1906800"/>
                  <a:gd name="connsiteX699" fmla="*/ 198586 w 1922991"/>
                  <a:gd name="connsiteY699" fmla="*/ 668643 h 1906800"/>
                  <a:gd name="connsiteX700" fmla="*/ 203947 w 1922991"/>
                  <a:gd name="connsiteY700" fmla="*/ 663636 h 1906800"/>
                  <a:gd name="connsiteX701" fmla="*/ 209606 w 1922991"/>
                  <a:gd name="connsiteY701" fmla="*/ 658988 h 1906800"/>
                  <a:gd name="connsiteX702" fmla="*/ 215285 w 1922991"/>
                  <a:gd name="connsiteY702" fmla="*/ 654341 h 1906800"/>
                  <a:gd name="connsiteX703" fmla="*/ 218115 w 1922991"/>
                  <a:gd name="connsiteY703" fmla="*/ 652007 h 1906800"/>
                  <a:gd name="connsiteX704" fmla="*/ 221104 w 1922991"/>
                  <a:gd name="connsiteY704" fmla="*/ 649893 h 1906800"/>
                  <a:gd name="connsiteX705" fmla="*/ 232005 w 1922991"/>
                  <a:gd name="connsiteY705" fmla="*/ 642053 h 1906800"/>
                  <a:gd name="connsiteX706" fmla="*/ 247330 w 1922991"/>
                  <a:gd name="connsiteY706" fmla="*/ 632439 h 1906800"/>
                  <a:gd name="connsiteX707" fmla="*/ 261518 w 1922991"/>
                  <a:gd name="connsiteY707" fmla="*/ 616900 h 1906800"/>
                  <a:gd name="connsiteX708" fmla="*/ 268613 w 1922991"/>
                  <a:gd name="connsiteY708" fmla="*/ 609121 h 1906800"/>
                  <a:gd name="connsiteX709" fmla="*/ 270386 w 1922991"/>
                  <a:gd name="connsiteY709" fmla="*/ 607186 h 1906800"/>
                  <a:gd name="connsiteX710" fmla="*/ 271283 w 1922991"/>
                  <a:gd name="connsiteY710" fmla="*/ 606209 h 1906800"/>
                  <a:gd name="connsiteX711" fmla="*/ 271721 w 1922991"/>
                  <a:gd name="connsiteY711" fmla="*/ 605730 h 1906800"/>
                  <a:gd name="connsiteX712" fmla="*/ 272000 w 1922991"/>
                  <a:gd name="connsiteY712" fmla="*/ 605132 h 1906800"/>
                  <a:gd name="connsiteX713" fmla="*/ 273734 w 1922991"/>
                  <a:gd name="connsiteY713" fmla="*/ 600803 h 1906800"/>
                  <a:gd name="connsiteX714" fmla="*/ 277341 w 1922991"/>
                  <a:gd name="connsiteY714" fmla="*/ 580258 h 1906800"/>
                  <a:gd name="connsiteX715" fmla="*/ 274412 w 1922991"/>
                  <a:gd name="connsiteY715" fmla="*/ 556541 h 1906800"/>
                  <a:gd name="connsiteX716" fmla="*/ 273694 w 1922991"/>
                  <a:gd name="connsiteY716" fmla="*/ 550596 h 1906800"/>
                  <a:gd name="connsiteX717" fmla="*/ 273375 w 1922991"/>
                  <a:gd name="connsiteY717" fmla="*/ 547664 h 1906800"/>
                  <a:gd name="connsiteX718" fmla="*/ 273136 w 1922991"/>
                  <a:gd name="connsiteY718" fmla="*/ 544932 h 1906800"/>
                  <a:gd name="connsiteX719" fmla="*/ 272797 w 1922991"/>
                  <a:gd name="connsiteY719" fmla="*/ 540743 h 1906800"/>
                  <a:gd name="connsiteX720" fmla="*/ 272658 w 1922991"/>
                  <a:gd name="connsiteY720" fmla="*/ 538369 h 1906800"/>
                  <a:gd name="connsiteX721" fmla="*/ 272319 w 1922991"/>
                  <a:gd name="connsiteY721" fmla="*/ 528874 h 1906800"/>
                  <a:gd name="connsiteX722" fmla="*/ 272419 w 1922991"/>
                  <a:gd name="connsiteY722" fmla="*/ 519360 h 1906800"/>
                  <a:gd name="connsiteX723" fmla="*/ 272518 w 1922991"/>
                  <a:gd name="connsiteY723" fmla="*/ 514592 h 1906800"/>
                  <a:gd name="connsiteX724" fmla="*/ 272837 w 1922991"/>
                  <a:gd name="connsiteY724" fmla="*/ 509845 h 1906800"/>
                  <a:gd name="connsiteX725" fmla="*/ 280450 w 1922991"/>
                  <a:gd name="connsiteY725" fmla="*/ 463109 h 1906800"/>
                  <a:gd name="connsiteX726" fmla="*/ 297349 w 1922991"/>
                  <a:gd name="connsiteY726" fmla="*/ 418767 h 1906800"/>
                  <a:gd name="connsiteX727" fmla="*/ 322717 w 1922991"/>
                  <a:gd name="connsiteY727" fmla="*/ 378235 h 1906800"/>
                  <a:gd name="connsiteX728" fmla="*/ 355478 w 1922991"/>
                  <a:gd name="connsiteY728" fmla="*/ 342849 h 1906800"/>
                  <a:gd name="connsiteX729" fmla="*/ 401392 w 1922991"/>
                  <a:gd name="connsiteY729" fmla="*/ 309777 h 1906800"/>
                  <a:gd name="connsiteX730" fmla="*/ 426740 w 1922991"/>
                  <a:gd name="connsiteY730" fmla="*/ 296911 h 1906800"/>
                  <a:gd name="connsiteX731" fmla="*/ 433297 w 1922991"/>
                  <a:gd name="connsiteY731" fmla="*/ 294118 h 1906800"/>
                  <a:gd name="connsiteX732" fmla="*/ 434931 w 1922991"/>
                  <a:gd name="connsiteY732" fmla="*/ 293420 h 1906800"/>
                  <a:gd name="connsiteX733" fmla="*/ 436704 w 1922991"/>
                  <a:gd name="connsiteY733" fmla="*/ 292742 h 1906800"/>
                  <a:gd name="connsiteX734" fmla="*/ 440291 w 1922991"/>
                  <a:gd name="connsiteY734" fmla="*/ 291385 h 1906800"/>
                  <a:gd name="connsiteX735" fmla="*/ 443878 w 1922991"/>
                  <a:gd name="connsiteY735" fmla="*/ 290029 h 1906800"/>
                  <a:gd name="connsiteX736" fmla="*/ 445672 w 1922991"/>
                  <a:gd name="connsiteY736" fmla="*/ 289351 h 1906800"/>
                  <a:gd name="connsiteX737" fmla="*/ 447366 w 1922991"/>
                  <a:gd name="connsiteY737" fmla="*/ 288792 h 1906800"/>
                  <a:gd name="connsiteX738" fmla="*/ 449438 w 1922991"/>
                  <a:gd name="connsiteY738" fmla="*/ 288134 h 1906800"/>
                  <a:gd name="connsiteX739" fmla="*/ 466038 w 1922991"/>
                  <a:gd name="connsiteY739" fmla="*/ 282888 h 1906800"/>
                  <a:gd name="connsiteX740" fmla="*/ 469007 w 1922991"/>
                  <a:gd name="connsiteY740" fmla="*/ 281931 h 1906800"/>
                  <a:gd name="connsiteX741" fmla="*/ 470482 w 1922991"/>
                  <a:gd name="connsiteY741" fmla="*/ 281452 h 1906800"/>
                  <a:gd name="connsiteX742" fmla="*/ 471837 w 1922991"/>
                  <a:gd name="connsiteY742" fmla="*/ 280853 h 1906800"/>
                  <a:gd name="connsiteX743" fmla="*/ 476620 w 1922991"/>
                  <a:gd name="connsiteY743" fmla="*/ 277841 h 1906800"/>
                  <a:gd name="connsiteX744" fmla="*/ 486165 w 1922991"/>
                  <a:gd name="connsiteY744" fmla="*/ 271837 h 1906800"/>
                  <a:gd name="connsiteX745" fmla="*/ 490948 w 1922991"/>
                  <a:gd name="connsiteY745" fmla="*/ 268825 h 1906800"/>
                  <a:gd name="connsiteX746" fmla="*/ 492104 w 1922991"/>
                  <a:gd name="connsiteY746" fmla="*/ 268028 h 1906800"/>
                  <a:gd name="connsiteX747" fmla="*/ 492941 w 1922991"/>
                  <a:gd name="connsiteY747" fmla="*/ 266891 h 1906800"/>
                  <a:gd name="connsiteX748" fmla="*/ 494495 w 1922991"/>
                  <a:gd name="connsiteY748" fmla="*/ 264517 h 1906800"/>
                  <a:gd name="connsiteX749" fmla="*/ 500733 w 1922991"/>
                  <a:gd name="connsiteY749" fmla="*/ 255022 h 1906800"/>
                  <a:gd name="connsiteX750" fmla="*/ 503841 w 1922991"/>
                  <a:gd name="connsiteY750" fmla="*/ 250275 h 1906800"/>
                  <a:gd name="connsiteX751" fmla="*/ 505396 w 1922991"/>
                  <a:gd name="connsiteY751" fmla="*/ 247901 h 1906800"/>
                  <a:gd name="connsiteX752" fmla="*/ 506791 w 1922991"/>
                  <a:gd name="connsiteY752" fmla="*/ 245368 h 1906800"/>
                  <a:gd name="connsiteX753" fmla="*/ 510916 w 1922991"/>
                  <a:gd name="connsiteY753" fmla="*/ 233719 h 1906800"/>
                  <a:gd name="connsiteX754" fmla="*/ 515041 w 1922991"/>
                  <a:gd name="connsiteY754" fmla="*/ 222070 h 1906800"/>
                  <a:gd name="connsiteX755" fmla="*/ 515559 w 1922991"/>
                  <a:gd name="connsiteY755" fmla="*/ 220614 h 1906800"/>
                  <a:gd name="connsiteX756" fmla="*/ 515798 w 1922991"/>
                  <a:gd name="connsiteY756" fmla="*/ 219975 h 1906800"/>
                  <a:gd name="connsiteX757" fmla="*/ 515918 w 1922991"/>
                  <a:gd name="connsiteY757" fmla="*/ 219656 h 1906800"/>
                  <a:gd name="connsiteX758" fmla="*/ 516436 w 1922991"/>
                  <a:gd name="connsiteY758" fmla="*/ 218419 h 1906800"/>
                  <a:gd name="connsiteX759" fmla="*/ 517452 w 1922991"/>
                  <a:gd name="connsiteY759" fmla="*/ 215926 h 1906800"/>
                  <a:gd name="connsiteX760" fmla="*/ 535567 w 1922991"/>
                  <a:gd name="connsiteY760" fmla="*/ 177149 h 1906800"/>
                  <a:gd name="connsiteX761" fmla="*/ 562748 w 1922991"/>
                  <a:gd name="connsiteY761" fmla="*/ 134702 h 1906800"/>
                  <a:gd name="connsiteX762" fmla="*/ 595430 w 1922991"/>
                  <a:gd name="connsiteY762" fmla="*/ 98079 h 1906800"/>
                  <a:gd name="connsiteX763" fmla="*/ 674026 w 1922991"/>
                  <a:gd name="connsiteY763" fmla="*/ 49748 h 1906800"/>
                  <a:gd name="connsiteX764" fmla="*/ 695468 w 1922991"/>
                  <a:gd name="connsiteY764" fmla="*/ 43963 h 1906800"/>
                  <a:gd name="connsiteX765" fmla="*/ 700908 w 1922991"/>
                  <a:gd name="connsiteY765" fmla="*/ 43026 h 1906800"/>
                  <a:gd name="connsiteX766" fmla="*/ 703619 w 1922991"/>
                  <a:gd name="connsiteY766" fmla="*/ 42527 h 1906800"/>
                  <a:gd name="connsiteX767" fmla="*/ 706349 w 1922991"/>
                  <a:gd name="connsiteY767" fmla="*/ 42188 h 1906800"/>
                  <a:gd name="connsiteX768" fmla="*/ 711809 w 1922991"/>
                  <a:gd name="connsiteY768" fmla="*/ 41490 h 1906800"/>
                  <a:gd name="connsiteX769" fmla="*/ 717309 w 1922991"/>
                  <a:gd name="connsiteY769" fmla="*/ 41071 h 1906800"/>
                  <a:gd name="connsiteX770" fmla="*/ 728329 w 1922991"/>
                  <a:gd name="connsiteY770" fmla="*/ 40612 h 1906800"/>
                  <a:gd name="connsiteX771" fmla="*/ 731278 w 1922991"/>
                  <a:gd name="connsiteY771" fmla="*/ 40612 h 1906800"/>
                  <a:gd name="connsiteX772" fmla="*/ 734347 w 1922991"/>
                  <a:gd name="connsiteY772" fmla="*/ 40692 h 1906800"/>
                  <a:gd name="connsiteX773" fmla="*/ 740505 w 1922991"/>
                  <a:gd name="connsiteY773" fmla="*/ 40831 h 1906800"/>
                  <a:gd name="connsiteX774" fmla="*/ 743574 w 1922991"/>
                  <a:gd name="connsiteY774" fmla="*/ 40891 h 1906800"/>
                  <a:gd name="connsiteX775" fmla="*/ 746603 w 1922991"/>
                  <a:gd name="connsiteY775" fmla="*/ 41131 h 1906800"/>
                  <a:gd name="connsiteX776" fmla="*/ 752661 w 1922991"/>
                  <a:gd name="connsiteY776" fmla="*/ 41589 h 1906800"/>
                  <a:gd name="connsiteX777" fmla="*/ 758699 w 1922991"/>
                  <a:gd name="connsiteY777" fmla="*/ 42088 h 1906800"/>
                  <a:gd name="connsiteX778" fmla="*/ 764638 w 1922991"/>
                  <a:gd name="connsiteY778" fmla="*/ 42866 h 1906800"/>
                  <a:gd name="connsiteX779" fmla="*/ 810034 w 1922991"/>
                  <a:gd name="connsiteY779" fmla="*/ 53518 h 1906800"/>
                  <a:gd name="connsiteX780" fmla="*/ 850288 w 1922991"/>
                  <a:gd name="connsiteY780" fmla="*/ 73545 h 1906800"/>
                  <a:gd name="connsiteX781" fmla="*/ 871750 w 1922991"/>
                  <a:gd name="connsiteY781" fmla="*/ 89961 h 1906800"/>
                  <a:gd name="connsiteX782" fmla="*/ 874321 w 1922991"/>
                  <a:gd name="connsiteY782" fmla="*/ 92195 h 1906800"/>
                  <a:gd name="connsiteX783" fmla="*/ 876752 w 1922991"/>
                  <a:gd name="connsiteY783" fmla="*/ 94609 h 1906800"/>
                  <a:gd name="connsiteX784" fmla="*/ 881515 w 1922991"/>
                  <a:gd name="connsiteY784" fmla="*/ 99276 h 1906800"/>
                  <a:gd name="connsiteX785" fmla="*/ 887573 w 1922991"/>
                  <a:gd name="connsiteY785" fmla="*/ 105739 h 1906800"/>
                  <a:gd name="connsiteX786" fmla="*/ 890582 w 1922991"/>
                  <a:gd name="connsiteY786" fmla="*/ 109130 h 1906800"/>
                  <a:gd name="connsiteX787" fmla="*/ 892097 w 1922991"/>
                  <a:gd name="connsiteY787" fmla="*/ 110825 h 1906800"/>
                  <a:gd name="connsiteX788" fmla="*/ 893511 w 1922991"/>
                  <a:gd name="connsiteY788" fmla="*/ 112740 h 1906800"/>
                  <a:gd name="connsiteX789" fmla="*/ 899131 w 1922991"/>
                  <a:gd name="connsiteY789" fmla="*/ 120380 h 1906800"/>
                  <a:gd name="connsiteX790" fmla="*/ 910370 w 1922991"/>
                  <a:gd name="connsiteY790" fmla="*/ 135659 h 1906800"/>
                  <a:gd name="connsiteX791" fmla="*/ 913738 w 1922991"/>
                  <a:gd name="connsiteY791" fmla="*/ 140267 h 1906800"/>
                  <a:gd name="connsiteX792" fmla="*/ 914575 w 1922991"/>
                  <a:gd name="connsiteY792" fmla="*/ 141424 h 1906800"/>
                  <a:gd name="connsiteX793" fmla="*/ 915452 w 1922991"/>
                  <a:gd name="connsiteY793" fmla="*/ 142202 h 1906800"/>
                  <a:gd name="connsiteX794" fmla="*/ 917206 w 1922991"/>
                  <a:gd name="connsiteY794" fmla="*/ 143558 h 1906800"/>
                  <a:gd name="connsiteX795" fmla="*/ 924300 w 1922991"/>
                  <a:gd name="connsiteY795" fmla="*/ 148844 h 1906800"/>
                  <a:gd name="connsiteX796" fmla="*/ 938648 w 1922991"/>
                  <a:gd name="connsiteY796" fmla="*/ 158758 h 1906800"/>
                  <a:gd name="connsiteX797" fmla="*/ 939545 w 1922991"/>
                  <a:gd name="connsiteY797" fmla="*/ 159356 h 1906800"/>
                  <a:gd name="connsiteX798" fmla="*/ 940362 w 1922991"/>
                  <a:gd name="connsiteY798" fmla="*/ 159755 h 1906800"/>
                  <a:gd name="connsiteX799" fmla="*/ 941777 w 1922991"/>
                  <a:gd name="connsiteY799" fmla="*/ 160015 h 1906800"/>
                  <a:gd name="connsiteX800" fmla="*/ 944607 w 1922991"/>
                  <a:gd name="connsiteY800" fmla="*/ 160533 h 1906800"/>
                  <a:gd name="connsiteX801" fmla="*/ 950266 w 1922991"/>
                  <a:gd name="connsiteY801" fmla="*/ 161590 h 1906800"/>
                  <a:gd name="connsiteX802" fmla="*/ 955926 w 1922991"/>
                  <a:gd name="connsiteY802" fmla="*/ 162648 h 1906800"/>
                  <a:gd name="connsiteX803" fmla="*/ 958755 w 1922991"/>
                  <a:gd name="connsiteY803" fmla="*/ 163166 h 1906800"/>
                  <a:gd name="connsiteX804" fmla="*/ 960170 w 1922991"/>
                  <a:gd name="connsiteY804" fmla="*/ 163426 h 1906800"/>
                  <a:gd name="connsiteX805" fmla="*/ 960868 w 1922991"/>
                  <a:gd name="connsiteY805" fmla="*/ 163545 h 1906800"/>
                  <a:gd name="connsiteX806" fmla="*/ 961804 w 1922991"/>
                  <a:gd name="connsiteY806" fmla="*/ 163545 h 1906800"/>
                  <a:gd name="connsiteX807" fmla="*/ 973123 w 1922991"/>
                  <a:gd name="connsiteY807" fmla="*/ 161451 h 1906800"/>
                  <a:gd name="connsiteX808" fmla="*/ 978783 w 1922991"/>
                  <a:gd name="connsiteY808" fmla="*/ 160394 h 1906800"/>
                  <a:gd name="connsiteX809" fmla="*/ 984961 w 1922991"/>
                  <a:gd name="connsiteY809" fmla="*/ 158120 h 1906800"/>
                  <a:gd name="connsiteX810" fmla="*/ 999289 w 1922991"/>
                  <a:gd name="connsiteY810" fmla="*/ 148146 h 1906800"/>
                  <a:gd name="connsiteX811" fmla="*/ 1006363 w 1922991"/>
                  <a:gd name="connsiteY811" fmla="*/ 142820 h 1906800"/>
                  <a:gd name="connsiteX812" fmla="*/ 1008097 w 1922991"/>
                  <a:gd name="connsiteY812" fmla="*/ 141344 h 1906800"/>
                  <a:gd name="connsiteX813" fmla="*/ 1009751 w 1922991"/>
                  <a:gd name="connsiteY813" fmla="*/ 139110 h 1906800"/>
                  <a:gd name="connsiteX814" fmla="*/ 1013039 w 1922991"/>
                  <a:gd name="connsiteY814" fmla="*/ 134642 h 1906800"/>
                  <a:gd name="connsiteX815" fmla="*/ 1026191 w 1922991"/>
                  <a:gd name="connsiteY815" fmla="*/ 116750 h 1906800"/>
                  <a:gd name="connsiteX816" fmla="*/ 1032927 w 1922991"/>
                  <a:gd name="connsiteY816" fmla="*/ 108153 h 1906800"/>
                  <a:gd name="connsiteX817" fmla="*/ 1036434 w 1922991"/>
                  <a:gd name="connsiteY817" fmla="*/ 104223 h 1906800"/>
                  <a:gd name="connsiteX818" fmla="*/ 1038188 w 1922991"/>
                  <a:gd name="connsiteY818" fmla="*/ 102248 h 1906800"/>
                  <a:gd name="connsiteX819" fmla="*/ 1039962 w 1922991"/>
                  <a:gd name="connsiteY819" fmla="*/ 100413 h 1906800"/>
                  <a:gd name="connsiteX820" fmla="*/ 1043509 w 1922991"/>
                  <a:gd name="connsiteY820" fmla="*/ 96982 h 1906800"/>
                  <a:gd name="connsiteX821" fmla="*/ 1045820 w 1922991"/>
                  <a:gd name="connsiteY821" fmla="*/ 94688 h 1906800"/>
                  <a:gd name="connsiteX822" fmla="*/ 1048650 w 1922991"/>
                  <a:gd name="connsiteY822" fmla="*/ 91876 h 1906800"/>
                  <a:gd name="connsiteX823" fmla="*/ 1054668 w 1922991"/>
                  <a:gd name="connsiteY823" fmla="*/ 86769 h 1906800"/>
                  <a:gd name="connsiteX824" fmla="*/ 1067083 w 1922991"/>
                  <a:gd name="connsiteY824" fmla="*/ 77095 h 1906800"/>
                  <a:gd name="connsiteX825" fmla="*/ 1073600 w 1922991"/>
                  <a:gd name="connsiteY825" fmla="*/ 72747 h 1906800"/>
                  <a:gd name="connsiteX826" fmla="*/ 1080216 w 1922991"/>
                  <a:gd name="connsiteY826" fmla="*/ 68558 h 1906800"/>
                  <a:gd name="connsiteX827" fmla="*/ 1167919 w 1922991"/>
                  <a:gd name="connsiteY827" fmla="*/ 41749 h 1906800"/>
                  <a:gd name="connsiteX828" fmla="*/ 1180035 w 1922991"/>
                  <a:gd name="connsiteY828" fmla="*/ 40891 h 1906800"/>
                  <a:gd name="connsiteX829" fmla="*/ 1192330 w 1922991"/>
                  <a:gd name="connsiteY829" fmla="*/ 40592 h 1906800"/>
                  <a:gd name="connsiteX830" fmla="*/ 1197930 w 1922991"/>
                  <a:gd name="connsiteY830" fmla="*/ 40712 h 1906800"/>
                  <a:gd name="connsiteX831" fmla="*/ 1203430 w 1922991"/>
                  <a:gd name="connsiteY831" fmla="*/ 40931 h 1906800"/>
                  <a:gd name="connsiteX832" fmla="*/ 1214390 w 1922991"/>
                  <a:gd name="connsiteY832" fmla="*/ 41968 h 1906800"/>
                  <a:gd name="connsiteX833" fmla="*/ 1236092 w 1922991"/>
                  <a:gd name="connsiteY833" fmla="*/ 46018 h 1906800"/>
                  <a:gd name="connsiteX834" fmla="*/ 1241453 w 1922991"/>
                  <a:gd name="connsiteY834" fmla="*/ 47514 h 1906800"/>
                  <a:gd name="connsiteX835" fmla="*/ 1244123 w 1922991"/>
                  <a:gd name="connsiteY835" fmla="*/ 48252 h 1906800"/>
                  <a:gd name="connsiteX836" fmla="*/ 1246773 w 1922991"/>
                  <a:gd name="connsiteY836" fmla="*/ 49149 h 1906800"/>
                  <a:gd name="connsiteX837" fmla="*/ 1252094 w 1922991"/>
                  <a:gd name="connsiteY837" fmla="*/ 50885 h 1906800"/>
                  <a:gd name="connsiteX838" fmla="*/ 1257335 w 1922991"/>
                  <a:gd name="connsiteY838" fmla="*/ 52919 h 1906800"/>
                  <a:gd name="connsiteX839" fmla="*/ 1334376 w 1922991"/>
                  <a:gd name="connsiteY839" fmla="*/ 105121 h 1906800"/>
                  <a:gd name="connsiteX840" fmla="*/ 1365942 w 1922991"/>
                  <a:gd name="connsiteY840" fmla="*/ 143120 h 1906800"/>
                  <a:gd name="connsiteX841" fmla="*/ 1391908 w 1922991"/>
                  <a:gd name="connsiteY841" fmla="*/ 186584 h 1906800"/>
                  <a:gd name="connsiteX842" fmla="*/ 1397030 w 1922991"/>
                  <a:gd name="connsiteY842" fmla="*/ 197176 h 1906800"/>
                  <a:gd name="connsiteX843" fmla="*/ 1401832 w 1922991"/>
                  <a:gd name="connsiteY843" fmla="*/ 207967 h 1906800"/>
                  <a:gd name="connsiteX844" fmla="*/ 1406336 w 1922991"/>
                  <a:gd name="connsiteY844" fmla="*/ 218938 h 1906800"/>
                  <a:gd name="connsiteX845" fmla="*/ 1406615 w 1922991"/>
                  <a:gd name="connsiteY845" fmla="*/ 219616 h 1906800"/>
                  <a:gd name="connsiteX846" fmla="*/ 1406754 w 1922991"/>
                  <a:gd name="connsiteY846" fmla="*/ 219955 h 1906800"/>
                  <a:gd name="connsiteX847" fmla="*/ 1407014 w 1922991"/>
                  <a:gd name="connsiteY847" fmla="*/ 220653 h 1906800"/>
                  <a:gd name="connsiteX848" fmla="*/ 1408149 w 1922991"/>
                  <a:gd name="connsiteY848" fmla="*/ 223845 h 1906800"/>
                  <a:gd name="connsiteX849" fmla="*/ 1410421 w 1922991"/>
                  <a:gd name="connsiteY849" fmla="*/ 230248 h 1906800"/>
                  <a:gd name="connsiteX850" fmla="*/ 1414965 w 1922991"/>
                  <a:gd name="connsiteY850" fmla="*/ 243054 h 1906800"/>
                  <a:gd name="connsiteX851" fmla="*/ 1415921 w 1922991"/>
                  <a:gd name="connsiteY851" fmla="*/ 245767 h 1906800"/>
                  <a:gd name="connsiteX852" fmla="*/ 1417276 w 1922991"/>
                  <a:gd name="connsiteY852" fmla="*/ 248041 h 1906800"/>
                  <a:gd name="connsiteX853" fmla="*/ 1420146 w 1922991"/>
                  <a:gd name="connsiteY853" fmla="*/ 252429 h 1906800"/>
                  <a:gd name="connsiteX854" fmla="*/ 1425905 w 1922991"/>
                  <a:gd name="connsiteY854" fmla="*/ 261186 h 1906800"/>
                  <a:gd name="connsiteX855" fmla="*/ 1428775 w 1922991"/>
                  <a:gd name="connsiteY855" fmla="*/ 265574 h 1906800"/>
                  <a:gd name="connsiteX856" fmla="*/ 1430210 w 1922991"/>
                  <a:gd name="connsiteY856" fmla="*/ 267768 h 1906800"/>
                  <a:gd name="connsiteX857" fmla="*/ 1430688 w 1922991"/>
                  <a:gd name="connsiteY857" fmla="*/ 268227 h 1906800"/>
                  <a:gd name="connsiteX858" fmla="*/ 1431246 w 1922991"/>
                  <a:gd name="connsiteY858" fmla="*/ 268566 h 1906800"/>
                  <a:gd name="connsiteX859" fmla="*/ 1432342 w 1922991"/>
                  <a:gd name="connsiteY859" fmla="*/ 269264 h 1906800"/>
                  <a:gd name="connsiteX860" fmla="*/ 1441170 w 1922991"/>
                  <a:gd name="connsiteY860" fmla="*/ 274810 h 1906800"/>
                  <a:gd name="connsiteX861" fmla="*/ 1449998 w 1922991"/>
                  <a:gd name="connsiteY861" fmla="*/ 280355 h 1906800"/>
                  <a:gd name="connsiteX862" fmla="*/ 1451094 w 1922991"/>
                  <a:gd name="connsiteY862" fmla="*/ 281053 h 1906800"/>
                  <a:gd name="connsiteX863" fmla="*/ 1452429 w 1922991"/>
                  <a:gd name="connsiteY863" fmla="*/ 281532 h 1906800"/>
                  <a:gd name="connsiteX864" fmla="*/ 1455179 w 1922991"/>
                  <a:gd name="connsiteY864" fmla="*/ 282409 h 1906800"/>
                  <a:gd name="connsiteX865" fmla="*/ 1460659 w 1922991"/>
                  <a:gd name="connsiteY865" fmla="*/ 284145 h 1906800"/>
                  <a:gd name="connsiteX866" fmla="*/ 1471620 w 1922991"/>
                  <a:gd name="connsiteY866" fmla="*/ 287635 h 1906800"/>
                  <a:gd name="connsiteX867" fmla="*/ 1476821 w 1922991"/>
                  <a:gd name="connsiteY867" fmla="*/ 289311 h 1906800"/>
                  <a:gd name="connsiteX868" fmla="*/ 1479192 w 1922991"/>
                  <a:gd name="connsiteY868" fmla="*/ 290209 h 1906800"/>
                  <a:gd name="connsiteX869" fmla="*/ 1488558 w 1922991"/>
                  <a:gd name="connsiteY869" fmla="*/ 293819 h 1906800"/>
                  <a:gd name="connsiteX870" fmla="*/ 1497207 w 1922991"/>
                  <a:gd name="connsiteY870" fmla="*/ 297509 h 1906800"/>
                  <a:gd name="connsiteX871" fmla="*/ 1505716 w 1922991"/>
                  <a:gd name="connsiteY871" fmla="*/ 301538 h 1906800"/>
                  <a:gd name="connsiteX872" fmla="*/ 1514066 w 1922991"/>
                  <a:gd name="connsiteY872" fmla="*/ 305847 h 1906800"/>
                  <a:gd name="connsiteX873" fmla="*/ 1574468 w 1922991"/>
                  <a:gd name="connsiteY873" fmla="*/ 349750 h 1906800"/>
                  <a:gd name="connsiteX874" fmla="*/ 1605794 w 1922991"/>
                  <a:gd name="connsiteY874" fmla="*/ 386313 h 1906800"/>
                  <a:gd name="connsiteX875" fmla="*/ 1629469 w 1922991"/>
                  <a:gd name="connsiteY875" fmla="*/ 427763 h 1906800"/>
                  <a:gd name="connsiteX876" fmla="*/ 1644494 w 1922991"/>
                  <a:gd name="connsiteY876" fmla="*/ 472723 h 1906800"/>
                  <a:gd name="connsiteX877" fmla="*/ 1650174 w 1922991"/>
                  <a:gd name="connsiteY877" fmla="*/ 519758 h 1906800"/>
                  <a:gd name="connsiteX878" fmla="*/ 1650034 w 1922991"/>
                  <a:gd name="connsiteY878" fmla="*/ 536275 h 1906800"/>
                  <a:gd name="connsiteX879" fmla="*/ 1649795 w 1922991"/>
                  <a:gd name="connsiteY879" fmla="*/ 540384 h 1906800"/>
                  <a:gd name="connsiteX880" fmla="*/ 1649735 w 1922991"/>
                  <a:gd name="connsiteY880" fmla="*/ 541421 h 1906800"/>
                  <a:gd name="connsiteX881" fmla="*/ 1649576 w 1922991"/>
                  <a:gd name="connsiteY881" fmla="*/ 543396 h 1906800"/>
                  <a:gd name="connsiteX882" fmla="*/ 1649177 w 1922991"/>
                  <a:gd name="connsiteY882" fmla="*/ 548143 h 1906800"/>
                  <a:gd name="connsiteX883" fmla="*/ 1646228 w 1922991"/>
                  <a:gd name="connsiteY883" fmla="*/ 568848 h 1906800"/>
                  <a:gd name="connsiteX884" fmla="*/ 1646467 w 1922991"/>
                  <a:gd name="connsiteY884" fmla="*/ 592126 h 1906800"/>
                  <a:gd name="connsiteX885" fmla="*/ 1647005 w 1922991"/>
                  <a:gd name="connsiteY885" fmla="*/ 594759 h 1906800"/>
                  <a:gd name="connsiteX886" fmla="*/ 1647723 w 1922991"/>
                  <a:gd name="connsiteY886" fmla="*/ 597213 h 1906800"/>
                  <a:gd name="connsiteX887" fmla="*/ 1648440 w 1922991"/>
                  <a:gd name="connsiteY887" fmla="*/ 599666 h 1906800"/>
                  <a:gd name="connsiteX888" fmla="*/ 1649297 w 1922991"/>
                  <a:gd name="connsiteY888" fmla="*/ 601920 h 1906800"/>
                  <a:gd name="connsiteX889" fmla="*/ 1650194 w 1922991"/>
                  <a:gd name="connsiteY889" fmla="*/ 604154 h 1906800"/>
                  <a:gd name="connsiteX890" fmla="*/ 1651489 w 1922991"/>
                  <a:gd name="connsiteY890" fmla="*/ 606368 h 1906800"/>
                  <a:gd name="connsiteX891" fmla="*/ 1655235 w 1922991"/>
                  <a:gd name="connsiteY891" fmla="*/ 610358 h 1906800"/>
                  <a:gd name="connsiteX892" fmla="*/ 1670201 w 1922991"/>
                  <a:gd name="connsiteY892" fmla="*/ 626275 h 1906800"/>
                  <a:gd name="connsiteX893" fmla="*/ 1673948 w 1922991"/>
                  <a:gd name="connsiteY893" fmla="*/ 630265 h 1906800"/>
                  <a:gd name="connsiteX894" fmla="*/ 1675821 w 1922991"/>
                  <a:gd name="connsiteY894" fmla="*/ 632259 h 1906800"/>
                  <a:gd name="connsiteX895" fmla="*/ 1677973 w 1922991"/>
                  <a:gd name="connsiteY895" fmla="*/ 634134 h 1906800"/>
                  <a:gd name="connsiteX896" fmla="*/ 1688575 w 1922991"/>
                  <a:gd name="connsiteY896" fmla="*/ 640737 h 1906800"/>
                  <a:gd name="connsiteX897" fmla="*/ 1693517 w 1922991"/>
                  <a:gd name="connsiteY897" fmla="*/ 644128 h 1906800"/>
                  <a:gd name="connsiteX898" fmla="*/ 1698280 w 1922991"/>
                  <a:gd name="connsiteY898" fmla="*/ 647559 h 1906800"/>
                  <a:gd name="connsiteX899" fmla="*/ 1702983 w 1922991"/>
                  <a:gd name="connsiteY899" fmla="*/ 650910 h 1906800"/>
                  <a:gd name="connsiteX900" fmla="*/ 1706968 w 1922991"/>
                  <a:gd name="connsiteY900" fmla="*/ 654002 h 1906800"/>
                  <a:gd name="connsiteX901" fmla="*/ 1710874 w 1922991"/>
                  <a:gd name="connsiteY901" fmla="*/ 657213 h 1906800"/>
                  <a:gd name="connsiteX902" fmla="*/ 1718686 w 1922991"/>
                  <a:gd name="connsiteY902" fmla="*/ 663616 h 1906800"/>
                  <a:gd name="connsiteX903" fmla="*/ 1726079 w 1922991"/>
                  <a:gd name="connsiteY903" fmla="*/ 670498 h 1906800"/>
                  <a:gd name="connsiteX904" fmla="*/ 1740288 w 1922991"/>
                  <a:gd name="connsiteY904" fmla="*/ 684820 h 1906800"/>
                  <a:gd name="connsiteX905" fmla="*/ 1746943 w 1922991"/>
                  <a:gd name="connsiteY905" fmla="*/ 692380 h 1906800"/>
                  <a:gd name="connsiteX906" fmla="*/ 1753420 w 1922991"/>
                  <a:gd name="connsiteY906" fmla="*/ 700079 h 1906800"/>
                  <a:gd name="connsiteX907" fmla="*/ 1759418 w 1922991"/>
                  <a:gd name="connsiteY907" fmla="*/ 708158 h 1906800"/>
                  <a:gd name="connsiteX908" fmla="*/ 1762408 w 1922991"/>
                  <a:gd name="connsiteY908" fmla="*/ 712207 h 1906800"/>
                  <a:gd name="connsiteX909" fmla="*/ 1765297 w 1922991"/>
                  <a:gd name="connsiteY909" fmla="*/ 716316 h 1906800"/>
                  <a:gd name="connsiteX910" fmla="*/ 1770698 w 1922991"/>
                  <a:gd name="connsiteY910" fmla="*/ 724773 h 1906800"/>
                  <a:gd name="connsiteX911" fmla="*/ 1773428 w 1922991"/>
                  <a:gd name="connsiteY911" fmla="*/ 728982 h 1906800"/>
                  <a:gd name="connsiteX912" fmla="*/ 1775879 w 1922991"/>
                  <a:gd name="connsiteY912" fmla="*/ 733371 h 1906800"/>
                  <a:gd name="connsiteX913" fmla="*/ 1781758 w 1922991"/>
                  <a:gd name="connsiteY913" fmla="*/ 743982 h 1906800"/>
                  <a:gd name="connsiteX914" fmla="*/ 1786939 w 1922991"/>
                  <a:gd name="connsiteY914" fmla="*/ 754933 h 1906800"/>
                  <a:gd name="connsiteX915" fmla="*/ 1789549 w 1922991"/>
                  <a:gd name="connsiteY915" fmla="*/ 760399 h 1906800"/>
                  <a:gd name="connsiteX916" fmla="*/ 1791722 w 1922991"/>
                  <a:gd name="connsiteY916" fmla="*/ 766044 h 1906800"/>
                  <a:gd name="connsiteX917" fmla="*/ 1796106 w 1922991"/>
                  <a:gd name="connsiteY917" fmla="*/ 777314 h 1906800"/>
                  <a:gd name="connsiteX918" fmla="*/ 1799733 w 1922991"/>
                  <a:gd name="connsiteY918" fmla="*/ 788843 h 1906800"/>
                  <a:gd name="connsiteX919" fmla="*/ 1801486 w 1922991"/>
                  <a:gd name="connsiteY919" fmla="*/ 794628 h 1906800"/>
                  <a:gd name="connsiteX920" fmla="*/ 1802901 w 1922991"/>
                  <a:gd name="connsiteY920" fmla="*/ 800512 h 1906800"/>
                  <a:gd name="connsiteX921" fmla="*/ 1804336 w 1922991"/>
                  <a:gd name="connsiteY921" fmla="*/ 806377 h 1906800"/>
                  <a:gd name="connsiteX922" fmla="*/ 1805651 w 1922991"/>
                  <a:gd name="connsiteY922" fmla="*/ 812261 h 1906800"/>
                  <a:gd name="connsiteX923" fmla="*/ 1807704 w 1922991"/>
                  <a:gd name="connsiteY923" fmla="*/ 824169 h 1906800"/>
                  <a:gd name="connsiteX924" fmla="*/ 1809198 w 1922991"/>
                  <a:gd name="connsiteY924" fmla="*/ 836177 h 1906800"/>
                  <a:gd name="connsiteX925" fmla="*/ 1809836 w 1922991"/>
                  <a:gd name="connsiteY925" fmla="*/ 842201 h 1906800"/>
                  <a:gd name="connsiteX926" fmla="*/ 1810314 w 1922991"/>
                  <a:gd name="connsiteY926" fmla="*/ 848245 h 1906800"/>
                  <a:gd name="connsiteX927" fmla="*/ 1810733 w 1922991"/>
                  <a:gd name="connsiteY927" fmla="*/ 872501 h 1906800"/>
                  <a:gd name="connsiteX928" fmla="*/ 1804814 w 1922991"/>
                  <a:gd name="connsiteY928" fmla="*/ 920473 h 1906800"/>
                  <a:gd name="connsiteX929" fmla="*/ 1803519 w 1922991"/>
                  <a:gd name="connsiteY929" fmla="*/ 926098 h 1906800"/>
                  <a:gd name="connsiteX930" fmla="*/ 1802104 w 1922991"/>
                  <a:gd name="connsiteY930" fmla="*/ 931684 h 1906800"/>
                  <a:gd name="connsiteX931" fmla="*/ 1801725 w 1922991"/>
                  <a:gd name="connsiteY931" fmla="*/ 933080 h 1906800"/>
                  <a:gd name="connsiteX932" fmla="*/ 1801367 w 1922991"/>
                  <a:gd name="connsiteY932" fmla="*/ 934476 h 1906800"/>
                  <a:gd name="connsiteX933" fmla="*/ 1800849 w 1922991"/>
                  <a:gd name="connsiteY933" fmla="*/ 936231 h 1906800"/>
                  <a:gd name="connsiteX934" fmla="*/ 1798716 w 1922991"/>
                  <a:gd name="connsiteY934" fmla="*/ 943033 h 1906800"/>
                  <a:gd name="connsiteX935" fmla="*/ 1796564 w 1922991"/>
                  <a:gd name="connsiteY935" fmla="*/ 949835 h 1906800"/>
                  <a:gd name="connsiteX936" fmla="*/ 1794153 w 1922991"/>
                  <a:gd name="connsiteY936" fmla="*/ 956617 h 1906800"/>
                  <a:gd name="connsiteX937" fmla="*/ 1792240 w 1922991"/>
                  <a:gd name="connsiteY937" fmla="*/ 962901 h 1906800"/>
                  <a:gd name="connsiteX938" fmla="*/ 1791682 w 1922991"/>
                  <a:gd name="connsiteY938" fmla="*/ 965972 h 1906800"/>
                  <a:gd name="connsiteX939" fmla="*/ 1791303 w 1922991"/>
                  <a:gd name="connsiteY939" fmla="*/ 969024 h 1906800"/>
                  <a:gd name="connsiteX940" fmla="*/ 1790626 w 1922991"/>
                  <a:gd name="connsiteY940" fmla="*/ 980853 h 1906800"/>
                  <a:gd name="connsiteX941" fmla="*/ 1791104 w 1922991"/>
                  <a:gd name="connsiteY941" fmla="*/ 986378 h 1906800"/>
                  <a:gd name="connsiteX942" fmla="*/ 1791343 w 1922991"/>
                  <a:gd name="connsiteY942" fmla="*/ 989151 h 1906800"/>
                  <a:gd name="connsiteX943" fmla="*/ 1791482 w 1922991"/>
                  <a:gd name="connsiteY943" fmla="*/ 989869 h 1906800"/>
                  <a:gd name="connsiteX944" fmla="*/ 1791781 w 1922991"/>
                  <a:gd name="connsiteY944" fmla="*/ 990527 h 1906800"/>
                  <a:gd name="connsiteX945" fmla="*/ 1792399 w 1922991"/>
                  <a:gd name="connsiteY945" fmla="*/ 991864 h 1906800"/>
                  <a:gd name="connsiteX946" fmla="*/ 1797361 w 1922991"/>
                  <a:gd name="connsiteY946" fmla="*/ 1002515 h 1906800"/>
                  <a:gd name="connsiteX947" fmla="*/ 1802323 w 1922991"/>
                  <a:gd name="connsiteY947" fmla="*/ 1013167 h 1906800"/>
                  <a:gd name="connsiteX948" fmla="*/ 1803579 w 1922991"/>
                  <a:gd name="connsiteY948" fmla="*/ 1015820 h 1906800"/>
                  <a:gd name="connsiteX949" fmla="*/ 1805591 w 1922991"/>
                  <a:gd name="connsiteY949" fmla="*/ 1018233 h 1906800"/>
                  <a:gd name="connsiteX950" fmla="*/ 1809617 w 1922991"/>
                  <a:gd name="connsiteY950" fmla="*/ 1023041 h 1906800"/>
                  <a:gd name="connsiteX951" fmla="*/ 1817668 w 1922991"/>
                  <a:gd name="connsiteY951" fmla="*/ 1032655 h 1906800"/>
                  <a:gd name="connsiteX952" fmla="*/ 1824124 w 1922991"/>
                  <a:gd name="connsiteY952" fmla="*/ 1040554 h 1906800"/>
                  <a:gd name="connsiteX953" fmla="*/ 1847619 w 1922991"/>
                  <a:gd name="connsiteY953" fmla="*/ 1077097 h 1906800"/>
                  <a:gd name="connsiteX954" fmla="*/ 1876953 w 1922991"/>
                  <a:gd name="connsiteY954" fmla="*/ 1158042 h 1906800"/>
                  <a:gd name="connsiteX955" fmla="*/ 1882055 w 1922991"/>
                  <a:gd name="connsiteY955" fmla="*/ 1206752 h 1906800"/>
                  <a:gd name="connsiteX956" fmla="*/ 1878906 w 1922991"/>
                  <a:gd name="connsiteY956" fmla="*/ 1255662 h 1906800"/>
                  <a:gd name="connsiteX957" fmla="*/ 1867188 w 1922991"/>
                  <a:gd name="connsiteY957" fmla="*/ 1303176 h 1906800"/>
                  <a:gd name="connsiteX958" fmla="*/ 1858340 w 1922991"/>
                  <a:gd name="connsiteY958" fmla="*/ 1326055 h 1906800"/>
                  <a:gd name="connsiteX959" fmla="*/ 1853139 w 1922991"/>
                  <a:gd name="connsiteY959" fmla="*/ 1337186 h 1906800"/>
                  <a:gd name="connsiteX960" fmla="*/ 1847460 w 1922991"/>
                  <a:gd name="connsiteY960" fmla="*/ 1348097 h 1906800"/>
                  <a:gd name="connsiteX961" fmla="*/ 1820298 w 1922991"/>
                  <a:gd name="connsiteY961" fmla="*/ 1389287 h 1906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</a:cxnLst>
                <a:rect l="l" t="t" r="r" b="b"/>
                <a:pathLst>
                  <a:path w="1922991" h="1906800">
                    <a:moveTo>
                      <a:pt x="1916829" y="1150163"/>
                    </a:moveTo>
                    <a:cubicBezTo>
                      <a:pt x="1910293" y="1117928"/>
                      <a:pt x="1899253" y="1086512"/>
                      <a:pt x="1883330" y="1057629"/>
                    </a:cubicBezTo>
                    <a:cubicBezTo>
                      <a:pt x="1875419" y="1043187"/>
                      <a:pt x="1866611" y="1029184"/>
                      <a:pt x="1856607" y="1016039"/>
                    </a:cubicBezTo>
                    <a:cubicBezTo>
                      <a:pt x="1855650" y="1014603"/>
                      <a:pt x="1853518" y="1012110"/>
                      <a:pt x="1851804" y="1009975"/>
                    </a:cubicBezTo>
                    <a:lnTo>
                      <a:pt x="1846424" y="1003393"/>
                    </a:lnTo>
                    <a:lnTo>
                      <a:pt x="1843733" y="1000102"/>
                    </a:lnTo>
                    <a:lnTo>
                      <a:pt x="1842398" y="998446"/>
                    </a:lnTo>
                    <a:lnTo>
                      <a:pt x="1841262" y="996751"/>
                    </a:lnTo>
                    <a:lnTo>
                      <a:pt x="1836739" y="989949"/>
                    </a:lnTo>
                    <a:lnTo>
                      <a:pt x="1832215" y="983147"/>
                    </a:lnTo>
                    <a:lnTo>
                      <a:pt x="1831657" y="982289"/>
                    </a:lnTo>
                    <a:cubicBezTo>
                      <a:pt x="1831478" y="982010"/>
                      <a:pt x="1831219" y="981730"/>
                      <a:pt x="1831278" y="981371"/>
                    </a:cubicBezTo>
                    <a:lnTo>
                      <a:pt x="1831577" y="979437"/>
                    </a:lnTo>
                    <a:lnTo>
                      <a:pt x="1832175" y="975567"/>
                    </a:lnTo>
                    <a:cubicBezTo>
                      <a:pt x="1832474" y="973034"/>
                      <a:pt x="1833231" y="970241"/>
                      <a:pt x="1833849" y="967548"/>
                    </a:cubicBezTo>
                    <a:cubicBezTo>
                      <a:pt x="1834188" y="966192"/>
                      <a:pt x="1834427" y="964835"/>
                      <a:pt x="1834865" y="963459"/>
                    </a:cubicBezTo>
                    <a:lnTo>
                      <a:pt x="1836161" y="959310"/>
                    </a:lnTo>
                    <a:cubicBezTo>
                      <a:pt x="1837197" y="956318"/>
                      <a:pt x="1838134" y="953306"/>
                      <a:pt x="1839030" y="950294"/>
                    </a:cubicBezTo>
                    <a:lnTo>
                      <a:pt x="1840385" y="945766"/>
                    </a:lnTo>
                    <a:lnTo>
                      <a:pt x="1841402" y="941976"/>
                    </a:lnTo>
                    <a:cubicBezTo>
                      <a:pt x="1842000" y="939842"/>
                      <a:pt x="1842538" y="937668"/>
                      <a:pt x="1843036" y="935513"/>
                    </a:cubicBezTo>
                    <a:cubicBezTo>
                      <a:pt x="1843574" y="933359"/>
                      <a:pt x="1844072" y="931185"/>
                      <a:pt x="1844530" y="929011"/>
                    </a:cubicBezTo>
                    <a:cubicBezTo>
                      <a:pt x="1848496" y="910819"/>
                      <a:pt x="1850788" y="892268"/>
                      <a:pt x="1851366" y="873618"/>
                    </a:cubicBezTo>
                    <a:cubicBezTo>
                      <a:pt x="1851784" y="864303"/>
                      <a:pt x="1851127" y="854987"/>
                      <a:pt x="1850887" y="845672"/>
                    </a:cubicBezTo>
                    <a:cubicBezTo>
                      <a:pt x="1850887" y="843338"/>
                      <a:pt x="1850588" y="841024"/>
                      <a:pt x="1850349" y="838711"/>
                    </a:cubicBezTo>
                    <a:lnTo>
                      <a:pt x="1849632" y="831769"/>
                    </a:lnTo>
                    <a:cubicBezTo>
                      <a:pt x="1849114" y="827141"/>
                      <a:pt x="1848855" y="822474"/>
                      <a:pt x="1847898" y="817906"/>
                    </a:cubicBezTo>
                    <a:lnTo>
                      <a:pt x="1845527" y="804143"/>
                    </a:lnTo>
                    <a:cubicBezTo>
                      <a:pt x="1845208" y="801829"/>
                      <a:pt x="1844530" y="799595"/>
                      <a:pt x="1844012" y="797321"/>
                    </a:cubicBezTo>
                    <a:lnTo>
                      <a:pt x="1842358" y="790539"/>
                    </a:lnTo>
                    <a:lnTo>
                      <a:pt x="1840704" y="783757"/>
                    </a:lnTo>
                    <a:cubicBezTo>
                      <a:pt x="1840206" y="781483"/>
                      <a:pt x="1839349" y="779309"/>
                      <a:pt x="1838692" y="777074"/>
                    </a:cubicBezTo>
                    <a:lnTo>
                      <a:pt x="1834487" y="763750"/>
                    </a:lnTo>
                    <a:cubicBezTo>
                      <a:pt x="1832893" y="759382"/>
                      <a:pt x="1831099" y="755073"/>
                      <a:pt x="1829445" y="750725"/>
                    </a:cubicBezTo>
                    <a:lnTo>
                      <a:pt x="1826914" y="744222"/>
                    </a:lnTo>
                    <a:lnTo>
                      <a:pt x="1823945" y="737899"/>
                    </a:lnTo>
                    <a:cubicBezTo>
                      <a:pt x="1821932" y="733690"/>
                      <a:pt x="1820039" y="729441"/>
                      <a:pt x="1817947" y="725272"/>
                    </a:cubicBezTo>
                    <a:lnTo>
                      <a:pt x="1811191" y="713045"/>
                    </a:lnTo>
                    <a:cubicBezTo>
                      <a:pt x="1810235" y="711369"/>
                      <a:pt x="1809378" y="709654"/>
                      <a:pt x="1808361" y="708018"/>
                    </a:cubicBezTo>
                    <a:lnTo>
                      <a:pt x="1805233" y="703151"/>
                    </a:lnTo>
                    <a:lnTo>
                      <a:pt x="1799015" y="693417"/>
                    </a:lnTo>
                    <a:cubicBezTo>
                      <a:pt x="1798019" y="691761"/>
                      <a:pt x="1796823" y="690245"/>
                      <a:pt x="1795687" y="688689"/>
                    </a:cubicBezTo>
                    <a:lnTo>
                      <a:pt x="1792260" y="684042"/>
                    </a:lnTo>
                    <a:cubicBezTo>
                      <a:pt x="1789948" y="680950"/>
                      <a:pt x="1787776" y="677778"/>
                      <a:pt x="1785365" y="674766"/>
                    </a:cubicBezTo>
                    <a:lnTo>
                      <a:pt x="1777931" y="665910"/>
                    </a:lnTo>
                    <a:cubicBezTo>
                      <a:pt x="1775460" y="662958"/>
                      <a:pt x="1773029" y="659946"/>
                      <a:pt x="1770299" y="657233"/>
                    </a:cubicBezTo>
                    <a:cubicBezTo>
                      <a:pt x="1764938" y="651688"/>
                      <a:pt x="1759837" y="645883"/>
                      <a:pt x="1754018" y="640817"/>
                    </a:cubicBezTo>
                    <a:lnTo>
                      <a:pt x="1745529" y="632958"/>
                    </a:lnTo>
                    <a:cubicBezTo>
                      <a:pt x="1742599" y="630444"/>
                      <a:pt x="1739570" y="628071"/>
                      <a:pt x="1736581" y="625617"/>
                    </a:cubicBezTo>
                    <a:lnTo>
                      <a:pt x="1732097" y="621947"/>
                    </a:lnTo>
                    <a:cubicBezTo>
                      <a:pt x="1730603" y="620730"/>
                      <a:pt x="1729128" y="619473"/>
                      <a:pt x="1727534" y="618396"/>
                    </a:cubicBezTo>
                    <a:lnTo>
                      <a:pt x="1722632" y="614906"/>
                    </a:lnTo>
                    <a:cubicBezTo>
                      <a:pt x="1720439" y="613370"/>
                      <a:pt x="1718367" y="611794"/>
                      <a:pt x="1716095" y="610278"/>
                    </a:cubicBezTo>
                    <a:lnTo>
                      <a:pt x="1709280" y="605710"/>
                    </a:lnTo>
                    <a:cubicBezTo>
                      <a:pt x="1707128" y="604154"/>
                      <a:pt x="1705274" y="602538"/>
                      <a:pt x="1703242" y="600943"/>
                    </a:cubicBezTo>
                    <a:lnTo>
                      <a:pt x="1691345" y="591368"/>
                    </a:lnTo>
                    <a:lnTo>
                      <a:pt x="1688376" y="588974"/>
                    </a:lnTo>
                    <a:cubicBezTo>
                      <a:pt x="1688136" y="588755"/>
                      <a:pt x="1687837" y="588615"/>
                      <a:pt x="1687698" y="588316"/>
                    </a:cubicBezTo>
                    <a:cubicBezTo>
                      <a:pt x="1687578" y="588017"/>
                      <a:pt x="1687638" y="587738"/>
                      <a:pt x="1687598" y="587439"/>
                    </a:cubicBezTo>
                    <a:lnTo>
                      <a:pt x="1687499" y="585683"/>
                    </a:lnTo>
                    <a:cubicBezTo>
                      <a:pt x="1687419" y="584546"/>
                      <a:pt x="1687379" y="583329"/>
                      <a:pt x="1687339" y="582113"/>
                    </a:cubicBezTo>
                    <a:cubicBezTo>
                      <a:pt x="1687279" y="580916"/>
                      <a:pt x="1687260" y="579679"/>
                      <a:pt x="1687260" y="578423"/>
                    </a:cubicBezTo>
                    <a:cubicBezTo>
                      <a:pt x="1687240" y="573416"/>
                      <a:pt x="1687499" y="568070"/>
                      <a:pt x="1688316" y="562624"/>
                    </a:cubicBezTo>
                    <a:cubicBezTo>
                      <a:pt x="1688993" y="558057"/>
                      <a:pt x="1689551" y="553489"/>
                      <a:pt x="1689970" y="548941"/>
                    </a:cubicBezTo>
                    <a:cubicBezTo>
                      <a:pt x="1690388" y="544054"/>
                      <a:pt x="1690528" y="541441"/>
                      <a:pt x="1690687" y="538130"/>
                    </a:cubicBezTo>
                    <a:cubicBezTo>
                      <a:pt x="1690986" y="531707"/>
                      <a:pt x="1691086" y="525264"/>
                      <a:pt x="1690866" y="518821"/>
                    </a:cubicBezTo>
                    <a:cubicBezTo>
                      <a:pt x="1690448" y="500290"/>
                      <a:pt x="1688276" y="481819"/>
                      <a:pt x="1684211" y="463747"/>
                    </a:cubicBezTo>
                    <a:cubicBezTo>
                      <a:pt x="1680085" y="445695"/>
                      <a:pt x="1674187" y="428042"/>
                      <a:pt x="1666634" y="411107"/>
                    </a:cubicBezTo>
                    <a:cubicBezTo>
                      <a:pt x="1659121" y="394152"/>
                      <a:pt x="1649815" y="377995"/>
                      <a:pt x="1639074" y="362836"/>
                    </a:cubicBezTo>
                    <a:cubicBezTo>
                      <a:pt x="1628333" y="347676"/>
                      <a:pt x="1616237" y="333434"/>
                      <a:pt x="1602825" y="320528"/>
                    </a:cubicBezTo>
                    <a:cubicBezTo>
                      <a:pt x="1582220" y="300541"/>
                      <a:pt x="1558665" y="283606"/>
                      <a:pt x="1533356" y="270002"/>
                    </a:cubicBezTo>
                    <a:cubicBezTo>
                      <a:pt x="1530148" y="268367"/>
                      <a:pt x="1527019" y="266611"/>
                      <a:pt x="1523771" y="265075"/>
                    </a:cubicBezTo>
                    <a:lnTo>
                      <a:pt x="1514026" y="260468"/>
                    </a:lnTo>
                    <a:lnTo>
                      <a:pt x="1504102" y="256219"/>
                    </a:lnTo>
                    <a:cubicBezTo>
                      <a:pt x="1500754" y="254823"/>
                      <a:pt x="1497267" y="253586"/>
                      <a:pt x="1493859" y="252249"/>
                    </a:cubicBezTo>
                    <a:lnTo>
                      <a:pt x="1491289" y="251272"/>
                    </a:lnTo>
                    <a:lnTo>
                      <a:pt x="1487761" y="250095"/>
                    </a:lnTo>
                    <a:lnTo>
                      <a:pt x="1480527" y="247722"/>
                    </a:lnTo>
                    <a:cubicBezTo>
                      <a:pt x="1478156" y="246904"/>
                      <a:pt x="1475605" y="246206"/>
                      <a:pt x="1473393" y="245268"/>
                    </a:cubicBezTo>
                    <a:lnTo>
                      <a:pt x="1466817" y="242356"/>
                    </a:lnTo>
                    <a:lnTo>
                      <a:pt x="1460241" y="239444"/>
                    </a:lnTo>
                    <a:lnTo>
                      <a:pt x="1459424" y="239085"/>
                    </a:lnTo>
                    <a:cubicBezTo>
                      <a:pt x="1459165" y="238965"/>
                      <a:pt x="1458846" y="238865"/>
                      <a:pt x="1458687" y="238586"/>
                    </a:cubicBezTo>
                    <a:lnTo>
                      <a:pt x="1457909" y="236950"/>
                    </a:lnTo>
                    <a:lnTo>
                      <a:pt x="1456355" y="233699"/>
                    </a:lnTo>
                    <a:lnTo>
                      <a:pt x="1453246" y="227176"/>
                    </a:lnTo>
                    <a:cubicBezTo>
                      <a:pt x="1452250" y="224962"/>
                      <a:pt x="1451074" y="222967"/>
                      <a:pt x="1450277" y="220474"/>
                    </a:cubicBezTo>
                    <a:lnTo>
                      <a:pt x="1447188" y="211997"/>
                    </a:lnTo>
                    <a:lnTo>
                      <a:pt x="1445654" y="207748"/>
                    </a:lnTo>
                    <a:lnTo>
                      <a:pt x="1444877" y="205633"/>
                    </a:lnTo>
                    <a:cubicBezTo>
                      <a:pt x="1444617" y="204895"/>
                      <a:pt x="1444458" y="204556"/>
                      <a:pt x="1444239" y="203998"/>
                    </a:cubicBezTo>
                    <a:cubicBezTo>
                      <a:pt x="1442585" y="199968"/>
                      <a:pt x="1440991" y="195919"/>
                      <a:pt x="1439277" y="191910"/>
                    </a:cubicBezTo>
                    <a:cubicBezTo>
                      <a:pt x="1437503" y="187940"/>
                      <a:pt x="1435789" y="183931"/>
                      <a:pt x="1433956" y="179982"/>
                    </a:cubicBezTo>
                    <a:cubicBezTo>
                      <a:pt x="1432063" y="176072"/>
                      <a:pt x="1430229" y="172122"/>
                      <a:pt x="1428277" y="168253"/>
                    </a:cubicBezTo>
                    <a:cubicBezTo>
                      <a:pt x="1419747" y="151358"/>
                      <a:pt x="1410062" y="135101"/>
                      <a:pt x="1399262" y="119702"/>
                    </a:cubicBezTo>
                    <a:cubicBezTo>
                      <a:pt x="1388461" y="104303"/>
                      <a:pt x="1376524" y="89761"/>
                      <a:pt x="1363371" y="76537"/>
                    </a:cubicBezTo>
                    <a:cubicBezTo>
                      <a:pt x="1337206" y="49987"/>
                      <a:pt x="1306318" y="28345"/>
                      <a:pt x="1272261" y="15080"/>
                    </a:cubicBezTo>
                    <a:lnTo>
                      <a:pt x="1265864" y="12626"/>
                    </a:lnTo>
                    <a:lnTo>
                      <a:pt x="1259368" y="10492"/>
                    </a:lnTo>
                    <a:lnTo>
                      <a:pt x="1256119" y="9415"/>
                    </a:lnTo>
                    <a:lnTo>
                      <a:pt x="1252831" y="8497"/>
                    </a:lnTo>
                    <a:lnTo>
                      <a:pt x="1246255" y="6662"/>
                    </a:lnTo>
                    <a:cubicBezTo>
                      <a:pt x="1237427" y="4568"/>
                      <a:pt x="1228519" y="2653"/>
                      <a:pt x="1219512" y="1656"/>
                    </a:cubicBezTo>
                    <a:cubicBezTo>
                      <a:pt x="1210504" y="439"/>
                      <a:pt x="1201457" y="80"/>
                      <a:pt x="1192330" y="0"/>
                    </a:cubicBezTo>
                    <a:lnTo>
                      <a:pt x="1178301" y="339"/>
                    </a:lnTo>
                    <a:cubicBezTo>
                      <a:pt x="1173638" y="559"/>
                      <a:pt x="1169015" y="1017"/>
                      <a:pt x="1164352" y="1317"/>
                    </a:cubicBezTo>
                    <a:cubicBezTo>
                      <a:pt x="1127345" y="4727"/>
                      <a:pt x="1091296" y="15020"/>
                      <a:pt x="1059810" y="33531"/>
                    </a:cubicBezTo>
                    <a:cubicBezTo>
                      <a:pt x="1057060" y="35147"/>
                      <a:pt x="1054429" y="36942"/>
                      <a:pt x="1051719" y="38637"/>
                    </a:cubicBezTo>
                    <a:cubicBezTo>
                      <a:pt x="1049069" y="40393"/>
                      <a:pt x="1046259" y="41948"/>
                      <a:pt x="1043768" y="43943"/>
                    </a:cubicBezTo>
                    <a:cubicBezTo>
                      <a:pt x="1038686" y="47793"/>
                      <a:pt x="1033385" y="51363"/>
                      <a:pt x="1028662" y="55692"/>
                    </a:cubicBezTo>
                    <a:lnTo>
                      <a:pt x="1021369" y="61915"/>
                    </a:lnTo>
                    <a:lnTo>
                      <a:pt x="1013517" y="69595"/>
                    </a:lnTo>
                    <a:cubicBezTo>
                      <a:pt x="1006921" y="75898"/>
                      <a:pt x="1001202" y="83717"/>
                      <a:pt x="995184" y="90998"/>
                    </a:cubicBezTo>
                    <a:lnTo>
                      <a:pt x="992952" y="93771"/>
                    </a:lnTo>
                    <a:lnTo>
                      <a:pt x="991836" y="95147"/>
                    </a:lnTo>
                    <a:cubicBezTo>
                      <a:pt x="991457" y="95586"/>
                      <a:pt x="991098" y="95925"/>
                      <a:pt x="990720" y="96324"/>
                    </a:cubicBezTo>
                    <a:lnTo>
                      <a:pt x="986256" y="100812"/>
                    </a:lnTo>
                    <a:cubicBezTo>
                      <a:pt x="983267" y="103784"/>
                      <a:pt x="980278" y="106716"/>
                      <a:pt x="977268" y="109589"/>
                    </a:cubicBezTo>
                    <a:cubicBezTo>
                      <a:pt x="975674" y="111184"/>
                      <a:pt x="974518" y="112062"/>
                      <a:pt x="973223" y="113179"/>
                    </a:cubicBezTo>
                    <a:lnTo>
                      <a:pt x="969397" y="116411"/>
                    </a:lnTo>
                    <a:lnTo>
                      <a:pt x="961745" y="122873"/>
                    </a:lnTo>
                    <a:cubicBezTo>
                      <a:pt x="961585" y="122993"/>
                      <a:pt x="961226" y="123013"/>
                      <a:pt x="961047" y="122893"/>
                    </a:cubicBezTo>
                    <a:cubicBezTo>
                      <a:pt x="960888" y="122774"/>
                      <a:pt x="960728" y="122634"/>
                      <a:pt x="960569" y="122494"/>
                    </a:cubicBezTo>
                    <a:lnTo>
                      <a:pt x="959612" y="121677"/>
                    </a:lnTo>
                    <a:lnTo>
                      <a:pt x="957699" y="120061"/>
                    </a:lnTo>
                    <a:lnTo>
                      <a:pt x="953873" y="116829"/>
                    </a:lnTo>
                    <a:lnTo>
                      <a:pt x="950047" y="113598"/>
                    </a:lnTo>
                    <a:lnTo>
                      <a:pt x="948134" y="111982"/>
                    </a:lnTo>
                    <a:lnTo>
                      <a:pt x="947177" y="111165"/>
                    </a:lnTo>
                    <a:cubicBezTo>
                      <a:pt x="946878" y="110905"/>
                      <a:pt x="946440" y="110486"/>
                      <a:pt x="946081" y="110147"/>
                    </a:cubicBezTo>
                    <a:cubicBezTo>
                      <a:pt x="943072" y="107275"/>
                      <a:pt x="940083" y="104363"/>
                      <a:pt x="937094" y="101390"/>
                    </a:cubicBezTo>
                    <a:cubicBezTo>
                      <a:pt x="934105" y="98339"/>
                      <a:pt x="931175" y="95745"/>
                      <a:pt x="928126" y="91676"/>
                    </a:cubicBezTo>
                    <a:lnTo>
                      <a:pt x="920454" y="82202"/>
                    </a:lnTo>
                    <a:cubicBezTo>
                      <a:pt x="917883" y="79050"/>
                      <a:pt x="915392" y="75799"/>
                      <a:pt x="912563" y="73046"/>
                    </a:cubicBezTo>
                    <a:cubicBezTo>
                      <a:pt x="911188" y="71630"/>
                      <a:pt x="909812" y="70134"/>
                      <a:pt x="908438" y="68837"/>
                    </a:cubicBezTo>
                    <a:lnTo>
                      <a:pt x="904731" y="65207"/>
                    </a:lnTo>
                    <a:lnTo>
                      <a:pt x="901782" y="62314"/>
                    </a:lnTo>
                    <a:cubicBezTo>
                      <a:pt x="900805" y="61337"/>
                      <a:pt x="899709" y="60519"/>
                      <a:pt x="898673" y="59602"/>
                    </a:cubicBezTo>
                    <a:cubicBezTo>
                      <a:pt x="890423" y="52361"/>
                      <a:pt x="881754" y="45579"/>
                      <a:pt x="872567" y="39615"/>
                    </a:cubicBezTo>
                    <a:cubicBezTo>
                      <a:pt x="857342" y="29601"/>
                      <a:pt x="840962" y="21323"/>
                      <a:pt x="823664" y="15279"/>
                    </a:cubicBezTo>
                    <a:cubicBezTo>
                      <a:pt x="806387" y="9176"/>
                      <a:pt x="788332" y="5027"/>
                      <a:pt x="769939" y="2633"/>
                    </a:cubicBezTo>
                    <a:lnTo>
                      <a:pt x="763044" y="1735"/>
                    </a:lnTo>
                    <a:cubicBezTo>
                      <a:pt x="760752" y="1416"/>
                      <a:pt x="758400" y="1356"/>
                      <a:pt x="756089" y="1157"/>
                    </a:cubicBezTo>
                    <a:lnTo>
                      <a:pt x="749114" y="638"/>
                    </a:lnTo>
                    <a:lnTo>
                      <a:pt x="745627" y="379"/>
                    </a:lnTo>
                    <a:lnTo>
                      <a:pt x="742119" y="299"/>
                    </a:lnTo>
                    <a:cubicBezTo>
                      <a:pt x="737456" y="219"/>
                      <a:pt x="732733" y="0"/>
                      <a:pt x="728130" y="20"/>
                    </a:cubicBezTo>
                    <a:cubicBezTo>
                      <a:pt x="723606" y="180"/>
                      <a:pt x="719043" y="120"/>
                      <a:pt x="714539" y="578"/>
                    </a:cubicBezTo>
                    <a:lnTo>
                      <a:pt x="707764" y="1097"/>
                    </a:lnTo>
                    <a:lnTo>
                      <a:pt x="701008" y="1955"/>
                    </a:lnTo>
                    <a:lnTo>
                      <a:pt x="697640" y="2374"/>
                    </a:lnTo>
                    <a:lnTo>
                      <a:pt x="694292" y="2972"/>
                    </a:lnTo>
                    <a:lnTo>
                      <a:pt x="687597" y="4149"/>
                    </a:lnTo>
                    <a:cubicBezTo>
                      <a:pt x="678729" y="6104"/>
                      <a:pt x="669881" y="8218"/>
                      <a:pt x="661272" y="11230"/>
                    </a:cubicBezTo>
                    <a:cubicBezTo>
                      <a:pt x="643954" y="16915"/>
                      <a:pt x="627374" y="24954"/>
                      <a:pt x="611711" y="34608"/>
                    </a:cubicBezTo>
                    <a:cubicBezTo>
                      <a:pt x="595988" y="44203"/>
                      <a:pt x="581401" y="55772"/>
                      <a:pt x="567790" y="68458"/>
                    </a:cubicBezTo>
                    <a:cubicBezTo>
                      <a:pt x="554179" y="81144"/>
                      <a:pt x="541744" y="95247"/>
                      <a:pt x="530465" y="110247"/>
                    </a:cubicBezTo>
                    <a:cubicBezTo>
                      <a:pt x="519166" y="125247"/>
                      <a:pt x="509003" y="141205"/>
                      <a:pt x="499995" y="157821"/>
                    </a:cubicBezTo>
                    <a:cubicBezTo>
                      <a:pt x="492522" y="171704"/>
                      <a:pt x="485827" y="186045"/>
                      <a:pt x="479928" y="200746"/>
                    </a:cubicBezTo>
                    <a:lnTo>
                      <a:pt x="478812" y="203499"/>
                    </a:lnTo>
                    <a:cubicBezTo>
                      <a:pt x="478433" y="204437"/>
                      <a:pt x="478095" y="205195"/>
                      <a:pt x="477596" y="206631"/>
                    </a:cubicBezTo>
                    <a:lnTo>
                      <a:pt x="474787" y="214350"/>
                    </a:lnTo>
                    <a:lnTo>
                      <a:pt x="471977" y="222070"/>
                    </a:lnTo>
                    <a:cubicBezTo>
                      <a:pt x="470940" y="224523"/>
                      <a:pt x="469745" y="226797"/>
                      <a:pt x="468649" y="229171"/>
                    </a:cubicBezTo>
                    <a:lnTo>
                      <a:pt x="465281" y="236232"/>
                    </a:lnTo>
                    <a:lnTo>
                      <a:pt x="464444" y="237987"/>
                    </a:lnTo>
                    <a:cubicBezTo>
                      <a:pt x="464285" y="238267"/>
                      <a:pt x="464205" y="238606"/>
                      <a:pt x="463966" y="238845"/>
                    </a:cubicBezTo>
                    <a:cubicBezTo>
                      <a:pt x="463727" y="239065"/>
                      <a:pt x="463388" y="239124"/>
                      <a:pt x="463109" y="239284"/>
                    </a:cubicBezTo>
                    <a:lnTo>
                      <a:pt x="459542" y="240860"/>
                    </a:lnTo>
                    <a:lnTo>
                      <a:pt x="452427" y="244011"/>
                    </a:lnTo>
                    <a:lnTo>
                      <a:pt x="448860" y="245587"/>
                    </a:lnTo>
                    <a:cubicBezTo>
                      <a:pt x="447625" y="246086"/>
                      <a:pt x="446270" y="246465"/>
                      <a:pt x="444994" y="246924"/>
                    </a:cubicBezTo>
                    <a:lnTo>
                      <a:pt x="434054" y="250514"/>
                    </a:lnTo>
                    <a:lnTo>
                      <a:pt x="432679" y="250953"/>
                    </a:lnTo>
                    <a:cubicBezTo>
                      <a:pt x="432240" y="251093"/>
                      <a:pt x="431702" y="251272"/>
                      <a:pt x="431443" y="251372"/>
                    </a:cubicBezTo>
                    <a:lnTo>
                      <a:pt x="429490" y="252110"/>
                    </a:lnTo>
                    <a:lnTo>
                      <a:pt x="425605" y="253586"/>
                    </a:lnTo>
                    <a:cubicBezTo>
                      <a:pt x="420324" y="255501"/>
                      <a:pt x="415401" y="257695"/>
                      <a:pt x="410380" y="259829"/>
                    </a:cubicBezTo>
                    <a:cubicBezTo>
                      <a:pt x="400475" y="264297"/>
                      <a:pt x="390691" y="269105"/>
                      <a:pt x="381285" y="274590"/>
                    </a:cubicBezTo>
                    <a:cubicBezTo>
                      <a:pt x="362353" y="285322"/>
                      <a:pt x="344717" y="298227"/>
                      <a:pt x="328476" y="312649"/>
                    </a:cubicBezTo>
                    <a:cubicBezTo>
                      <a:pt x="314586" y="325056"/>
                      <a:pt x="301932" y="338819"/>
                      <a:pt x="290593" y="353540"/>
                    </a:cubicBezTo>
                    <a:cubicBezTo>
                      <a:pt x="279254" y="368281"/>
                      <a:pt x="269310" y="384059"/>
                      <a:pt x="261100" y="400695"/>
                    </a:cubicBezTo>
                    <a:cubicBezTo>
                      <a:pt x="252850" y="417311"/>
                      <a:pt x="246214" y="434705"/>
                      <a:pt x="241331" y="452557"/>
                    </a:cubicBezTo>
                    <a:cubicBezTo>
                      <a:pt x="236549" y="470449"/>
                      <a:pt x="233559" y="488821"/>
                      <a:pt x="232384" y="507292"/>
                    </a:cubicBezTo>
                    <a:lnTo>
                      <a:pt x="232025" y="512837"/>
                    </a:lnTo>
                    <a:lnTo>
                      <a:pt x="231905" y="518402"/>
                    </a:lnTo>
                    <a:cubicBezTo>
                      <a:pt x="231826" y="522112"/>
                      <a:pt x="231706" y="525822"/>
                      <a:pt x="231806" y="529532"/>
                    </a:cubicBezTo>
                    <a:cubicBezTo>
                      <a:pt x="231866" y="533243"/>
                      <a:pt x="231985" y="536953"/>
                      <a:pt x="232204" y="540643"/>
                    </a:cubicBezTo>
                    <a:lnTo>
                      <a:pt x="232384" y="543416"/>
                    </a:lnTo>
                    <a:lnTo>
                      <a:pt x="232643" y="546787"/>
                    </a:lnTo>
                    <a:cubicBezTo>
                      <a:pt x="232822" y="549260"/>
                      <a:pt x="233101" y="551953"/>
                      <a:pt x="233400" y="554566"/>
                    </a:cubicBezTo>
                    <a:cubicBezTo>
                      <a:pt x="233938" y="559792"/>
                      <a:pt x="234994" y="565138"/>
                      <a:pt x="235273" y="570264"/>
                    </a:cubicBezTo>
                    <a:cubicBezTo>
                      <a:pt x="235632" y="575391"/>
                      <a:pt x="235572" y="580298"/>
                      <a:pt x="235333" y="584885"/>
                    </a:cubicBezTo>
                    <a:lnTo>
                      <a:pt x="235114" y="588276"/>
                    </a:lnTo>
                    <a:cubicBezTo>
                      <a:pt x="235054" y="588615"/>
                      <a:pt x="234775" y="588755"/>
                      <a:pt x="234536" y="588955"/>
                    </a:cubicBezTo>
                    <a:lnTo>
                      <a:pt x="233818" y="589533"/>
                    </a:lnTo>
                    <a:lnTo>
                      <a:pt x="232384" y="590690"/>
                    </a:lnTo>
                    <a:lnTo>
                      <a:pt x="226664" y="595338"/>
                    </a:lnTo>
                    <a:lnTo>
                      <a:pt x="215246" y="604653"/>
                    </a:lnTo>
                    <a:cubicBezTo>
                      <a:pt x="211918" y="606787"/>
                      <a:pt x="208630" y="609041"/>
                      <a:pt x="205341" y="611255"/>
                    </a:cubicBezTo>
                    <a:lnTo>
                      <a:pt x="196892" y="617299"/>
                    </a:lnTo>
                    <a:lnTo>
                      <a:pt x="193464" y="619733"/>
                    </a:lnTo>
                    <a:lnTo>
                      <a:pt x="190216" y="622386"/>
                    </a:lnTo>
                    <a:lnTo>
                      <a:pt x="183700" y="627692"/>
                    </a:lnTo>
                    <a:cubicBezTo>
                      <a:pt x="181548" y="629487"/>
                      <a:pt x="179316" y="631182"/>
                      <a:pt x="177223" y="633037"/>
                    </a:cubicBezTo>
                    <a:lnTo>
                      <a:pt x="171066" y="638762"/>
                    </a:lnTo>
                    <a:cubicBezTo>
                      <a:pt x="166960" y="642572"/>
                      <a:pt x="162756" y="646282"/>
                      <a:pt x="159009" y="650451"/>
                    </a:cubicBezTo>
                    <a:lnTo>
                      <a:pt x="153210" y="656535"/>
                    </a:lnTo>
                    <a:cubicBezTo>
                      <a:pt x="151297" y="658569"/>
                      <a:pt x="149284" y="660544"/>
                      <a:pt x="147551" y="662738"/>
                    </a:cubicBezTo>
                    <a:lnTo>
                      <a:pt x="136770" y="675604"/>
                    </a:lnTo>
                    <a:lnTo>
                      <a:pt x="126826" y="689128"/>
                    </a:lnTo>
                    <a:cubicBezTo>
                      <a:pt x="126009" y="690265"/>
                      <a:pt x="125132" y="691342"/>
                      <a:pt x="124374" y="692539"/>
                    </a:cubicBezTo>
                    <a:lnTo>
                      <a:pt x="122123" y="696070"/>
                    </a:lnTo>
                    <a:lnTo>
                      <a:pt x="117599" y="703131"/>
                    </a:lnTo>
                    <a:cubicBezTo>
                      <a:pt x="116344" y="705106"/>
                      <a:pt x="115068" y="707041"/>
                      <a:pt x="113853" y="709035"/>
                    </a:cubicBezTo>
                    <a:lnTo>
                      <a:pt x="110485" y="715159"/>
                    </a:lnTo>
                    <a:cubicBezTo>
                      <a:pt x="108273" y="719268"/>
                      <a:pt x="105901" y="723277"/>
                      <a:pt x="103809" y="727426"/>
                    </a:cubicBezTo>
                    <a:cubicBezTo>
                      <a:pt x="99923" y="735904"/>
                      <a:pt x="95618" y="744182"/>
                      <a:pt x="92490" y="752959"/>
                    </a:cubicBezTo>
                    <a:lnTo>
                      <a:pt x="89939" y="759461"/>
                    </a:lnTo>
                    <a:lnTo>
                      <a:pt x="88664" y="762713"/>
                    </a:lnTo>
                    <a:cubicBezTo>
                      <a:pt x="88265" y="763810"/>
                      <a:pt x="87946" y="764927"/>
                      <a:pt x="87588" y="766044"/>
                    </a:cubicBezTo>
                    <a:lnTo>
                      <a:pt x="83383" y="779368"/>
                    </a:lnTo>
                    <a:cubicBezTo>
                      <a:pt x="83044" y="780485"/>
                      <a:pt x="82645" y="781583"/>
                      <a:pt x="82347" y="782700"/>
                    </a:cubicBezTo>
                    <a:lnTo>
                      <a:pt x="81529" y="786090"/>
                    </a:lnTo>
                    <a:lnTo>
                      <a:pt x="79875" y="792873"/>
                    </a:lnTo>
                    <a:cubicBezTo>
                      <a:pt x="78819" y="797400"/>
                      <a:pt x="77504" y="801889"/>
                      <a:pt x="76866" y="806496"/>
                    </a:cubicBezTo>
                    <a:lnTo>
                      <a:pt x="74475" y="820260"/>
                    </a:lnTo>
                    <a:cubicBezTo>
                      <a:pt x="73997" y="822534"/>
                      <a:pt x="73877" y="824867"/>
                      <a:pt x="73618" y="827181"/>
                    </a:cubicBezTo>
                    <a:lnTo>
                      <a:pt x="72901" y="834123"/>
                    </a:lnTo>
                    <a:cubicBezTo>
                      <a:pt x="71625" y="843358"/>
                      <a:pt x="71745" y="852713"/>
                      <a:pt x="71326" y="862029"/>
                    </a:cubicBezTo>
                    <a:cubicBezTo>
                      <a:pt x="71087" y="880679"/>
                      <a:pt x="72721" y="899310"/>
                      <a:pt x="75970" y="917641"/>
                    </a:cubicBezTo>
                    <a:cubicBezTo>
                      <a:pt x="77046" y="923585"/>
                      <a:pt x="78241" y="929489"/>
                      <a:pt x="79676" y="935354"/>
                    </a:cubicBezTo>
                    <a:cubicBezTo>
                      <a:pt x="80354" y="938286"/>
                      <a:pt x="81151" y="941198"/>
                      <a:pt x="81928" y="944111"/>
                    </a:cubicBezTo>
                    <a:cubicBezTo>
                      <a:pt x="82526" y="946384"/>
                      <a:pt x="83144" y="948259"/>
                      <a:pt x="83761" y="950354"/>
                    </a:cubicBezTo>
                    <a:cubicBezTo>
                      <a:pt x="84399" y="952388"/>
                      <a:pt x="84977" y="954443"/>
                      <a:pt x="85635" y="956478"/>
                    </a:cubicBezTo>
                    <a:lnTo>
                      <a:pt x="87607" y="962581"/>
                    </a:lnTo>
                    <a:lnTo>
                      <a:pt x="88106" y="964117"/>
                    </a:lnTo>
                    <a:lnTo>
                      <a:pt x="88464" y="965613"/>
                    </a:lnTo>
                    <a:lnTo>
                      <a:pt x="89162" y="968605"/>
                    </a:lnTo>
                    <a:lnTo>
                      <a:pt x="89859" y="971597"/>
                    </a:lnTo>
                    <a:lnTo>
                      <a:pt x="90198" y="973093"/>
                    </a:lnTo>
                    <a:lnTo>
                      <a:pt x="90417" y="974530"/>
                    </a:lnTo>
                    <a:lnTo>
                      <a:pt x="91294" y="980234"/>
                    </a:lnTo>
                    <a:cubicBezTo>
                      <a:pt x="91354" y="980713"/>
                      <a:pt x="91493" y="981172"/>
                      <a:pt x="91473" y="981671"/>
                    </a:cubicBezTo>
                    <a:cubicBezTo>
                      <a:pt x="91314" y="982149"/>
                      <a:pt x="90955" y="982528"/>
                      <a:pt x="90696" y="982947"/>
                    </a:cubicBezTo>
                    <a:lnTo>
                      <a:pt x="89042" y="985441"/>
                    </a:lnTo>
                    <a:lnTo>
                      <a:pt x="85714" y="990447"/>
                    </a:lnTo>
                    <a:lnTo>
                      <a:pt x="82386" y="995454"/>
                    </a:lnTo>
                    <a:lnTo>
                      <a:pt x="80732" y="997947"/>
                    </a:lnTo>
                    <a:cubicBezTo>
                      <a:pt x="80194" y="998785"/>
                      <a:pt x="79417" y="999603"/>
                      <a:pt x="78759" y="1000421"/>
                    </a:cubicBezTo>
                    <a:lnTo>
                      <a:pt x="70529" y="1010494"/>
                    </a:lnTo>
                    <a:lnTo>
                      <a:pt x="68477" y="1013007"/>
                    </a:lnTo>
                    <a:lnTo>
                      <a:pt x="67440" y="1014264"/>
                    </a:lnTo>
                    <a:lnTo>
                      <a:pt x="66703" y="1015261"/>
                    </a:lnTo>
                    <a:lnTo>
                      <a:pt x="63913" y="1019111"/>
                    </a:lnTo>
                    <a:lnTo>
                      <a:pt x="58333" y="1026791"/>
                    </a:lnTo>
                    <a:lnTo>
                      <a:pt x="53092" y="1034710"/>
                    </a:lnTo>
                    <a:lnTo>
                      <a:pt x="50462" y="1038659"/>
                    </a:lnTo>
                    <a:cubicBezTo>
                      <a:pt x="49625" y="1039996"/>
                      <a:pt x="48828" y="1041372"/>
                      <a:pt x="48011" y="1042728"/>
                    </a:cubicBezTo>
                    <a:lnTo>
                      <a:pt x="43128" y="1050867"/>
                    </a:lnTo>
                    <a:cubicBezTo>
                      <a:pt x="41534" y="1053599"/>
                      <a:pt x="40099" y="1056432"/>
                      <a:pt x="38585" y="1059185"/>
                    </a:cubicBezTo>
                    <a:cubicBezTo>
                      <a:pt x="37110" y="1061977"/>
                      <a:pt x="35496" y="1064710"/>
                      <a:pt x="34181" y="1067582"/>
                    </a:cubicBezTo>
                    <a:cubicBezTo>
                      <a:pt x="31451" y="1073287"/>
                      <a:pt x="28581" y="1078932"/>
                      <a:pt x="26230" y="1084797"/>
                    </a:cubicBezTo>
                    <a:cubicBezTo>
                      <a:pt x="25014" y="1087709"/>
                      <a:pt x="23679" y="1090581"/>
                      <a:pt x="22563" y="1093533"/>
                    </a:cubicBezTo>
                    <a:lnTo>
                      <a:pt x="19255" y="1102410"/>
                    </a:lnTo>
                    <a:cubicBezTo>
                      <a:pt x="18717" y="1103886"/>
                      <a:pt x="18139" y="1105362"/>
                      <a:pt x="17601" y="1106858"/>
                    </a:cubicBezTo>
                    <a:lnTo>
                      <a:pt x="16166" y="1111366"/>
                    </a:lnTo>
                    <a:lnTo>
                      <a:pt x="13257" y="1120382"/>
                    </a:lnTo>
                    <a:lnTo>
                      <a:pt x="10766" y="1129518"/>
                    </a:lnTo>
                    <a:cubicBezTo>
                      <a:pt x="9948" y="1132570"/>
                      <a:pt x="9052" y="1135602"/>
                      <a:pt x="8454" y="1138693"/>
                    </a:cubicBezTo>
                    <a:cubicBezTo>
                      <a:pt x="4169" y="1156885"/>
                      <a:pt x="1439" y="1175456"/>
                      <a:pt x="483" y="1194126"/>
                    </a:cubicBezTo>
                    <a:cubicBezTo>
                      <a:pt x="-474" y="1212796"/>
                      <a:pt x="-55" y="1231566"/>
                      <a:pt x="2157" y="1250137"/>
                    </a:cubicBezTo>
                    <a:cubicBezTo>
                      <a:pt x="4369" y="1268708"/>
                      <a:pt x="8195" y="1287059"/>
                      <a:pt x="13555" y="1304971"/>
                    </a:cubicBezTo>
                    <a:cubicBezTo>
                      <a:pt x="14791" y="1309479"/>
                      <a:pt x="16425" y="1313868"/>
                      <a:pt x="17860" y="1318316"/>
                    </a:cubicBezTo>
                    <a:cubicBezTo>
                      <a:pt x="19354" y="1322744"/>
                      <a:pt x="21108" y="1327073"/>
                      <a:pt x="22722" y="1331461"/>
                    </a:cubicBezTo>
                    <a:cubicBezTo>
                      <a:pt x="24556" y="1335749"/>
                      <a:pt x="26269" y="1340118"/>
                      <a:pt x="28202" y="1344367"/>
                    </a:cubicBezTo>
                    <a:cubicBezTo>
                      <a:pt x="30195" y="1348595"/>
                      <a:pt x="32029" y="1352904"/>
                      <a:pt x="34221" y="1357033"/>
                    </a:cubicBezTo>
                    <a:cubicBezTo>
                      <a:pt x="42610" y="1373748"/>
                      <a:pt x="52375" y="1389806"/>
                      <a:pt x="63455" y="1404926"/>
                    </a:cubicBezTo>
                    <a:cubicBezTo>
                      <a:pt x="74575" y="1420005"/>
                      <a:pt x="86910" y="1434208"/>
                      <a:pt x="100321" y="1447353"/>
                    </a:cubicBezTo>
                    <a:cubicBezTo>
                      <a:pt x="113693" y="1460538"/>
                      <a:pt x="128221" y="1472506"/>
                      <a:pt x="143565" y="1483337"/>
                    </a:cubicBezTo>
                    <a:lnTo>
                      <a:pt x="149324" y="1487386"/>
                    </a:lnTo>
                    <a:lnTo>
                      <a:pt x="155223" y="1491236"/>
                    </a:lnTo>
                    <a:cubicBezTo>
                      <a:pt x="159109" y="1493869"/>
                      <a:pt x="163174" y="1496243"/>
                      <a:pt x="167199" y="1498676"/>
                    </a:cubicBezTo>
                    <a:cubicBezTo>
                      <a:pt x="169192" y="1499913"/>
                      <a:pt x="171245" y="1501070"/>
                      <a:pt x="173297" y="1502207"/>
                    </a:cubicBezTo>
                    <a:lnTo>
                      <a:pt x="177343" y="1504461"/>
                    </a:lnTo>
                    <a:lnTo>
                      <a:pt x="181667" y="1506795"/>
                    </a:lnTo>
                    <a:cubicBezTo>
                      <a:pt x="187426" y="1509907"/>
                      <a:pt x="193385" y="1512859"/>
                      <a:pt x="198965" y="1516010"/>
                    </a:cubicBezTo>
                    <a:lnTo>
                      <a:pt x="207015" y="1521715"/>
                    </a:lnTo>
                    <a:lnTo>
                      <a:pt x="211041" y="1524568"/>
                    </a:lnTo>
                    <a:cubicBezTo>
                      <a:pt x="211220" y="1524667"/>
                      <a:pt x="211360" y="1524827"/>
                      <a:pt x="211439" y="1525046"/>
                    </a:cubicBezTo>
                    <a:cubicBezTo>
                      <a:pt x="211499" y="1525246"/>
                      <a:pt x="211499" y="1525465"/>
                      <a:pt x="211539" y="1525665"/>
                    </a:cubicBezTo>
                    <a:lnTo>
                      <a:pt x="211698" y="1526901"/>
                    </a:lnTo>
                    <a:lnTo>
                      <a:pt x="212017" y="1529375"/>
                    </a:lnTo>
                    <a:lnTo>
                      <a:pt x="213313" y="1539308"/>
                    </a:lnTo>
                    <a:lnTo>
                      <a:pt x="213970" y="1544275"/>
                    </a:lnTo>
                    <a:cubicBezTo>
                      <a:pt x="214090" y="1546011"/>
                      <a:pt x="214070" y="1547886"/>
                      <a:pt x="214130" y="1549681"/>
                    </a:cubicBezTo>
                    <a:lnTo>
                      <a:pt x="214409" y="1566217"/>
                    </a:lnTo>
                    <a:lnTo>
                      <a:pt x="214449" y="1568291"/>
                    </a:lnTo>
                    <a:cubicBezTo>
                      <a:pt x="214449" y="1568950"/>
                      <a:pt x="214449" y="1569767"/>
                      <a:pt x="214508" y="1570186"/>
                    </a:cubicBezTo>
                    <a:lnTo>
                      <a:pt x="214767" y="1573198"/>
                    </a:lnTo>
                    <a:lnTo>
                      <a:pt x="215266" y="1579242"/>
                    </a:lnTo>
                    <a:cubicBezTo>
                      <a:pt x="215724" y="1587321"/>
                      <a:pt x="217019" y="1595300"/>
                      <a:pt x="218075" y="1603298"/>
                    </a:cubicBezTo>
                    <a:cubicBezTo>
                      <a:pt x="220806" y="1619196"/>
                      <a:pt x="224074" y="1635074"/>
                      <a:pt x="229115" y="1650433"/>
                    </a:cubicBezTo>
                    <a:lnTo>
                      <a:pt x="230869" y="1656238"/>
                    </a:lnTo>
                    <a:cubicBezTo>
                      <a:pt x="231507" y="1658152"/>
                      <a:pt x="232224" y="1660047"/>
                      <a:pt x="232902" y="1661942"/>
                    </a:cubicBezTo>
                    <a:lnTo>
                      <a:pt x="237027" y="1673332"/>
                    </a:lnTo>
                    <a:lnTo>
                      <a:pt x="241750" y="1684502"/>
                    </a:lnTo>
                    <a:cubicBezTo>
                      <a:pt x="242547" y="1686358"/>
                      <a:pt x="243284" y="1688253"/>
                      <a:pt x="244141" y="1690068"/>
                    </a:cubicBezTo>
                    <a:lnTo>
                      <a:pt x="246791" y="1695533"/>
                    </a:lnTo>
                    <a:cubicBezTo>
                      <a:pt x="253567" y="1710234"/>
                      <a:pt x="261877" y="1724177"/>
                      <a:pt x="270685" y="1737761"/>
                    </a:cubicBezTo>
                    <a:lnTo>
                      <a:pt x="278656" y="1749370"/>
                    </a:lnTo>
                    <a:lnTo>
                      <a:pt x="287185" y="1760600"/>
                    </a:lnTo>
                    <a:lnTo>
                      <a:pt x="289318" y="1763413"/>
                    </a:lnTo>
                    <a:lnTo>
                      <a:pt x="291589" y="1766106"/>
                    </a:lnTo>
                    <a:lnTo>
                      <a:pt x="296133" y="1771511"/>
                    </a:lnTo>
                    <a:lnTo>
                      <a:pt x="300677" y="1776917"/>
                    </a:lnTo>
                    <a:lnTo>
                      <a:pt x="305479" y="1782083"/>
                    </a:lnTo>
                    <a:lnTo>
                      <a:pt x="310282" y="1787249"/>
                    </a:lnTo>
                    <a:lnTo>
                      <a:pt x="312673" y="1789842"/>
                    </a:lnTo>
                    <a:lnTo>
                      <a:pt x="315184" y="1792316"/>
                    </a:lnTo>
                    <a:lnTo>
                      <a:pt x="325268" y="1802210"/>
                    </a:lnTo>
                    <a:lnTo>
                      <a:pt x="335809" y="1811605"/>
                    </a:lnTo>
                    <a:lnTo>
                      <a:pt x="338440" y="1813958"/>
                    </a:lnTo>
                    <a:lnTo>
                      <a:pt x="341190" y="1816192"/>
                    </a:lnTo>
                    <a:lnTo>
                      <a:pt x="346690" y="1820641"/>
                    </a:lnTo>
                    <a:cubicBezTo>
                      <a:pt x="376004" y="1844338"/>
                      <a:pt x="409064" y="1863367"/>
                      <a:pt x="444018" y="1877589"/>
                    </a:cubicBezTo>
                    <a:cubicBezTo>
                      <a:pt x="461574" y="1884531"/>
                      <a:pt x="479529" y="1890515"/>
                      <a:pt x="497883" y="1895003"/>
                    </a:cubicBezTo>
                    <a:cubicBezTo>
                      <a:pt x="502446" y="1896200"/>
                      <a:pt x="507110" y="1897038"/>
                      <a:pt x="511713" y="1898095"/>
                    </a:cubicBezTo>
                    <a:lnTo>
                      <a:pt x="518648" y="1899591"/>
                    </a:lnTo>
                    <a:lnTo>
                      <a:pt x="525643" y="1900748"/>
                    </a:lnTo>
                    <a:cubicBezTo>
                      <a:pt x="530306" y="1901466"/>
                      <a:pt x="534949" y="1902403"/>
                      <a:pt x="539632" y="1902982"/>
                    </a:cubicBezTo>
                    <a:lnTo>
                      <a:pt x="553721" y="1904657"/>
                    </a:lnTo>
                    <a:cubicBezTo>
                      <a:pt x="591165" y="1908327"/>
                      <a:pt x="629945" y="1907151"/>
                      <a:pt x="667728" y="1902144"/>
                    </a:cubicBezTo>
                    <a:cubicBezTo>
                      <a:pt x="705512" y="1897057"/>
                      <a:pt x="742637" y="1887662"/>
                      <a:pt x="777511" y="1873261"/>
                    </a:cubicBezTo>
                    <a:cubicBezTo>
                      <a:pt x="794948" y="1866060"/>
                      <a:pt x="811807" y="1857622"/>
                      <a:pt x="827829" y="1847888"/>
                    </a:cubicBezTo>
                    <a:cubicBezTo>
                      <a:pt x="843831" y="1838154"/>
                      <a:pt x="858937" y="1827024"/>
                      <a:pt x="872926" y="1814736"/>
                    </a:cubicBezTo>
                    <a:cubicBezTo>
                      <a:pt x="875517" y="1812462"/>
                      <a:pt x="878127" y="1810208"/>
                      <a:pt x="880578" y="1807775"/>
                    </a:cubicBezTo>
                    <a:cubicBezTo>
                      <a:pt x="883029" y="1805361"/>
                      <a:pt x="885640" y="1803087"/>
                      <a:pt x="887991" y="1800574"/>
                    </a:cubicBezTo>
                    <a:lnTo>
                      <a:pt x="895146" y="1793134"/>
                    </a:lnTo>
                    <a:lnTo>
                      <a:pt x="902300" y="1785095"/>
                    </a:lnTo>
                    <a:cubicBezTo>
                      <a:pt x="908398" y="1777435"/>
                      <a:pt x="914595" y="1769995"/>
                      <a:pt x="920016" y="1761298"/>
                    </a:cubicBezTo>
                    <a:lnTo>
                      <a:pt x="924220" y="1754975"/>
                    </a:lnTo>
                    <a:lnTo>
                      <a:pt x="928425" y="1748831"/>
                    </a:lnTo>
                    <a:lnTo>
                      <a:pt x="932630" y="1742688"/>
                    </a:lnTo>
                    <a:lnTo>
                      <a:pt x="933686" y="1741152"/>
                    </a:lnTo>
                    <a:cubicBezTo>
                      <a:pt x="934045" y="1740653"/>
                      <a:pt x="934384" y="1740095"/>
                      <a:pt x="934742" y="1739756"/>
                    </a:cubicBezTo>
                    <a:lnTo>
                      <a:pt x="936835" y="1737422"/>
                    </a:lnTo>
                    <a:lnTo>
                      <a:pt x="941040" y="1732754"/>
                    </a:lnTo>
                    <a:lnTo>
                      <a:pt x="943132" y="1730420"/>
                    </a:lnTo>
                    <a:cubicBezTo>
                      <a:pt x="943829" y="1729643"/>
                      <a:pt x="944547" y="1728825"/>
                      <a:pt x="945145" y="1728246"/>
                    </a:cubicBezTo>
                    <a:lnTo>
                      <a:pt x="952578" y="1720606"/>
                    </a:lnTo>
                    <a:lnTo>
                      <a:pt x="953494" y="1719649"/>
                    </a:lnTo>
                    <a:lnTo>
                      <a:pt x="954272" y="1718791"/>
                    </a:lnTo>
                    <a:lnTo>
                      <a:pt x="955846" y="1717076"/>
                    </a:lnTo>
                    <a:lnTo>
                      <a:pt x="958995" y="1713645"/>
                    </a:lnTo>
                    <a:lnTo>
                      <a:pt x="960569" y="1711930"/>
                    </a:lnTo>
                    <a:lnTo>
                      <a:pt x="960967" y="1711491"/>
                    </a:lnTo>
                    <a:cubicBezTo>
                      <a:pt x="961087" y="1711351"/>
                      <a:pt x="961207" y="1711172"/>
                      <a:pt x="961506" y="1711172"/>
                    </a:cubicBezTo>
                    <a:cubicBezTo>
                      <a:pt x="961824" y="1711172"/>
                      <a:pt x="961944" y="1711331"/>
                      <a:pt x="962063" y="1711471"/>
                    </a:cubicBezTo>
                    <a:lnTo>
                      <a:pt x="962462" y="1711910"/>
                    </a:lnTo>
                    <a:lnTo>
                      <a:pt x="965611" y="1715340"/>
                    </a:lnTo>
                    <a:lnTo>
                      <a:pt x="968759" y="1718771"/>
                    </a:lnTo>
                    <a:lnTo>
                      <a:pt x="969536" y="1719629"/>
                    </a:lnTo>
                    <a:lnTo>
                      <a:pt x="970453" y="1720587"/>
                    </a:lnTo>
                    <a:lnTo>
                      <a:pt x="972306" y="1722501"/>
                    </a:lnTo>
                    <a:lnTo>
                      <a:pt x="976013" y="1726331"/>
                    </a:lnTo>
                    <a:cubicBezTo>
                      <a:pt x="977288" y="1727648"/>
                      <a:pt x="978404" y="1728725"/>
                      <a:pt x="979879" y="1730420"/>
                    </a:cubicBezTo>
                    <a:lnTo>
                      <a:pt x="988289" y="1739736"/>
                    </a:lnTo>
                    <a:cubicBezTo>
                      <a:pt x="988627" y="1740075"/>
                      <a:pt x="988986" y="1740613"/>
                      <a:pt x="989345" y="1741112"/>
                    </a:cubicBezTo>
                    <a:lnTo>
                      <a:pt x="990401" y="1742608"/>
                    </a:lnTo>
                    <a:lnTo>
                      <a:pt x="992533" y="1745620"/>
                    </a:lnTo>
                    <a:lnTo>
                      <a:pt x="996798" y="1751624"/>
                    </a:lnTo>
                    <a:cubicBezTo>
                      <a:pt x="998611" y="1754836"/>
                      <a:pt x="1000644" y="1757708"/>
                      <a:pt x="1002597" y="1760680"/>
                    </a:cubicBezTo>
                    <a:lnTo>
                      <a:pt x="1008495" y="1769556"/>
                    </a:lnTo>
                    <a:cubicBezTo>
                      <a:pt x="1010588" y="1772309"/>
                      <a:pt x="1012740" y="1775002"/>
                      <a:pt x="1014852" y="1777715"/>
                    </a:cubicBezTo>
                    <a:lnTo>
                      <a:pt x="1018041" y="1781784"/>
                    </a:lnTo>
                    <a:cubicBezTo>
                      <a:pt x="1018579" y="1782462"/>
                      <a:pt x="1019097" y="1783140"/>
                      <a:pt x="1019635" y="1783798"/>
                    </a:cubicBezTo>
                    <a:lnTo>
                      <a:pt x="1021429" y="1785873"/>
                    </a:lnTo>
                    <a:cubicBezTo>
                      <a:pt x="1024677" y="1789463"/>
                      <a:pt x="1027766" y="1793174"/>
                      <a:pt x="1031213" y="1796585"/>
                    </a:cubicBezTo>
                    <a:lnTo>
                      <a:pt x="1036255" y="1801811"/>
                    </a:lnTo>
                    <a:lnTo>
                      <a:pt x="1041496" y="1806837"/>
                    </a:lnTo>
                    <a:cubicBezTo>
                      <a:pt x="1068419" y="1832589"/>
                      <a:pt x="1100323" y="1853134"/>
                      <a:pt x="1134659" y="1868553"/>
                    </a:cubicBezTo>
                    <a:cubicBezTo>
                      <a:pt x="1169015" y="1884012"/>
                      <a:pt x="1205841" y="1894424"/>
                      <a:pt x="1243485" y="1900349"/>
                    </a:cubicBezTo>
                    <a:cubicBezTo>
                      <a:pt x="1262297" y="1903321"/>
                      <a:pt x="1281348" y="1905236"/>
                      <a:pt x="1300459" y="1906133"/>
                    </a:cubicBezTo>
                    <a:cubicBezTo>
                      <a:pt x="1305242" y="1906293"/>
                      <a:pt x="1310024" y="1906552"/>
                      <a:pt x="1314807" y="1906632"/>
                    </a:cubicBezTo>
                    <a:cubicBezTo>
                      <a:pt x="1319590" y="1906652"/>
                      <a:pt x="1324412" y="1906831"/>
                      <a:pt x="1329155" y="1906752"/>
                    </a:cubicBezTo>
                    <a:lnTo>
                      <a:pt x="1343344" y="1906413"/>
                    </a:lnTo>
                    <a:lnTo>
                      <a:pt x="1346891" y="1906333"/>
                    </a:lnTo>
                    <a:lnTo>
                      <a:pt x="1350438" y="1906074"/>
                    </a:lnTo>
                    <a:lnTo>
                      <a:pt x="1357513" y="1905575"/>
                    </a:lnTo>
                    <a:cubicBezTo>
                      <a:pt x="1366978" y="1905116"/>
                      <a:pt x="1376325" y="1903700"/>
                      <a:pt x="1385731" y="1902643"/>
                    </a:cubicBezTo>
                    <a:cubicBezTo>
                      <a:pt x="1395037" y="1901027"/>
                      <a:pt x="1404423" y="1899730"/>
                      <a:pt x="1413610" y="1897536"/>
                    </a:cubicBezTo>
                    <a:cubicBezTo>
                      <a:pt x="1422896" y="1895741"/>
                      <a:pt x="1431963" y="1893088"/>
                      <a:pt x="1441110" y="1890714"/>
                    </a:cubicBezTo>
                    <a:cubicBezTo>
                      <a:pt x="1450098" y="1887822"/>
                      <a:pt x="1459185" y="1885209"/>
                      <a:pt x="1467973" y="1881738"/>
                    </a:cubicBezTo>
                    <a:cubicBezTo>
                      <a:pt x="1472397" y="1880103"/>
                      <a:pt x="1476861" y="1878547"/>
                      <a:pt x="1481165" y="1876612"/>
                    </a:cubicBezTo>
                    <a:cubicBezTo>
                      <a:pt x="1485509" y="1874757"/>
                      <a:pt x="1489874" y="1872981"/>
                      <a:pt x="1494198" y="1871067"/>
                    </a:cubicBezTo>
                    <a:lnTo>
                      <a:pt x="1506972" y="1864963"/>
                    </a:lnTo>
                    <a:cubicBezTo>
                      <a:pt x="1509124" y="1863985"/>
                      <a:pt x="1511197" y="1862868"/>
                      <a:pt x="1513269" y="1861731"/>
                    </a:cubicBezTo>
                    <a:lnTo>
                      <a:pt x="1519507" y="1858380"/>
                    </a:lnTo>
                    <a:cubicBezTo>
                      <a:pt x="1536027" y="1849304"/>
                      <a:pt x="1552109" y="1839311"/>
                      <a:pt x="1567054" y="1827841"/>
                    </a:cubicBezTo>
                    <a:cubicBezTo>
                      <a:pt x="1582060" y="1816432"/>
                      <a:pt x="1596329" y="1804085"/>
                      <a:pt x="1609521" y="1790640"/>
                    </a:cubicBezTo>
                    <a:cubicBezTo>
                      <a:pt x="1622613" y="1777116"/>
                      <a:pt x="1634710" y="1762675"/>
                      <a:pt x="1645670" y="1747415"/>
                    </a:cubicBezTo>
                    <a:lnTo>
                      <a:pt x="1652964" y="1736783"/>
                    </a:lnTo>
                    <a:cubicBezTo>
                      <a:pt x="1655375" y="1733233"/>
                      <a:pt x="1657507" y="1729503"/>
                      <a:pt x="1659799" y="1725873"/>
                    </a:cubicBezTo>
                    <a:lnTo>
                      <a:pt x="1663187" y="1720387"/>
                    </a:lnTo>
                    <a:lnTo>
                      <a:pt x="1666275" y="1714742"/>
                    </a:lnTo>
                    <a:cubicBezTo>
                      <a:pt x="1668308" y="1710952"/>
                      <a:pt x="1670480" y="1707262"/>
                      <a:pt x="1672393" y="1703412"/>
                    </a:cubicBezTo>
                    <a:cubicBezTo>
                      <a:pt x="1680185" y="1688113"/>
                      <a:pt x="1686642" y="1672195"/>
                      <a:pt x="1692202" y="1655998"/>
                    </a:cubicBezTo>
                    <a:cubicBezTo>
                      <a:pt x="1697463" y="1639682"/>
                      <a:pt x="1701568" y="1623026"/>
                      <a:pt x="1704497" y="1606151"/>
                    </a:cubicBezTo>
                    <a:cubicBezTo>
                      <a:pt x="1705155" y="1601922"/>
                      <a:pt x="1705673" y="1597673"/>
                      <a:pt x="1706271" y="1593425"/>
                    </a:cubicBezTo>
                    <a:cubicBezTo>
                      <a:pt x="1706550" y="1591310"/>
                      <a:pt x="1706888" y="1589176"/>
                      <a:pt x="1707108" y="1587061"/>
                    </a:cubicBezTo>
                    <a:lnTo>
                      <a:pt x="1707626" y="1580659"/>
                    </a:lnTo>
                    <a:lnTo>
                      <a:pt x="1708144" y="1574256"/>
                    </a:lnTo>
                    <a:lnTo>
                      <a:pt x="1708403" y="1571044"/>
                    </a:lnTo>
                    <a:cubicBezTo>
                      <a:pt x="1708443" y="1570466"/>
                      <a:pt x="1708503" y="1570067"/>
                      <a:pt x="1708523" y="1569368"/>
                    </a:cubicBezTo>
                    <a:lnTo>
                      <a:pt x="1708562" y="1567174"/>
                    </a:lnTo>
                    <a:lnTo>
                      <a:pt x="1708841" y="1549641"/>
                    </a:lnTo>
                    <a:lnTo>
                      <a:pt x="1708921" y="1546270"/>
                    </a:lnTo>
                    <a:lnTo>
                      <a:pt x="1708961" y="1544594"/>
                    </a:lnTo>
                    <a:lnTo>
                      <a:pt x="1709160" y="1543058"/>
                    </a:lnTo>
                    <a:lnTo>
                      <a:pt x="1709957" y="1536895"/>
                    </a:lnTo>
                    <a:lnTo>
                      <a:pt x="1710754" y="1530731"/>
                    </a:lnTo>
                    <a:lnTo>
                      <a:pt x="1711153" y="1527659"/>
                    </a:lnTo>
                    <a:lnTo>
                      <a:pt x="1711352" y="1526123"/>
                    </a:lnTo>
                    <a:cubicBezTo>
                      <a:pt x="1711472" y="1525625"/>
                      <a:pt x="1711352" y="1525026"/>
                      <a:pt x="1711771" y="1524667"/>
                    </a:cubicBezTo>
                    <a:lnTo>
                      <a:pt x="1719104" y="1519481"/>
                    </a:lnTo>
                    <a:lnTo>
                      <a:pt x="1722771" y="1516888"/>
                    </a:lnTo>
                    <a:lnTo>
                      <a:pt x="1724604" y="1515591"/>
                    </a:lnTo>
                    <a:lnTo>
                      <a:pt x="1726776" y="1514454"/>
                    </a:lnTo>
                    <a:cubicBezTo>
                      <a:pt x="1732576" y="1511383"/>
                      <a:pt x="1738394" y="1508411"/>
                      <a:pt x="1744194" y="1505259"/>
                    </a:cubicBezTo>
                    <a:lnTo>
                      <a:pt x="1751726" y="1501070"/>
                    </a:lnTo>
                    <a:cubicBezTo>
                      <a:pt x="1753799" y="1499953"/>
                      <a:pt x="1755752" y="1498657"/>
                      <a:pt x="1757784" y="1497460"/>
                    </a:cubicBezTo>
                    <a:lnTo>
                      <a:pt x="1763803" y="1493809"/>
                    </a:lnTo>
                    <a:lnTo>
                      <a:pt x="1769701" y="1489960"/>
                    </a:lnTo>
                    <a:cubicBezTo>
                      <a:pt x="1785404" y="1479647"/>
                      <a:pt x="1800330" y="1468138"/>
                      <a:pt x="1814140" y="1455411"/>
                    </a:cubicBezTo>
                    <a:cubicBezTo>
                      <a:pt x="1827970" y="1442725"/>
                      <a:pt x="1840804" y="1428962"/>
                      <a:pt x="1852442" y="1414261"/>
                    </a:cubicBezTo>
                    <a:cubicBezTo>
                      <a:pt x="1864020" y="1399520"/>
                      <a:pt x="1874362" y="1383822"/>
                      <a:pt x="1883350" y="1367405"/>
                    </a:cubicBezTo>
                    <a:cubicBezTo>
                      <a:pt x="1885701" y="1363356"/>
                      <a:pt x="1887674" y="1359107"/>
                      <a:pt x="1889827" y="1354958"/>
                    </a:cubicBezTo>
                    <a:cubicBezTo>
                      <a:pt x="1891899" y="1350770"/>
                      <a:pt x="1893792" y="1346481"/>
                      <a:pt x="1895765" y="1342252"/>
                    </a:cubicBezTo>
                    <a:cubicBezTo>
                      <a:pt x="1899432" y="1333655"/>
                      <a:pt x="1902939" y="1324978"/>
                      <a:pt x="1905888" y="1316102"/>
                    </a:cubicBezTo>
                    <a:cubicBezTo>
                      <a:pt x="1911887" y="1298389"/>
                      <a:pt x="1916390" y="1280197"/>
                      <a:pt x="1919280" y="1261726"/>
                    </a:cubicBezTo>
                    <a:cubicBezTo>
                      <a:pt x="1922070" y="1243255"/>
                      <a:pt x="1923345" y="1224525"/>
                      <a:pt x="1922907" y="1205815"/>
                    </a:cubicBezTo>
                    <a:cubicBezTo>
                      <a:pt x="1922548" y="1187105"/>
                      <a:pt x="1920615" y="1168454"/>
                      <a:pt x="1917048" y="1150103"/>
                    </a:cubicBezTo>
                    <a:close/>
                    <a:moveTo>
                      <a:pt x="1820378" y="1389207"/>
                    </a:moveTo>
                    <a:cubicBezTo>
                      <a:pt x="1810115" y="1402153"/>
                      <a:pt x="1798796" y="1414321"/>
                      <a:pt x="1786580" y="1425531"/>
                    </a:cubicBezTo>
                    <a:cubicBezTo>
                      <a:pt x="1774384" y="1436781"/>
                      <a:pt x="1761152" y="1446974"/>
                      <a:pt x="1747242" y="1456110"/>
                    </a:cubicBezTo>
                    <a:lnTo>
                      <a:pt x="1742021" y="1459520"/>
                    </a:lnTo>
                    <a:lnTo>
                      <a:pt x="1736681" y="1462752"/>
                    </a:lnTo>
                    <a:cubicBezTo>
                      <a:pt x="1734887" y="1463809"/>
                      <a:pt x="1733153" y="1464966"/>
                      <a:pt x="1731320" y="1465943"/>
                    </a:cubicBezTo>
                    <a:lnTo>
                      <a:pt x="1721635" y="1471289"/>
                    </a:lnTo>
                    <a:lnTo>
                      <a:pt x="1714999" y="1474700"/>
                    </a:lnTo>
                    <a:lnTo>
                      <a:pt x="1708463" y="1478191"/>
                    </a:lnTo>
                    <a:lnTo>
                      <a:pt x="1695390" y="1485192"/>
                    </a:lnTo>
                    <a:lnTo>
                      <a:pt x="1692122" y="1486948"/>
                    </a:lnTo>
                    <a:lnTo>
                      <a:pt x="1689970" y="1489281"/>
                    </a:lnTo>
                    <a:lnTo>
                      <a:pt x="1685685" y="1493969"/>
                    </a:lnTo>
                    <a:lnTo>
                      <a:pt x="1677096" y="1503324"/>
                    </a:lnTo>
                    <a:cubicBezTo>
                      <a:pt x="1676638" y="1503942"/>
                      <a:pt x="1676478" y="1504641"/>
                      <a:pt x="1676239" y="1505359"/>
                    </a:cubicBezTo>
                    <a:lnTo>
                      <a:pt x="1675562" y="1507453"/>
                    </a:lnTo>
                    <a:lnTo>
                      <a:pt x="1674207" y="1511662"/>
                    </a:lnTo>
                    <a:lnTo>
                      <a:pt x="1671497" y="1520080"/>
                    </a:lnTo>
                    <a:lnTo>
                      <a:pt x="1668786" y="1528497"/>
                    </a:lnTo>
                    <a:lnTo>
                      <a:pt x="1668109" y="1530592"/>
                    </a:lnTo>
                    <a:cubicBezTo>
                      <a:pt x="1668049" y="1531409"/>
                      <a:pt x="1668069" y="1532287"/>
                      <a:pt x="1668049" y="1533125"/>
                    </a:cubicBezTo>
                    <a:lnTo>
                      <a:pt x="1667969" y="1538251"/>
                    </a:lnTo>
                    <a:lnTo>
                      <a:pt x="1667850" y="1563903"/>
                    </a:lnTo>
                    <a:lnTo>
                      <a:pt x="1667850" y="1567513"/>
                    </a:lnTo>
                    <a:lnTo>
                      <a:pt x="1667810" y="1567713"/>
                    </a:lnTo>
                    <a:lnTo>
                      <a:pt x="1667770" y="1568072"/>
                    </a:lnTo>
                    <a:lnTo>
                      <a:pt x="1667710" y="1568770"/>
                    </a:lnTo>
                    <a:lnTo>
                      <a:pt x="1667471" y="1571583"/>
                    </a:lnTo>
                    <a:lnTo>
                      <a:pt x="1667013" y="1577208"/>
                    </a:lnTo>
                    <a:lnTo>
                      <a:pt x="1666574" y="1582833"/>
                    </a:lnTo>
                    <a:cubicBezTo>
                      <a:pt x="1666375" y="1584708"/>
                      <a:pt x="1666076" y="1586563"/>
                      <a:pt x="1665817" y="1588418"/>
                    </a:cubicBezTo>
                    <a:cubicBezTo>
                      <a:pt x="1665279" y="1592128"/>
                      <a:pt x="1664841" y="1595878"/>
                      <a:pt x="1664283" y="1599588"/>
                    </a:cubicBezTo>
                    <a:cubicBezTo>
                      <a:pt x="1661692" y="1614389"/>
                      <a:pt x="1658105" y="1629010"/>
                      <a:pt x="1653482" y="1643352"/>
                    </a:cubicBezTo>
                    <a:cubicBezTo>
                      <a:pt x="1648579" y="1657594"/>
                      <a:pt x="1642900" y="1671597"/>
                      <a:pt x="1636045" y="1685081"/>
                    </a:cubicBezTo>
                    <a:cubicBezTo>
                      <a:pt x="1634371" y="1688472"/>
                      <a:pt x="1632418" y="1691723"/>
                      <a:pt x="1630644" y="1695074"/>
                    </a:cubicBezTo>
                    <a:lnTo>
                      <a:pt x="1627934" y="1700061"/>
                    </a:lnTo>
                    <a:lnTo>
                      <a:pt x="1624945" y="1704908"/>
                    </a:lnTo>
                    <a:cubicBezTo>
                      <a:pt x="1622912" y="1708120"/>
                      <a:pt x="1621059" y="1711431"/>
                      <a:pt x="1618907" y="1714563"/>
                    </a:cubicBezTo>
                    <a:lnTo>
                      <a:pt x="1612450" y="1723978"/>
                    </a:lnTo>
                    <a:cubicBezTo>
                      <a:pt x="1573949" y="1778393"/>
                      <a:pt x="1517275" y="1820381"/>
                      <a:pt x="1453725" y="1843799"/>
                    </a:cubicBezTo>
                    <a:cubicBezTo>
                      <a:pt x="1445833" y="1846911"/>
                      <a:pt x="1437663" y="1849245"/>
                      <a:pt x="1429592" y="1851858"/>
                    </a:cubicBezTo>
                    <a:cubicBezTo>
                      <a:pt x="1421362" y="1853952"/>
                      <a:pt x="1413231" y="1856386"/>
                      <a:pt x="1404861" y="1857981"/>
                    </a:cubicBezTo>
                    <a:cubicBezTo>
                      <a:pt x="1396591" y="1859976"/>
                      <a:pt x="1388142" y="1861093"/>
                      <a:pt x="1379772" y="1862589"/>
                    </a:cubicBezTo>
                    <a:cubicBezTo>
                      <a:pt x="1371303" y="1863507"/>
                      <a:pt x="1362873" y="1864823"/>
                      <a:pt x="1354344" y="1865222"/>
                    </a:cubicBezTo>
                    <a:lnTo>
                      <a:pt x="1347967" y="1865681"/>
                    </a:lnTo>
                    <a:lnTo>
                      <a:pt x="1344779" y="1865920"/>
                    </a:lnTo>
                    <a:lnTo>
                      <a:pt x="1341570" y="1865980"/>
                    </a:lnTo>
                    <a:lnTo>
                      <a:pt x="1328757" y="1866279"/>
                    </a:lnTo>
                    <a:cubicBezTo>
                      <a:pt x="1324452" y="1866359"/>
                      <a:pt x="1319889" y="1866199"/>
                      <a:pt x="1315485" y="1866180"/>
                    </a:cubicBezTo>
                    <a:cubicBezTo>
                      <a:pt x="1311041" y="1866120"/>
                      <a:pt x="1306617" y="1865860"/>
                      <a:pt x="1302173" y="1865721"/>
                    </a:cubicBezTo>
                    <a:cubicBezTo>
                      <a:pt x="1284457" y="1864883"/>
                      <a:pt x="1266901" y="1863128"/>
                      <a:pt x="1249643" y="1860395"/>
                    </a:cubicBezTo>
                    <a:cubicBezTo>
                      <a:pt x="1215108" y="1854949"/>
                      <a:pt x="1181729" y="1845455"/>
                      <a:pt x="1151080" y="1831651"/>
                    </a:cubicBezTo>
                    <a:cubicBezTo>
                      <a:pt x="1120431" y="1817888"/>
                      <a:pt x="1092512" y="1799816"/>
                      <a:pt x="1069216" y="1777515"/>
                    </a:cubicBezTo>
                    <a:lnTo>
                      <a:pt x="1064672" y="1773167"/>
                    </a:lnTo>
                    <a:lnTo>
                      <a:pt x="1060328" y="1768659"/>
                    </a:lnTo>
                    <a:cubicBezTo>
                      <a:pt x="1057339" y="1765727"/>
                      <a:pt x="1054708" y="1762495"/>
                      <a:pt x="1051878" y="1759403"/>
                    </a:cubicBezTo>
                    <a:lnTo>
                      <a:pt x="1051101" y="1758526"/>
                    </a:lnTo>
                    <a:lnTo>
                      <a:pt x="1050723" y="1758107"/>
                    </a:lnTo>
                    <a:lnTo>
                      <a:pt x="1050543" y="1757907"/>
                    </a:lnTo>
                    <a:lnTo>
                      <a:pt x="1050244" y="1757528"/>
                    </a:lnTo>
                    <a:lnTo>
                      <a:pt x="1049029" y="1756032"/>
                    </a:lnTo>
                    <a:cubicBezTo>
                      <a:pt x="1048212" y="1755015"/>
                      <a:pt x="1047455" y="1753938"/>
                      <a:pt x="1046657" y="1752901"/>
                    </a:cubicBezTo>
                    <a:lnTo>
                      <a:pt x="1041954" y="1746617"/>
                    </a:lnTo>
                    <a:cubicBezTo>
                      <a:pt x="1038826" y="1742389"/>
                      <a:pt x="1035657" y="1738299"/>
                      <a:pt x="1032588" y="1733971"/>
                    </a:cubicBezTo>
                    <a:lnTo>
                      <a:pt x="1024059" y="1719509"/>
                    </a:lnTo>
                    <a:cubicBezTo>
                      <a:pt x="1021229" y="1714662"/>
                      <a:pt x="1018320" y="1710035"/>
                      <a:pt x="1015689" y="1704629"/>
                    </a:cubicBezTo>
                    <a:lnTo>
                      <a:pt x="1009073" y="1695573"/>
                    </a:lnTo>
                    <a:lnTo>
                      <a:pt x="1005765" y="1691045"/>
                    </a:lnTo>
                    <a:lnTo>
                      <a:pt x="1004111" y="1688771"/>
                    </a:lnTo>
                    <a:lnTo>
                      <a:pt x="1003294" y="1687634"/>
                    </a:lnTo>
                    <a:lnTo>
                      <a:pt x="1003095" y="1687355"/>
                    </a:lnTo>
                    <a:lnTo>
                      <a:pt x="1002876" y="1687215"/>
                    </a:lnTo>
                    <a:lnTo>
                      <a:pt x="1002457" y="1686916"/>
                    </a:lnTo>
                    <a:lnTo>
                      <a:pt x="988747" y="1677621"/>
                    </a:lnTo>
                    <a:lnTo>
                      <a:pt x="987033" y="1676464"/>
                    </a:lnTo>
                    <a:cubicBezTo>
                      <a:pt x="986894" y="1676364"/>
                      <a:pt x="986734" y="1676264"/>
                      <a:pt x="986615" y="1676185"/>
                    </a:cubicBezTo>
                    <a:lnTo>
                      <a:pt x="986256" y="1676065"/>
                    </a:lnTo>
                    <a:lnTo>
                      <a:pt x="985539" y="1675825"/>
                    </a:lnTo>
                    <a:lnTo>
                      <a:pt x="982649" y="1674908"/>
                    </a:lnTo>
                    <a:lnTo>
                      <a:pt x="976890" y="1673053"/>
                    </a:lnTo>
                    <a:lnTo>
                      <a:pt x="974000" y="1672135"/>
                    </a:lnTo>
                    <a:cubicBezTo>
                      <a:pt x="973542" y="1671996"/>
                      <a:pt x="973004" y="1671796"/>
                      <a:pt x="972585" y="1671697"/>
                    </a:cubicBezTo>
                    <a:lnTo>
                      <a:pt x="971489" y="1671597"/>
                    </a:lnTo>
                    <a:lnTo>
                      <a:pt x="967065" y="1671178"/>
                    </a:lnTo>
                    <a:lnTo>
                      <a:pt x="962641" y="1670759"/>
                    </a:lnTo>
                    <a:cubicBezTo>
                      <a:pt x="962103" y="1670659"/>
                      <a:pt x="960569" y="1670659"/>
                      <a:pt x="960051" y="1670759"/>
                    </a:cubicBezTo>
                    <a:lnTo>
                      <a:pt x="957839" y="1670978"/>
                    </a:lnTo>
                    <a:lnTo>
                      <a:pt x="953415" y="1671397"/>
                    </a:lnTo>
                    <a:lnTo>
                      <a:pt x="951203" y="1671617"/>
                    </a:lnTo>
                    <a:lnTo>
                      <a:pt x="950107" y="1671716"/>
                    </a:lnTo>
                    <a:cubicBezTo>
                      <a:pt x="949668" y="1671816"/>
                      <a:pt x="949150" y="1672016"/>
                      <a:pt x="948692" y="1672155"/>
                    </a:cubicBezTo>
                    <a:lnTo>
                      <a:pt x="937154" y="1675845"/>
                    </a:lnTo>
                    <a:lnTo>
                      <a:pt x="936436" y="1676085"/>
                    </a:lnTo>
                    <a:lnTo>
                      <a:pt x="936077" y="1676204"/>
                    </a:lnTo>
                    <a:lnTo>
                      <a:pt x="935659" y="1676484"/>
                    </a:lnTo>
                    <a:lnTo>
                      <a:pt x="933945" y="1677641"/>
                    </a:lnTo>
                    <a:lnTo>
                      <a:pt x="930518" y="1679974"/>
                    </a:lnTo>
                    <a:lnTo>
                      <a:pt x="923662" y="1684622"/>
                    </a:lnTo>
                    <a:lnTo>
                      <a:pt x="920235" y="1686956"/>
                    </a:lnTo>
                    <a:cubicBezTo>
                      <a:pt x="919657" y="1687175"/>
                      <a:pt x="919119" y="1688113"/>
                      <a:pt x="918581" y="1688891"/>
                    </a:cubicBezTo>
                    <a:lnTo>
                      <a:pt x="916967" y="1691265"/>
                    </a:lnTo>
                    <a:lnTo>
                      <a:pt x="910530" y="1700739"/>
                    </a:lnTo>
                    <a:lnTo>
                      <a:pt x="904093" y="1710234"/>
                    </a:lnTo>
                    <a:lnTo>
                      <a:pt x="898035" y="1720527"/>
                    </a:lnTo>
                    <a:cubicBezTo>
                      <a:pt x="890303" y="1734988"/>
                      <a:pt x="881057" y="1746119"/>
                      <a:pt x="872069" y="1758007"/>
                    </a:cubicBezTo>
                    <a:lnTo>
                      <a:pt x="865274" y="1765647"/>
                    </a:lnTo>
                    <a:lnTo>
                      <a:pt x="859076" y="1772070"/>
                    </a:lnTo>
                    <a:cubicBezTo>
                      <a:pt x="857063" y="1774244"/>
                      <a:pt x="854792" y="1776199"/>
                      <a:pt x="852659" y="1778293"/>
                    </a:cubicBezTo>
                    <a:cubicBezTo>
                      <a:pt x="850547" y="1780388"/>
                      <a:pt x="848275" y="1782342"/>
                      <a:pt x="846023" y="1784317"/>
                    </a:cubicBezTo>
                    <a:cubicBezTo>
                      <a:pt x="833887" y="1794989"/>
                      <a:pt x="820715" y="1804703"/>
                      <a:pt x="806606" y="1813300"/>
                    </a:cubicBezTo>
                    <a:cubicBezTo>
                      <a:pt x="792497" y="1821857"/>
                      <a:pt x="777531" y="1829377"/>
                      <a:pt x="761928" y="1835820"/>
                    </a:cubicBezTo>
                    <a:cubicBezTo>
                      <a:pt x="730701" y="1848706"/>
                      <a:pt x="696963" y="1857323"/>
                      <a:pt x="662208" y="1861991"/>
                    </a:cubicBezTo>
                    <a:cubicBezTo>
                      <a:pt x="644831" y="1864324"/>
                      <a:pt x="627175" y="1865701"/>
                      <a:pt x="609419" y="1866160"/>
                    </a:cubicBezTo>
                    <a:lnTo>
                      <a:pt x="596068" y="1866339"/>
                    </a:lnTo>
                    <a:lnTo>
                      <a:pt x="583234" y="1866040"/>
                    </a:lnTo>
                    <a:cubicBezTo>
                      <a:pt x="581102" y="1865960"/>
                      <a:pt x="578950" y="1866000"/>
                      <a:pt x="576837" y="1865860"/>
                    </a:cubicBezTo>
                    <a:lnTo>
                      <a:pt x="570460" y="1865402"/>
                    </a:lnTo>
                    <a:lnTo>
                      <a:pt x="564083" y="1864963"/>
                    </a:lnTo>
                    <a:cubicBezTo>
                      <a:pt x="561951" y="1864823"/>
                      <a:pt x="559819" y="1864684"/>
                      <a:pt x="557726" y="1864384"/>
                    </a:cubicBezTo>
                    <a:lnTo>
                      <a:pt x="545032" y="1862888"/>
                    </a:lnTo>
                    <a:cubicBezTo>
                      <a:pt x="540808" y="1862390"/>
                      <a:pt x="536643" y="1861512"/>
                      <a:pt x="532438" y="1860874"/>
                    </a:cubicBezTo>
                    <a:lnTo>
                      <a:pt x="526141" y="1859836"/>
                    </a:lnTo>
                    <a:lnTo>
                      <a:pt x="519903" y="1858480"/>
                    </a:lnTo>
                    <a:cubicBezTo>
                      <a:pt x="515758" y="1857543"/>
                      <a:pt x="511573" y="1856805"/>
                      <a:pt x="507468" y="1855707"/>
                    </a:cubicBezTo>
                    <a:cubicBezTo>
                      <a:pt x="490968" y="1851678"/>
                      <a:pt x="474846" y="1846272"/>
                      <a:pt x="459083" y="1840069"/>
                    </a:cubicBezTo>
                    <a:cubicBezTo>
                      <a:pt x="427717" y="1827303"/>
                      <a:pt x="398104" y="1810248"/>
                      <a:pt x="371939" y="1789084"/>
                    </a:cubicBezTo>
                    <a:lnTo>
                      <a:pt x="367036" y="1785115"/>
                    </a:lnTo>
                    <a:lnTo>
                      <a:pt x="364585" y="1783140"/>
                    </a:lnTo>
                    <a:lnTo>
                      <a:pt x="362234" y="1781046"/>
                    </a:lnTo>
                    <a:lnTo>
                      <a:pt x="352828" y="1772668"/>
                    </a:lnTo>
                    <a:lnTo>
                      <a:pt x="343860" y="1763852"/>
                    </a:lnTo>
                    <a:lnTo>
                      <a:pt x="341608" y="1761657"/>
                    </a:lnTo>
                    <a:lnTo>
                      <a:pt x="339476" y="1759344"/>
                    </a:lnTo>
                    <a:lnTo>
                      <a:pt x="335212" y="1754736"/>
                    </a:lnTo>
                    <a:lnTo>
                      <a:pt x="330947" y="1750148"/>
                    </a:lnTo>
                    <a:lnTo>
                      <a:pt x="326922" y="1745341"/>
                    </a:lnTo>
                    <a:lnTo>
                      <a:pt x="322876" y="1740553"/>
                    </a:lnTo>
                    <a:lnTo>
                      <a:pt x="320863" y="1738160"/>
                    </a:lnTo>
                    <a:lnTo>
                      <a:pt x="318970" y="1735666"/>
                    </a:lnTo>
                    <a:lnTo>
                      <a:pt x="311398" y="1725713"/>
                    </a:lnTo>
                    <a:lnTo>
                      <a:pt x="304343" y="1715420"/>
                    </a:lnTo>
                    <a:cubicBezTo>
                      <a:pt x="296571" y="1703392"/>
                      <a:pt x="289198" y="1691085"/>
                      <a:pt x="283260" y="1678139"/>
                    </a:cubicBezTo>
                    <a:lnTo>
                      <a:pt x="280908" y="1673332"/>
                    </a:lnTo>
                    <a:cubicBezTo>
                      <a:pt x="280151" y="1671716"/>
                      <a:pt x="279513" y="1670061"/>
                      <a:pt x="278816" y="1668425"/>
                    </a:cubicBezTo>
                    <a:lnTo>
                      <a:pt x="274651" y="1658591"/>
                    </a:lnTo>
                    <a:lnTo>
                      <a:pt x="271024" y="1648578"/>
                    </a:lnTo>
                    <a:cubicBezTo>
                      <a:pt x="270426" y="1646902"/>
                      <a:pt x="269768" y="1645247"/>
                      <a:pt x="269230" y="1643571"/>
                    </a:cubicBezTo>
                    <a:lnTo>
                      <a:pt x="267696" y="1638485"/>
                    </a:lnTo>
                    <a:cubicBezTo>
                      <a:pt x="263252" y="1625001"/>
                      <a:pt x="260442" y="1611058"/>
                      <a:pt x="258011" y="1597115"/>
                    </a:cubicBezTo>
                    <a:cubicBezTo>
                      <a:pt x="257114" y="1590073"/>
                      <a:pt x="255938" y="1583092"/>
                      <a:pt x="255560" y="1575991"/>
                    </a:cubicBezTo>
                    <a:lnTo>
                      <a:pt x="255121" y="1570685"/>
                    </a:lnTo>
                    <a:lnTo>
                      <a:pt x="254902" y="1568032"/>
                    </a:lnTo>
                    <a:lnTo>
                      <a:pt x="254902" y="1567693"/>
                    </a:lnTo>
                    <a:cubicBezTo>
                      <a:pt x="254902" y="1567693"/>
                      <a:pt x="254862" y="1567234"/>
                      <a:pt x="254862" y="1567035"/>
                    </a:cubicBezTo>
                    <a:lnTo>
                      <a:pt x="254862" y="1562507"/>
                    </a:lnTo>
                    <a:lnTo>
                      <a:pt x="254723" y="1538331"/>
                    </a:lnTo>
                    <a:lnTo>
                      <a:pt x="254663" y="1534202"/>
                    </a:lnTo>
                    <a:lnTo>
                      <a:pt x="254623" y="1532147"/>
                    </a:lnTo>
                    <a:cubicBezTo>
                      <a:pt x="254583" y="1531469"/>
                      <a:pt x="254683" y="1530711"/>
                      <a:pt x="254424" y="1530213"/>
                    </a:cubicBezTo>
                    <a:lnTo>
                      <a:pt x="252252" y="1523431"/>
                    </a:lnTo>
                    <a:lnTo>
                      <a:pt x="247888" y="1509887"/>
                    </a:lnTo>
                    <a:lnTo>
                      <a:pt x="246791" y="1506496"/>
                    </a:lnTo>
                    <a:lnTo>
                      <a:pt x="246253" y="1504800"/>
                    </a:lnTo>
                    <a:cubicBezTo>
                      <a:pt x="246154" y="1504521"/>
                      <a:pt x="246094" y="1504222"/>
                      <a:pt x="245955" y="1503982"/>
                    </a:cubicBezTo>
                    <a:cubicBezTo>
                      <a:pt x="245775" y="1503723"/>
                      <a:pt x="245656" y="1503444"/>
                      <a:pt x="245456" y="1503244"/>
                    </a:cubicBezTo>
                    <a:lnTo>
                      <a:pt x="240733" y="1498098"/>
                    </a:lnTo>
                    <a:lnTo>
                      <a:pt x="231288" y="1487805"/>
                    </a:lnTo>
                    <a:cubicBezTo>
                      <a:pt x="230730" y="1486948"/>
                      <a:pt x="229434" y="1486469"/>
                      <a:pt x="228398" y="1485870"/>
                    </a:cubicBezTo>
                    <a:lnTo>
                      <a:pt x="225130" y="1484115"/>
                    </a:lnTo>
                    <a:lnTo>
                      <a:pt x="218594" y="1480624"/>
                    </a:lnTo>
                    <a:cubicBezTo>
                      <a:pt x="214229" y="1478311"/>
                      <a:pt x="209925" y="1475937"/>
                      <a:pt x="205501" y="1473663"/>
                    </a:cubicBezTo>
                    <a:cubicBezTo>
                      <a:pt x="203309" y="1472506"/>
                      <a:pt x="201017" y="1471409"/>
                      <a:pt x="198905" y="1470232"/>
                    </a:cubicBezTo>
                    <a:lnTo>
                      <a:pt x="193225" y="1467060"/>
                    </a:lnTo>
                    <a:cubicBezTo>
                      <a:pt x="191392" y="1466063"/>
                      <a:pt x="189579" y="1465046"/>
                      <a:pt x="187825" y="1463929"/>
                    </a:cubicBezTo>
                    <a:cubicBezTo>
                      <a:pt x="184278" y="1461755"/>
                      <a:pt x="180651" y="1459660"/>
                      <a:pt x="177223" y="1457326"/>
                    </a:cubicBezTo>
                    <a:lnTo>
                      <a:pt x="171982" y="1453915"/>
                    </a:lnTo>
                    <a:lnTo>
                      <a:pt x="166881" y="1450325"/>
                    </a:lnTo>
                    <a:cubicBezTo>
                      <a:pt x="153290" y="1440730"/>
                      <a:pt x="140416" y="1430119"/>
                      <a:pt x="128599" y="1418470"/>
                    </a:cubicBezTo>
                    <a:cubicBezTo>
                      <a:pt x="116762" y="1406860"/>
                      <a:pt x="105881" y="1394334"/>
                      <a:pt x="96097" y="1381049"/>
                    </a:cubicBezTo>
                    <a:cubicBezTo>
                      <a:pt x="86352" y="1367744"/>
                      <a:pt x="77783" y="1353642"/>
                      <a:pt x="70410" y="1338981"/>
                    </a:cubicBezTo>
                    <a:cubicBezTo>
                      <a:pt x="68477" y="1335370"/>
                      <a:pt x="66882" y="1331581"/>
                      <a:pt x="65129" y="1327890"/>
                    </a:cubicBezTo>
                    <a:cubicBezTo>
                      <a:pt x="63415" y="1324160"/>
                      <a:pt x="61940" y="1320350"/>
                      <a:pt x="60326" y="1316600"/>
                    </a:cubicBezTo>
                    <a:cubicBezTo>
                      <a:pt x="58931" y="1312751"/>
                      <a:pt x="57377" y="1308961"/>
                      <a:pt x="56082" y="1305091"/>
                    </a:cubicBezTo>
                    <a:cubicBezTo>
                      <a:pt x="54846" y="1301201"/>
                      <a:pt x="53391" y="1297371"/>
                      <a:pt x="52315" y="1293422"/>
                    </a:cubicBezTo>
                    <a:cubicBezTo>
                      <a:pt x="47632" y="1277764"/>
                      <a:pt x="44304" y="1261746"/>
                      <a:pt x="42351" y="1245529"/>
                    </a:cubicBezTo>
                    <a:cubicBezTo>
                      <a:pt x="40418" y="1229312"/>
                      <a:pt x="40060" y="1212856"/>
                      <a:pt x="40896" y="1196520"/>
                    </a:cubicBezTo>
                    <a:cubicBezTo>
                      <a:pt x="41733" y="1180183"/>
                      <a:pt x="44125" y="1163966"/>
                      <a:pt x="47871" y="1148068"/>
                    </a:cubicBezTo>
                    <a:cubicBezTo>
                      <a:pt x="48389" y="1145356"/>
                      <a:pt x="49186" y="1142703"/>
                      <a:pt x="49904" y="1140050"/>
                    </a:cubicBezTo>
                    <a:lnTo>
                      <a:pt x="52076" y="1132051"/>
                    </a:lnTo>
                    <a:lnTo>
                      <a:pt x="54627" y="1124172"/>
                    </a:lnTo>
                    <a:lnTo>
                      <a:pt x="55882" y="1120222"/>
                    </a:lnTo>
                    <a:cubicBezTo>
                      <a:pt x="56341" y="1118926"/>
                      <a:pt x="56859" y="1117629"/>
                      <a:pt x="57337" y="1116333"/>
                    </a:cubicBezTo>
                    <a:lnTo>
                      <a:pt x="60227" y="1108553"/>
                    </a:lnTo>
                    <a:cubicBezTo>
                      <a:pt x="61223" y="1105980"/>
                      <a:pt x="62399" y="1103467"/>
                      <a:pt x="63455" y="1100914"/>
                    </a:cubicBezTo>
                    <a:cubicBezTo>
                      <a:pt x="65507" y="1095767"/>
                      <a:pt x="68038" y="1090841"/>
                      <a:pt x="70430" y="1085834"/>
                    </a:cubicBezTo>
                    <a:cubicBezTo>
                      <a:pt x="71566" y="1083301"/>
                      <a:pt x="73000" y="1080927"/>
                      <a:pt x="74296" y="1078453"/>
                    </a:cubicBezTo>
                    <a:cubicBezTo>
                      <a:pt x="75631" y="1076020"/>
                      <a:pt x="76886" y="1073546"/>
                      <a:pt x="78281" y="1071153"/>
                    </a:cubicBezTo>
                    <a:lnTo>
                      <a:pt x="82586" y="1064012"/>
                    </a:lnTo>
                    <a:cubicBezTo>
                      <a:pt x="83303" y="1062815"/>
                      <a:pt x="84001" y="1061618"/>
                      <a:pt x="84738" y="1060441"/>
                    </a:cubicBezTo>
                    <a:lnTo>
                      <a:pt x="87049" y="1056970"/>
                    </a:lnTo>
                    <a:lnTo>
                      <a:pt x="91653" y="1050009"/>
                    </a:lnTo>
                    <a:lnTo>
                      <a:pt x="96575" y="1043247"/>
                    </a:lnTo>
                    <a:lnTo>
                      <a:pt x="99026" y="1039856"/>
                    </a:lnTo>
                    <a:lnTo>
                      <a:pt x="99325" y="1039437"/>
                    </a:lnTo>
                    <a:lnTo>
                      <a:pt x="99484" y="1039218"/>
                    </a:lnTo>
                    <a:cubicBezTo>
                      <a:pt x="99484" y="1039218"/>
                      <a:pt x="99564" y="1039098"/>
                      <a:pt x="99724" y="1038918"/>
                    </a:cubicBezTo>
                    <a:lnTo>
                      <a:pt x="101258" y="1037083"/>
                    </a:lnTo>
                    <a:lnTo>
                      <a:pt x="104327" y="1033413"/>
                    </a:lnTo>
                    <a:lnTo>
                      <a:pt x="116583" y="1018752"/>
                    </a:lnTo>
                    <a:lnTo>
                      <a:pt x="118177" y="1016897"/>
                    </a:lnTo>
                    <a:cubicBezTo>
                      <a:pt x="118715" y="1016279"/>
                      <a:pt x="119293" y="1015660"/>
                      <a:pt x="119512" y="1015002"/>
                    </a:cubicBezTo>
                    <a:lnTo>
                      <a:pt x="121345" y="1011092"/>
                    </a:lnTo>
                    <a:lnTo>
                      <a:pt x="124992" y="1003253"/>
                    </a:lnTo>
                    <a:lnTo>
                      <a:pt x="128639" y="995414"/>
                    </a:lnTo>
                    <a:lnTo>
                      <a:pt x="130472" y="991505"/>
                    </a:lnTo>
                    <a:cubicBezTo>
                      <a:pt x="130731" y="990846"/>
                      <a:pt x="131170" y="990228"/>
                      <a:pt x="131289" y="989510"/>
                    </a:cubicBezTo>
                    <a:cubicBezTo>
                      <a:pt x="131429" y="988812"/>
                      <a:pt x="131429" y="988153"/>
                      <a:pt x="131509" y="987455"/>
                    </a:cubicBezTo>
                    <a:lnTo>
                      <a:pt x="132226" y="979317"/>
                    </a:lnTo>
                    <a:lnTo>
                      <a:pt x="132405" y="977282"/>
                    </a:lnTo>
                    <a:cubicBezTo>
                      <a:pt x="132366" y="976564"/>
                      <a:pt x="132226" y="975786"/>
                      <a:pt x="132146" y="975048"/>
                    </a:cubicBezTo>
                    <a:lnTo>
                      <a:pt x="131588" y="970560"/>
                    </a:lnTo>
                    <a:lnTo>
                      <a:pt x="131030" y="966072"/>
                    </a:lnTo>
                    <a:cubicBezTo>
                      <a:pt x="130931" y="965314"/>
                      <a:pt x="130871" y="964576"/>
                      <a:pt x="130731" y="963818"/>
                    </a:cubicBezTo>
                    <a:lnTo>
                      <a:pt x="129974" y="961504"/>
                    </a:lnTo>
                    <a:lnTo>
                      <a:pt x="126925" y="952289"/>
                    </a:lnTo>
                    <a:cubicBezTo>
                      <a:pt x="125889" y="949217"/>
                      <a:pt x="124972" y="946125"/>
                      <a:pt x="123976" y="943053"/>
                    </a:cubicBezTo>
                    <a:lnTo>
                      <a:pt x="122521" y="938446"/>
                    </a:lnTo>
                    <a:lnTo>
                      <a:pt x="121804" y="936132"/>
                    </a:lnTo>
                    <a:lnTo>
                      <a:pt x="121465" y="934975"/>
                    </a:lnTo>
                    <a:lnTo>
                      <a:pt x="121066" y="933479"/>
                    </a:lnTo>
                    <a:cubicBezTo>
                      <a:pt x="120389" y="930965"/>
                      <a:pt x="119711" y="928432"/>
                      <a:pt x="119133" y="925899"/>
                    </a:cubicBezTo>
                    <a:cubicBezTo>
                      <a:pt x="117878" y="920832"/>
                      <a:pt x="116842" y="915706"/>
                      <a:pt x="115925" y="910580"/>
                    </a:cubicBezTo>
                    <a:cubicBezTo>
                      <a:pt x="113115" y="894722"/>
                      <a:pt x="111680" y="878565"/>
                      <a:pt x="111900" y="862368"/>
                    </a:cubicBezTo>
                    <a:cubicBezTo>
                      <a:pt x="112318" y="854289"/>
                      <a:pt x="112139" y="846171"/>
                      <a:pt x="113295" y="838172"/>
                    </a:cubicBezTo>
                    <a:lnTo>
                      <a:pt x="113912" y="832148"/>
                    </a:lnTo>
                    <a:cubicBezTo>
                      <a:pt x="114132" y="830153"/>
                      <a:pt x="114211" y="828119"/>
                      <a:pt x="114650" y="826144"/>
                    </a:cubicBezTo>
                    <a:lnTo>
                      <a:pt x="116722" y="814236"/>
                    </a:lnTo>
                    <a:cubicBezTo>
                      <a:pt x="117240" y="810226"/>
                      <a:pt x="118436" y="806377"/>
                      <a:pt x="119333" y="802447"/>
                    </a:cubicBezTo>
                    <a:lnTo>
                      <a:pt x="120748" y="796583"/>
                    </a:lnTo>
                    <a:lnTo>
                      <a:pt x="121445" y="793650"/>
                    </a:lnTo>
                    <a:cubicBezTo>
                      <a:pt x="121704" y="792673"/>
                      <a:pt x="122063" y="791736"/>
                      <a:pt x="122342" y="790758"/>
                    </a:cubicBezTo>
                    <a:lnTo>
                      <a:pt x="125989" y="779229"/>
                    </a:lnTo>
                    <a:cubicBezTo>
                      <a:pt x="126307" y="778271"/>
                      <a:pt x="126567" y="777294"/>
                      <a:pt x="126905" y="776356"/>
                    </a:cubicBezTo>
                    <a:lnTo>
                      <a:pt x="128021" y="773544"/>
                    </a:lnTo>
                    <a:lnTo>
                      <a:pt x="130233" y="767919"/>
                    </a:lnTo>
                    <a:cubicBezTo>
                      <a:pt x="132904" y="760299"/>
                      <a:pt x="136710" y="753138"/>
                      <a:pt x="140018" y="745778"/>
                    </a:cubicBezTo>
                    <a:cubicBezTo>
                      <a:pt x="141831" y="742167"/>
                      <a:pt x="143924" y="738697"/>
                      <a:pt x="145837" y="735126"/>
                    </a:cubicBezTo>
                    <a:lnTo>
                      <a:pt x="148746" y="729800"/>
                    </a:lnTo>
                    <a:cubicBezTo>
                      <a:pt x="149802" y="728085"/>
                      <a:pt x="150938" y="726389"/>
                      <a:pt x="152014" y="724694"/>
                    </a:cubicBezTo>
                    <a:lnTo>
                      <a:pt x="155940" y="718550"/>
                    </a:lnTo>
                    <a:lnTo>
                      <a:pt x="157893" y="715478"/>
                    </a:lnTo>
                    <a:cubicBezTo>
                      <a:pt x="158531" y="714441"/>
                      <a:pt x="159328" y="713503"/>
                      <a:pt x="160025" y="712526"/>
                    </a:cubicBezTo>
                    <a:lnTo>
                      <a:pt x="168674" y="700757"/>
                    </a:lnTo>
                    <a:lnTo>
                      <a:pt x="178080" y="689547"/>
                    </a:lnTo>
                    <a:cubicBezTo>
                      <a:pt x="179575" y="687612"/>
                      <a:pt x="181328" y="685917"/>
                      <a:pt x="183022" y="684142"/>
                    </a:cubicBezTo>
                    <a:lnTo>
                      <a:pt x="188064" y="678836"/>
                    </a:lnTo>
                    <a:cubicBezTo>
                      <a:pt x="191312" y="675185"/>
                      <a:pt x="195019" y="671974"/>
                      <a:pt x="198586" y="668643"/>
                    </a:cubicBezTo>
                    <a:lnTo>
                      <a:pt x="203947" y="663636"/>
                    </a:lnTo>
                    <a:cubicBezTo>
                      <a:pt x="205780" y="662020"/>
                      <a:pt x="207733" y="660544"/>
                      <a:pt x="209606" y="658988"/>
                    </a:cubicBezTo>
                    <a:lnTo>
                      <a:pt x="215285" y="654341"/>
                    </a:lnTo>
                    <a:lnTo>
                      <a:pt x="218115" y="652007"/>
                    </a:lnTo>
                    <a:lnTo>
                      <a:pt x="221104" y="649893"/>
                    </a:lnTo>
                    <a:lnTo>
                      <a:pt x="232005" y="642053"/>
                    </a:lnTo>
                    <a:lnTo>
                      <a:pt x="247330" y="632439"/>
                    </a:lnTo>
                    <a:lnTo>
                      <a:pt x="261518" y="616900"/>
                    </a:lnTo>
                    <a:lnTo>
                      <a:pt x="268613" y="609121"/>
                    </a:lnTo>
                    <a:lnTo>
                      <a:pt x="270386" y="607186"/>
                    </a:lnTo>
                    <a:lnTo>
                      <a:pt x="271283" y="606209"/>
                    </a:lnTo>
                    <a:lnTo>
                      <a:pt x="271721" y="605730"/>
                    </a:lnTo>
                    <a:lnTo>
                      <a:pt x="272000" y="605132"/>
                    </a:lnTo>
                    <a:lnTo>
                      <a:pt x="273734" y="600803"/>
                    </a:lnTo>
                    <a:cubicBezTo>
                      <a:pt x="275886" y="594839"/>
                      <a:pt x="277301" y="587877"/>
                      <a:pt x="277341" y="580258"/>
                    </a:cubicBezTo>
                    <a:cubicBezTo>
                      <a:pt x="277560" y="572638"/>
                      <a:pt x="275328" y="564400"/>
                      <a:pt x="274412" y="556541"/>
                    </a:cubicBezTo>
                    <a:cubicBezTo>
                      <a:pt x="274093" y="554546"/>
                      <a:pt x="273933" y="552591"/>
                      <a:pt x="273694" y="550596"/>
                    </a:cubicBezTo>
                    <a:lnTo>
                      <a:pt x="273375" y="547664"/>
                    </a:lnTo>
                    <a:lnTo>
                      <a:pt x="273136" y="544932"/>
                    </a:lnTo>
                    <a:lnTo>
                      <a:pt x="272797" y="540743"/>
                    </a:lnTo>
                    <a:lnTo>
                      <a:pt x="272658" y="538369"/>
                    </a:lnTo>
                    <a:cubicBezTo>
                      <a:pt x="272479" y="535217"/>
                      <a:pt x="272359" y="532046"/>
                      <a:pt x="272319" y="528874"/>
                    </a:cubicBezTo>
                    <a:cubicBezTo>
                      <a:pt x="272239" y="525703"/>
                      <a:pt x="272359" y="522531"/>
                      <a:pt x="272419" y="519360"/>
                    </a:cubicBezTo>
                    <a:lnTo>
                      <a:pt x="272518" y="514592"/>
                    </a:lnTo>
                    <a:lnTo>
                      <a:pt x="272837" y="509845"/>
                    </a:lnTo>
                    <a:cubicBezTo>
                      <a:pt x="273834" y="494047"/>
                      <a:pt x="276384" y="478388"/>
                      <a:pt x="280450" y="463109"/>
                    </a:cubicBezTo>
                    <a:cubicBezTo>
                      <a:pt x="284615" y="447870"/>
                      <a:pt x="290294" y="433009"/>
                      <a:pt x="297349" y="418767"/>
                    </a:cubicBezTo>
                    <a:cubicBezTo>
                      <a:pt x="304363" y="404505"/>
                      <a:pt x="312932" y="390941"/>
                      <a:pt x="322717" y="378235"/>
                    </a:cubicBezTo>
                    <a:cubicBezTo>
                      <a:pt x="332501" y="365528"/>
                      <a:pt x="343422" y="353620"/>
                      <a:pt x="355478" y="342849"/>
                    </a:cubicBezTo>
                    <a:cubicBezTo>
                      <a:pt x="369567" y="330362"/>
                      <a:pt x="384892" y="319112"/>
                      <a:pt x="401392" y="309777"/>
                    </a:cubicBezTo>
                    <a:cubicBezTo>
                      <a:pt x="409563" y="304989"/>
                      <a:pt x="418112" y="300820"/>
                      <a:pt x="426740" y="296911"/>
                    </a:cubicBezTo>
                    <a:lnTo>
                      <a:pt x="433297" y="294118"/>
                    </a:lnTo>
                    <a:lnTo>
                      <a:pt x="434931" y="293420"/>
                    </a:lnTo>
                    <a:lnTo>
                      <a:pt x="436704" y="292742"/>
                    </a:lnTo>
                    <a:lnTo>
                      <a:pt x="440291" y="291385"/>
                    </a:lnTo>
                    <a:lnTo>
                      <a:pt x="443878" y="290029"/>
                    </a:lnTo>
                    <a:lnTo>
                      <a:pt x="445672" y="289351"/>
                    </a:lnTo>
                    <a:cubicBezTo>
                      <a:pt x="445791" y="289291"/>
                      <a:pt x="446748" y="288992"/>
                      <a:pt x="447366" y="288792"/>
                    </a:cubicBezTo>
                    <a:lnTo>
                      <a:pt x="449438" y="288134"/>
                    </a:lnTo>
                    <a:lnTo>
                      <a:pt x="466038" y="282888"/>
                    </a:lnTo>
                    <a:lnTo>
                      <a:pt x="469007" y="281931"/>
                    </a:lnTo>
                    <a:lnTo>
                      <a:pt x="470482" y="281452"/>
                    </a:lnTo>
                    <a:cubicBezTo>
                      <a:pt x="471000" y="281312"/>
                      <a:pt x="471479" y="281133"/>
                      <a:pt x="471837" y="280853"/>
                    </a:cubicBezTo>
                    <a:lnTo>
                      <a:pt x="476620" y="277841"/>
                    </a:lnTo>
                    <a:lnTo>
                      <a:pt x="486165" y="271837"/>
                    </a:lnTo>
                    <a:lnTo>
                      <a:pt x="490948" y="268825"/>
                    </a:lnTo>
                    <a:cubicBezTo>
                      <a:pt x="491327" y="268546"/>
                      <a:pt x="491785" y="268387"/>
                      <a:pt x="492104" y="268028"/>
                    </a:cubicBezTo>
                    <a:cubicBezTo>
                      <a:pt x="492483" y="267728"/>
                      <a:pt x="492662" y="267270"/>
                      <a:pt x="492941" y="266891"/>
                    </a:cubicBezTo>
                    <a:lnTo>
                      <a:pt x="494495" y="264517"/>
                    </a:lnTo>
                    <a:lnTo>
                      <a:pt x="500733" y="255022"/>
                    </a:lnTo>
                    <a:lnTo>
                      <a:pt x="503841" y="250275"/>
                    </a:lnTo>
                    <a:lnTo>
                      <a:pt x="505396" y="247901"/>
                    </a:lnTo>
                    <a:cubicBezTo>
                      <a:pt x="505874" y="247083"/>
                      <a:pt x="506532" y="246425"/>
                      <a:pt x="506791" y="245368"/>
                    </a:cubicBezTo>
                    <a:lnTo>
                      <a:pt x="510916" y="233719"/>
                    </a:lnTo>
                    <a:lnTo>
                      <a:pt x="515041" y="222070"/>
                    </a:lnTo>
                    <a:lnTo>
                      <a:pt x="515559" y="220614"/>
                    </a:lnTo>
                    <a:lnTo>
                      <a:pt x="515798" y="219975"/>
                    </a:lnTo>
                    <a:lnTo>
                      <a:pt x="515918" y="219656"/>
                    </a:lnTo>
                    <a:lnTo>
                      <a:pt x="516436" y="218419"/>
                    </a:lnTo>
                    <a:lnTo>
                      <a:pt x="517452" y="215926"/>
                    </a:lnTo>
                    <a:cubicBezTo>
                      <a:pt x="522813" y="202601"/>
                      <a:pt x="528851" y="189636"/>
                      <a:pt x="535567" y="177149"/>
                    </a:cubicBezTo>
                    <a:cubicBezTo>
                      <a:pt x="543677" y="162209"/>
                      <a:pt x="552764" y="147987"/>
                      <a:pt x="562748" y="134702"/>
                    </a:cubicBezTo>
                    <a:cubicBezTo>
                      <a:pt x="572732" y="121417"/>
                      <a:pt x="583633" y="109050"/>
                      <a:pt x="595430" y="98079"/>
                    </a:cubicBezTo>
                    <a:cubicBezTo>
                      <a:pt x="618905" y="75998"/>
                      <a:pt x="645728" y="59123"/>
                      <a:pt x="674026" y="49748"/>
                    </a:cubicBezTo>
                    <a:cubicBezTo>
                      <a:pt x="681080" y="47254"/>
                      <a:pt x="688274" y="45579"/>
                      <a:pt x="695468" y="43963"/>
                    </a:cubicBezTo>
                    <a:lnTo>
                      <a:pt x="700908" y="43026"/>
                    </a:lnTo>
                    <a:lnTo>
                      <a:pt x="703619" y="42527"/>
                    </a:lnTo>
                    <a:lnTo>
                      <a:pt x="706349" y="42188"/>
                    </a:lnTo>
                    <a:lnTo>
                      <a:pt x="711809" y="41490"/>
                    </a:lnTo>
                    <a:lnTo>
                      <a:pt x="717309" y="41071"/>
                    </a:lnTo>
                    <a:cubicBezTo>
                      <a:pt x="720956" y="40672"/>
                      <a:pt x="724643" y="40772"/>
                      <a:pt x="728329" y="40612"/>
                    </a:cubicBezTo>
                    <a:cubicBezTo>
                      <a:pt x="729206" y="40552"/>
                      <a:pt x="730242" y="40612"/>
                      <a:pt x="731278" y="40612"/>
                    </a:cubicBezTo>
                    <a:lnTo>
                      <a:pt x="734347" y="40692"/>
                    </a:lnTo>
                    <a:lnTo>
                      <a:pt x="740505" y="40831"/>
                    </a:lnTo>
                    <a:lnTo>
                      <a:pt x="743574" y="40891"/>
                    </a:lnTo>
                    <a:lnTo>
                      <a:pt x="746603" y="41131"/>
                    </a:lnTo>
                    <a:lnTo>
                      <a:pt x="752661" y="41589"/>
                    </a:lnTo>
                    <a:cubicBezTo>
                      <a:pt x="754674" y="41769"/>
                      <a:pt x="756726" y="41809"/>
                      <a:pt x="758699" y="42088"/>
                    </a:cubicBezTo>
                    <a:lnTo>
                      <a:pt x="764638" y="42866"/>
                    </a:lnTo>
                    <a:cubicBezTo>
                      <a:pt x="780441" y="44941"/>
                      <a:pt x="795666" y="48451"/>
                      <a:pt x="810034" y="53518"/>
                    </a:cubicBezTo>
                    <a:cubicBezTo>
                      <a:pt x="824422" y="58524"/>
                      <a:pt x="837813" y="65366"/>
                      <a:pt x="850288" y="73545"/>
                    </a:cubicBezTo>
                    <a:cubicBezTo>
                      <a:pt x="857821" y="78412"/>
                      <a:pt x="864915" y="83997"/>
                      <a:pt x="871750" y="89961"/>
                    </a:cubicBezTo>
                    <a:cubicBezTo>
                      <a:pt x="872607" y="90719"/>
                      <a:pt x="873524" y="91377"/>
                      <a:pt x="874321" y="92195"/>
                    </a:cubicBezTo>
                    <a:lnTo>
                      <a:pt x="876752" y="94609"/>
                    </a:lnTo>
                    <a:lnTo>
                      <a:pt x="881515" y="99276"/>
                    </a:lnTo>
                    <a:cubicBezTo>
                      <a:pt x="883567" y="101091"/>
                      <a:pt x="885560" y="103525"/>
                      <a:pt x="887573" y="105739"/>
                    </a:cubicBezTo>
                    <a:lnTo>
                      <a:pt x="890582" y="109130"/>
                    </a:lnTo>
                    <a:lnTo>
                      <a:pt x="892097" y="110825"/>
                    </a:lnTo>
                    <a:lnTo>
                      <a:pt x="893511" y="112740"/>
                    </a:lnTo>
                    <a:lnTo>
                      <a:pt x="899131" y="120380"/>
                    </a:lnTo>
                    <a:lnTo>
                      <a:pt x="910370" y="135659"/>
                    </a:lnTo>
                    <a:lnTo>
                      <a:pt x="913738" y="140267"/>
                    </a:lnTo>
                    <a:lnTo>
                      <a:pt x="914575" y="141424"/>
                    </a:lnTo>
                    <a:cubicBezTo>
                      <a:pt x="914854" y="141843"/>
                      <a:pt x="915153" y="141943"/>
                      <a:pt x="915452" y="142202"/>
                    </a:cubicBezTo>
                    <a:lnTo>
                      <a:pt x="917206" y="143558"/>
                    </a:lnTo>
                    <a:cubicBezTo>
                      <a:pt x="919557" y="145354"/>
                      <a:pt x="921909" y="147129"/>
                      <a:pt x="924300" y="148844"/>
                    </a:cubicBezTo>
                    <a:cubicBezTo>
                      <a:pt x="929043" y="152295"/>
                      <a:pt x="933846" y="155606"/>
                      <a:pt x="938648" y="158758"/>
                    </a:cubicBezTo>
                    <a:lnTo>
                      <a:pt x="939545" y="159356"/>
                    </a:lnTo>
                    <a:cubicBezTo>
                      <a:pt x="939844" y="159556"/>
                      <a:pt x="940163" y="159775"/>
                      <a:pt x="940362" y="159755"/>
                    </a:cubicBezTo>
                    <a:lnTo>
                      <a:pt x="941777" y="160015"/>
                    </a:lnTo>
                    <a:lnTo>
                      <a:pt x="944607" y="160533"/>
                    </a:lnTo>
                    <a:lnTo>
                      <a:pt x="950266" y="161590"/>
                    </a:lnTo>
                    <a:lnTo>
                      <a:pt x="955926" y="162648"/>
                    </a:lnTo>
                    <a:lnTo>
                      <a:pt x="958755" y="163166"/>
                    </a:lnTo>
                    <a:lnTo>
                      <a:pt x="960170" y="163426"/>
                    </a:lnTo>
                    <a:cubicBezTo>
                      <a:pt x="960409" y="163466"/>
                      <a:pt x="960649" y="163525"/>
                      <a:pt x="960868" y="163545"/>
                    </a:cubicBezTo>
                    <a:lnTo>
                      <a:pt x="961804" y="163545"/>
                    </a:lnTo>
                    <a:lnTo>
                      <a:pt x="973123" y="161451"/>
                    </a:lnTo>
                    <a:lnTo>
                      <a:pt x="978783" y="160394"/>
                    </a:lnTo>
                    <a:cubicBezTo>
                      <a:pt x="980736" y="159895"/>
                      <a:pt x="982330" y="160254"/>
                      <a:pt x="984961" y="158120"/>
                    </a:cubicBezTo>
                    <a:cubicBezTo>
                      <a:pt x="989763" y="154948"/>
                      <a:pt x="994546" y="151617"/>
                      <a:pt x="999289" y="148146"/>
                    </a:cubicBezTo>
                    <a:cubicBezTo>
                      <a:pt x="1001660" y="146411"/>
                      <a:pt x="1004012" y="144636"/>
                      <a:pt x="1006363" y="142820"/>
                    </a:cubicBezTo>
                    <a:cubicBezTo>
                      <a:pt x="1006941" y="142322"/>
                      <a:pt x="1007539" y="142022"/>
                      <a:pt x="1008097" y="141344"/>
                    </a:cubicBezTo>
                    <a:lnTo>
                      <a:pt x="1009751" y="139110"/>
                    </a:lnTo>
                    <a:lnTo>
                      <a:pt x="1013039" y="134642"/>
                    </a:lnTo>
                    <a:lnTo>
                      <a:pt x="1026191" y="116750"/>
                    </a:lnTo>
                    <a:cubicBezTo>
                      <a:pt x="1028403" y="113798"/>
                      <a:pt x="1030516" y="110626"/>
                      <a:pt x="1032927" y="108153"/>
                    </a:cubicBezTo>
                    <a:lnTo>
                      <a:pt x="1036434" y="104223"/>
                    </a:lnTo>
                    <a:lnTo>
                      <a:pt x="1038188" y="102248"/>
                    </a:lnTo>
                    <a:cubicBezTo>
                      <a:pt x="1038766" y="101570"/>
                      <a:pt x="1039364" y="100932"/>
                      <a:pt x="1039962" y="100413"/>
                    </a:cubicBezTo>
                    <a:lnTo>
                      <a:pt x="1043509" y="96982"/>
                    </a:lnTo>
                    <a:lnTo>
                      <a:pt x="1045820" y="94688"/>
                    </a:lnTo>
                    <a:lnTo>
                      <a:pt x="1048650" y="91876"/>
                    </a:lnTo>
                    <a:lnTo>
                      <a:pt x="1054668" y="86769"/>
                    </a:lnTo>
                    <a:cubicBezTo>
                      <a:pt x="1058554" y="83159"/>
                      <a:pt x="1062919" y="80287"/>
                      <a:pt x="1067083" y="77095"/>
                    </a:cubicBezTo>
                    <a:cubicBezTo>
                      <a:pt x="1069116" y="75420"/>
                      <a:pt x="1071428" y="74203"/>
                      <a:pt x="1073600" y="72747"/>
                    </a:cubicBezTo>
                    <a:cubicBezTo>
                      <a:pt x="1075812" y="71370"/>
                      <a:pt x="1077964" y="69854"/>
                      <a:pt x="1080216" y="68558"/>
                    </a:cubicBezTo>
                    <a:cubicBezTo>
                      <a:pt x="1105963" y="53438"/>
                      <a:pt x="1135835" y="44741"/>
                      <a:pt x="1167919" y="41749"/>
                    </a:cubicBezTo>
                    <a:cubicBezTo>
                      <a:pt x="1171964" y="41490"/>
                      <a:pt x="1175970" y="41071"/>
                      <a:pt x="1180035" y="40891"/>
                    </a:cubicBezTo>
                    <a:lnTo>
                      <a:pt x="1192330" y="40592"/>
                    </a:lnTo>
                    <a:cubicBezTo>
                      <a:pt x="1194343" y="40552"/>
                      <a:pt x="1196057" y="40692"/>
                      <a:pt x="1197930" y="40712"/>
                    </a:cubicBezTo>
                    <a:cubicBezTo>
                      <a:pt x="1199763" y="40792"/>
                      <a:pt x="1201617" y="40712"/>
                      <a:pt x="1203430" y="40931"/>
                    </a:cubicBezTo>
                    <a:cubicBezTo>
                      <a:pt x="1207097" y="41230"/>
                      <a:pt x="1210764" y="41390"/>
                      <a:pt x="1214390" y="41968"/>
                    </a:cubicBezTo>
                    <a:cubicBezTo>
                      <a:pt x="1221704" y="42746"/>
                      <a:pt x="1228898" y="44342"/>
                      <a:pt x="1236092" y="46018"/>
                    </a:cubicBezTo>
                    <a:lnTo>
                      <a:pt x="1241453" y="47514"/>
                    </a:lnTo>
                    <a:lnTo>
                      <a:pt x="1244123" y="48252"/>
                    </a:lnTo>
                    <a:lnTo>
                      <a:pt x="1246773" y="49149"/>
                    </a:lnTo>
                    <a:lnTo>
                      <a:pt x="1252094" y="50885"/>
                    </a:lnTo>
                    <a:lnTo>
                      <a:pt x="1257335" y="52919"/>
                    </a:lnTo>
                    <a:cubicBezTo>
                      <a:pt x="1285314" y="63810"/>
                      <a:pt x="1311599" y="82002"/>
                      <a:pt x="1334376" y="105121"/>
                    </a:cubicBezTo>
                    <a:cubicBezTo>
                      <a:pt x="1345835" y="116630"/>
                      <a:pt x="1356357" y="129436"/>
                      <a:pt x="1365942" y="143120"/>
                    </a:cubicBezTo>
                    <a:cubicBezTo>
                      <a:pt x="1375547" y="156803"/>
                      <a:pt x="1384216" y="171365"/>
                      <a:pt x="1391908" y="186584"/>
                    </a:cubicBezTo>
                    <a:cubicBezTo>
                      <a:pt x="1393662" y="190075"/>
                      <a:pt x="1395316" y="193645"/>
                      <a:pt x="1397030" y="197176"/>
                    </a:cubicBezTo>
                    <a:cubicBezTo>
                      <a:pt x="1398684" y="200746"/>
                      <a:pt x="1400218" y="204377"/>
                      <a:pt x="1401832" y="207967"/>
                    </a:cubicBezTo>
                    <a:cubicBezTo>
                      <a:pt x="1403387" y="211598"/>
                      <a:pt x="1404821" y="215288"/>
                      <a:pt x="1406336" y="218938"/>
                    </a:cubicBezTo>
                    <a:lnTo>
                      <a:pt x="1406615" y="219616"/>
                    </a:lnTo>
                    <a:lnTo>
                      <a:pt x="1406754" y="219955"/>
                    </a:lnTo>
                    <a:lnTo>
                      <a:pt x="1407014" y="220653"/>
                    </a:lnTo>
                    <a:lnTo>
                      <a:pt x="1408149" y="223845"/>
                    </a:lnTo>
                    <a:lnTo>
                      <a:pt x="1410421" y="230248"/>
                    </a:lnTo>
                    <a:lnTo>
                      <a:pt x="1414965" y="243054"/>
                    </a:lnTo>
                    <a:lnTo>
                      <a:pt x="1415921" y="245767"/>
                    </a:lnTo>
                    <a:cubicBezTo>
                      <a:pt x="1416240" y="246664"/>
                      <a:pt x="1416838" y="247283"/>
                      <a:pt x="1417276" y="248041"/>
                    </a:cubicBezTo>
                    <a:lnTo>
                      <a:pt x="1420146" y="252429"/>
                    </a:lnTo>
                    <a:lnTo>
                      <a:pt x="1425905" y="261186"/>
                    </a:lnTo>
                    <a:lnTo>
                      <a:pt x="1428775" y="265574"/>
                    </a:lnTo>
                    <a:lnTo>
                      <a:pt x="1430210" y="267768"/>
                    </a:lnTo>
                    <a:lnTo>
                      <a:pt x="1430688" y="268227"/>
                    </a:lnTo>
                    <a:lnTo>
                      <a:pt x="1431246" y="268566"/>
                    </a:lnTo>
                    <a:lnTo>
                      <a:pt x="1432342" y="269264"/>
                    </a:lnTo>
                    <a:lnTo>
                      <a:pt x="1441170" y="274810"/>
                    </a:lnTo>
                    <a:lnTo>
                      <a:pt x="1449998" y="280355"/>
                    </a:lnTo>
                    <a:lnTo>
                      <a:pt x="1451094" y="281053"/>
                    </a:lnTo>
                    <a:cubicBezTo>
                      <a:pt x="1451473" y="281272"/>
                      <a:pt x="1451991" y="281352"/>
                      <a:pt x="1452429" y="281532"/>
                    </a:cubicBezTo>
                    <a:lnTo>
                      <a:pt x="1455179" y="282409"/>
                    </a:lnTo>
                    <a:lnTo>
                      <a:pt x="1460659" y="284145"/>
                    </a:lnTo>
                    <a:lnTo>
                      <a:pt x="1471620" y="287635"/>
                    </a:lnTo>
                    <a:lnTo>
                      <a:pt x="1476821" y="289311"/>
                    </a:lnTo>
                    <a:lnTo>
                      <a:pt x="1479192" y="290209"/>
                    </a:lnTo>
                    <a:cubicBezTo>
                      <a:pt x="1482301" y="291425"/>
                      <a:pt x="1485609" y="292582"/>
                      <a:pt x="1488558" y="293819"/>
                    </a:cubicBezTo>
                    <a:lnTo>
                      <a:pt x="1497207" y="297509"/>
                    </a:lnTo>
                    <a:lnTo>
                      <a:pt x="1505716" y="301538"/>
                    </a:lnTo>
                    <a:cubicBezTo>
                      <a:pt x="1508546" y="302875"/>
                      <a:pt x="1511276" y="304431"/>
                      <a:pt x="1514066" y="305847"/>
                    </a:cubicBezTo>
                    <a:cubicBezTo>
                      <a:pt x="1536126" y="317696"/>
                      <a:pt x="1556632" y="332416"/>
                      <a:pt x="1574468" y="349750"/>
                    </a:cubicBezTo>
                    <a:cubicBezTo>
                      <a:pt x="1586106" y="360941"/>
                      <a:pt x="1596528" y="373268"/>
                      <a:pt x="1605794" y="386313"/>
                    </a:cubicBezTo>
                    <a:cubicBezTo>
                      <a:pt x="1615041" y="399378"/>
                      <a:pt x="1623052" y="413242"/>
                      <a:pt x="1629469" y="427763"/>
                    </a:cubicBezTo>
                    <a:cubicBezTo>
                      <a:pt x="1635925" y="442264"/>
                      <a:pt x="1640967" y="457324"/>
                      <a:pt x="1644494" y="472723"/>
                    </a:cubicBezTo>
                    <a:cubicBezTo>
                      <a:pt x="1647962" y="488142"/>
                      <a:pt x="1649815" y="503901"/>
                      <a:pt x="1650174" y="519758"/>
                    </a:cubicBezTo>
                    <a:cubicBezTo>
                      <a:pt x="1650393" y="525264"/>
                      <a:pt x="1650293" y="530789"/>
                      <a:pt x="1650034" y="536275"/>
                    </a:cubicBezTo>
                    <a:lnTo>
                      <a:pt x="1649795" y="540384"/>
                    </a:lnTo>
                    <a:lnTo>
                      <a:pt x="1649735" y="541421"/>
                    </a:lnTo>
                    <a:lnTo>
                      <a:pt x="1649576" y="543396"/>
                    </a:lnTo>
                    <a:lnTo>
                      <a:pt x="1649177" y="548143"/>
                    </a:lnTo>
                    <a:cubicBezTo>
                      <a:pt x="1648480" y="555005"/>
                      <a:pt x="1647503" y="561886"/>
                      <a:pt x="1646228" y="568848"/>
                    </a:cubicBezTo>
                    <a:cubicBezTo>
                      <a:pt x="1644713" y="577146"/>
                      <a:pt x="1645052" y="585145"/>
                      <a:pt x="1646467" y="592126"/>
                    </a:cubicBezTo>
                    <a:cubicBezTo>
                      <a:pt x="1646646" y="593004"/>
                      <a:pt x="1646786" y="593901"/>
                      <a:pt x="1647005" y="594759"/>
                    </a:cubicBezTo>
                    <a:lnTo>
                      <a:pt x="1647723" y="597213"/>
                    </a:lnTo>
                    <a:lnTo>
                      <a:pt x="1648440" y="599666"/>
                    </a:lnTo>
                    <a:cubicBezTo>
                      <a:pt x="1648699" y="600464"/>
                      <a:pt x="1649018" y="601162"/>
                      <a:pt x="1649297" y="601920"/>
                    </a:cubicBezTo>
                    <a:lnTo>
                      <a:pt x="1650194" y="604154"/>
                    </a:lnTo>
                    <a:cubicBezTo>
                      <a:pt x="1650473" y="604852"/>
                      <a:pt x="1650752" y="605770"/>
                      <a:pt x="1651489" y="606368"/>
                    </a:cubicBezTo>
                    <a:lnTo>
                      <a:pt x="1655235" y="610358"/>
                    </a:lnTo>
                    <a:lnTo>
                      <a:pt x="1670201" y="626275"/>
                    </a:lnTo>
                    <a:lnTo>
                      <a:pt x="1673948" y="630265"/>
                    </a:lnTo>
                    <a:lnTo>
                      <a:pt x="1675821" y="632259"/>
                    </a:lnTo>
                    <a:cubicBezTo>
                      <a:pt x="1676439" y="632918"/>
                      <a:pt x="1676997" y="633616"/>
                      <a:pt x="1677973" y="634134"/>
                    </a:cubicBezTo>
                    <a:lnTo>
                      <a:pt x="1688575" y="640737"/>
                    </a:lnTo>
                    <a:cubicBezTo>
                      <a:pt x="1690428" y="641814"/>
                      <a:pt x="1691903" y="642991"/>
                      <a:pt x="1693517" y="644128"/>
                    </a:cubicBezTo>
                    <a:lnTo>
                      <a:pt x="1698280" y="647559"/>
                    </a:lnTo>
                    <a:lnTo>
                      <a:pt x="1702983" y="650910"/>
                    </a:lnTo>
                    <a:cubicBezTo>
                      <a:pt x="1704397" y="651847"/>
                      <a:pt x="1705673" y="652944"/>
                      <a:pt x="1706968" y="654002"/>
                    </a:cubicBezTo>
                    <a:lnTo>
                      <a:pt x="1710874" y="657213"/>
                    </a:lnTo>
                    <a:cubicBezTo>
                      <a:pt x="1713465" y="659367"/>
                      <a:pt x="1716135" y="661422"/>
                      <a:pt x="1718686" y="663616"/>
                    </a:cubicBezTo>
                    <a:lnTo>
                      <a:pt x="1726079" y="670498"/>
                    </a:lnTo>
                    <a:cubicBezTo>
                      <a:pt x="1731181" y="674906"/>
                      <a:pt x="1735585" y="680012"/>
                      <a:pt x="1740288" y="684820"/>
                    </a:cubicBezTo>
                    <a:cubicBezTo>
                      <a:pt x="1742699" y="687173"/>
                      <a:pt x="1744791" y="689806"/>
                      <a:pt x="1746943" y="692380"/>
                    </a:cubicBezTo>
                    <a:lnTo>
                      <a:pt x="1753420" y="700079"/>
                    </a:lnTo>
                    <a:cubicBezTo>
                      <a:pt x="1755513" y="702692"/>
                      <a:pt x="1757386" y="705485"/>
                      <a:pt x="1759418" y="708158"/>
                    </a:cubicBezTo>
                    <a:lnTo>
                      <a:pt x="1762408" y="712207"/>
                    </a:lnTo>
                    <a:cubicBezTo>
                      <a:pt x="1763384" y="713563"/>
                      <a:pt x="1764460" y="714860"/>
                      <a:pt x="1765297" y="716316"/>
                    </a:cubicBezTo>
                    <a:lnTo>
                      <a:pt x="1770698" y="724773"/>
                    </a:lnTo>
                    <a:lnTo>
                      <a:pt x="1773428" y="728982"/>
                    </a:lnTo>
                    <a:cubicBezTo>
                      <a:pt x="1774305" y="730399"/>
                      <a:pt x="1775042" y="731915"/>
                      <a:pt x="1775879" y="733371"/>
                    </a:cubicBezTo>
                    <a:lnTo>
                      <a:pt x="1781758" y="743982"/>
                    </a:lnTo>
                    <a:cubicBezTo>
                      <a:pt x="1783571" y="747593"/>
                      <a:pt x="1785185" y="751303"/>
                      <a:pt x="1786939" y="754933"/>
                    </a:cubicBezTo>
                    <a:lnTo>
                      <a:pt x="1789549" y="760399"/>
                    </a:lnTo>
                    <a:lnTo>
                      <a:pt x="1791722" y="766044"/>
                    </a:lnTo>
                    <a:cubicBezTo>
                      <a:pt x="1793156" y="769814"/>
                      <a:pt x="1794711" y="773544"/>
                      <a:pt x="1796106" y="777314"/>
                    </a:cubicBezTo>
                    <a:lnTo>
                      <a:pt x="1799733" y="788843"/>
                    </a:lnTo>
                    <a:cubicBezTo>
                      <a:pt x="1800291" y="790778"/>
                      <a:pt x="1801068" y="792653"/>
                      <a:pt x="1801486" y="794628"/>
                    </a:cubicBezTo>
                    <a:lnTo>
                      <a:pt x="1802901" y="800512"/>
                    </a:lnTo>
                    <a:lnTo>
                      <a:pt x="1804336" y="806377"/>
                    </a:lnTo>
                    <a:cubicBezTo>
                      <a:pt x="1804794" y="808331"/>
                      <a:pt x="1805412" y="810266"/>
                      <a:pt x="1805651" y="812261"/>
                    </a:cubicBezTo>
                    <a:lnTo>
                      <a:pt x="1807704" y="824169"/>
                    </a:lnTo>
                    <a:cubicBezTo>
                      <a:pt x="1808561" y="828119"/>
                      <a:pt x="1808740" y="832168"/>
                      <a:pt x="1809198" y="836177"/>
                    </a:cubicBezTo>
                    <a:lnTo>
                      <a:pt x="1809836" y="842201"/>
                    </a:lnTo>
                    <a:cubicBezTo>
                      <a:pt x="1810055" y="844216"/>
                      <a:pt x="1810314" y="846211"/>
                      <a:pt x="1810314" y="848245"/>
                    </a:cubicBezTo>
                    <a:cubicBezTo>
                      <a:pt x="1810474" y="856324"/>
                      <a:pt x="1811111" y="864402"/>
                      <a:pt x="1810733" y="872501"/>
                    </a:cubicBezTo>
                    <a:cubicBezTo>
                      <a:pt x="1810235" y="888678"/>
                      <a:pt x="1808262" y="904735"/>
                      <a:pt x="1804814" y="920473"/>
                    </a:cubicBezTo>
                    <a:cubicBezTo>
                      <a:pt x="1804416" y="922348"/>
                      <a:pt x="1803997" y="924223"/>
                      <a:pt x="1803519" y="926098"/>
                    </a:cubicBezTo>
                    <a:cubicBezTo>
                      <a:pt x="1803080" y="927973"/>
                      <a:pt x="1802622" y="929828"/>
                      <a:pt x="1802104" y="931684"/>
                    </a:cubicBezTo>
                    <a:lnTo>
                      <a:pt x="1801725" y="933080"/>
                    </a:lnTo>
                    <a:lnTo>
                      <a:pt x="1801367" y="934476"/>
                    </a:lnTo>
                    <a:lnTo>
                      <a:pt x="1800849" y="936231"/>
                    </a:lnTo>
                    <a:lnTo>
                      <a:pt x="1798716" y="943033"/>
                    </a:lnTo>
                    <a:lnTo>
                      <a:pt x="1796564" y="949835"/>
                    </a:lnTo>
                    <a:lnTo>
                      <a:pt x="1794153" y="956617"/>
                    </a:lnTo>
                    <a:lnTo>
                      <a:pt x="1792240" y="962901"/>
                    </a:lnTo>
                    <a:cubicBezTo>
                      <a:pt x="1791841" y="963958"/>
                      <a:pt x="1791821" y="964955"/>
                      <a:pt x="1791682" y="965972"/>
                    </a:cubicBezTo>
                    <a:lnTo>
                      <a:pt x="1791303" y="969024"/>
                    </a:lnTo>
                    <a:cubicBezTo>
                      <a:pt x="1790885" y="973054"/>
                      <a:pt x="1789928" y="977322"/>
                      <a:pt x="1790626" y="980853"/>
                    </a:cubicBezTo>
                    <a:lnTo>
                      <a:pt x="1791104" y="986378"/>
                    </a:lnTo>
                    <a:lnTo>
                      <a:pt x="1791343" y="989151"/>
                    </a:lnTo>
                    <a:lnTo>
                      <a:pt x="1791482" y="989869"/>
                    </a:lnTo>
                    <a:lnTo>
                      <a:pt x="1791781" y="990527"/>
                    </a:lnTo>
                    <a:lnTo>
                      <a:pt x="1792399" y="991864"/>
                    </a:lnTo>
                    <a:lnTo>
                      <a:pt x="1797361" y="1002515"/>
                    </a:lnTo>
                    <a:lnTo>
                      <a:pt x="1802323" y="1013167"/>
                    </a:lnTo>
                    <a:cubicBezTo>
                      <a:pt x="1802742" y="1014045"/>
                      <a:pt x="1803140" y="1014942"/>
                      <a:pt x="1803579" y="1015820"/>
                    </a:cubicBezTo>
                    <a:lnTo>
                      <a:pt x="1805591" y="1018233"/>
                    </a:lnTo>
                    <a:lnTo>
                      <a:pt x="1809617" y="1023041"/>
                    </a:lnTo>
                    <a:lnTo>
                      <a:pt x="1817668" y="1032655"/>
                    </a:lnTo>
                    <a:cubicBezTo>
                      <a:pt x="1820159" y="1035647"/>
                      <a:pt x="1823785" y="1039856"/>
                      <a:pt x="1824124" y="1040554"/>
                    </a:cubicBezTo>
                    <a:cubicBezTo>
                      <a:pt x="1832952" y="1052123"/>
                      <a:pt x="1840664" y="1064431"/>
                      <a:pt x="1847619" y="1077097"/>
                    </a:cubicBezTo>
                    <a:cubicBezTo>
                      <a:pt x="1861609" y="1102430"/>
                      <a:pt x="1871214" y="1129897"/>
                      <a:pt x="1876953" y="1158042"/>
                    </a:cubicBezTo>
                    <a:cubicBezTo>
                      <a:pt x="1880062" y="1174079"/>
                      <a:pt x="1881756" y="1190376"/>
                      <a:pt x="1882055" y="1206752"/>
                    </a:cubicBezTo>
                    <a:cubicBezTo>
                      <a:pt x="1882433" y="1223129"/>
                      <a:pt x="1881337" y="1239525"/>
                      <a:pt x="1878906" y="1255662"/>
                    </a:cubicBezTo>
                    <a:cubicBezTo>
                      <a:pt x="1876375" y="1271799"/>
                      <a:pt x="1872449" y="1287697"/>
                      <a:pt x="1867188" y="1303176"/>
                    </a:cubicBezTo>
                    <a:cubicBezTo>
                      <a:pt x="1864618" y="1310935"/>
                      <a:pt x="1861529" y="1318515"/>
                      <a:pt x="1858340" y="1326055"/>
                    </a:cubicBezTo>
                    <a:cubicBezTo>
                      <a:pt x="1856587" y="1329765"/>
                      <a:pt x="1854953" y="1333515"/>
                      <a:pt x="1853139" y="1337186"/>
                    </a:cubicBezTo>
                    <a:cubicBezTo>
                      <a:pt x="1851226" y="1340816"/>
                      <a:pt x="1849532" y="1344546"/>
                      <a:pt x="1847460" y="1348097"/>
                    </a:cubicBezTo>
                    <a:cubicBezTo>
                      <a:pt x="1839568" y="1362498"/>
                      <a:pt x="1830501" y="1376302"/>
                      <a:pt x="1820298" y="1389287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59" name="Freeform 12">
                <a:extLst>
                  <a:ext uri="{FF2B5EF4-FFF2-40B4-BE49-F238E27FC236}">
                    <a16:creationId xmlns:a16="http://schemas.microsoft.com/office/drawing/2014/main" id="{E5B1F5BD-CE4B-EDA3-AA12-DB6E172A87ED}"/>
                  </a:ext>
                </a:extLst>
              </p:cNvPr>
              <p:cNvSpPr/>
              <p:nvPr/>
            </p:nvSpPr>
            <p:spPr>
              <a:xfrm>
                <a:off x="3582884" y="2951523"/>
                <a:ext cx="342660" cy="341292"/>
              </a:xfrm>
              <a:custGeom>
                <a:avLst/>
                <a:gdLst>
                  <a:gd name="connsiteX0" fmla="*/ 44878 w 342660"/>
                  <a:gd name="connsiteY0" fmla="*/ 126623 h 341292"/>
                  <a:gd name="connsiteX1" fmla="*/ 44878 w 342660"/>
                  <a:gd name="connsiteY1" fmla="*/ 256279 h 341292"/>
                  <a:gd name="connsiteX2" fmla="*/ 103685 w 342660"/>
                  <a:gd name="connsiteY2" fmla="*/ 315142 h 341292"/>
                  <a:gd name="connsiteX3" fmla="*/ 225863 w 342660"/>
                  <a:gd name="connsiteY3" fmla="*/ 315142 h 341292"/>
                  <a:gd name="connsiteX4" fmla="*/ 277835 w 342660"/>
                  <a:gd name="connsiteY4" fmla="*/ 341293 h 341292"/>
                  <a:gd name="connsiteX5" fmla="*/ 342660 w 342660"/>
                  <a:gd name="connsiteY5" fmla="*/ 276405 h 341292"/>
                  <a:gd name="connsiteX6" fmla="*/ 277835 w 342660"/>
                  <a:gd name="connsiteY6" fmla="*/ 211518 h 341292"/>
                  <a:gd name="connsiteX7" fmla="*/ 213049 w 342660"/>
                  <a:gd name="connsiteY7" fmla="*/ 275248 h 341292"/>
                  <a:gd name="connsiteX8" fmla="*/ 103705 w 342660"/>
                  <a:gd name="connsiteY8" fmla="*/ 275248 h 341292"/>
                  <a:gd name="connsiteX9" fmla="*/ 84753 w 342660"/>
                  <a:gd name="connsiteY9" fmla="*/ 256279 h 341292"/>
                  <a:gd name="connsiteX10" fmla="*/ 84753 w 342660"/>
                  <a:gd name="connsiteY10" fmla="*/ 126623 h 341292"/>
                  <a:gd name="connsiteX11" fmla="*/ 129651 w 342660"/>
                  <a:gd name="connsiteY11" fmla="*/ 64888 h 341292"/>
                  <a:gd name="connsiteX12" fmla="*/ 64826 w 342660"/>
                  <a:gd name="connsiteY12" fmla="*/ 0 h 341292"/>
                  <a:gd name="connsiteX13" fmla="*/ 0 w 342660"/>
                  <a:gd name="connsiteY13" fmla="*/ 64888 h 341292"/>
                  <a:gd name="connsiteX14" fmla="*/ 44898 w 342660"/>
                  <a:gd name="connsiteY14" fmla="*/ 126623 h 341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2660" h="341292">
                    <a:moveTo>
                      <a:pt x="44878" y="126623"/>
                    </a:moveTo>
                    <a:lnTo>
                      <a:pt x="44878" y="256279"/>
                    </a:lnTo>
                    <a:cubicBezTo>
                      <a:pt x="44878" y="288733"/>
                      <a:pt x="71262" y="315142"/>
                      <a:pt x="103685" y="315142"/>
                    </a:cubicBezTo>
                    <a:lnTo>
                      <a:pt x="225863" y="315142"/>
                    </a:lnTo>
                    <a:cubicBezTo>
                      <a:pt x="237700" y="331000"/>
                      <a:pt x="256592" y="341293"/>
                      <a:pt x="277835" y="341293"/>
                    </a:cubicBezTo>
                    <a:cubicBezTo>
                      <a:pt x="313585" y="341293"/>
                      <a:pt x="342660" y="312190"/>
                      <a:pt x="342660" y="276405"/>
                    </a:cubicBezTo>
                    <a:cubicBezTo>
                      <a:pt x="342660" y="240620"/>
                      <a:pt x="313585" y="211518"/>
                      <a:pt x="277835" y="211518"/>
                    </a:cubicBezTo>
                    <a:cubicBezTo>
                      <a:pt x="242084" y="211518"/>
                      <a:pt x="213667" y="240002"/>
                      <a:pt x="213049" y="275248"/>
                    </a:cubicBezTo>
                    <a:lnTo>
                      <a:pt x="103705" y="275248"/>
                    </a:lnTo>
                    <a:cubicBezTo>
                      <a:pt x="93243" y="275248"/>
                      <a:pt x="84753" y="266731"/>
                      <a:pt x="84753" y="256279"/>
                    </a:cubicBezTo>
                    <a:lnTo>
                      <a:pt x="84753" y="126623"/>
                    </a:lnTo>
                    <a:cubicBezTo>
                      <a:pt x="110779" y="118186"/>
                      <a:pt x="129651" y="93711"/>
                      <a:pt x="129651" y="64888"/>
                    </a:cubicBezTo>
                    <a:cubicBezTo>
                      <a:pt x="129651" y="29103"/>
                      <a:pt x="100576" y="0"/>
                      <a:pt x="64826" y="0"/>
                    </a:cubicBezTo>
                    <a:cubicBezTo>
                      <a:pt x="29075" y="0"/>
                      <a:pt x="0" y="29103"/>
                      <a:pt x="0" y="64888"/>
                    </a:cubicBezTo>
                    <a:cubicBezTo>
                      <a:pt x="0" y="93711"/>
                      <a:pt x="18872" y="118186"/>
                      <a:pt x="44898" y="126623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60" name="Freeform 13">
                <a:extLst>
                  <a:ext uri="{FF2B5EF4-FFF2-40B4-BE49-F238E27FC236}">
                    <a16:creationId xmlns:a16="http://schemas.microsoft.com/office/drawing/2014/main" id="{CDEA073B-8955-71BB-2BAA-AF264EB43BDF}"/>
                  </a:ext>
                </a:extLst>
              </p:cNvPr>
              <p:cNvSpPr/>
              <p:nvPr/>
            </p:nvSpPr>
            <p:spPr>
              <a:xfrm>
                <a:off x="3626487" y="3781576"/>
                <a:ext cx="479285" cy="406579"/>
              </a:xfrm>
              <a:custGeom>
                <a:avLst/>
                <a:gdLst>
                  <a:gd name="connsiteX0" fmla="*/ 434388 w 479285"/>
                  <a:gd name="connsiteY0" fmla="*/ 279956 h 406579"/>
                  <a:gd name="connsiteX1" fmla="*/ 434388 w 479285"/>
                  <a:gd name="connsiteY1" fmla="*/ 250175 h 406579"/>
                  <a:gd name="connsiteX2" fmla="*/ 414281 w 479285"/>
                  <a:gd name="connsiteY2" fmla="*/ 199550 h 406579"/>
                  <a:gd name="connsiteX3" fmla="*/ 363704 w 479285"/>
                  <a:gd name="connsiteY3" fmla="*/ 145912 h 406579"/>
                  <a:gd name="connsiteX4" fmla="*/ 314582 w 479285"/>
                  <a:gd name="connsiteY4" fmla="*/ 124709 h 406579"/>
                  <a:gd name="connsiteX5" fmla="*/ 195891 w 479285"/>
                  <a:gd name="connsiteY5" fmla="*/ 124709 h 406579"/>
                  <a:gd name="connsiteX6" fmla="*/ 195891 w 479285"/>
                  <a:gd name="connsiteY6" fmla="*/ 0 h 406579"/>
                  <a:gd name="connsiteX7" fmla="*/ 156035 w 479285"/>
                  <a:gd name="connsiteY7" fmla="*/ 0 h 406579"/>
                  <a:gd name="connsiteX8" fmla="*/ 156035 w 479285"/>
                  <a:gd name="connsiteY8" fmla="*/ 221571 h 406579"/>
                  <a:gd name="connsiteX9" fmla="*/ 137084 w 479285"/>
                  <a:gd name="connsiteY9" fmla="*/ 240541 h 406579"/>
                  <a:gd name="connsiteX10" fmla="*/ 0 w 479285"/>
                  <a:gd name="connsiteY10" fmla="*/ 240541 h 406579"/>
                  <a:gd name="connsiteX11" fmla="*/ 0 w 479285"/>
                  <a:gd name="connsiteY11" fmla="*/ 280435 h 406579"/>
                  <a:gd name="connsiteX12" fmla="*/ 137084 w 479285"/>
                  <a:gd name="connsiteY12" fmla="*/ 280435 h 406579"/>
                  <a:gd name="connsiteX13" fmla="*/ 195891 w 479285"/>
                  <a:gd name="connsiteY13" fmla="*/ 221571 h 406579"/>
                  <a:gd name="connsiteX14" fmla="*/ 195891 w 479285"/>
                  <a:gd name="connsiteY14" fmla="*/ 164603 h 406579"/>
                  <a:gd name="connsiteX15" fmla="*/ 314582 w 479285"/>
                  <a:gd name="connsiteY15" fmla="*/ 164603 h 406579"/>
                  <a:gd name="connsiteX16" fmla="*/ 334729 w 479285"/>
                  <a:gd name="connsiteY16" fmla="*/ 173299 h 406579"/>
                  <a:gd name="connsiteX17" fmla="*/ 385306 w 479285"/>
                  <a:gd name="connsiteY17" fmla="*/ 226937 h 406579"/>
                  <a:gd name="connsiteX18" fmla="*/ 394532 w 479285"/>
                  <a:gd name="connsiteY18" fmla="*/ 250175 h 406579"/>
                  <a:gd name="connsiteX19" fmla="*/ 394532 w 479285"/>
                  <a:gd name="connsiteY19" fmla="*/ 279956 h 406579"/>
                  <a:gd name="connsiteX20" fmla="*/ 349635 w 479285"/>
                  <a:gd name="connsiteY20" fmla="*/ 341692 h 406579"/>
                  <a:gd name="connsiteX21" fmla="*/ 414460 w 479285"/>
                  <a:gd name="connsiteY21" fmla="*/ 406579 h 406579"/>
                  <a:gd name="connsiteX22" fmla="*/ 479286 w 479285"/>
                  <a:gd name="connsiteY22" fmla="*/ 341692 h 406579"/>
                  <a:gd name="connsiteX23" fmla="*/ 434388 w 479285"/>
                  <a:gd name="connsiteY23" fmla="*/ 279956 h 406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479285" h="406579">
                    <a:moveTo>
                      <a:pt x="434388" y="279956"/>
                    </a:moveTo>
                    <a:lnTo>
                      <a:pt x="434388" y="250175"/>
                    </a:lnTo>
                    <a:cubicBezTo>
                      <a:pt x="434388" y="231285"/>
                      <a:pt x="427254" y="213293"/>
                      <a:pt x="414281" y="199550"/>
                    </a:cubicBezTo>
                    <a:lnTo>
                      <a:pt x="363704" y="145912"/>
                    </a:lnTo>
                    <a:cubicBezTo>
                      <a:pt x="350990" y="132428"/>
                      <a:pt x="333095" y="124709"/>
                      <a:pt x="314582" y="124709"/>
                    </a:cubicBezTo>
                    <a:lnTo>
                      <a:pt x="195891" y="124709"/>
                    </a:lnTo>
                    <a:lnTo>
                      <a:pt x="195891" y="0"/>
                    </a:lnTo>
                    <a:lnTo>
                      <a:pt x="156035" y="0"/>
                    </a:lnTo>
                    <a:lnTo>
                      <a:pt x="156035" y="221571"/>
                    </a:lnTo>
                    <a:cubicBezTo>
                      <a:pt x="156035" y="232043"/>
                      <a:pt x="147526" y="240541"/>
                      <a:pt x="137084" y="240541"/>
                    </a:cubicBezTo>
                    <a:lnTo>
                      <a:pt x="0" y="240541"/>
                    </a:lnTo>
                    <a:lnTo>
                      <a:pt x="0" y="280435"/>
                    </a:lnTo>
                    <a:lnTo>
                      <a:pt x="137084" y="280435"/>
                    </a:lnTo>
                    <a:cubicBezTo>
                      <a:pt x="169507" y="280435"/>
                      <a:pt x="195891" y="254025"/>
                      <a:pt x="195891" y="221571"/>
                    </a:cubicBezTo>
                    <a:lnTo>
                      <a:pt x="195891" y="164603"/>
                    </a:lnTo>
                    <a:lnTo>
                      <a:pt x="314582" y="164603"/>
                    </a:lnTo>
                    <a:cubicBezTo>
                      <a:pt x="322174" y="164603"/>
                      <a:pt x="329508" y="167774"/>
                      <a:pt x="334729" y="173299"/>
                    </a:cubicBezTo>
                    <a:lnTo>
                      <a:pt x="385306" y="226937"/>
                    </a:lnTo>
                    <a:cubicBezTo>
                      <a:pt x="391264" y="233240"/>
                      <a:pt x="394532" y="241498"/>
                      <a:pt x="394532" y="250175"/>
                    </a:cubicBezTo>
                    <a:lnTo>
                      <a:pt x="394532" y="279956"/>
                    </a:lnTo>
                    <a:cubicBezTo>
                      <a:pt x="368507" y="288393"/>
                      <a:pt x="349635" y="312868"/>
                      <a:pt x="349635" y="341692"/>
                    </a:cubicBezTo>
                    <a:cubicBezTo>
                      <a:pt x="349635" y="377477"/>
                      <a:pt x="378710" y="406579"/>
                      <a:pt x="414460" y="406579"/>
                    </a:cubicBezTo>
                    <a:cubicBezTo>
                      <a:pt x="450211" y="406579"/>
                      <a:pt x="479286" y="377477"/>
                      <a:pt x="479286" y="341692"/>
                    </a:cubicBezTo>
                    <a:cubicBezTo>
                      <a:pt x="479286" y="312868"/>
                      <a:pt x="460414" y="288393"/>
                      <a:pt x="434388" y="279956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61" name="Freeform 14">
                <a:extLst>
                  <a:ext uri="{FF2B5EF4-FFF2-40B4-BE49-F238E27FC236}">
                    <a16:creationId xmlns:a16="http://schemas.microsoft.com/office/drawing/2014/main" id="{DED967B0-3FE9-3C3B-6BA1-DEBFE29A819E}"/>
                  </a:ext>
                </a:extLst>
              </p:cNvPr>
              <p:cNvSpPr/>
              <p:nvPr/>
            </p:nvSpPr>
            <p:spPr>
              <a:xfrm>
                <a:off x="2570826" y="3474951"/>
                <a:ext cx="378669" cy="270760"/>
              </a:xfrm>
              <a:custGeom>
                <a:avLst/>
                <a:gdLst>
                  <a:gd name="connsiteX0" fmla="*/ 64806 w 378669"/>
                  <a:gd name="connsiteY0" fmla="*/ 270760 h 270760"/>
                  <a:gd name="connsiteX1" fmla="*/ 129631 w 378669"/>
                  <a:gd name="connsiteY1" fmla="*/ 205873 h 270760"/>
                  <a:gd name="connsiteX2" fmla="*/ 84733 w 378669"/>
                  <a:gd name="connsiteY2" fmla="*/ 144137 h 270760"/>
                  <a:gd name="connsiteX3" fmla="*/ 84733 w 378669"/>
                  <a:gd name="connsiteY3" fmla="*/ 81224 h 270760"/>
                  <a:gd name="connsiteX4" fmla="*/ 126004 w 378669"/>
                  <a:gd name="connsiteY4" fmla="*/ 39914 h 270760"/>
                  <a:gd name="connsiteX5" fmla="*/ 213747 w 378669"/>
                  <a:gd name="connsiteY5" fmla="*/ 39914 h 270760"/>
                  <a:gd name="connsiteX6" fmla="*/ 238457 w 378669"/>
                  <a:gd name="connsiteY6" fmla="*/ 50945 h 270760"/>
                  <a:gd name="connsiteX7" fmla="*/ 348997 w 378669"/>
                  <a:gd name="connsiteY7" fmla="*/ 174257 h 270760"/>
                  <a:gd name="connsiteX8" fmla="*/ 378670 w 378669"/>
                  <a:gd name="connsiteY8" fmla="*/ 147608 h 270760"/>
                  <a:gd name="connsiteX9" fmla="*/ 268130 w 378669"/>
                  <a:gd name="connsiteY9" fmla="*/ 24295 h 270760"/>
                  <a:gd name="connsiteX10" fmla="*/ 213767 w 378669"/>
                  <a:gd name="connsiteY10" fmla="*/ 0 h 270760"/>
                  <a:gd name="connsiteX11" fmla="*/ 126024 w 378669"/>
                  <a:gd name="connsiteY11" fmla="*/ 0 h 270760"/>
                  <a:gd name="connsiteX12" fmla="*/ 44898 w 378669"/>
                  <a:gd name="connsiteY12" fmla="*/ 81204 h 270760"/>
                  <a:gd name="connsiteX13" fmla="*/ 44898 w 378669"/>
                  <a:gd name="connsiteY13" fmla="*/ 144117 h 270760"/>
                  <a:gd name="connsiteX14" fmla="*/ 0 w 378669"/>
                  <a:gd name="connsiteY14" fmla="*/ 205853 h 270760"/>
                  <a:gd name="connsiteX15" fmla="*/ 64825 w 378669"/>
                  <a:gd name="connsiteY15" fmla="*/ 270740 h 270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78669" h="270760">
                    <a:moveTo>
                      <a:pt x="64806" y="270760"/>
                    </a:moveTo>
                    <a:cubicBezTo>
                      <a:pt x="100556" y="270760"/>
                      <a:pt x="129631" y="241658"/>
                      <a:pt x="129631" y="205873"/>
                    </a:cubicBezTo>
                    <a:cubicBezTo>
                      <a:pt x="129631" y="177049"/>
                      <a:pt x="110759" y="152574"/>
                      <a:pt x="84733" y="144137"/>
                    </a:cubicBezTo>
                    <a:lnTo>
                      <a:pt x="84733" y="81224"/>
                    </a:lnTo>
                    <a:cubicBezTo>
                      <a:pt x="84733" y="58445"/>
                      <a:pt x="103246" y="39914"/>
                      <a:pt x="126004" y="39914"/>
                    </a:cubicBezTo>
                    <a:lnTo>
                      <a:pt x="213747" y="39914"/>
                    </a:lnTo>
                    <a:cubicBezTo>
                      <a:pt x="223153" y="39914"/>
                      <a:pt x="232160" y="43943"/>
                      <a:pt x="238457" y="50945"/>
                    </a:cubicBezTo>
                    <a:lnTo>
                      <a:pt x="348997" y="174257"/>
                    </a:lnTo>
                    <a:lnTo>
                      <a:pt x="378670" y="147608"/>
                    </a:lnTo>
                    <a:lnTo>
                      <a:pt x="268130" y="24295"/>
                    </a:lnTo>
                    <a:cubicBezTo>
                      <a:pt x="254300" y="8856"/>
                      <a:pt x="234472" y="0"/>
                      <a:pt x="213767" y="0"/>
                    </a:cubicBezTo>
                    <a:lnTo>
                      <a:pt x="126024" y="0"/>
                    </a:lnTo>
                    <a:cubicBezTo>
                      <a:pt x="81286" y="0"/>
                      <a:pt x="44898" y="36423"/>
                      <a:pt x="44898" y="81204"/>
                    </a:cubicBezTo>
                    <a:lnTo>
                      <a:pt x="44898" y="144117"/>
                    </a:lnTo>
                    <a:cubicBezTo>
                      <a:pt x="18872" y="152555"/>
                      <a:pt x="0" y="177029"/>
                      <a:pt x="0" y="205853"/>
                    </a:cubicBezTo>
                    <a:cubicBezTo>
                      <a:pt x="0" y="241638"/>
                      <a:pt x="29075" y="270740"/>
                      <a:pt x="64825" y="27074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62" name="Freeform 15">
                <a:extLst>
                  <a:ext uri="{FF2B5EF4-FFF2-40B4-BE49-F238E27FC236}">
                    <a16:creationId xmlns:a16="http://schemas.microsoft.com/office/drawing/2014/main" id="{AA53EB73-1263-6532-76F6-DA9F91C71768}"/>
                  </a:ext>
                </a:extLst>
              </p:cNvPr>
              <p:cNvSpPr/>
              <p:nvPr/>
            </p:nvSpPr>
            <p:spPr>
              <a:xfrm>
                <a:off x="2896747" y="4152969"/>
                <a:ext cx="213846" cy="423893"/>
              </a:xfrm>
              <a:custGeom>
                <a:avLst/>
                <a:gdLst>
                  <a:gd name="connsiteX0" fmla="*/ 81565 w 213846"/>
                  <a:gd name="connsiteY0" fmla="*/ 107793 h 423893"/>
                  <a:gd name="connsiteX1" fmla="*/ 44898 w 213846"/>
                  <a:gd name="connsiteY1" fmla="*/ 198891 h 423893"/>
                  <a:gd name="connsiteX2" fmla="*/ 44898 w 213846"/>
                  <a:gd name="connsiteY2" fmla="*/ 297270 h 423893"/>
                  <a:gd name="connsiteX3" fmla="*/ 0 w 213846"/>
                  <a:gd name="connsiteY3" fmla="*/ 359006 h 423893"/>
                  <a:gd name="connsiteX4" fmla="*/ 64825 w 213846"/>
                  <a:gd name="connsiteY4" fmla="*/ 423893 h 423893"/>
                  <a:gd name="connsiteX5" fmla="*/ 129651 w 213846"/>
                  <a:gd name="connsiteY5" fmla="*/ 359006 h 423893"/>
                  <a:gd name="connsiteX6" fmla="*/ 84753 w 213846"/>
                  <a:gd name="connsiteY6" fmla="*/ 297270 h 423893"/>
                  <a:gd name="connsiteX7" fmla="*/ 84753 w 213846"/>
                  <a:gd name="connsiteY7" fmla="*/ 198891 h 423893"/>
                  <a:gd name="connsiteX8" fmla="*/ 110281 w 213846"/>
                  <a:gd name="connsiteY8" fmla="*/ 135440 h 423893"/>
                  <a:gd name="connsiteX9" fmla="*/ 213846 w 213846"/>
                  <a:gd name="connsiteY9" fmla="*/ 27646 h 423893"/>
                  <a:gd name="connsiteX10" fmla="*/ 185110 w 213846"/>
                  <a:gd name="connsiteY10" fmla="*/ 0 h 423893"/>
                  <a:gd name="connsiteX11" fmla="*/ 81545 w 213846"/>
                  <a:gd name="connsiteY11" fmla="*/ 107793 h 423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3846" h="423893">
                    <a:moveTo>
                      <a:pt x="81565" y="107793"/>
                    </a:moveTo>
                    <a:cubicBezTo>
                      <a:pt x="57930" y="132408"/>
                      <a:pt x="44898" y="164762"/>
                      <a:pt x="44898" y="198891"/>
                    </a:cubicBezTo>
                    <a:lnTo>
                      <a:pt x="44898" y="297270"/>
                    </a:lnTo>
                    <a:cubicBezTo>
                      <a:pt x="18872" y="305707"/>
                      <a:pt x="0" y="330182"/>
                      <a:pt x="0" y="359006"/>
                    </a:cubicBezTo>
                    <a:cubicBezTo>
                      <a:pt x="0" y="394791"/>
                      <a:pt x="29075" y="423893"/>
                      <a:pt x="64825" y="423893"/>
                    </a:cubicBezTo>
                    <a:cubicBezTo>
                      <a:pt x="100576" y="423893"/>
                      <a:pt x="129651" y="394791"/>
                      <a:pt x="129651" y="359006"/>
                    </a:cubicBezTo>
                    <a:cubicBezTo>
                      <a:pt x="129651" y="330182"/>
                      <a:pt x="110779" y="305707"/>
                      <a:pt x="84753" y="297270"/>
                    </a:cubicBezTo>
                    <a:lnTo>
                      <a:pt x="84753" y="198891"/>
                    </a:lnTo>
                    <a:cubicBezTo>
                      <a:pt x="84753" y="175114"/>
                      <a:pt x="93821" y="152574"/>
                      <a:pt x="110281" y="135440"/>
                    </a:cubicBezTo>
                    <a:lnTo>
                      <a:pt x="213846" y="27646"/>
                    </a:lnTo>
                    <a:lnTo>
                      <a:pt x="185110" y="0"/>
                    </a:lnTo>
                    <a:lnTo>
                      <a:pt x="81545" y="107793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63" name="Freeform 16">
                <a:extLst>
                  <a:ext uri="{FF2B5EF4-FFF2-40B4-BE49-F238E27FC236}">
                    <a16:creationId xmlns:a16="http://schemas.microsoft.com/office/drawing/2014/main" id="{F910E71D-A6E9-5440-5EB4-D438DA035FD7}"/>
                  </a:ext>
                </a:extLst>
              </p:cNvPr>
              <p:cNvSpPr/>
              <p:nvPr/>
            </p:nvSpPr>
            <p:spPr>
              <a:xfrm>
                <a:off x="3565427" y="4152969"/>
                <a:ext cx="213846" cy="423893"/>
              </a:xfrm>
              <a:custGeom>
                <a:avLst/>
                <a:gdLst>
                  <a:gd name="connsiteX0" fmla="*/ 168969 w 213846"/>
                  <a:gd name="connsiteY0" fmla="*/ 297270 h 423893"/>
                  <a:gd name="connsiteX1" fmla="*/ 168969 w 213846"/>
                  <a:gd name="connsiteY1" fmla="*/ 192528 h 423893"/>
                  <a:gd name="connsiteX2" fmla="*/ 136705 w 213846"/>
                  <a:gd name="connsiteY2" fmla="*/ 112381 h 423893"/>
                  <a:gd name="connsiteX3" fmla="*/ 28736 w 213846"/>
                  <a:gd name="connsiteY3" fmla="*/ 0 h 423893"/>
                  <a:gd name="connsiteX4" fmla="*/ 0 w 213846"/>
                  <a:gd name="connsiteY4" fmla="*/ 27646 h 423893"/>
                  <a:gd name="connsiteX5" fmla="*/ 107969 w 213846"/>
                  <a:gd name="connsiteY5" fmla="*/ 140028 h 423893"/>
                  <a:gd name="connsiteX6" fmla="*/ 129093 w 213846"/>
                  <a:gd name="connsiteY6" fmla="*/ 192528 h 423893"/>
                  <a:gd name="connsiteX7" fmla="*/ 129093 w 213846"/>
                  <a:gd name="connsiteY7" fmla="*/ 297270 h 423893"/>
                  <a:gd name="connsiteX8" fmla="*/ 84195 w 213846"/>
                  <a:gd name="connsiteY8" fmla="*/ 359006 h 423893"/>
                  <a:gd name="connsiteX9" fmla="*/ 149021 w 213846"/>
                  <a:gd name="connsiteY9" fmla="*/ 423893 h 423893"/>
                  <a:gd name="connsiteX10" fmla="*/ 213846 w 213846"/>
                  <a:gd name="connsiteY10" fmla="*/ 359006 h 423893"/>
                  <a:gd name="connsiteX11" fmla="*/ 168949 w 213846"/>
                  <a:gd name="connsiteY11" fmla="*/ 297270 h 423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3846" h="423893">
                    <a:moveTo>
                      <a:pt x="168969" y="297270"/>
                    </a:moveTo>
                    <a:lnTo>
                      <a:pt x="168969" y="192528"/>
                    </a:lnTo>
                    <a:cubicBezTo>
                      <a:pt x="168969" y="162488"/>
                      <a:pt x="157510" y="134024"/>
                      <a:pt x="136705" y="112381"/>
                    </a:cubicBezTo>
                    <a:lnTo>
                      <a:pt x="28736" y="0"/>
                    </a:lnTo>
                    <a:lnTo>
                      <a:pt x="0" y="27646"/>
                    </a:lnTo>
                    <a:lnTo>
                      <a:pt x="107969" y="140028"/>
                    </a:lnTo>
                    <a:cubicBezTo>
                      <a:pt x="121600" y="154210"/>
                      <a:pt x="129093" y="172860"/>
                      <a:pt x="129093" y="192528"/>
                    </a:cubicBezTo>
                    <a:lnTo>
                      <a:pt x="129093" y="297270"/>
                    </a:lnTo>
                    <a:cubicBezTo>
                      <a:pt x="103067" y="305707"/>
                      <a:pt x="84195" y="330182"/>
                      <a:pt x="84195" y="359006"/>
                    </a:cubicBezTo>
                    <a:cubicBezTo>
                      <a:pt x="84195" y="394791"/>
                      <a:pt x="113270" y="423893"/>
                      <a:pt x="149021" y="423893"/>
                    </a:cubicBezTo>
                    <a:cubicBezTo>
                      <a:pt x="184772" y="423893"/>
                      <a:pt x="213846" y="394791"/>
                      <a:pt x="213846" y="359006"/>
                    </a:cubicBezTo>
                    <a:cubicBezTo>
                      <a:pt x="213846" y="330182"/>
                      <a:pt x="194975" y="305707"/>
                      <a:pt x="168949" y="29727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64" name="Freeform 19">
                <a:extLst>
                  <a:ext uri="{FF2B5EF4-FFF2-40B4-BE49-F238E27FC236}">
                    <a16:creationId xmlns:a16="http://schemas.microsoft.com/office/drawing/2014/main" id="{2A5813FF-13AF-ECD6-8CD6-71D5160A0FC4}"/>
                  </a:ext>
                </a:extLst>
              </p:cNvPr>
              <p:cNvSpPr/>
              <p:nvPr/>
            </p:nvSpPr>
            <p:spPr>
              <a:xfrm>
                <a:off x="3706816" y="3474991"/>
                <a:ext cx="378669" cy="270740"/>
              </a:xfrm>
              <a:custGeom>
                <a:avLst/>
                <a:gdLst>
                  <a:gd name="connsiteX0" fmla="*/ 118192 w 378669"/>
                  <a:gd name="connsiteY0" fmla="*/ 15738 h 270740"/>
                  <a:gd name="connsiteX1" fmla="*/ 0 w 378669"/>
                  <a:gd name="connsiteY1" fmla="*/ 147588 h 270740"/>
                  <a:gd name="connsiteX2" fmla="*/ 29653 w 378669"/>
                  <a:gd name="connsiteY2" fmla="*/ 174237 h 270740"/>
                  <a:gd name="connsiteX3" fmla="*/ 147845 w 378669"/>
                  <a:gd name="connsiteY3" fmla="*/ 42387 h 270740"/>
                  <a:gd name="connsiteX4" fmla="*/ 153445 w 378669"/>
                  <a:gd name="connsiteY4" fmla="*/ 39894 h 270740"/>
                  <a:gd name="connsiteX5" fmla="*/ 286404 w 378669"/>
                  <a:gd name="connsiteY5" fmla="*/ 39894 h 270740"/>
                  <a:gd name="connsiteX6" fmla="*/ 293917 w 378669"/>
                  <a:gd name="connsiteY6" fmla="*/ 47414 h 270740"/>
                  <a:gd name="connsiteX7" fmla="*/ 293917 w 378669"/>
                  <a:gd name="connsiteY7" fmla="*/ 144117 h 270740"/>
                  <a:gd name="connsiteX8" fmla="*/ 249019 w 378669"/>
                  <a:gd name="connsiteY8" fmla="*/ 205853 h 270740"/>
                  <a:gd name="connsiteX9" fmla="*/ 313844 w 378669"/>
                  <a:gd name="connsiteY9" fmla="*/ 270740 h 270740"/>
                  <a:gd name="connsiteX10" fmla="*/ 378670 w 378669"/>
                  <a:gd name="connsiteY10" fmla="*/ 205853 h 270740"/>
                  <a:gd name="connsiteX11" fmla="*/ 333772 w 378669"/>
                  <a:gd name="connsiteY11" fmla="*/ 144117 h 270740"/>
                  <a:gd name="connsiteX12" fmla="*/ 333772 w 378669"/>
                  <a:gd name="connsiteY12" fmla="*/ 47414 h 270740"/>
                  <a:gd name="connsiteX13" fmla="*/ 286404 w 378669"/>
                  <a:gd name="connsiteY13" fmla="*/ 0 h 270740"/>
                  <a:gd name="connsiteX14" fmla="*/ 153445 w 378669"/>
                  <a:gd name="connsiteY14" fmla="*/ 0 h 270740"/>
                  <a:gd name="connsiteX15" fmla="*/ 118192 w 378669"/>
                  <a:gd name="connsiteY15" fmla="*/ 15758 h 270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78669" h="270740">
                    <a:moveTo>
                      <a:pt x="118192" y="15738"/>
                    </a:moveTo>
                    <a:lnTo>
                      <a:pt x="0" y="147588"/>
                    </a:lnTo>
                    <a:lnTo>
                      <a:pt x="29653" y="174237"/>
                    </a:lnTo>
                    <a:lnTo>
                      <a:pt x="147845" y="42387"/>
                    </a:lnTo>
                    <a:cubicBezTo>
                      <a:pt x="149260" y="40792"/>
                      <a:pt x="151312" y="39894"/>
                      <a:pt x="153445" y="39894"/>
                    </a:cubicBezTo>
                    <a:lnTo>
                      <a:pt x="286404" y="39894"/>
                    </a:lnTo>
                    <a:cubicBezTo>
                      <a:pt x="290549" y="39894"/>
                      <a:pt x="293917" y="43265"/>
                      <a:pt x="293917" y="47414"/>
                    </a:cubicBezTo>
                    <a:lnTo>
                      <a:pt x="293917" y="144117"/>
                    </a:lnTo>
                    <a:cubicBezTo>
                      <a:pt x="267891" y="152554"/>
                      <a:pt x="249019" y="177029"/>
                      <a:pt x="249019" y="205853"/>
                    </a:cubicBezTo>
                    <a:cubicBezTo>
                      <a:pt x="249019" y="241638"/>
                      <a:pt x="278094" y="270740"/>
                      <a:pt x="313844" y="270740"/>
                    </a:cubicBezTo>
                    <a:cubicBezTo>
                      <a:pt x="349595" y="270740"/>
                      <a:pt x="378670" y="241638"/>
                      <a:pt x="378670" y="205853"/>
                    </a:cubicBezTo>
                    <a:cubicBezTo>
                      <a:pt x="378670" y="177029"/>
                      <a:pt x="359798" y="152554"/>
                      <a:pt x="333772" y="144117"/>
                    </a:cubicBezTo>
                    <a:lnTo>
                      <a:pt x="333772" y="47414"/>
                    </a:lnTo>
                    <a:cubicBezTo>
                      <a:pt x="333772" y="21263"/>
                      <a:pt x="312509" y="0"/>
                      <a:pt x="286404" y="0"/>
                    </a:cubicBezTo>
                    <a:lnTo>
                      <a:pt x="153445" y="0"/>
                    </a:lnTo>
                    <a:cubicBezTo>
                      <a:pt x="140013" y="0"/>
                      <a:pt x="127160" y="5745"/>
                      <a:pt x="118192" y="15758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65" name="Freeform 20">
                <a:extLst>
                  <a:ext uri="{FF2B5EF4-FFF2-40B4-BE49-F238E27FC236}">
                    <a16:creationId xmlns:a16="http://schemas.microsoft.com/office/drawing/2014/main" id="{61B35840-2ED0-E1A4-8211-83380798C39B}"/>
                  </a:ext>
                </a:extLst>
              </p:cNvPr>
              <p:cNvSpPr/>
              <p:nvPr/>
            </p:nvSpPr>
            <p:spPr>
              <a:xfrm>
                <a:off x="2570826" y="3781596"/>
                <a:ext cx="486121" cy="406579"/>
              </a:xfrm>
              <a:custGeom>
                <a:avLst/>
                <a:gdLst>
                  <a:gd name="connsiteX0" fmla="*/ 486121 w 486121"/>
                  <a:gd name="connsiteY0" fmla="*/ 280435 h 406579"/>
                  <a:gd name="connsiteX1" fmla="*/ 486121 w 486121"/>
                  <a:gd name="connsiteY1" fmla="*/ 240541 h 406579"/>
                  <a:gd name="connsiteX2" fmla="*/ 349037 w 486121"/>
                  <a:gd name="connsiteY2" fmla="*/ 240541 h 406579"/>
                  <a:gd name="connsiteX3" fmla="*/ 330086 w 486121"/>
                  <a:gd name="connsiteY3" fmla="*/ 221571 h 406579"/>
                  <a:gd name="connsiteX4" fmla="*/ 330086 w 486121"/>
                  <a:gd name="connsiteY4" fmla="*/ 0 h 406579"/>
                  <a:gd name="connsiteX5" fmla="*/ 290230 w 486121"/>
                  <a:gd name="connsiteY5" fmla="*/ 0 h 406579"/>
                  <a:gd name="connsiteX6" fmla="*/ 290230 w 486121"/>
                  <a:gd name="connsiteY6" fmla="*/ 124709 h 406579"/>
                  <a:gd name="connsiteX7" fmla="*/ 162532 w 486121"/>
                  <a:gd name="connsiteY7" fmla="*/ 124709 h 406579"/>
                  <a:gd name="connsiteX8" fmla="*/ 117056 w 486121"/>
                  <a:gd name="connsiteY8" fmla="*/ 144336 h 406579"/>
                  <a:gd name="connsiteX9" fmla="*/ 65802 w 486121"/>
                  <a:gd name="connsiteY9" fmla="*/ 198692 h 406579"/>
                  <a:gd name="connsiteX10" fmla="*/ 44898 w 486121"/>
                  <a:gd name="connsiteY10" fmla="*/ 251352 h 406579"/>
                  <a:gd name="connsiteX11" fmla="*/ 44898 w 486121"/>
                  <a:gd name="connsiteY11" fmla="*/ 279956 h 406579"/>
                  <a:gd name="connsiteX12" fmla="*/ 0 w 486121"/>
                  <a:gd name="connsiteY12" fmla="*/ 341692 h 406579"/>
                  <a:gd name="connsiteX13" fmla="*/ 64825 w 486121"/>
                  <a:gd name="connsiteY13" fmla="*/ 406579 h 406579"/>
                  <a:gd name="connsiteX14" fmla="*/ 129651 w 486121"/>
                  <a:gd name="connsiteY14" fmla="*/ 341692 h 406579"/>
                  <a:gd name="connsiteX15" fmla="*/ 84753 w 486121"/>
                  <a:gd name="connsiteY15" fmla="*/ 279956 h 406579"/>
                  <a:gd name="connsiteX16" fmla="*/ 84753 w 486121"/>
                  <a:gd name="connsiteY16" fmla="*/ 251352 h 406579"/>
                  <a:gd name="connsiteX17" fmla="*/ 94797 w 486121"/>
                  <a:gd name="connsiteY17" fmla="*/ 226079 h 406579"/>
                  <a:gd name="connsiteX18" fmla="*/ 146052 w 486121"/>
                  <a:gd name="connsiteY18" fmla="*/ 171723 h 406579"/>
                  <a:gd name="connsiteX19" fmla="*/ 162532 w 486121"/>
                  <a:gd name="connsiteY19" fmla="*/ 164603 h 406579"/>
                  <a:gd name="connsiteX20" fmla="*/ 290230 w 486121"/>
                  <a:gd name="connsiteY20" fmla="*/ 164603 h 406579"/>
                  <a:gd name="connsiteX21" fmla="*/ 290230 w 486121"/>
                  <a:gd name="connsiteY21" fmla="*/ 221571 h 406579"/>
                  <a:gd name="connsiteX22" fmla="*/ 349037 w 486121"/>
                  <a:gd name="connsiteY22" fmla="*/ 280435 h 406579"/>
                  <a:gd name="connsiteX23" fmla="*/ 486121 w 486121"/>
                  <a:gd name="connsiteY23" fmla="*/ 280435 h 406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486121" h="406579">
                    <a:moveTo>
                      <a:pt x="486121" y="280435"/>
                    </a:moveTo>
                    <a:lnTo>
                      <a:pt x="486121" y="240541"/>
                    </a:lnTo>
                    <a:lnTo>
                      <a:pt x="349037" y="240541"/>
                    </a:lnTo>
                    <a:cubicBezTo>
                      <a:pt x="338575" y="240541"/>
                      <a:pt x="330086" y="232023"/>
                      <a:pt x="330086" y="221571"/>
                    </a:cubicBezTo>
                    <a:lnTo>
                      <a:pt x="330086" y="0"/>
                    </a:lnTo>
                    <a:lnTo>
                      <a:pt x="290230" y="0"/>
                    </a:lnTo>
                    <a:lnTo>
                      <a:pt x="290230" y="124709"/>
                    </a:lnTo>
                    <a:lnTo>
                      <a:pt x="162532" y="124709"/>
                    </a:lnTo>
                    <a:cubicBezTo>
                      <a:pt x="145394" y="124709"/>
                      <a:pt x="128814" y="131869"/>
                      <a:pt x="117056" y="144336"/>
                    </a:cubicBezTo>
                    <a:lnTo>
                      <a:pt x="65802" y="198692"/>
                    </a:lnTo>
                    <a:cubicBezTo>
                      <a:pt x="52311" y="212994"/>
                      <a:pt x="44898" y="231684"/>
                      <a:pt x="44898" y="251352"/>
                    </a:cubicBezTo>
                    <a:lnTo>
                      <a:pt x="44898" y="279956"/>
                    </a:lnTo>
                    <a:cubicBezTo>
                      <a:pt x="18872" y="288393"/>
                      <a:pt x="0" y="312868"/>
                      <a:pt x="0" y="341692"/>
                    </a:cubicBezTo>
                    <a:cubicBezTo>
                      <a:pt x="0" y="377477"/>
                      <a:pt x="29075" y="406579"/>
                      <a:pt x="64825" y="406579"/>
                    </a:cubicBezTo>
                    <a:cubicBezTo>
                      <a:pt x="100576" y="406579"/>
                      <a:pt x="129651" y="377477"/>
                      <a:pt x="129651" y="341692"/>
                    </a:cubicBezTo>
                    <a:cubicBezTo>
                      <a:pt x="129651" y="312868"/>
                      <a:pt x="110779" y="288393"/>
                      <a:pt x="84753" y="279956"/>
                    </a:cubicBezTo>
                    <a:lnTo>
                      <a:pt x="84753" y="251352"/>
                    </a:lnTo>
                    <a:cubicBezTo>
                      <a:pt x="84753" y="241917"/>
                      <a:pt x="88320" y="232941"/>
                      <a:pt x="94797" y="226079"/>
                    </a:cubicBezTo>
                    <a:lnTo>
                      <a:pt x="146052" y="171723"/>
                    </a:lnTo>
                    <a:cubicBezTo>
                      <a:pt x="150316" y="167196"/>
                      <a:pt x="156334" y="164603"/>
                      <a:pt x="162532" y="164603"/>
                    </a:cubicBezTo>
                    <a:lnTo>
                      <a:pt x="290230" y="164603"/>
                    </a:lnTo>
                    <a:lnTo>
                      <a:pt x="290230" y="221571"/>
                    </a:lnTo>
                    <a:cubicBezTo>
                      <a:pt x="290230" y="254025"/>
                      <a:pt x="316614" y="280435"/>
                      <a:pt x="349037" y="280435"/>
                    </a:cubicBezTo>
                    <a:lnTo>
                      <a:pt x="486121" y="280435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</p:grpSp>
        <p:sp>
          <p:nvSpPr>
            <p:cNvPr id="518" name="Freeform: Shape 517">
              <a:extLst>
                <a:ext uri="{FF2B5EF4-FFF2-40B4-BE49-F238E27FC236}">
                  <a16:creationId xmlns:a16="http://schemas.microsoft.com/office/drawing/2014/main" id="{1C6029C6-2D0E-65D1-1850-A05CAE13CA4C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2894249" y="4476370"/>
              <a:ext cx="99157" cy="286248"/>
            </a:xfrm>
            <a:custGeom>
              <a:avLst/>
              <a:gdLst>
                <a:gd name="connsiteX0" fmla="*/ 328170 w 655320"/>
                <a:gd name="connsiteY0" fmla="*/ 0 h 1239085"/>
                <a:gd name="connsiteX1" fmla="*/ 328311 w 655320"/>
                <a:gd name="connsiteY1" fmla="*/ 0 h 1239085"/>
                <a:gd name="connsiteX2" fmla="*/ 354648 w 655320"/>
                <a:gd name="connsiteY2" fmla="*/ 11400 h 1239085"/>
                <a:gd name="connsiteX3" fmla="*/ 533940 w 655320"/>
                <a:gd name="connsiteY3" fmla="*/ 202708 h 1239085"/>
                <a:gd name="connsiteX4" fmla="*/ 532304 w 655320"/>
                <a:gd name="connsiteY4" fmla="*/ 253693 h 1239085"/>
                <a:gd name="connsiteX5" fmla="*/ 506442 w 655320"/>
                <a:gd name="connsiteY5" fmla="*/ 263457 h 1239085"/>
                <a:gd name="connsiteX6" fmla="*/ 481266 w 655320"/>
                <a:gd name="connsiteY6" fmla="*/ 252057 h 1239085"/>
                <a:gd name="connsiteX7" fmla="*/ 371168 w 655320"/>
                <a:gd name="connsiteY7" fmla="*/ 134535 h 1239085"/>
                <a:gd name="connsiteX8" fmla="*/ 372892 w 655320"/>
                <a:gd name="connsiteY8" fmla="*/ 575349 h 1239085"/>
                <a:gd name="connsiteX9" fmla="*/ 655320 w 655320"/>
                <a:gd name="connsiteY9" fmla="*/ 574248 h 1239085"/>
                <a:gd name="connsiteX10" fmla="*/ 655320 w 655320"/>
                <a:gd name="connsiteY10" fmla="*/ 662264 h 1239085"/>
                <a:gd name="connsiteX11" fmla="*/ 373226 w 655320"/>
                <a:gd name="connsiteY11" fmla="*/ 663367 h 1239085"/>
                <a:gd name="connsiteX12" fmla="*/ 374933 w 655320"/>
                <a:gd name="connsiteY12" fmla="*/ 1100926 h 1239085"/>
                <a:gd name="connsiteX13" fmla="*/ 481072 w 655320"/>
                <a:gd name="connsiteY13" fmla="*/ 985849 h 1239085"/>
                <a:gd name="connsiteX14" fmla="*/ 506160 w 655320"/>
                <a:gd name="connsiteY14" fmla="*/ 974256 h 1239085"/>
                <a:gd name="connsiteX15" fmla="*/ 532093 w 655320"/>
                <a:gd name="connsiteY15" fmla="*/ 983809 h 1239085"/>
                <a:gd name="connsiteX16" fmla="*/ 534116 w 655320"/>
                <a:gd name="connsiteY16" fmla="*/ 1034776 h 1239085"/>
                <a:gd name="connsiteX17" fmla="*/ 356319 w 655320"/>
                <a:gd name="connsiteY17" fmla="*/ 1227474 h 1239085"/>
                <a:gd name="connsiteX18" fmla="*/ 329930 w 655320"/>
                <a:gd name="connsiteY18" fmla="*/ 1239085 h 1239085"/>
                <a:gd name="connsiteX19" fmla="*/ 329789 w 655320"/>
                <a:gd name="connsiteY19" fmla="*/ 1239085 h 1239085"/>
                <a:gd name="connsiteX20" fmla="*/ 303452 w 655320"/>
                <a:gd name="connsiteY20" fmla="*/ 1227667 h 1239085"/>
                <a:gd name="connsiteX21" fmla="*/ 124195 w 655320"/>
                <a:gd name="connsiteY21" fmla="*/ 1036359 h 1239085"/>
                <a:gd name="connsiteX22" fmla="*/ 125832 w 655320"/>
                <a:gd name="connsiteY22" fmla="*/ 985374 h 1239085"/>
                <a:gd name="connsiteX23" fmla="*/ 151694 w 655320"/>
                <a:gd name="connsiteY23" fmla="*/ 975610 h 1239085"/>
                <a:gd name="connsiteX24" fmla="*/ 176869 w 655320"/>
                <a:gd name="connsiteY24" fmla="*/ 987011 h 1239085"/>
                <a:gd name="connsiteX25" fmla="*/ 286967 w 655320"/>
                <a:gd name="connsiteY25" fmla="*/ 1104550 h 1239085"/>
                <a:gd name="connsiteX26" fmla="*/ 285243 w 655320"/>
                <a:gd name="connsiteY26" fmla="*/ 663666 h 1239085"/>
                <a:gd name="connsiteX27" fmla="*/ 0 w 655320"/>
                <a:gd name="connsiteY27" fmla="*/ 664779 h 1239085"/>
                <a:gd name="connsiteX28" fmla="*/ 0 w 655320"/>
                <a:gd name="connsiteY28" fmla="*/ 576798 h 1239085"/>
                <a:gd name="connsiteX29" fmla="*/ 284944 w 655320"/>
                <a:gd name="connsiteY29" fmla="*/ 575683 h 1239085"/>
                <a:gd name="connsiteX30" fmla="*/ 283238 w 655320"/>
                <a:gd name="connsiteY30" fmla="*/ 138124 h 1239085"/>
                <a:gd name="connsiteX31" fmla="*/ 177098 w 655320"/>
                <a:gd name="connsiteY31" fmla="*/ 253236 h 1239085"/>
                <a:gd name="connsiteX32" fmla="*/ 152010 w 655320"/>
                <a:gd name="connsiteY32" fmla="*/ 264830 h 1239085"/>
                <a:gd name="connsiteX33" fmla="*/ 150532 w 655320"/>
                <a:gd name="connsiteY33" fmla="*/ 264865 h 1239085"/>
                <a:gd name="connsiteX34" fmla="*/ 126078 w 655320"/>
                <a:gd name="connsiteY34" fmla="*/ 255277 h 1239085"/>
                <a:gd name="connsiteX35" fmla="*/ 124037 w 655320"/>
                <a:gd name="connsiteY35" fmla="*/ 204309 h 1239085"/>
                <a:gd name="connsiteX36" fmla="*/ 301781 w 655320"/>
                <a:gd name="connsiteY36" fmla="*/ 11611 h 1239085"/>
                <a:gd name="connsiteX37" fmla="*/ 328170 w 655320"/>
                <a:gd name="connsiteY37" fmla="*/ 0 h 1239085"/>
                <a:gd name="connsiteX0" fmla="*/ 328170 w 655320"/>
                <a:gd name="connsiteY0" fmla="*/ 0 h 1239085"/>
                <a:gd name="connsiteX1" fmla="*/ 328311 w 655320"/>
                <a:gd name="connsiteY1" fmla="*/ 0 h 1239085"/>
                <a:gd name="connsiteX2" fmla="*/ 354648 w 655320"/>
                <a:gd name="connsiteY2" fmla="*/ 11400 h 1239085"/>
                <a:gd name="connsiteX3" fmla="*/ 533940 w 655320"/>
                <a:gd name="connsiteY3" fmla="*/ 202708 h 1239085"/>
                <a:gd name="connsiteX4" fmla="*/ 532304 w 655320"/>
                <a:gd name="connsiteY4" fmla="*/ 253693 h 1239085"/>
                <a:gd name="connsiteX5" fmla="*/ 506442 w 655320"/>
                <a:gd name="connsiteY5" fmla="*/ 263457 h 1239085"/>
                <a:gd name="connsiteX6" fmla="*/ 481266 w 655320"/>
                <a:gd name="connsiteY6" fmla="*/ 252057 h 1239085"/>
                <a:gd name="connsiteX7" fmla="*/ 371168 w 655320"/>
                <a:gd name="connsiteY7" fmla="*/ 134535 h 1239085"/>
                <a:gd name="connsiteX8" fmla="*/ 372892 w 655320"/>
                <a:gd name="connsiteY8" fmla="*/ 575349 h 1239085"/>
                <a:gd name="connsiteX9" fmla="*/ 655320 w 655320"/>
                <a:gd name="connsiteY9" fmla="*/ 574248 h 1239085"/>
                <a:gd name="connsiteX10" fmla="*/ 655320 w 655320"/>
                <a:gd name="connsiteY10" fmla="*/ 662264 h 1239085"/>
                <a:gd name="connsiteX11" fmla="*/ 373226 w 655320"/>
                <a:gd name="connsiteY11" fmla="*/ 663367 h 1239085"/>
                <a:gd name="connsiteX12" fmla="*/ 374933 w 655320"/>
                <a:gd name="connsiteY12" fmla="*/ 1100926 h 1239085"/>
                <a:gd name="connsiteX13" fmla="*/ 481072 w 655320"/>
                <a:gd name="connsiteY13" fmla="*/ 985849 h 1239085"/>
                <a:gd name="connsiteX14" fmla="*/ 506160 w 655320"/>
                <a:gd name="connsiteY14" fmla="*/ 974256 h 1239085"/>
                <a:gd name="connsiteX15" fmla="*/ 532093 w 655320"/>
                <a:gd name="connsiteY15" fmla="*/ 983809 h 1239085"/>
                <a:gd name="connsiteX16" fmla="*/ 534116 w 655320"/>
                <a:gd name="connsiteY16" fmla="*/ 1034776 h 1239085"/>
                <a:gd name="connsiteX17" fmla="*/ 356319 w 655320"/>
                <a:gd name="connsiteY17" fmla="*/ 1227474 h 1239085"/>
                <a:gd name="connsiteX18" fmla="*/ 329930 w 655320"/>
                <a:gd name="connsiteY18" fmla="*/ 1239085 h 1239085"/>
                <a:gd name="connsiteX19" fmla="*/ 329789 w 655320"/>
                <a:gd name="connsiteY19" fmla="*/ 1239085 h 1239085"/>
                <a:gd name="connsiteX20" fmla="*/ 303452 w 655320"/>
                <a:gd name="connsiteY20" fmla="*/ 1227667 h 1239085"/>
                <a:gd name="connsiteX21" fmla="*/ 124195 w 655320"/>
                <a:gd name="connsiteY21" fmla="*/ 1036359 h 1239085"/>
                <a:gd name="connsiteX22" fmla="*/ 125832 w 655320"/>
                <a:gd name="connsiteY22" fmla="*/ 985374 h 1239085"/>
                <a:gd name="connsiteX23" fmla="*/ 151694 w 655320"/>
                <a:gd name="connsiteY23" fmla="*/ 975610 h 1239085"/>
                <a:gd name="connsiteX24" fmla="*/ 176869 w 655320"/>
                <a:gd name="connsiteY24" fmla="*/ 987011 h 1239085"/>
                <a:gd name="connsiteX25" fmla="*/ 286967 w 655320"/>
                <a:gd name="connsiteY25" fmla="*/ 1104550 h 1239085"/>
                <a:gd name="connsiteX26" fmla="*/ 285243 w 655320"/>
                <a:gd name="connsiteY26" fmla="*/ 663666 h 1239085"/>
                <a:gd name="connsiteX27" fmla="*/ 0 w 655320"/>
                <a:gd name="connsiteY27" fmla="*/ 664779 h 1239085"/>
                <a:gd name="connsiteX28" fmla="*/ 284944 w 655320"/>
                <a:gd name="connsiteY28" fmla="*/ 575683 h 1239085"/>
                <a:gd name="connsiteX29" fmla="*/ 283238 w 655320"/>
                <a:gd name="connsiteY29" fmla="*/ 138124 h 1239085"/>
                <a:gd name="connsiteX30" fmla="*/ 177098 w 655320"/>
                <a:gd name="connsiteY30" fmla="*/ 253236 h 1239085"/>
                <a:gd name="connsiteX31" fmla="*/ 152010 w 655320"/>
                <a:gd name="connsiteY31" fmla="*/ 264830 h 1239085"/>
                <a:gd name="connsiteX32" fmla="*/ 150532 w 655320"/>
                <a:gd name="connsiteY32" fmla="*/ 264865 h 1239085"/>
                <a:gd name="connsiteX33" fmla="*/ 126078 w 655320"/>
                <a:gd name="connsiteY33" fmla="*/ 255277 h 1239085"/>
                <a:gd name="connsiteX34" fmla="*/ 124037 w 655320"/>
                <a:gd name="connsiteY34" fmla="*/ 204309 h 1239085"/>
                <a:gd name="connsiteX35" fmla="*/ 301781 w 655320"/>
                <a:gd name="connsiteY35" fmla="*/ 11611 h 1239085"/>
                <a:gd name="connsiteX36" fmla="*/ 328170 w 655320"/>
                <a:gd name="connsiteY36" fmla="*/ 0 h 1239085"/>
                <a:gd name="connsiteX0" fmla="*/ 213712 w 540862"/>
                <a:gd name="connsiteY0" fmla="*/ 0 h 1239085"/>
                <a:gd name="connsiteX1" fmla="*/ 213853 w 540862"/>
                <a:gd name="connsiteY1" fmla="*/ 0 h 1239085"/>
                <a:gd name="connsiteX2" fmla="*/ 240190 w 540862"/>
                <a:gd name="connsiteY2" fmla="*/ 11400 h 1239085"/>
                <a:gd name="connsiteX3" fmla="*/ 419482 w 540862"/>
                <a:gd name="connsiteY3" fmla="*/ 202708 h 1239085"/>
                <a:gd name="connsiteX4" fmla="*/ 417846 w 540862"/>
                <a:gd name="connsiteY4" fmla="*/ 253693 h 1239085"/>
                <a:gd name="connsiteX5" fmla="*/ 391984 w 540862"/>
                <a:gd name="connsiteY5" fmla="*/ 263457 h 1239085"/>
                <a:gd name="connsiteX6" fmla="*/ 366808 w 540862"/>
                <a:gd name="connsiteY6" fmla="*/ 252057 h 1239085"/>
                <a:gd name="connsiteX7" fmla="*/ 256710 w 540862"/>
                <a:gd name="connsiteY7" fmla="*/ 134535 h 1239085"/>
                <a:gd name="connsiteX8" fmla="*/ 258434 w 540862"/>
                <a:gd name="connsiteY8" fmla="*/ 575349 h 1239085"/>
                <a:gd name="connsiteX9" fmla="*/ 540862 w 540862"/>
                <a:gd name="connsiteY9" fmla="*/ 574248 h 1239085"/>
                <a:gd name="connsiteX10" fmla="*/ 540862 w 540862"/>
                <a:gd name="connsiteY10" fmla="*/ 662264 h 1239085"/>
                <a:gd name="connsiteX11" fmla="*/ 258768 w 540862"/>
                <a:gd name="connsiteY11" fmla="*/ 663367 h 1239085"/>
                <a:gd name="connsiteX12" fmla="*/ 260475 w 540862"/>
                <a:gd name="connsiteY12" fmla="*/ 1100926 h 1239085"/>
                <a:gd name="connsiteX13" fmla="*/ 366614 w 540862"/>
                <a:gd name="connsiteY13" fmla="*/ 985849 h 1239085"/>
                <a:gd name="connsiteX14" fmla="*/ 391702 w 540862"/>
                <a:gd name="connsiteY14" fmla="*/ 974256 h 1239085"/>
                <a:gd name="connsiteX15" fmla="*/ 417635 w 540862"/>
                <a:gd name="connsiteY15" fmla="*/ 983809 h 1239085"/>
                <a:gd name="connsiteX16" fmla="*/ 419658 w 540862"/>
                <a:gd name="connsiteY16" fmla="*/ 1034776 h 1239085"/>
                <a:gd name="connsiteX17" fmla="*/ 241861 w 540862"/>
                <a:gd name="connsiteY17" fmla="*/ 1227474 h 1239085"/>
                <a:gd name="connsiteX18" fmla="*/ 215472 w 540862"/>
                <a:gd name="connsiteY18" fmla="*/ 1239085 h 1239085"/>
                <a:gd name="connsiteX19" fmla="*/ 215331 w 540862"/>
                <a:gd name="connsiteY19" fmla="*/ 1239085 h 1239085"/>
                <a:gd name="connsiteX20" fmla="*/ 188994 w 540862"/>
                <a:gd name="connsiteY20" fmla="*/ 1227667 h 1239085"/>
                <a:gd name="connsiteX21" fmla="*/ 9737 w 540862"/>
                <a:gd name="connsiteY21" fmla="*/ 1036359 h 1239085"/>
                <a:gd name="connsiteX22" fmla="*/ 11374 w 540862"/>
                <a:gd name="connsiteY22" fmla="*/ 985374 h 1239085"/>
                <a:gd name="connsiteX23" fmla="*/ 37236 w 540862"/>
                <a:gd name="connsiteY23" fmla="*/ 975610 h 1239085"/>
                <a:gd name="connsiteX24" fmla="*/ 62411 w 540862"/>
                <a:gd name="connsiteY24" fmla="*/ 987011 h 1239085"/>
                <a:gd name="connsiteX25" fmla="*/ 172509 w 540862"/>
                <a:gd name="connsiteY25" fmla="*/ 1104550 h 1239085"/>
                <a:gd name="connsiteX26" fmla="*/ 170785 w 540862"/>
                <a:gd name="connsiteY26" fmla="*/ 663666 h 1239085"/>
                <a:gd name="connsiteX27" fmla="*/ 170486 w 540862"/>
                <a:gd name="connsiteY27" fmla="*/ 575683 h 1239085"/>
                <a:gd name="connsiteX28" fmla="*/ 168780 w 540862"/>
                <a:gd name="connsiteY28" fmla="*/ 138124 h 1239085"/>
                <a:gd name="connsiteX29" fmla="*/ 62640 w 540862"/>
                <a:gd name="connsiteY29" fmla="*/ 253236 h 1239085"/>
                <a:gd name="connsiteX30" fmla="*/ 37552 w 540862"/>
                <a:gd name="connsiteY30" fmla="*/ 264830 h 1239085"/>
                <a:gd name="connsiteX31" fmla="*/ 36074 w 540862"/>
                <a:gd name="connsiteY31" fmla="*/ 264865 h 1239085"/>
                <a:gd name="connsiteX32" fmla="*/ 11620 w 540862"/>
                <a:gd name="connsiteY32" fmla="*/ 255277 h 1239085"/>
                <a:gd name="connsiteX33" fmla="*/ 9579 w 540862"/>
                <a:gd name="connsiteY33" fmla="*/ 204309 h 1239085"/>
                <a:gd name="connsiteX34" fmla="*/ 187323 w 540862"/>
                <a:gd name="connsiteY34" fmla="*/ 11611 h 1239085"/>
                <a:gd name="connsiteX35" fmla="*/ 213712 w 540862"/>
                <a:gd name="connsiteY35" fmla="*/ 0 h 1239085"/>
                <a:gd name="connsiteX0" fmla="*/ 213712 w 540862"/>
                <a:gd name="connsiteY0" fmla="*/ 0 h 1239085"/>
                <a:gd name="connsiteX1" fmla="*/ 213853 w 540862"/>
                <a:gd name="connsiteY1" fmla="*/ 0 h 1239085"/>
                <a:gd name="connsiteX2" fmla="*/ 240190 w 540862"/>
                <a:gd name="connsiteY2" fmla="*/ 11400 h 1239085"/>
                <a:gd name="connsiteX3" fmla="*/ 419482 w 540862"/>
                <a:gd name="connsiteY3" fmla="*/ 202708 h 1239085"/>
                <a:gd name="connsiteX4" fmla="*/ 417846 w 540862"/>
                <a:gd name="connsiteY4" fmla="*/ 253693 h 1239085"/>
                <a:gd name="connsiteX5" fmla="*/ 391984 w 540862"/>
                <a:gd name="connsiteY5" fmla="*/ 263457 h 1239085"/>
                <a:gd name="connsiteX6" fmla="*/ 366808 w 540862"/>
                <a:gd name="connsiteY6" fmla="*/ 252057 h 1239085"/>
                <a:gd name="connsiteX7" fmla="*/ 256710 w 540862"/>
                <a:gd name="connsiteY7" fmla="*/ 134535 h 1239085"/>
                <a:gd name="connsiteX8" fmla="*/ 258434 w 540862"/>
                <a:gd name="connsiteY8" fmla="*/ 575349 h 1239085"/>
                <a:gd name="connsiteX9" fmla="*/ 540862 w 540862"/>
                <a:gd name="connsiteY9" fmla="*/ 662264 h 1239085"/>
                <a:gd name="connsiteX10" fmla="*/ 258768 w 540862"/>
                <a:gd name="connsiteY10" fmla="*/ 663367 h 1239085"/>
                <a:gd name="connsiteX11" fmla="*/ 260475 w 540862"/>
                <a:gd name="connsiteY11" fmla="*/ 1100926 h 1239085"/>
                <a:gd name="connsiteX12" fmla="*/ 366614 w 540862"/>
                <a:gd name="connsiteY12" fmla="*/ 985849 h 1239085"/>
                <a:gd name="connsiteX13" fmla="*/ 391702 w 540862"/>
                <a:gd name="connsiteY13" fmla="*/ 974256 h 1239085"/>
                <a:gd name="connsiteX14" fmla="*/ 417635 w 540862"/>
                <a:gd name="connsiteY14" fmla="*/ 983809 h 1239085"/>
                <a:gd name="connsiteX15" fmla="*/ 419658 w 540862"/>
                <a:gd name="connsiteY15" fmla="*/ 1034776 h 1239085"/>
                <a:gd name="connsiteX16" fmla="*/ 241861 w 540862"/>
                <a:gd name="connsiteY16" fmla="*/ 1227474 h 1239085"/>
                <a:gd name="connsiteX17" fmla="*/ 215472 w 540862"/>
                <a:gd name="connsiteY17" fmla="*/ 1239085 h 1239085"/>
                <a:gd name="connsiteX18" fmla="*/ 215331 w 540862"/>
                <a:gd name="connsiteY18" fmla="*/ 1239085 h 1239085"/>
                <a:gd name="connsiteX19" fmla="*/ 188994 w 540862"/>
                <a:gd name="connsiteY19" fmla="*/ 1227667 h 1239085"/>
                <a:gd name="connsiteX20" fmla="*/ 9737 w 540862"/>
                <a:gd name="connsiteY20" fmla="*/ 1036359 h 1239085"/>
                <a:gd name="connsiteX21" fmla="*/ 11374 w 540862"/>
                <a:gd name="connsiteY21" fmla="*/ 985374 h 1239085"/>
                <a:gd name="connsiteX22" fmla="*/ 37236 w 540862"/>
                <a:gd name="connsiteY22" fmla="*/ 975610 h 1239085"/>
                <a:gd name="connsiteX23" fmla="*/ 62411 w 540862"/>
                <a:gd name="connsiteY23" fmla="*/ 987011 h 1239085"/>
                <a:gd name="connsiteX24" fmla="*/ 172509 w 540862"/>
                <a:gd name="connsiteY24" fmla="*/ 1104550 h 1239085"/>
                <a:gd name="connsiteX25" fmla="*/ 170785 w 540862"/>
                <a:gd name="connsiteY25" fmla="*/ 663666 h 1239085"/>
                <a:gd name="connsiteX26" fmla="*/ 170486 w 540862"/>
                <a:gd name="connsiteY26" fmla="*/ 575683 h 1239085"/>
                <a:gd name="connsiteX27" fmla="*/ 168780 w 540862"/>
                <a:gd name="connsiteY27" fmla="*/ 138124 h 1239085"/>
                <a:gd name="connsiteX28" fmla="*/ 62640 w 540862"/>
                <a:gd name="connsiteY28" fmla="*/ 253236 h 1239085"/>
                <a:gd name="connsiteX29" fmla="*/ 37552 w 540862"/>
                <a:gd name="connsiteY29" fmla="*/ 264830 h 1239085"/>
                <a:gd name="connsiteX30" fmla="*/ 36074 w 540862"/>
                <a:gd name="connsiteY30" fmla="*/ 264865 h 1239085"/>
                <a:gd name="connsiteX31" fmla="*/ 11620 w 540862"/>
                <a:gd name="connsiteY31" fmla="*/ 255277 h 1239085"/>
                <a:gd name="connsiteX32" fmla="*/ 9579 w 540862"/>
                <a:gd name="connsiteY32" fmla="*/ 204309 h 1239085"/>
                <a:gd name="connsiteX33" fmla="*/ 187323 w 540862"/>
                <a:gd name="connsiteY33" fmla="*/ 11611 h 1239085"/>
                <a:gd name="connsiteX34" fmla="*/ 213712 w 540862"/>
                <a:gd name="connsiteY34" fmla="*/ 0 h 1239085"/>
                <a:gd name="connsiteX0" fmla="*/ 213712 w 429218"/>
                <a:gd name="connsiteY0" fmla="*/ 0 h 1239085"/>
                <a:gd name="connsiteX1" fmla="*/ 213853 w 429218"/>
                <a:gd name="connsiteY1" fmla="*/ 0 h 1239085"/>
                <a:gd name="connsiteX2" fmla="*/ 240190 w 429218"/>
                <a:gd name="connsiteY2" fmla="*/ 11400 h 1239085"/>
                <a:gd name="connsiteX3" fmla="*/ 419482 w 429218"/>
                <a:gd name="connsiteY3" fmla="*/ 202708 h 1239085"/>
                <a:gd name="connsiteX4" fmla="*/ 417846 w 429218"/>
                <a:gd name="connsiteY4" fmla="*/ 253693 h 1239085"/>
                <a:gd name="connsiteX5" fmla="*/ 391984 w 429218"/>
                <a:gd name="connsiteY5" fmla="*/ 263457 h 1239085"/>
                <a:gd name="connsiteX6" fmla="*/ 366808 w 429218"/>
                <a:gd name="connsiteY6" fmla="*/ 252057 h 1239085"/>
                <a:gd name="connsiteX7" fmla="*/ 256710 w 429218"/>
                <a:gd name="connsiteY7" fmla="*/ 134535 h 1239085"/>
                <a:gd name="connsiteX8" fmla="*/ 258434 w 429218"/>
                <a:gd name="connsiteY8" fmla="*/ 575349 h 1239085"/>
                <a:gd name="connsiteX9" fmla="*/ 258768 w 429218"/>
                <a:gd name="connsiteY9" fmla="*/ 663367 h 1239085"/>
                <a:gd name="connsiteX10" fmla="*/ 260475 w 429218"/>
                <a:gd name="connsiteY10" fmla="*/ 1100926 h 1239085"/>
                <a:gd name="connsiteX11" fmla="*/ 366614 w 429218"/>
                <a:gd name="connsiteY11" fmla="*/ 985849 h 1239085"/>
                <a:gd name="connsiteX12" fmla="*/ 391702 w 429218"/>
                <a:gd name="connsiteY12" fmla="*/ 974256 h 1239085"/>
                <a:gd name="connsiteX13" fmla="*/ 417635 w 429218"/>
                <a:gd name="connsiteY13" fmla="*/ 983809 h 1239085"/>
                <a:gd name="connsiteX14" fmla="*/ 419658 w 429218"/>
                <a:gd name="connsiteY14" fmla="*/ 1034776 h 1239085"/>
                <a:gd name="connsiteX15" fmla="*/ 241861 w 429218"/>
                <a:gd name="connsiteY15" fmla="*/ 1227474 h 1239085"/>
                <a:gd name="connsiteX16" fmla="*/ 215472 w 429218"/>
                <a:gd name="connsiteY16" fmla="*/ 1239085 h 1239085"/>
                <a:gd name="connsiteX17" fmla="*/ 215331 w 429218"/>
                <a:gd name="connsiteY17" fmla="*/ 1239085 h 1239085"/>
                <a:gd name="connsiteX18" fmla="*/ 188994 w 429218"/>
                <a:gd name="connsiteY18" fmla="*/ 1227667 h 1239085"/>
                <a:gd name="connsiteX19" fmla="*/ 9737 w 429218"/>
                <a:gd name="connsiteY19" fmla="*/ 1036359 h 1239085"/>
                <a:gd name="connsiteX20" fmla="*/ 11374 w 429218"/>
                <a:gd name="connsiteY20" fmla="*/ 985374 h 1239085"/>
                <a:gd name="connsiteX21" fmla="*/ 37236 w 429218"/>
                <a:gd name="connsiteY21" fmla="*/ 975610 h 1239085"/>
                <a:gd name="connsiteX22" fmla="*/ 62411 w 429218"/>
                <a:gd name="connsiteY22" fmla="*/ 987011 h 1239085"/>
                <a:gd name="connsiteX23" fmla="*/ 172509 w 429218"/>
                <a:gd name="connsiteY23" fmla="*/ 1104550 h 1239085"/>
                <a:gd name="connsiteX24" fmla="*/ 170785 w 429218"/>
                <a:gd name="connsiteY24" fmla="*/ 663666 h 1239085"/>
                <a:gd name="connsiteX25" fmla="*/ 170486 w 429218"/>
                <a:gd name="connsiteY25" fmla="*/ 575683 h 1239085"/>
                <a:gd name="connsiteX26" fmla="*/ 168780 w 429218"/>
                <a:gd name="connsiteY26" fmla="*/ 138124 h 1239085"/>
                <a:gd name="connsiteX27" fmla="*/ 62640 w 429218"/>
                <a:gd name="connsiteY27" fmla="*/ 253236 h 1239085"/>
                <a:gd name="connsiteX28" fmla="*/ 37552 w 429218"/>
                <a:gd name="connsiteY28" fmla="*/ 264830 h 1239085"/>
                <a:gd name="connsiteX29" fmla="*/ 36074 w 429218"/>
                <a:gd name="connsiteY29" fmla="*/ 264865 h 1239085"/>
                <a:gd name="connsiteX30" fmla="*/ 11620 w 429218"/>
                <a:gd name="connsiteY30" fmla="*/ 255277 h 1239085"/>
                <a:gd name="connsiteX31" fmla="*/ 9579 w 429218"/>
                <a:gd name="connsiteY31" fmla="*/ 204309 h 1239085"/>
                <a:gd name="connsiteX32" fmla="*/ 187323 w 429218"/>
                <a:gd name="connsiteY32" fmla="*/ 11611 h 1239085"/>
                <a:gd name="connsiteX33" fmla="*/ 213712 w 429218"/>
                <a:gd name="connsiteY33" fmla="*/ 0 h 1239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29218" h="1239085">
                  <a:moveTo>
                    <a:pt x="213712" y="0"/>
                  </a:moveTo>
                  <a:lnTo>
                    <a:pt x="213853" y="0"/>
                  </a:lnTo>
                  <a:cubicBezTo>
                    <a:pt x="223793" y="0"/>
                    <a:pt x="233382" y="4152"/>
                    <a:pt x="240190" y="11400"/>
                  </a:cubicBezTo>
                  <a:lnTo>
                    <a:pt x="419482" y="202708"/>
                  </a:lnTo>
                  <a:cubicBezTo>
                    <a:pt x="433081" y="217205"/>
                    <a:pt x="432342" y="240094"/>
                    <a:pt x="417846" y="253693"/>
                  </a:cubicBezTo>
                  <a:cubicBezTo>
                    <a:pt x="410808" y="260308"/>
                    <a:pt x="401607" y="263756"/>
                    <a:pt x="391984" y="263457"/>
                  </a:cubicBezTo>
                  <a:cubicBezTo>
                    <a:pt x="382343" y="263141"/>
                    <a:pt x="373405" y="259094"/>
                    <a:pt x="366808" y="252057"/>
                  </a:cubicBezTo>
                  <a:lnTo>
                    <a:pt x="256710" y="134535"/>
                  </a:lnTo>
                  <a:cubicBezTo>
                    <a:pt x="257285" y="281473"/>
                    <a:pt x="257859" y="428411"/>
                    <a:pt x="258434" y="575349"/>
                  </a:cubicBezTo>
                  <a:cubicBezTo>
                    <a:pt x="258545" y="604688"/>
                    <a:pt x="258657" y="634028"/>
                    <a:pt x="258768" y="663367"/>
                  </a:cubicBezTo>
                  <a:lnTo>
                    <a:pt x="260475" y="1100926"/>
                  </a:lnTo>
                  <a:lnTo>
                    <a:pt x="366614" y="985849"/>
                  </a:lnTo>
                  <a:cubicBezTo>
                    <a:pt x="373159" y="978759"/>
                    <a:pt x="382061" y="974643"/>
                    <a:pt x="391702" y="974256"/>
                  </a:cubicBezTo>
                  <a:cubicBezTo>
                    <a:pt x="401326" y="973851"/>
                    <a:pt x="410544" y="977264"/>
                    <a:pt x="417635" y="983809"/>
                  </a:cubicBezTo>
                  <a:cubicBezTo>
                    <a:pt x="432237" y="997303"/>
                    <a:pt x="433134" y="1020156"/>
                    <a:pt x="419658" y="1034776"/>
                  </a:cubicBezTo>
                  <a:lnTo>
                    <a:pt x="241861" y="1227474"/>
                  </a:lnTo>
                  <a:cubicBezTo>
                    <a:pt x="235070" y="1234810"/>
                    <a:pt x="225465" y="1239050"/>
                    <a:pt x="215472" y="1239085"/>
                  </a:cubicBezTo>
                  <a:lnTo>
                    <a:pt x="215331" y="1239085"/>
                  </a:lnTo>
                  <a:cubicBezTo>
                    <a:pt x="205391" y="1239085"/>
                    <a:pt x="195803" y="1234916"/>
                    <a:pt x="188994" y="1227667"/>
                  </a:cubicBezTo>
                  <a:lnTo>
                    <a:pt x="9737" y="1036359"/>
                  </a:lnTo>
                  <a:cubicBezTo>
                    <a:pt x="-3862" y="1021845"/>
                    <a:pt x="-3123" y="998974"/>
                    <a:pt x="11374" y="985374"/>
                  </a:cubicBezTo>
                  <a:cubicBezTo>
                    <a:pt x="18411" y="978759"/>
                    <a:pt x="27577" y="975311"/>
                    <a:pt x="37236" y="975610"/>
                  </a:cubicBezTo>
                  <a:cubicBezTo>
                    <a:pt x="46877" y="975927"/>
                    <a:pt x="55814" y="979973"/>
                    <a:pt x="62411" y="987011"/>
                  </a:cubicBezTo>
                  <a:lnTo>
                    <a:pt x="172509" y="1104550"/>
                  </a:lnTo>
                  <a:cubicBezTo>
                    <a:pt x="171934" y="957589"/>
                    <a:pt x="171360" y="810627"/>
                    <a:pt x="170785" y="663666"/>
                  </a:cubicBezTo>
                  <a:cubicBezTo>
                    <a:pt x="170685" y="634338"/>
                    <a:pt x="170586" y="605011"/>
                    <a:pt x="170486" y="575683"/>
                  </a:cubicBezTo>
                  <a:cubicBezTo>
                    <a:pt x="169917" y="429830"/>
                    <a:pt x="169349" y="283977"/>
                    <a:pt x="168780" y="138124"/>
                  </a:cubicBezTo>
                  <a:lnTo>
                    <a:pt x="62640" y="253236"/>
                  </a:lnTo>
                  <a:cubicBezTo>
                    <a:pt x="56095" y="260326"/>
                    <a:pt x="47193" y="264443"/>
                    <a:pt x="37552" y="264830"/>
                  </a:cubicBezTo>
                  <a:cubicBezTo>
                    <a:pt x="37060" y="264865"/>
                    <a:pt x="36567" y="264865"/>
                    <a:pt x="36074" y="264865"/>
                  </a:cubicBezTo>
                  <a:cubicBezTo>
                    <a:pt x="26979" y="264865"/>
                    <a:pt x="18341" y="261487"/>
                    <a:pt x="11620" y="255277"/>
                  </a:cubicBezTo>
                  <a:cubicBezTo>
                    <a:pt x="-2982" y="241783"/>
                    <a:pt x="-3897" y="218929"/>
                    <a:pt x="9579" y="204309"/>
                  </a:cubicBezTo>
                  <a:lnTo>
                    <a:pt x="187323" y="11611"/>
                  </a:lnTo>
                  <a:cubicBezTo>
                    <a:pt x="194114" y="4275"/>
                    <a:pt x="203719" y="35"/>
                    <a:pt x="213712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743407">
                <a:lnSpc>
                  <a:spcPct val="96000"/>
                </a:lnSpc>
                <a:defRPr/>
              </a:pPr>
              <a:endParaRPr lang="en-US" sz="1463" err="1">
                <a:solidFill>
                  <a:srgbClr val="F7F8FA"/>
                </a:solidFill>
                <a:latin typeface="Calibri"/>
                <a:cs typeface="Microsoft Sans Serif" panose="020B0604020202020204" pitchFamily="34" charset="0"/>
              </a:endParaRPr>
            </a:p>
          </p:txBody>
        </p:sp>
        <p:grpSp>
          <p:nvGrpSpPr>
            <p:cNvPr id="519" name="Group 518">
              <a:extLst>
                <a:ext uri="{FF2B5EF4-FFF2-40B4-BE49-F238E27FC236}">
                  <a16:creationId xmlns:a16="http://schemas.microsoft.com/office/drawing/2014/main" id="{77B333A5-9871-ED31-F93A-7E8D9D110909}"/>
                </a:ext>
              </a:extLst>
            </p:cNvPr>
            <p:cNvGrpSpPr/>
            <p:nvPr/>
          </p:nvGrpSpPr>
          <p:grpSpPr>
            <a:xfrm>
              <a:off x="2459959" y="4292439"/>
              <a:ext cx="158172" cy="156986"/>
              <a:chOff x="2296249" y="2698787"/>
              <a:chExt cx="2082217" cy="2066613"/>
            </a:xfrm>
            <a:solidFill>
              <a:schemeClr val="accent5"/>
            </a:solidFill>
          </p:grpSpPr>
          <p:sp>
            <p:nvSpPr>
              <p:cNvPr id="536" name="Freeform 4">
                <a:extLst>
                  <a:ext uri="{FF2B5EF4-FFF2-40B4-BE49-F238E27FC236}">
                    <a16:creationId xmlns:a16="http://schemas.microsoft.com/office/drawing/2014/main" id="{A54B6F58-7FFF-F4D8-9FA8-C1079044E782}"/>
                  </a:ext>
                </a:extLst>
              </p:cNvPr>
              <p:cNvSpPr/>
              <p:nvPr/>
            </p:nvSpPr>
            <p:spPr>
              <a:xfrm>
                <a:off x="3046266" y="3083552"/>
                <a:ext cx="582312" cy="1179604"/>
              </a:xfrm>
              <a:custGeom>
                <a:avLst/>
                <a:gdLst>
                  <a:gd name="connsiteX0" fmla="*/ 582293 w 582312"/>
                  <a:gd name="connsiteY0" fmla="*/ 752141 h 1179604"/>
                  <a:gd name="connsiteX1" fmla="*/ 582293 w 582312"/>
                  <a:gd name="connsiteY1" fmla="*/ 316738 h 1179604"/>
                  <a:gd name="connsiteX2" fmla="*/ 508640 w 582312"/>
                  <a:gd name="connsiteY2" fmla="*/ 243014 h 1179604"/>
                  <a:gd name="connsiteX3" fmla="*/ 311074 w 582312"/>
                  <a:gd name="connsiteY3" fmla="*/ 243014 h 1179604"/>
                  <a:gd name="connsiteX4" fmla="*/ 311074 w 582312"/>
                  <a:gd name="connsiteY4" fmla="*/ 127142 h 1179604"/>
                  <a:gd name="connsiteX5" fmla="*/ 357686 w 582312"/>
                  <a:gd name="connsiteY5" fmla="*/ 64888 h 1179604"/>
                  <a:gd name="connsiteX6" fmla="*/ 292860 w 582312"/>
                  <a:gd name="connsiteY6" fmla="*/ 0 h 1179604"/>
                  <a:gd name="connsiteX7" fmla="*/ 228035 w 582312"/>
                  <a:gd name="connsiteY7" fmla="*/ 64888 h 1179604"/>
                  <a:gd name="connsiteX8" fmla="*/ 271219 w 582312"/>
                  <a:gd name="connsiteY8" fmla="*/ 126045 h 1179604"/>
                  <a:gd name="connsiteX9" fmla="*/ 271219 w 582312"/>
                  <a:gd name="connsiteY9" fmla="*/ 243014 h 1179604"/>
                  <a:gd name="connsiteX10" fmla="*/ 73654 w 582312"/>
                  <a:gd name="connsiteY10" fmla="*/ 243014 h 1179604"/>
                  <a:gd name="connsiteX11" fmla="*/ 0 w 582312"/>
                  <a:gd name="connsiteY11" fmla="*/ 316738 h 1179604"/>
                  <a:gd name="connsiteX12" fmla="*/ 0 w 582312"/>
                  <a:gd name="connsiteY12" fmla="*/ 752141 h 1179604"/>
                  <a:gd name="connsiteX13" fmla="*/ 73654 w 582312"/>
                  <a:gd name="connsiteY13" fmla="*/ 825865 h 1179604"/>
                  <a:gd name="connsiteX14" fmla="*/ 271219 w 582312"/>
                  <a:gd name="connsiteY14" fmla="*/ 825865 h 1179604"/>
                  <a:gd name="connsiteX15" fmla="*/ 271219 w 582312"/>
                  <a:gd name="connsiteY15" fmla="*/ 1053021 h 1179604"/>
                  <a:gd name="connsiteX16" fmla="*/ 226421 w 582312"/>
                  <a:gd name="connsiteY16" fmla="*/ 1114717 h 1179604"/>
                  <a:gd name="connsiteX17" fmla="*/ 291246 w 582312"/>
                  <a:gd name="connsiteY17" fmla="*/ 1179605 h 1179604"/>
                  <a:gd name="connsiteX18" fmla="*/ 356072 w 582312"/>
                  <a:gd name="connsiteY18" fmla="*/ 1114717 h 1179604"/>
                  <a:gd name="connsiteX19" fmla="*/ 311094 w 582312"/>
                  <a:gd name="connsiteY19" fmla="*/ 1052961 h 1179604"/>
                  <a:gd name="connsiteX20" fmla="*/ 311094 w 582312"/>
                  <a:gd name="connsiteY20" fmla="*/ 825865 h 1179604"/>
                  <a:gd name="connsiteX21" fmla="*/ 508660 w 582312"/>
                  <a:gd name="connsiteY21" fmla="*/ 825865 h 1179604"/>
                  <a:gd name="connsiteX22" fmla="*/ 582313 w 582312"/>
                  <a:gd name="connsiteY22" fmla="*/ 752141 h 1179604"/>
                  <a:gd name="connsiteX23" fmla="*/ 542437 w 582312"/>
                  <a:gd name="connsiteY23" fmla="*/ 752141 h 1179604"/>
                  <a:gd name="connsiteX24" fmla="*/ 508640 w 582312"/>
                  <a:gd name="connsiteY24" fmla="*/ 785971 h 1179604"/>
                  <a:gd name="connsiteX25" fmla="*/ 73654 w 582312"/>
                  <a:gd name="connsiteY25" fmla="*/ 785971 h 1179604"/>
                  <a:gd name="connsiteX26" fmla="*/ 39856 w 582312"/>
                  <a:gd name="connsiteY26" fmla="*/ 752141 h 1179604"/>
                  <a:gd name="connsiteX27" fmla="*/ 39856 w 582312"/>
                  <a:gd name="connsiteY27" fmla="*/ 316738 h 1179604"/>
                  <a:gd name="connsiteX28" fmla="*/ 73654 w 582312"/>
                  <a:gd name="connsiteY28" fmla="*/ 282908 h 1179604"/>
                  <a:gd name="connsiteX29" fmla="*/ 508640 w 582312"/>
                  <a:gd name="connsiteY29" fmla="*/ 282908 h 1179604"/>
                  <a:gd name="connsiteX30" fmla="*/ 542437 w 582312"/>
                  <a:gd name="connsiteY30" fmla="*/ 316738 h 1179604"/>
                  <a:gd name="connsiteX31" fmla="*/ 542437 w 582312"/>
                  <a:gd name="connsiteY31" fmla="*/ 752141 h 1179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2312" h="1179604">
                    <a:moveTo>
                      <a:pt x="582293" y="752141"/>
                    </a:moveTo>
                    <a:lnTo>
                      <a:pt x="582293" y="316738"/>
                    </a:lnTo>
                    <a:cubicBezTo>
                      <a:pt x="582293" y="276086"/>
                      <a:pt x="549253" y="243014"/>
                      <a:pt x="508640" y="243014"/>
                    </a:cubicBezTo>
                    <a:lnTo>
                      <a:pt x="311074" y="243014"/>
                    </a:lnTo>
                    <a:lnTo>
                      <a:pt x="311074" y="127142"/>
                    </a:lnTo>
                    <a:cubicBezTo>
                      <a:pt x="337977" y="119243"/>
                      <a:pt x="357686" y="94329"/>
                      <a:pt x="357686" y="64888"/>
                    </a:cubicBezTo>
                    <a:cubicBezTo>
                      <a:pt x="357686" y="29103"/>
                      <a:pt x="328611" y="0"/>
                      <a:pt x="292860" y="0"/>
                    </a:cubicBezTo>
                    <a:cubicBezTo>
                      <a:pt x="257110" y="0"/>
                      <a:pt x="228035" y="29103"/>
                      <a:pt x="228035" y="64888"/>
                    </a:cubicBezTo>
                    <a:cubicBezTo>
                      <a:pt x="228035" y="93073"/>
                      <a:pt x="246090" y="117109"/>
                      <a:pt x="271219" y="126045"/>
                    </a:cubicBezTo>
                    <a:lnTo>
                      <a:pt x="271219" y="243014"/>
                    </a:lnTo>
                    <a:lnTo>
                      <a:pt x="73654" y="243014"/>
                    </a:lnTo>
                    <a:cubicBezTo>
                      <a:pt x="33040" y="243014"/>
                      <a:pt x="0" y="276086"/>
                      <a:pt x="0" y="316738"/>
                    </a:cubicBezTo>
                    <a:lnTo>
                      <a:pt x="0" y="752141"/>
                    </a:lnTo>
                    <a:cubicBezTo>
                      <a:pt x="0" y="792793"/>
                      <a:pt x="33040" y="825865"/>
                      <a:pt x="73654" y="825865"/>
                    </a:cubicBezTo>
                    <a:lnTo>
                      <a:pt x="271219" y="825865"/>
                    </a:lnTo>
                    <a:lnTo>
                      <a:pt x="271219" y="1053021"/>
                    </a:lnTo>
                    <a:cubicBezTo>
                      <a:pt x="245253" y="1061479"/>
                      <a:pt x="226421" y="1085934"/>
                      <a:pt x="226421" y="1114717"/>
                    </a:cubicBezTo>
                    <a:cubicBezTo>
                      <a:pt x="226421" y="1150502"/>
                      <a:pt x="255496" y="1179605"/>
                      <a:pt x="291246" y="1179605"/>
                    </a:cubicBezTo>
                    <a:cubicBezTo>
                      <a:pt x="326997" y="1179605"/>
                      <a:pt x="356072" y="1150502"/>
                      <a:pt x="356072" y="1114717"/>
                    </a:cubicBezTo>
                    <a:cubicBezTo>
                      <a:pt x="356072" y="1085874"/>
                      <a:pt x="337160" y="1061359"/>
                      <a:pt x="311094" y="1052961"/>
                    </a:cubicBezTo>
                    <a:lnTo>
                      <a:pt x="311094" y="825865"/>
                    </a:lnTo>
                    <a:lnTo>
                      <a:pt x="508660" y="825865"/>
                    </a:lnTo>
                    <a:cubicBezTo>
                      <a:pt x="549273" y="825865"/>
                      <a:pt x="582313" y="792793"/>
                      <a:pt x="582313" y="752141"/>
                    </a:cubicBezTo>
                    <a:close/>
                    <a:moveTo>
                      <a:pt x="542437" y="752141"/>
                    </a:moveTo>
                    <a:cubicBezTo>
                      <a:pt x="542437" y="770791"/>
                      <a:pt x="527272" y="785971"/>
                      <a:pt x="508640" y="785971"/>
                    </a:cubicBezTo>
                    <a:lnTo>
                      <a:pt x="73654" y="785971"/>
                    </a:lnTo>
                    <a:cubicBezTo>
                      <a:pt x="55021" y="785971"/>
                      <a:pt x="39856" y="770791"/>
                      <a:pt x="39856" y="752141"/>
                    </a:cubicBezTo>
                    <a:lnTo>
                      <a:pt x="39856" y="316738"/>
                    </a:lnTo>
                    <a:cubicBezTo>
                      <a:pt x="39856" y="298088"/>
                      <a:pt x="55021" y="282908"/>
                      <a:pt x="73654" y="282908"/>
                    </a:cubicBezTo>
                    <a:lnTo>
                      <a:pt x="508640" y="282908"/>
                    </a:lnTo>
                    <a:cubicBezTo>
                      <a:pt x="527272" y="282908"/>
                      <a:pt x="542437" y="298088"/>
                      <a:pt x="542437" y="316738"/>
                    </a:cubicBezTo>
                    <a:lnTo>
                      <a:pt x="542437" y="752141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37" name="Freeform 5">
                <a:extLst>
                  <a:ext uri="{FF2B5EF4-FFF2-40B4-BE49-F238E27FC236}">
                    <a16:creationId xmlns:a16="http://schemas.microsoft.com/office/drawing/2014/main" id="{46FCA9F5-CA7F-BF35-2244-EC082292D8FE}"/>
                  </a:ext>
                </a:extLst>
              </p:cNvPr>
              <p:cNvSpPr/>
              <p:nvPr/>
            </p:nvSpPr>
            <p:spPr>
              <a:xfrm>
                <a:off x="3309852" y="3745053"/>
                <a:ext cx="76244" cy="76317"/>
              </a:xfrm>
              <a:custGeom>
                <a:avLst/>
                <a:gdLst>
                  <a:gd name="connsiteX0" fmla="*/ 38122 w 76244"/>
                  <a:gd name="connsiteY0" fmla="*/ 0 h 76317"/>
                  <a:gd name="connsiteX1" fmla="*/ 0 w 76244"/>
                  <a:gd name="connsiteY1" fmla="*/ 38159 h 76317"/>
                  <a:gd name="connsiteX2" fmla="*/ 38122 w 76244"/>
                  <a:gd name="connsiteY2" fmla="*/ 76317 h 76317"/>
                  <a:gd name="connsiteX3" fmla="*/ 76244 w 76244"/>
                  <a:gd name="connsiteY3" fmla="*/ 38159 h 76317"/>
                  <a:gd name="connsiteX4" fmla="*/ 38122 w 76244"/>
                  <a:gd name="connsiteY4" fmla="*/ 0 h 76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244" h="76317">
                    <a:moveTo>
                      <a:pt x="38122" y="0"/>
                    </a:moveTo>
                    <a:cubicBezTo>
                      <a:pt x="17098" y="0"/>
                      <a:pt x="0" y="17115"/>
                      <a:pt x="0" y="38159"/>
                    </a:cubicBezTo>
                    <a:cubicBezTo>
                      <a:pt x="0" y="59203"/>
                      <a:pt x="17098" y="76317"/>
                      <a:pt x="38122" y="76317"/>
                    </a:cubicBezTo>
                    <a:cubicBezTo>
                      <a:pt x="59146" y="76317"/>
                      <a:pt x="76244" y="59203"/>
                      <a:pt x="76244" y="38159"/>
                    </a:cubicBezTo>
                    <a:cubicBezTo>
                      <a:pt x="76244" y="17115"/>
                      <a:pt x="59146" y="0"/>
                      <a:pt x="38122" y="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38" name="Freeform 6">
                <a:extLst>
                  <a:ext uri="{FF2B5EF4-FFF2-40B4-BE49-F238E27FC236}">
                    <a16:creationId xmlns:a16="http://schemas.microsoft.com/office/drawing/2014/main" id="{2FF3DBF2-50CC-C6DB-6598-CD46F42035F5}"/>
                  </a:ext>
                </a:extLst>
              </p:cNvPr>
              <p:cNvSpPr/>
              <p:nvPr/>
            </p:nvSpPr>
            <p:spPr>
              <a:xfrm>
                <a:off x="3365371" y="3417843"/>
                <a:ext cx="184651" cy="403527"/>
              </a:xfrm>
              <a:custGeom>
                <a:avLst/>
                <a:gdLst>
                  <a:gd name="connsiteX0" fmla="*/ 166458 w 184651"/>
                  <a:gd name="connsiteY0" fmla="*/ 332895 h 403527"/>
                  <a:gd name="connsiteX1" fmla="*/ 166458 w 184651"/>
                  <a:gd name="connsiteY1" fmla="*/ 98119 h 403527"/>
                  <a:gd name="connsiteX2" fmla="*/ 86627 w 184651"/>
                  <a:gd name="connsiteY2" fmla="*/ 18212 h 403527"/>
                  <a:gd name="connsiteX3" fmla="*/ 70565 w 184651"/>
                  <a:gd name="connsiteY3" fmla="*/ 18212 h 403527"/>
                  <a:gd name="connsiteX4" fmla="*/ 38122 w 184651"/>
                  <a:gd name="connsiteY4" fmla="*/ 0 h 403527"/>
                  <a:gd name="connsiteX5" fmla="*/ 0 w 184651"/>
                  <a:gd name="connsiteY5" fmla="*/ 38159 h 403527"/>
                  <a:gd name="connsiteX6" fmla="*/ 38122 w 184651"/>
                  <a:gd name="connsiteY6" fmla="*/ 76317 h 403527"/>
                  <a:gd name="connsiteX7" fmla="*/ 70565 w 184651"/>
                  <a:gd name="connsiteY7" fmla="*/ 58106 h 403527"/>
                  <a:gd name="connsiteX8" fmla="*/ 86627 w 184651"/>
                  <a:gd name="connsiteY8" fmla="*/ 58106 h 403527"/>
                  <a:gd name="connsiteX9" fmla="*/ 126602 w 184651"/>
                  <a:gd name="connsiteY9" fmla="*/ 98119 h 403527"/>
                  <a:gd name="connsiteX10" fmla="*/ 126602 w 184651"/>
                  <a:gd name="connsiteY10" fmla="*/ 332895 h 403527"/>
                  <a:gd name="connsiteX11" fmla="*/ 108408 w 184651"/>
                  <a:gd name="connsiteY11" fmla="*/ 365369 h 403527"/>
                  <a:gd name="connsiteX12" fmla="*/ 146530 w 184651"/>
                  <a:gd name="connsiteY12" fmla="*/ 403527 h 403527"/>
                  <a:gd name="connsiteX13" fmla="*/ 184652 w 184651"/>
                  <a:gd name="connsiteY13" fmla="*/ 365369 h 403527"/>
                  <a:gd name="connsiteX14" fmla="*/ 166458 w 184651"/>
                  <a:gd name="connsiteY14" fmla="*/ 332895 h 403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84651" h="403527">
                    <a:moveTo>
                      <a:pt x="166458" y="332895"/>
                    </a:moveTo>
                    <a:lnTo>
                      <a:pt x="166458" y="98119"/>
                    </a:lnTo>
                    <a:cubicBezTo>
                      <a:pt x="166458" y="54056"/>
                      <a:pt x="130647" y="18212"/>
                      <a:pt x="86627" y="18212"/>
                    </a:cubicBezTo>
                    <a:lnTo>
                      <a:pt x="70565" y="18212"/>
                    </a:lnTo>
                    <a:cubicBezTo>
                      <a:pt x="63849" y="7301"/>
                      <a:pt x="51832" y="0"/>
                      <a:pt x="38122" y="0"/>
                    </a:cubicBezTo>
                    <a:cubicBezTo>
                      <a:pt x="17098" y="0"/>
                      <a:pt x="0" y="17115"/>
                      <a:pt x="0" y="38159"/>
                    </a:cubicBezTo>
                    <a:cubicBezTo>
                      <a:pt x="0" y="59203"/>
                      <a:pt x="17098" y="76317"/>
                      <a:pt x="38122" y="76317"/>
                    </a:cubicBezTo>
                    <a:cubicBezTo>
                      <a:pt x="51832" y="76317"/>
                      <a:pt x="63849" y="69017"/>
                      <a:pt x="70565" y="58106"/>
                    </a:cubicBezTo>
                    <a:lnTo>
                      <a:pt x="86627" y="58106"/>
                    </a:lnTo>
                    <a:cubicBezTo>
                      <a:pt x="108667" y="58106"/>
                      <a:pt x="126602" y="76058"/>
                      <a:pt x="126602" y="98119"/>
                    </a:cubicBezTo>
                    <a:lnTo>
                      <a:pt x="126602" y="332895"/>
                    </a:lnTo>
                    <a:cubicBezTo>
                      <a:pt x="115701" y="339617"/>
                      <a:pt x="108408" y="351645"/>
                      <a:pt x="108408" y="365369"/>
                    </a:cubicBezTo>
                    <a:cubicBezTo>
                      <a:pt x="108408" y="386413"/>
                      <a:pt x="125506" y="403527"/>
                      <a:pt x="146530" y="403527"/>
                    </a:cubicBezTo>
                    <a:cubicBezTo>
                      <a:pt x="167554" y="403527"/>
                      <a:pt x="184652" y="386413"/>
                      <a:pt x="184652" y="365369"/>
                    </a:cubicBezTo>
                    <a:cubicBezTo>
                      <a:pt x="184652" y="351645"/>
                      <a:pt x="177358" y="339617"/>
                      <a:pt x="166458" y="332895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39" name="Freeform 7">
                <a:extLst>
                  <a:ext uri="{FF2B5EF4-FFF2-40B4-BE49-F238E27FC236}">
                    <a16:creationId xmlns:a16="http://schemas.microsoft.com/office/drawing/2014/main" id="{DA119B3E-A364-374E-B3DF-F7FAEB91A1E0}"/>
                  </a:ext>
                </a:extLst>
              </p:cNvPr>
              <p:cNvSpPr/>
              <p:nvPr/>
            </p:nvSpPr>
            <p:spPr>
              <a:xfrm>
                <a:off x="3145547" y="3745053"/>
                <a:ext cx="76244" cy="76317"/>
              </a:xfrm>
              <a:custGeom>
                <a:avLst/>
                <a:gdLst>
                  <a:gd name="connsiteX0" fmla="*/ 38122 w 76244"/>
                  <a:gd name="connsiteY0" fmla="*/ 0 h 76317"/>
                  <a:gd name="connsiteX1" fmla="*/ 0 w 76244"/>
                  <a:gd name="connsiteY1" fmla="*/ 38159 h 76317"/>
                  <a:gd name="connsiteX2" fmla="*/ 38122 w 76244"/>
                  <a:gd name="connsiteY2" fmla="*/ 76317 h 76317"/>
                  <a:gd name="connsiteX3" fmla="*/ 76244 w 76244"/>
                  <a:gd name="connsiteY3" fmla="*/ 38159 h 76317"/>
                  <a:gd name="connsiteX4" fmla="*/ 38122 w 76244"/>
                  <a:gd name="connsiteY4" fmla="*/ 0 h 76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244" h="76317">
                    <a:moveTo>
                      <a:pt x="38122" y="0"/>
                    </a:moveTo>
                    <a:cubicBezTo>
                      <a:pt x="17098" y="0"/>
                      <a:pt x="0" y="17115"/>
                      <a:pt x="0" y="38159"/>
                    </a:cubicBezTo>
                    <a:cubicBezTo>
                      <a:pt x="0" y="59203"/>
                      <a:pt x="17098" y="76317"/>
                      <a:pt x="38122" y="76317"/>
                    </a:cubicBezTo>
                    <a:cubicBezTo>
                      <a:pt x="59146" y="76317"/>
                      <a:pt x="76244" y="59203"/>
                      <a:pt x="76244" y="38159"/>
                    </a:cubicBezTo>
                    <a:cubicBezTo>
                      <a:pt x="76244" y="17115"/>
                      <a:pt x="59146" y="0"/>
                      <a:pt x="38122" y="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40" name="Freeform 8">
                <a:extLst>
                  <a:ext uri="{FF2B5EF4-FFF2-40B4-BE49-F238E27FC236}">
                    <a16:creationId xmlns:a16="http://schemas.microsoft.com/office/drawing/2014/main" id="{924F1289-EB23-2C14-F5E1-91B6A71B81F2}"/>
                  </a:ext>
                </a:extLst>
              </p:cNvPr>
              <p:cNvSpPr/>
              <p:nvPr/>
            </p:nvSpPr>
            <p:spPr>
              <a:xfrm>
                <a:off x="2743482" y="2951523"/>
                <a:ext cx="342660" cy="341292"/>
              </a:xfrm>
              <a:custGeom>
                <a:avLst/>
                <a:gdLst>
                  <a:gd name="connsiteX0" fmla="*/ 64806 w 342660"/>
                  <a:gd name="connsiteY0" fmla="*/ 341293 h 341292"/>
                  <a:gd name="connsiteX1" fmla="*/ 116777 w 342660"/>
                  <a:gd name="connsiteY1" fmla="*/ 315142 h 341292"/>
                  <a:gd name="connsiteX2" fmla="*/ 240291 w 342660"/>
                  <a:gd name="connsiteY2" fmla="*/ 315142 h 341292"/>
                  <a:gd name="connsiteX3" fmla="*/ 299098 w 342660"/>
                  <a:gd name="connsiteY3" fmla="*/ 256279 h 341292"/>
                  <a:gd name="connsiteX4" fmla="*/ 299098 w 342660"/>
                  <a:gd name="connsiteY4" fmla="*/ 126165 h 341292"/>
                  <a:gd name="connsiteX5" fmla="*/ 342660 w 342660"/>
                  <a:gd name="connsiteY5" fmla="*/ 64888 h 341292"/>
                  <a:gd name="connsiteX6" fmla="*/ 277835 w 342660"/>
                  <a:gd name="connsiteY6" fmla="*/ 0 h 341292"/>
                  <a:gd name="connsiteX7" fmla="*/ 213009 w 342660"/>
                  <a:gd name="connsiteY7" fmla="*/ 64888 h 341292"/>
                  <a:gd name="connsiteX8" fmla="*/ 259242 w 342660"/>
                  <a:gd name="connsiteY8" fmla="*/ 127042 h 341292"/>
                  <a:gd name="connsiteX9" fmla="*/ 259242 w 342660"/>
                  <a:gd name="connsiteY9" fmla="*/ 256279 h 341292"/>
                  <a:gd name="connsiteX10" fmla="*/ 240291 w 342660"/>
                  <a:gd name="connsiteY10" fmla="*/ 275248 h 341292"/>
                  <a:gd name="connsiteX11" fmla="*/ 129611 w 342660"/>
                  <a:gd name="connsiteY11" fmla="*/ 275248 h 341292"/>
                  <a:gd name="connsiteX12" fmla="*/ 64825 w 342660"/>
                  <a:gd name="connsiteY12" fmla="*/ 211518 h 341292"/>
                  <a:gd name="connsiteX13" fmla="*/ 0 w 342660"/>
                  <a:gd name="connsiteY13" fmla="*/ 276405 h 341292"/>
                  <a:gd name="connsiteX14" fmla="*/ 64825 w 342660"/>
                  <a:gd name="connsiteY14" fmla="*/ 341293 h 341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2660" h="341292">
                    <a:moveTo>
                      <a:pt x="64806" y="341293"/>
                    </a:moveTo>
                    <a:cubicBezTo>
                      <a:pt x="86049" y="341293"/>
                      <a:pt x="104940" y="331000"/>
                      <a:pt x="116777" y="315142"/>
                    </a:cubicBezTo>
                    <a:lnTo>
                      <a:pt x="240291" y="315142"/>
                    </a:lnTo>
                    <a:cubicBezTo>
                      <a:pt x="272713" y="315142"/>
                      <a:pt x="299098" y="288733"/>
                      <a:pt x="299098" y="256279"/>
                    </a:cubicBezTo>
                    <a:lnTo>
                      <a:pt x="299098" y="126165"/>
                    </a:lnTo>
                    <a:cubicBezTo>
                      <a:pt x="324426" y="117328"/>
                      <a:pt x="342660" y="93212"/>
                      <a:pt x="342660" y="64888"/>
                    </a:cubicBezTo>
                    <a:cubicBezTo>
                      <a:pt x="342660" y="29103"/>
                      <a:pt x="313585" y="0"/>
                      <a:pt x="277835" y="0"/>
                    </a:cubicBezTo>
                    <a:cubicBezTo>
                      <a:pt x="242084" y="0"/>
                      <a:pt x="213009" y="29103"/>
                      <a:pt x="213009" y="64888"/>
                    </a:cubicBezTo>
                    <a:cubicBezTo>
                      <a:pt x="213009" y="94190"/>
                      <a:pt x="232539" y="119024"/>
                      <a:pt x="259242" y="127042"/>
                    </a:cubicBezTo>
                    <a:lnTo>
                      <a:pt x="259242" y="256279"/>
                    </a:lnTo>
                    <a:cubicBezTo>
                      <a:pt x="259242" y="266751"/>
                      <a:pt x="250733" y="275248"/>
                      <a:pt x="240291" y="275248"/>
                    </a:cubicBezTo>
                    <a:lnTo>
                      <a:pt x="129611" y="275248"/>
                    </a:lnTo>
                    <a:cubicBezTo>
                      <a:pt x="128993" y="240002"/>
                      <a:pt x="100178" y="211518"/>
                      <a:pt x="64825" y="211518"/>
                    </a:cubicBezTo>
                    <a:cubicBezTo>
                      <a:pt x="29473" y="211518"/>
                      <a:pt x="0" y="240620"/>
                      <a:pt x="0" y="276405"/>
                    </a:cubicBezTo>
                    <a:cubicBezTo>
                      <a:pt x="0" y="312190"/>
                      <a:pt x="29075" y="341293"/>
                      <a:pt x="64825" y="341293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41" name="Freeform 9">
                <a:extLst>
                  <a:ext uri="{FF2B5EF4-FFF2-40B4-BE49-F238E27FC236}">
                    <a16:creationId xmlns:a16="http://schemas.microsoft.com/office/drawing/2014/main" id="{1AE14F14-A7D2-4253-8037-85DBFE595F31}"/>
                  </a:ext>
                </a:extLst>
              </p:cNvPr>
              <p:cNvSpPr/>
              <p:nvPr/>
            </p:nvSpPr>
            <p:spPr>
              <a:xfrm>
                <a:off x="3145567" y="3417863"/>
                <a:ext cx="298838" cy="305567"/>
              </a:xfrm>
              <a:custGeom>
                <a:avLst/>
                <a:gdLst>
                  <a:gd name="connsiteX0" fmla="*/ 256472 w 298838"/>
                  <a:gd name="connsiteY0" fmla="*/ 115214 h 305567"/>
                  <a:gd name="connsiteX1" fmla="*/ 146789 w 298838"/>
                  <a:gd name="connsiteY1" fmla="*/ 115214 h 305567"/>
                  <a:gd name="connsiteX2" fmla="*/ 104422 w 298838"/>
                  <a:gd name="connsiteY2" fmla="*/ 157621 h 305567"/>
                  <a:gd name="connsiteX3" fmla="*/ 104422 w 298838"/>
                  <a:gd name="connsiteY3" fmla="*/ 198093 h 305567"/>
                  <a:gd name="connsiteX4" fmla="*/ 89735 w 298838"/>
                  <a:gd name="connsiteY4" fmla="*/ 198093 h 305567"/>
                  <a:gd name="connsiteX5" fmla="*/ 58050 w 298838"/>
                  <a:gd name="connsiteY5" fmla="*/ 166378 h 305567"/>
                  <a:gd name="connsiteX6" fmla="*/ 58050 w 298838"/>
                  <a:gd name="connsiteY6" fmla="*/ 70632 h 305567"/>
                  <a:gd name="connsiteX7" fmla="*/ 76244 w 298838"/>
                  <a:gd name="connsiteY7" fmla="*/ 38159 h 305567"/>
                  <a:gd name="connsiteX8" fmla="*/ 38122 w 298838"/>
                  <a:gd name="connsiteY8" fmla="*/ 0 h 305567"/>
                  <a:gd name="connsiteX9" fmla="*/ 0 w 298838"/>
                  <a:gd name="connsiteY9" fmla="*/ 38159 h 305567"/>
                  <a:gd name="connsiteX10" fmla="*/ 18194 w 298838"/>
                  <a:gd name="connsiteY10" fmla="*/ 70632 h 305567"/>
                  <a:gd name="connsiteX11" fmla="*/ 18194 w 298838"/>
                  <a:gd name="connsiteY11" fmla="*/ 166378 h 305567"/>
                  <a:gd name="connsiteX12" fmla="*/ 89735 w 298838"/>
                  <a:gd name="connsiteY12" fmla="*/ 237987 h 305567"/>
                  <a:gd name="connsiteX13" fmla="*/ 104422 w 298838"/>
                  <a:gd name="connsiteY13" fmla="*/ 237987 h 305567"/>
                  <a:gd name="connsiteX14" fmla="*/ 104422 w 298838"/>
                  <a:gd name="connsiteY14" fmla="*/ 263160 h 305567"/>
                  <a:gd name="connsiteX15" fmla="*/ 146789 w 298838"/>
                  <a:gd name="connsiteY15" fmla="*/ 305568 h 305567"/>
                  <a:gd name="connsiteX16" fmla="*/ 256472 w 298838"/>
                  <a:gd name="connsiteY16" fmla="*/ 305568 h 305567"/>
                  <a:gd name="connsiteX17" fmla="*/ 298839 w 298838"/>
                  <a:gd name="connsiteY17" fmla="*/ 263160 h 305567"/>
                  <a:gd name="connsiteX18" fmla="*/ 298839 w 298838"/>
                  <a:gd name="connsiteY18" fmla="*/ 157621 h 305567"/>
                  <a:gd name="connsiteX19" fmla="*/ 256472 w 298838"/>
                  <a:gd name="connsiteY19" fmla="*/ 115214 h 305567"/>
                  <a:gd name="connsiteX20" fmla="*/ 258983 w 298838"/>
                  <a:gd name="connsiteY20" fmla="*/ 263160 h 305567"/>
                  <a:gd name="connsiteX21" fmla="*/ 256472 w 298838"/>
                  <a:gd name="connsiteY21" fmla="*/ 265674 h 305567"/>
                  <a:gd name="connsiteX22" fmla="*/ 146789 w 298838"/>
                  <a:gd name="connsiteY22" fmla="*/ 265674 h 305567"/>
                  <a:gd name="connsiteX23" fmla="*/ 144278 w 298838"/>
                  <a:gd name="connsiteY23" fmla="*/ 263160 h 305567"/>
                  <a:gd name="connsiteX24" fmla="*/ 144278 w 298838"/>
                  <a:gd name="connsiteY24" fmla="*/ 157621 h 305567"/>
                  <a:gd name="connsiteX25" fmla="*/ 146789 w 298838"/>
                  <a:gd name="connsiteY25" fmla="*/ 155108 h 305567"/>
                  <a:gd name="connsiteX26" fmla="*/ 256472 w 298838"/>
                  <a:gd name="connsiteY26" fmla="*/ 155108 h 305567"/>
                  <a:gd name="connsiteX27" fmla="*/ 258983 w 298838"/>
                  <a:gd name="connsiteY27" fmla="*/ 157621 h 305567"/>
                  <a:gd name="connsiteX28" fmla="*/ 258983 w 298838"/>
                  <a:gd name="connsiteY28" fmla="*/ 263160 h 305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98838" h="305567">
                    <a:moveTo>
                      <a:pt x="256472" y="115214"/>
                    </a:moveTo>
                    <a:lnTo>
                      <a:pt x="146789" y="115214"/>
                    </a:lnTo>
                    <a:cubicBezTo>
                      <a:pt x="123433" y="115214"/>
                      <a:pt x="104422" y="134243"/>
                      <a:pt x="104422" y="157621"/>
                    </a:cubicBezTo>
                    <a:lnTo>
                      <a:pt x="104422" y="198093"/>
                    </a:lnTo>
                    <a:lnTo>
                      <a:pt x="89735" y="198093"/>
                    </a:lnTo>
                    <a:cubicBezTo>
                      <a:pt x="72259" y="198093"/>
                      <a:pt x="58050" y="183871"/>
                      <a:pt x="58050" y="166378"/>
                    </a:cubicBezTo>
                    <a:lnTo>
                      <a:pt x="58050" y="70632"/>
                    </a:lnTo>
                    <a:cubicBezTo>
                      <a:pt x="68951" y="63910"/>
                      <a:pt x="76244" y="51882"/>
                      <a:pt x="76244" y="38159"/>
                    </a:cubicBezTo>
                    <a:cubicBezTo>
                      <a:pt x="76244" y="17114"/>
                      <a:pt x="59146" y="0"/>
                      <a:pt x="38122" y="0"/>
                    </a:cubicBezTo>
                    <a:cubicBezTo>
                      <a:pt x="17098" y="0"/>
                      <a:pt x="0" y="17114"/>
                      <a:pt x="0" y="38159"/>
                    </a:cubicBezTo>
                    <a:cubicBezTo>
                      <a:pt x="0" y="51882"/>
                      <a:pt x="7294" y="63910"/>
                      <a:pt x="18194" y="70632"/>
                    </a:cubicBezTo>
                    <a:lnTo>
                      <a:pt x="18194" y="166378"/>
                    </a:lnTo>
                    <a:cubicBezTo>
                      <a:pt x="18194" y="205873"/>
                      <a:pt x="50298" y="237987"/>
                      <a:pt x="89735" y="237987"/>
                    </a:cubicBezTo>
                    <a:lnTo>
                      <a:pt x="104422" y="237987"/>
                    </a:lnTo>
                    <a:lnTo>
                      <a:pt x="104422" y="263160"/>
                    </a:lnTo>
                    <a:cubicBezTo>
                      <a:pt x="104422" y="286538"/>
                      <a:pt x="123433" y="305568"/>
                      <a:pt x="146789" y="305568"/>
                    </a:cubicBezTo>
                    <a:lnTo>
                      <a:pt x="256472" y="305568"/>
                    </a:lnTo>
                    <a:cubicBezTo>
                      <a:pt x="279828" y="305568"/>
                      <a:pt x="298839" y="286538"/>
                      <a:pt x="298839" y="263160"/>
                    </a:cubicBezTo>
                    <a:lnTo>
                      <a:pt x="298839" y="157621"/>
                    </a:lnTo>
                    <a:cubicBezTo>
                      <a:pt x="298839" y="134243"/>
                      <a:pt x="279828" y="115214"/>
                      <a:pt x="256472" y="115214"/>
                    </a:cubicBezTo>
                    <a:close/>
                    <a:moveTo>
                      <a:pt x="258983" y="263160"/>
                    </a:moveTo>
                    <a:cubicBezTo>
                      <a:pt x="258983" y="264557"/>
                      <a:pt x="257847" y="265674"/>
                      <a:pt x="256472" y="265674"/>
                    </a:cubicBezTo>
                    <a:lnTo>
                      <a:pt x="146789" y="265674"/>
                    </a:lnTo>
                    <a:cubicBezTo>
                      <a:pt x="145394" y="265674"/>
                      <a:pt x="144278" y="264537"/>
                      <a:pt x="144278" y="263160"/>
                    </a:cubicBezTo>
                    <a:lnTo>
                      <a:pt x="144278" y="157621"/>
                    </a:lnTo>
                    <a:cubicBezTo>
                      <a:pt x="144278" y="156225"/>
                      <a:pt x="145414" y="155108"/>
                      <a:pt x="146789" y="155108"/>
                    </a:cubicBezTo>
                    <a:lnTo>
                      <a:pt x="256472" y="155108"/>
                    </a:lnTo>
                    <a:cubicBezTo>
                      <a:pt x="257867" y="155108"/>
                      <a:pt x="258983" y="156245"/>
                      <a:pt x="258983" y="157621"/>
                    </a:cubicBezTo>
                    <a:lnTo>
                      <a:pt x="258983" y="263160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42" name="Freeform 10">
                <a:extLst>
                  <a:ext uri="{FF2B5EF4-FFF2-40B4-BE49-F238E27FC236}">
                    <a16:creationId xmlns:a16="http://schemas.microsoft.com/office/drawing/2014/main" id="{F30BECFC-D856-36A1-4675-659585B5F569}"/>
                  </a:ext>
                </a:extLst>
              </p:cNvPr>
              <p:cNvSpPr/>
              <p:nvPr/>
            </p:nvSpPr>
            <p:spPr>
              <a:xfrm>
                <a:off x="2296249" y="2698787"/>
                <a:ext cx="2082217" cy="2066613"/>
              </a:xfrm>
              <a:custGeom>
                <a:avLst/>
                <a:gdLst>
                  <a:gd name="connsiteX0" fmla="*/ 2082217 w 2082217"/>
                  <a:gd name="connsiteY0" fmla="*/ 1284054 h 2066613"/>
                  <a:gd name="connsiteX1" fmla="*/ 2074884 w 2082217"/>
                  <a:gd name="connsiteY1" fmla="*/ 1214579 h 2066613"/>
                  <a:gd name="connsiteX2" fmla="*/ 2033175 w 2082217"/>
                  <a:gd name="connsiteY2" fmla="*/ 1099245 h 2066613"/>
                  <a:gd name="connsiteX3" fmla="*/ 2000074 w 2082217"/>
                  <a:gd name="connsiteY3" fmla="*/ 1047762 h 2066613"/>
                  <a:gd name="connsiteX4" fmla="*/ 1998321 w 2082217"/>
                  <a:gd name="connsiteY4" fmla="*/ 1045388 h 2066613"/>
                  <a:gd name="connsiteX5" fmla="*/ 1997922 w 2082217"/>
                  <a:gd name="connsiteY5" fmla="*/ 1044910 h 2066613"/>
                  <a:gd name="connsiteX6" fmla="*/ 1997623 w 2082217"/>
                  <a:gd name="connsiteY6" fmla="*/ 1044551 h 2066613"/>
                  <a:gd name="connsiteX7" fmla="*/ 1997703 w 2082217"/>
                  <a:gd name="connsiteY7" fmla="*/ 1044271 h 2066613"/>
                  <a:gd name="connsiteX8" fmla="*/ 1998241 w 2082217"/>
                  <a:gd name="connsiteY8" fmla="*/ 1042237 h 2066613"/>
                  <a:gd name="connsiteX9" fmla="*/ 2000313 w 2082217"/>
                  <a:gd name="connsiteY9" fmla="*/ 1034058 h 2066613"/>
                  <a:gd name="connsiteX10" fmla="*/ 2002207 w 2082217"/>
                  <a:gd name="connsiteY10" fmla="*/ 1025840 h 2066613"/>
                  <a:gd name="connsiteX11" fmla="*/ 2010835 w 2082217"/>
                  <a:gd name="connsiteY11" fmla="*/ 955886 h 2066613"/>
                  <a:gd name="connsiteX12" fmla="*/ 2010257 w 2082217"/>
                  <a:gd name="connsiteY12" fmla="*/ 920680 h 2066613"/>
                  <a:gd name="connsiteX13" fmla="*/ 2009580 w 2082217"/>
                  <a:gd name="connsiteY13" fmla="*/ 911883 h 2066613"/>
                  <a:gd name="connsiteX14" fmla="*/ 2008683 w 2082217"/>
                  <a:gd name="connsiteY14" fmla="*/ 903107 h 2066613"/>
                  <a:gd name="connsiteX15" fmla="*/ 2006471 w 2082217"/>
                  <a:gd name="connsiteY15" fmla="*/ 885613 h 2066613"/>
                  <a:gd name="connsiteX16" fmla="*/ 2003442 w 2082217"/>
                  <a:gd name="connsiteY16" fmla="*/ 868219 h 2066613"/>
                  <a:gd name="connsiteX17" fmla="*/ 2001529 w 2082217"/>
                  <a:gd name="connsiteY17" fmla="*/ 859602 h 2066613"/>
                  <a:gd name="connsiteX18" fmla="*/ 1999437 w 2082217"/>
                  <a:gd name="connsiteY18" fmla="*/ 851025 h 2066613"/>
                  <a:gd name="connsiteX19" fmla="*/ 1997324 w 2082217"/>
                  <a:gd name="connsiteY19" fmla="*/ 842448 h 2066613"/>
                  <a:gd name="connsiteX20" fmla="*/ 1994793 w 2082217"/>
                  <a:gd name="connsiteY20" fmla="*/ 833990 h 2066613"/>
                  <a:gd name="connsiteX21" fmla="*/ 1989453 w 2082217"/>
                  <a:gd name="connsiteY21" fmla="*/ 817155 h 2066613"/>
                  <a:gd name="connsiteX22" fmla="*/ 1983116 w 2082217"/>
                  <a:gd name="connsiteY22" fmla="*/ 800699 h 2066613"/>
                  <a:gd name="connsiteX23" fmla="*/ 1979867 w 2082217"/>
                  <a:gd name="connsiteY23" fmla="*/ 792501 h 2066613"/>
                  <a:gd name="connsiteX24" fmla="*/ 1976141 w 2082217"/>
                  <a:gd name="connsiteY24" fmla="*/ 784502 h 2066613"/>
                  <a:gd name="connsiteX25" fmla="*/ 1968548 w 2082217"/>
                  <a:gd name="connsiteY25" fmla="*/ 768584 h 2066613"/>
                  <a:gd name="connsiteX26" fmla="*/ 1960059 w 2082217"/>
                  <a:gd name="connsiteY26" fmla="*/ 753165 h 2066613"/>
                  <a:gd name="connsiteX27" fmla="*/ 1956472 w 2082217"/>
                  <a:gd name="connsiteY27" fmla="*/ 746842 h 2066613"/>
                  <a:gd name="connsiteX28" fmla="*/ 1952566 w 2082217"/>
                  <a:gd name="connsiteY28" fmla="*/ 740718 h 2066613"/>
                  <a:gd name="connsiteX29" fmla="*/ 1944715 w 2082217"/>
                  <a:gd name="connsiteY29" fmla="*/ 728491 h 2066613"/>
                  <a:gd name="connsiteX30" fmla="*/ 1940550 w 2082217"/>
                  <a:gd name="connsiteY30" fmla="*/ 722546 h 2066613"/>
                  <a:gd name="connsiteX31" fmla="*/ 1936265 w 2082217"/>
                  <a:gd name="connsiteY31" fmla="*/ 716682 h 2066613"/>
                  <a:gd name="connsiteX32" fmla="*/ 1927577 w 2082217"/>
                  <a:gd name="connsiteY32" fmla="*/ 705053 h 2066613"/>
                  <a:gd name="connsiteX33" fmla="*/ 1918290 w 2082217"/>
                  <a:gd name="connsiteY33" fmla="*/ 693923 h 2066613"/>
                  <a:gd name="connsiteX34" fmla="*/ 1908705 w 2082217"/>
                  <a:gd name="connsiteY34" fmla="*/ 683051 h 2066613"/>
                  <a:gd name="connsiteX35" fmla="*/ 1888319 w 2082217"/>
                  <a:gd name="connsiteY35" fmla="*/ 662486 h 2066613"/>
                  <a:gd name="connsiteX36" fmla="*/ 1877677 w 2082217"/>
                  <a:gd name="connsiteY36" fmla="*/ 652672 h 2066613"/>
                  <a:gd name="connsiteX37" fmla="*/ 1866518 w 2082217"/>
                  <a:gd name="connsiteY37" fmla="*/ 643457 h 2066613"/>
                  <a:gd name="connsiteX38" fmla="*/ 1860898 w 2082217"/>
                  <a:gd name="connsiteY38" fmla="*/ 638889 h 2066613"/>
                  <a:gd name="connsiteX39" fmla="*/ 1855179 w 2082217"/>
                  <a:gd name="connsiteY39" fmla="*/ 634461 h 2066613"/>
                  <a:gd name="connsiteX40" fmla="*/ 1849878 w 2082217"/>
                  <a:gd name="connsiteY40" fmla="*/ 630651 h 2066613"/>
                  <a:gd name="connsiteX41" fmla="*/ 1849499 w 2082217"/>
                  <a:gd name="connsiteY41" fmla="*/ 630411 h 2066613"/>
                  <a:gd name="connsiteX42" fmla="*/ 1849539 w 2082217"/>
                  <a:gd name="connsiteY42" fmla="*/ 630012 h 2066613"/>
                  <a:gd name="connsiteX43" fmla="*/ 1849539 w 2082217"/>
                  <a:gd name="connsiteY43" fmla="*/ 629913 h 2066613"/>
                  <a:gd name="connsiteX44" fmla="*/ 1849539 w 2082217"/>
                  <a:gd name="connsiteY44" fmla="*/ 629813 h 2066613"/>
                  <a:gd name="connsiteX45" fmla="*/ 1849539 w 2082217"/>
                  <a:gd name="connsiteY45" fmla="*/ 629434 h 2066613"/>
                  <a:gd name="connsiteX46" fmla="*/ 1849659 w 2082217"/>
                  <a:gd name="connsiteY46" fmla="*/ 627878 h 2066613"/>
                  <a:gd name="connsiteX47" fmla="*/ 1850017 w 2082217"/>
                  <a:gd name="connsiteY47" fmla="*/ 621675 h 2066613"/>
                  <a:gd name="connsiteX48" fmla="*/ 1850256 w 2082217"/>
                  <a:gd name="connsiteY48" fmla="*/ 596881 h 2066613"/>
                  <a:gd name="connsiteX49" fmla="*/ 1841668 w 2082217"/>
                  <a:gd name="connsiteY49" fmla="*/ 525989 h 2066613"/>
                  <a:gd name="connsiteX50" fmla="*/ 1819069 w 2082217"/>
                  <a:gd name="connsiteY50" fmla="*/ 458289 h 2066613"/>
                  <a:gd name="connsiteX51" fmla="*/ 1783857 w 2082217"/>
                  <a:gd name="connsiteY51" fmla="*/ 396593 h 2066613"/>
                  <a:gd name="connsiteX52" fmla="*/ 1737903 w 2082217"/>
                  <a:gd name="connsiteY52" fmla="*/ 342955 h 2066613"/>
                  <a:gd name="connsiteX53" fmla="*/ 1650579 w 2082217"/>
                  <a:gd name="connsiteY53" fmla="*/ 279424 h 2066613"/>
                  <a:gd name="connsiteX54" fmla="*/ 1638562 w 2082217"/>
                  <a:gd name="connsiteY54" fmla="*/ 273241 h 2066613"/>
                  <a:gd name="connsiteX55" fmla="*/ 1626367 w 2082217"/>
                  <a:gd name="connsiteY55" fmla="*/ 267476 h 2066613"/>
                  <a:gd name="connsiteX56" fmla="*/ 1613971 w 2082217"/>
                  <a:gd name="connsiteY56" fmla="*/ 262170 h 2066613"/>
                  <a:gd name="connsiteX57" fmla="*/ 1601975 w 2082217"/>
                  <a:gd name="connsiteY57" fmla="*/ 257523 h 2066613"/>
                  <a:gd name="connsiteX58" fmla="*/ 1598726 w 2082217"/>
                  <a:gd name="connsiteY58" fmla="*/ 256286 h 2066613"/>
                  <a:gd name="connsiteX59" fmla="*/ 1598069 w 2082217"/>
                  <a:gd name="connsiteY59" fmla="*/ 254630 h 2066613"/>
                  <a:gd name="connsiteX60" fmla="*/ 1592210 w 2082217"/>
                  <a:gd name="connsiteY60" fmla="*/ 240328 h 2066613"/>
                  <a:gd name="connsiteX61" fmla="*/ 1585893 w 2082217"/>
                  <a:gd name="connsiteY61" fmla="*/ 226166 h 2066613"/>
                  <a:gd name="connsiteX62" fmla="*/ 1579118 w 2082217"/>
                  <a:gd name="connsiteY62" fmla="*/ 212183 h 2066613"/>
                  <a:gd name="connsiteX63" fmla="*/ 1544124 w 2082217"/>
                  <a:gd name="connsiteY63" fmla="*/ 153619 h 2066613"/>
                  <a:gd name="connsiteX64" fmla="*/ 1499725 w 2082217"/>
                  <a:gd name="connsiteY64" fmla="*/ 100261 h 2066613"/>
                  <a:gd name="connsiteX65" fmla="*/ 1493507 w 2082217"/>
                  <a:gd name="connsiteY65" fmla="*/ 94057 h 2066613"/>
                  <a:gd name="connsiteX66" fmla="*/ 1487071 w 2082217"/>
                  <a:gd name="connsiteY66" fmla="*/ 88033 h 2066613"/>
                  <a:gd name="connsiteX67" fmla="*/ 1473799 w 2082217"/>
                  <a:gd name="connsiteY67" fmla="*/ 76304 h 2066613"/>
                  <a:gd name="connsiteX68" fmla="*/ 1459909 w 2082217"/>
                  <a:gd name="connsiteY68" fmla="*/ 65154 h 2066613"/>
                  <a:gd name="connsiteX69" fmla="*/ 1452655 w 2082217"/>
                  <a:gd name="connsiteY69" fmla="*/ 59868 h 2066613"/>
                  <a:gd name="connsiteX70" fmla="*/ 1445302 w 2082217"/>
                  <a:gd name="connsiteY70" fmla="*/ 54702 h 2066613"/>
                  <a:gd name="connsiteX71" fmla="*/ 1380974 w 2082217"/>
                  <a:gd name="connsiteY71" fmla="*/ 20592 h 2066613"/>
                  <a:gd name="connsiteX72" fmla="*/ 1372346 w 2082217"/>
                  <a:gd name="connsiteY72" fmla="*/ 17301 h 2066613"/>
                  <a:gd name="connsiteX73" fmla="*/ 1363558 w 2082217"/>
                  <a:gd name="connsiteY73" fmla="*/ 14369 h 2066613"/>
                  <a:gd name="connsiteX74" fmla="*/ 1359153 w 2082217"/>
                  <a:gd name="connsiteY74" fmla="*/ 12933 h 2066613"/>
                  <a:gd name="connsiteX75" fmla="*/ 1354690 w 2082217"/>
                  <a:gd name="connsiteY75" fmla="*/ 11656 h 2066613"/>
                  <a:gd name="connsiteX76" fmla="*/ 1345722 w 2082217"/>
                  <a:gd name="connsiteY76" fmla="*/ 9163 h 2066613"/>
                  <a:gd name="connsiteX77" fmla="*/ 1309035 w 2082217"/>
                  <a:gd name="connsiteY77" fmla="*/ 2281 h 2066613"/>
                  <a:gd name="connsiteX78" fmla="*/ 1290422 w 2082217"/>
                  <a:gd name="connsiteY78" fmla="*/ 546 h 2066613"/>
                  <a:gd name="connsiteX79" fmla="*/ 1281076 w 2082217"/>
                  <a:gd name="connsiteY79" fmla="*/ 167 h 2066613"/>
                  <a:gd name="connsiteX80" fmla="*/ 1271829 w 2082217"/>
                  <a:gd name="connsiteY80" fmla="*/ 7 h 2066613"/>
                  <a:gd name="connsiteX81" fmla="*/ 1254412 w 2082217"/>
                  <a:gd name="connsiteY81" fmla="*/ 426 h 2066613"/>
                  <a:gd name="connsiteX82" fmla="*/ 1236896 w 2082217"/>
                  <a:gd name="connsiteY82" fmla="*/ 1663 h 2066613"/>
                  <a:gd name="connsiteX83" fmla="*/ 1166610 w 2082217"/>
                  <a:gd name="connsiteY83" fmla="*/ 15227 h 2066613"/>
                  <a:gd name="connsiteX84" fmla="*/ 1099274 w 2082217"/>
                  <a:gd name="connsiteY84" fmla="*/ 44509 h 2066613"/>
                  <a:gd name="connsiteX85" fmla="*/ 1088293 w 2082217"/>
                  <a:gd name="connsiteY85" fmla="*/ 51390 h 2066613"/>
                  <a:gd name="connsiteX86" fmla="*/ 1077532 w 2082217"/>
                  <a:gd name="connsiteY86" fmla="*/ 58591 h 2066613"/>
                  <a:gd name="connsiteX87" fmla="*/ 1057126 w 2082217"/>
                  <a:gd name="connsiteY87" fmla="*/ 74429 h 2066613"/>
                  <a:gd name="connsiteX88" fmla="*/ 1047342 w 2082217"/>
                  <a:gd name="connsiteY88" fmla="*/ 82827 h 2066613"/>
                  <a:gd name="connsiteX89" fmla="*/ 1042738 w 2082217"/>
                  <a:gd name="connsiteY89" fmla="*/ 87295 h 2066613"/>
                  <a:gd name="connsiteX90" fmla="*/ 1041582 w 2082217"/>
                  <a:gd name="connsiteY90" fmla="*/ 88412 h 2066613"/>
                  <a:gd name="connsiteX91" fmla="*/ 1041383 w 2082217"/>
                  <a:gd name="connsiteY91" fmla="*/ 88592 h 2066613"/>
                  <a:gd name="connsiteX92" fmla="*/ 1041323 w 2082217"/>
                  <a:gd name="connsiteY92" fmla="*/ 88631 h 2066613"/>
                  <a:gd name="connsiteX93" fmla="*/ 1041144 w 2082217"/>
                  <a:gd name="connsiteY93" fmla="*/ 88851 h 2066613"/>
                  <a:gd name="connsiteX94" fmla="*/ 1041104 w 2082217"/>
                  <a:gd name="connsiteY94" fmla="*/ 88911 h 2066613"/>
                  <a:gd name="connsiteX95" fmla="*/ 1041024 w 2082217"/>
                  <a:gd name="connsiteY95" fmla="*/ 88771 h 2066613"/>
                  <a:gd name="connsiteX96" fmla="*/ 1040865 w 2082217"/>
                  <a:gd name="connsiteY96" fmla="*/ 88612 h 2066613"/>
                  <a:gd name="connsiteX97" fmla="*/ 1040825 w 2082217"/>
                  <a:gd name="connsiteY97" fmla="*/ 88572 h 2066613"/>
                  <a:gd name="connsiteX98" fmla="*/ 1040387 w 2082217"/>
                  <a:gd name="connsiteY98" fmla="*/ 88153 h 2066613"/>
                  <a:gd name="connsiteX99" fmla="*/ 1039410 w 2082217"/>
                  <a:gd name="connsiteY99" fmla="*/ 87195 h 2066613"/>
                  <a:gd name="connsiteX100" fmla="*/ 1035465 w 2082217"/>
                  <a:gd name="connsiteY100" fmla="*/ 83365 h 2066613"/>
                  <a:gd name="connsiteX101" fmla="*/ 1031320 w 2082217"/>
                  <a:gd name="connsiteY101" fmla="*/ 79715 h 2066613"/>
                  <a:gd name="connsiteX102" fmla="*/ 996067 w 2082217"/>
                  <a:gd name="connsiteY102" fmla="*/ 52727 h 2066613"/>
                  <a:gd name="connsiteX103" fmla="*/ 930126 w 2082217"/>
                  <a:gd name="connsiteY103" fmla="*/ 19914 h 2066613"/>
                  <a:gd name="connsiteX104" fmla="*/ 860039 w 2082217"/>
                  <a:gd name="connsiteY104" fmla="*/ 3318 h 2066613"/>
                  <a:gd name="connsiteX105" fmla="*/ 851231 w 2082217"/>
                  <a:gd name="connsiteY105" fmla="*/ 2201 h 2066613"/>
                  <a:gd name="connsiteX106" fmla="*/ 842463 w 2082217"/>
                  <a:gd name="connsiteY106" fmla="*/ 1443 h 2066613"/>
                  <a:gd name="connsiteX107" fmla="*/ 833695 w 2082217"/>
                  <a:gd name="connsiteY107" fmla="*/ 785 h 2066613"/>
                  <a:gd name="connsiteX108" fmla="*/ 829311 w 2082217"/>
                  <a:gd name="connsiteY108" fmla="*/ 486 h 2066613"/>
                  <a:gd name="connsiteX109" fmla="*/ 824966 w 2082217"/>
                  <a:gd name="connsiteY109" fmla="*/ 366 h 2066613"/>
                  <a:gd name="connsiteX110" fmla="*/ 816258 w 2082217"/>
                  <a:gd name="connsiteY110" fmla="*/ 147 h 2066613"/>
                  <a:gd name="connsiteX111" fmla="*/ 811913 w 2082217"/>
                  <a:gd name="connsiteY111" fmla="*/ 47 h 2066613"/>
                  <a:gd name="connsiteX112" fmla="*/ 807430 w 2082217"/>
                  <a:gd name="connsiteY112" fmla="*/ 47 h 2066613"/>
                  <a:gd name="connsiteX113" fmla="*/ 788757 w 2082217"/>
                  <a:gd name="connsiteY113" fmla="*/ 805 h 2066613"/>
                  <a:gd name="connsiteX114" fmla="*/ 779431 w 2082217"/>
                  <a:gd name="connsiteY114" fmla="*/ 1543 h 2066613"/>
                  <a:gd name="connsiteX115" fmla="*/ 770145 w 2082217"/>
                  <a:gd name="connsiteY115" fmla="*/ 2700 h 2066613"/>
                  <a:gd name="connsiteX116" fmla="*/ 765501 w 2082217"/>
                  <a:gd name="connsiteY116" fmla="*/ 3298 h 2066613"/>
                  <a:gd name="connsiteX117" fmla="*/ 760898 w 2082217"/>
                  <a:gd name="connsiteY117" fmla="*/ 4096 h 2066613"/>
                  <a:gd name="connsiteX118" fmla="*/ 751691 w 2082217"/>
                  <a:gd name="connsiteY118" fmla="*/ 5732 h 2066613"/>
                  <a:gd name="connsiteX119" fmla="*/ 715761 w 2082217"/>
                  <a:gd name="connsiteY119" fmla="*/ 15366 h 2066613"/>
                  <a:gd name="connsiteX120" fmla="*/ 649561 w 2082217"/>
                  <a:gd name="connsiteY120" fmla="*/ 46523 h 2066613"/>
                  <a:gd name="connsiteX121" fmla="*/ 593006 w 2082217"/>
                  <a:gd name="connsiteY121" fmla="*/ 90048 h 2066613"/>
                  <a:gd name="connsiteX122" fmla="*/ 546554 w 2082217"/>
                  <a:gd name="connsiteY122" fmla="*/ 142030 h 2066613"/>
                  <a:gd name="connsiteX123" fmla="*/ 509627 w 2082217"/>
                  <a:gd name="connsiteY123" fmla="*/ 199656 h 2066613"/>
                  <a:gd name="connsiteX124" fmla="*/ 485734 w 2082217"/>
                  <a:gd name="connsiteY124" fmla="*/ 250721 h 2066613"/>
                  <a:gd name="connsiteX125" fmla="*/ 483482 w 2082217"/>
                  <a:gd name="connsiteY125" fmla="*/ 256306 h 2066613"/>
                  <a:gd name="connsiteX126" fmla="*/ 476348 w 2082217"/>
                  <a:gd name="connsiteY126" fmla="*/ 259019 h 2066613"/>
                  <a:gd name="connsiteX127" fmla="*/ 471824 w 2082217"/>
                  <a:gd name="connsiteY127" fmla="*/ 260754 h 2066613"/>
                  <a:gd name="connsiteX128" fmla="*/ 469552 w 2082217"/>
                  <a:gd name="connsiteY128" fmla="*/ 261632 h 2066613"/>
                  <a:gd name="connsiteX129" fmla="*/ 467201 w 2082217"/>
                  <a:gd name="connsiteY129" fmla="*/ 262629 h 2066613"/>
                  <a:gd name="connsiteX130" fmla="*/ 457815 w 2082217"/>
                  <a:gd name="connsiteY130" fmla="*/ 266638 h 2066613"/>
                  <a:gd name="connsiteX131" fmla="*/ 421386 w 2082217"/>
                  <a:gd name="connsiteY131" fmla="*/ 285109 h 2066613"/>
                  <a:gd name="connsiteX132" fmla="*/ 355027 w 2082217"/>
                  <a:gd name="connsiteY132" fmla="*/ 332942 h 2066613"/>
                  <a:gd name="connsiteX133" fmla="*/ 307080 w 2082217"/>
                  <a:gd name="connsiteY133" fmla="*/ 384704 h 2066613"/>
                  <a:gd name="connsiteX134" fmla="*/ 269476 w 2082217"/>
                  <a:gd name="connsiteY134" fmla="*/ 444865 h 2066613"/>
                  <a:gd name="connsiteX135" fmla="*/ 244108 w 2082217"/>
                  <a:gd name="connsiteY135" fmla="*/ 511527 h 2066613"/>
                  <a:gd name="connsiteX136" fmla="*/ 232570 w 2082217"/>
                  <a:gd name="connsiteY136" fmla="*/ 582040 h 2066613"/>
                  <a:gd name="connsiteX137" fmla="*/ 232131 w 2082217"/>
                  <a:gd name="connsiteY137" fmla="*/ 589181 h 2066613"/>
                  <a:gd name="connsiteX138" fmla="*/ 231952 w 2082217"/>
                  <a:gd name="connsiteY138" fmla="*/ 596322 h 2066613"/>
                  <a:gd name="connsiteX139" fmla="*/ 231832 w 2082217"/>
                  <a:gd name="connsiteY139" fmla="*/ 610604 h 2066613"/>
                  <a:gd name="connsiteX140" fmla="*/ 232350 w 2082217"/>
                  <a:gd name="connsiteY140" fmla="*/ 624886 h 2066613"/>
                  <a:gd name="connsiteX141" fmla="*/ 232570 w 2082217"/>
                  <a:gd name="connsiteY141" fmla="*/ 628457 h 2066613"/>
                  <a:gd name="connsiteX142" fmla="*/ 232669 w 2082217"/>
                  <a:gd name="connsiteY142" fmla="*/ 629973 h 2066613"/>
                  <a:gd name="connsiteX143" fmla="*/ 232669 w 2082217"/>
                  <a:gd name="connsiteY143" fmla="*/ 630212 h 2066613"/>
                  <a:gd name="connsiteX144" fmla="*/ 232709 w 2082217"/>
                  <a:gd name="connsiteY144" fmla="*/ 630491 h 2066613"/>
                  <a:gd name="connsiteX145" fmla="*/ 232709 w 2082217"/>
                  <a:gd name="connsiteY145" fmla="*/ 630491 h 2066613"/>
                  <a:gd name="connsiteX146" fmla="*/ 232390 w 2082217"/>
                  <a:gd name="connsiteY146" fmla="*/ 630711 h 2066613"/>
                  <a:gd name="connsiteX147" fmla="*/ 232311 w 2082217"/>
                  <a:gd name="connsiteY147" fmla="*/ 630770 h 2066613"/>
                  <a:gd name="connsiteX148" fmla="*/ 231254 w 2082217"/>
                  <a:gd name="connsiteY148" fmla="*/ 631528 h 2066613"/>
                  <a:gd name="connsiteX149" fmla="*/ 229122 w 2082217"/>
                  <a:gd name="connsiteY149" fmla="*/ 633064 h 2066613"/>
                  <a:gd name="connsiteX150" fmla="*/ 224858 w 2082217"/>
                  <a:gd name="connsiteY150" fmla="*/ 636136 h 2066613"/>
                  <a:gd name="connsiteX151" fmla="*/ 220772 w 2082217"/>
                  <a:gd name="connsiteY151" fmla="*/ 639427 h 2066613"/>
                  <a:gd name="connsiteX152" fmla="*/ 212622 w 2082217"/>
                  <a:gd name="connsiteY152" fmla="*/ 646070 h 2066613"/>
                  <a:gd name="connsiteX153" fmla="*/ 204551 w 2082217"/>
                  <a:gd name="connsiteY153" fmla="*/ 652772 h 2066613"/>
                  <a:gd name="connsiteX154" fmla="*/ 196819 w 2082217"/>
                  <a:gd name="connsiteY154" fmla="*/ 659893 h 2066613"/>
                  <a:gd name="connsiteX155" fmla="*/ 181734 w 2082217"/>
                  <a:gd name="connsiteY155" fmla="*/ 674534 h 2066613"/>
                  <a:gd name="connsiteX156" fmla="*/ 174480 w 2082217"/>
                  <a:gd name="connsiteY156" fmla="*/ 682154 h 2066613"/>
                  <a:gd name="connsiteX157" fmla="*/ 167405 w 2082217"/>
                  <a:gd name="connsiteY157" fmla="*/ 689933 h 2066613"/>
                  <a:gd name="connsiteX158" fmla="*/ 153894 w 2082217"/>
                  <a:gd name="connsiteY158" fmla="*/ 706090 h 2066613"/>
                  <a:gd name="connsiteX159" fmla="*/ 141380 w 2082217"/>
                  <a:gd name="connsiteY159" fmla="*/ 723065 h 2066613"/>
                  <a:gd name="connsiteX160" fmla="*/ 138331 w 2082217"/>
                  <a:gd name="connsiteY160" fmla="*/ 727354 h 2066613"/>
                  <a:gd name="connsiteX161" fmla="*/ 135461 w 2082217"/>
                  <a:gd name="connsiteY161" fmla="*/ 731782 h 2066613"/>
                  <a:gd name="connsiteX162" fmla="*/ 129762 w 2082217"/>
                  <a:gd name="connsiteY162" fmla="*/ 740678 h 2066613"/>
                  <a:gd name="connsiteX163" fmla="*/ 125079 w 2082217"/>
                  <a:gd name="connsiteY163" fmla="*/ 748119 h 2066613"/>
                  <a:gd name="connsiteX164" fmla="*/ 120794 w 2082217"/>
                  <a:gd name="connsiteY164" fmla="*/ 755818 h 2066613"/>
                  <a:gd name="connsiteX165" fmla="*/ 112404 w 2082217"/>
                  <a:gd name="connsiteY165" fmla="*/ 771297 h 2066613"/>
                  <a:gd name="connsiteX166" fmla="*/ 98096 w 2082217"/>
                  <a:gd name="connsiteY166" fmla="*/ 803511 h 2066613"/>
                  <a:gd name="connsiteX167" fmla="*/ 94888 w 2082217"/>
                  <a:gd name="connsiteY167" fmla="*/ 811729 h 2066613"/>
                  <a:gd name="connsiteX168" fmla="*/ 93294 w 2082217"/>
                  <a:gd name="connsiteY168" fmla="*/ 815839 h 2066613"/>
                  <a:gd name="connsiteX169" fmla="*/ 91919 w 2082217"/>
                  <a:gd name="connsiteY169" fmla="*/ 820027 h 2066613"/>
                  <a:gd name="connsiteX170" fmla="*/ 86598 w 2082217"/>
                  <a:gd name="connsiteY170" fmla="*/ 836863 h 2066613"/>
                  <a:gd name="connsiteX171" fmla="*/ 85303 w 2082217"/>
                  <a:gd name="connsiteY171" fmla="*/ 841091 h 2066613"/>
                  <a:gd name="connsiteX172" fmla="*/ 84246 w 2082217"/>
                  <a:gd name="connsiteY172" fmla="*/ 845380 h 2066613"/>
                  <a:gd name="connsiteX173" fmla="*/ 82134 w 2082217"/>
                  <a:gd name="connsiteY173" fmla="*/ 853957 h 2066613"/>
                  <a:gd name="connsiteX174" fmla="*/ 78328 w 2082217"/>
                  <a:gd name="connsiteY174" fmla="*/ 871191 h 2066613"/>
                  <a:gd name="connsiteX175" fmla="*/ 75319 w 2082217"/>
                  <a:gd name="connsiteY175" fmla="*/ 888605 h 2066613"/>
                  <a:gd name="connsiteX176" fmla="*/ 74223 w 2082217"/>
                  <a:gd name="connsiteY176" fmla="*/ 897362 h 2066613"/>
                  <a:gd name="connsiteX177" fmla="*/ 73306 w 2082217"/>
                  <a:gd name="connsiteY177" fmla="*/ 906138 h 2066613"/>
                  <a:gd name="connsiteX178" fmla="*/ 71333 w 2082217"/>
                  <a:gd name="connsiteY178" fmla="*/ 941325 h 2066613"/>
                  <a:gd name="connsiteX179" fmla="*/ 77212 w 2082217"/>
                  <a:gd name="connsiteY179" fmla="*/ 1011518 h 2066613"/>
                  <a:gd name="connsiteX180" fmla="*/ 81915 w 2082217"/>
                  <a:gd name="connsiteY180" fmla="*/ 1033919 h 2066613"/>
                  <a:gd name="connsiteX181" fmla="*/ 84665 w 2082217"/>
                  <a:gd name="connsiteY181" fmla="*/ 1044670 h 2066613"/>
                  <a:gd name="connsiteX182" fmla="*/ 83987 w 2082217"/>
                  <a:gd name="connsiteY182" fmla="*/ 1045528 h 2066613"/>
                  <a:gd name="connsiteX183" fmla="*/ 83808 w 2082217"/>
                  <a:gd name="connsiteY183" fmla="*/ 1045747 h 2066613"/>
                  <a:gd name="connsiteX184" fmla="*/ 83728 w 2082217"/>
                  <a:gd name="connsiteY184" fmla="*/ 1045847 h 2066613"/>
                  <a:gd name="connsiteX185" fmla="*/ 82931 w 2082217"/>
                  <a:gd name="connsiteY185" fmla="*/ 1046924 h 2066613"/>
                  <a:gd name="connsiteX186" fmla="*/ 79464 w 2082217"/>
                  <a:gd name="connsiteY186" fmla="*/ 1051672 h 2066613"/>
                  <a:gd name="connsiteX187" fmla="*/ 72569 w 2082217"/>
                  <a:gd name="connsiteY187" fmla="*/ 1061186 h 2066613"/>
                  <a:gd name="connsiteX188" fmla="*/ 66072 w 2082217"/>
                  <a:gd name="connsiteY188" fmla="*/ 1070980 h 2066613"/>
                  <a:gd name="connsiteX189" fmla="*/ 62844 w 2082217"/>
                  <a:gd name="connsiteY189" fmla="*/ 1075887 h 2066613"/>
                  <a:gd name="connsiteX190" fmla="*/ 59795 w 2082217"/>
                  <a:gd name="connsiteY190" fmla="*/ 1080914 h 2066613"/>
                  <a:gd name="connsiteX191" fmla="*/ 53757 w 2082217"/>
                  <a:gd name="connsiteY191" fmla="*/ 1091007 h 2066613"/>
                  <a:gd name="connsiteX192" fmla="*/ 48097 w 2082217"/>
                  <a:gd name="connsiteY192" fmla="*/ 1101340 h 2066613"/>
                  <a:gd name="connsiteX193" fmla="*/ 42637 w 2082217"/>
                  <a:gd name="connsiteY193" fmla="*/ 1111792 h 2066613"/>
                  <a:gd name="connsiteX194" fmla="*/ 32733 w 2082217"/>
                  <a:gd name="connsiteY194" fmla="*/ 1133195 h 2066613"/>
                  <a:gd name="connsiteX195" fmla="*/ 28169 w 2082217"/>
                  <a:gd name="connsiteY195" fmla="*/ 1144086 h 2066613"/>
                  <a:gd name="connsiteX196" fmla="*/ 24024 w 2082217"/>
                  <a:gd name="connsiteY196" fmla="*/ 1155157 h 2066613"/>
                  <a:gd name="connsiteX197" fmla="*/ 21992 w 2082217"/>
                  <a:gd name="connsiteY197" fmla="*/ 1160702 h 2066613"/>
                  <a:gd name="connsiteX198" fmla="*/ 20178 w 2082217"/>
                  <a:gd name="connsiteY198" fmla="*/ 1166327 h 2066613"/>
                  <a:gd name="connsiteX199" fmla="*/ 16571 w 2082217"/>
                  <a:gd name="connsiteY199" fmla="*/ 1177597 h 2066613"/>
                  <a:gd name="connsiteX200" fmla="*/ 13443 w 2082217"/>
                  <a:gd name="connsiteY200" fmla="*/ 1189007 h 2066613"/>
                  <a:gd name="connsiteX201" fmla="*/ 10553 w 2082217"/>
                  <a:gd name="connsiteY201" fmla="*/ 1200476 h 2066613"/>
                  <a:gd name="connsiteX202" fmla="*/ 609 w 2082217"/>
                  <a:gd name="connsiteY202" fmla="*/ 1269672 h 2066613"/>
                  <a:gd name="connsiteX203" fmla="*/ 2701 w 2082217"/>
                  <a:gd name="connsiteY203" fmla="*/ 1339447 h 2066613"/>
                  <a:gd name="connsiteX204" fmla="*/ 42677 w 2082217"/>
                  <a:gd name="connsiteY204" fmla="*/ 1472772 h 2066613"/>
                  <a:gd name="connsiteX205" fmla="*/ 78906 w 2082217"/>
                  <a:gd name="connsiteY205" fmla="*/ 1532115 h 2066613"/>
                  <a:gd name="connsiteX206" fmla="*/ 124301 w 2082217"/>
                  <a:gd name="connsiteY206" fmla="*/ 1584396 h 2066613"/>
                  <a:gd name="connsiteX207" fmla="*/ 177330 w 2082217"/>
                  <a:gd name="connsiteY207" fmla="*/ 1628538 h 2066613"/>
                  <a:gd name="connsiteX208" fmla="*/ 184384 w 2082217"/>
                  <a:gd name="connsiteY208" fmla="*/ 1633485 h 2066613"/>
                  <a:gd name="connsiteX209" fmla="*/ 191598 w 2082217"/>
                  <a:gd name="connsiteY209" fmla="*/ 1638193 h 2066613"/>
                  <a:gd name="connsiteX210" fmla="*/ 206225 w 2082217"/>
                  <a:gd name="connsiteY210" fmla="*/ 1647288 h 2066613"/>
                  <a:gd name="connsiteX211" fmla="*/ 213678 w 2082217"/>
                  <a:gd name="connsiteY211" fmla="*/ 1651597 h 2066613"/>
                  <a:gd name="connsiteX212" fmla="*/ 214356 w 2082217"/>
                  <a:gd name="connsiteY212" fmla="*/ 1651996 h 2066613"/>
                  <a:gd name="connsiteX213" fmla="*/ 214475 w 2082217"/>
                  <a:gd name="connsiteY213" fmla="*/ 1652056 h 2066613"/>
                  <a:gd name="connsiteX214" fmla="*/ 214515 w 2082217"/>
                  <a:gd name="connsiteY214" fmla="*/ 1652056 h 2066613"/>
                  <a:gd name="connsiteX215" fmla="*/ 214555 w 2082217"/>
                  <a:gd name="connsiteY215" fmla="*/ 1653691 h 2066613"/>
                  <a:gd name="connsiteX216" fmla="*/ 214555 w 2082217"/>
                  <a:gd name="connsiteY216" fmla="*/ 1653891 h 2066613"/>
                  <a:gd name="connsiteX217" fmla="*/ 214615 w 2082217"/>
                  <a:gd name="connsiteY217" fmla="*/ 1654609 h 2066613"/>
                  <a:gd name="connsiteX218" fmla="*/ 214914 w 2082217"/>
                  <a:gd name="connsiteY218" fmla="*/ 1658359 h 2066613"/>
                  <a:gd name="connsiteX219" fmla="*/ 215511 w 2082217"/>
                  <a:gd name="connsiteY219" fmla="*/ 1665839 h 2066613"/>
                  <a:gd name="connsiteX220" fmla="*/ 219019 w 2082217"/>
                  <a:gd name="connsiteY220" fmla="*/ 1695680 h 2066613"/>
                  <a:gd name="connsiteX221" fmla="*/ 232689 w 2082217"/>
                  <a:gd name="connsiteY221" fmla="*/ 1754144 h 2066613"/>
                  <a:gd name="connsiteX222" fmla="*/ 234881 w 2082217"/>
                  <a:gd name="connsiteY222" fmla="*/ 1761325 h 2066613"/>
                  <a:gd name="connsiteX223" fmla="*/ 237392 w 2082217"/>
                  <a:gd name="connsiteY223" fmla="*/ 1768387 h 2066613"/>
                  <a:gd name="connsiteX224" fmla="*/ 242514 w 2082217"/>
                  <a:gd name="connsiteY224" fmla="*/ 1782489 h 2066613"/>
                  <a:gd name="connsiteX225" fmla="*/ 248333 w 2082217"/>
                  <a:gd name="connsiteY225" fmla="*/ 1796292 h 2066613"/>
                  <a:gd name="connsiteX226" fmla="*/ 251302 w 2082217"/>
                  <a:gd name="connsiteY226" fmla="*/ 1803174 h 2066613"/>
                  <a:gd name="connsiteX227" fmla="*/ 254550 w 2082217"/>
                  <a:gd name="connsiteY227" fmla="*/ 1809916 h 2066613"/>
                  <a:gd name="connsiteX228" fmla="*/ 283944 w 2082217"/>
                  <a:gd name="connsiteY228" fmla="*/ 1861858 h 2066613"/>
                  <a:gd name="connsiteX229" fmla="*/ 293728 w 2082217"/>
                  <a:gd name="connsiteY229" fmla="*/ 1876100 h 2066613"/>
                  <a:gd name="connsiteX230" fmla="*/ 304151 w 2082217"/>
                  <a:gd name="connsiteY230" fmla="*/ 1889844 h 2066613"/>
                  <a:gd name="connsiteX231" fmla="*/ 306761 w 2082217"/>
                  <a:gd name="connsiteY231" fmla="*/ 1893275 h 2066613"/>
                  <a:gd name="connsiteX232" fmla="*/ 309511 w 2082217"/>
                  <a:gd name="connsiteY232" fmla="*/ 1896586 h 2066613"/>
                  <a:gd name="connsiteX233" fmla="*/ 315051 w 2082217"/>
                  <a:gd name="connsiteY233" fmla="*/ 1903168 h 2066613"/>
                  <a:gd name="connsiteX234" fmla="*/ 320611 w 2082217"/>
                  <a:gd name="connsiteY234" fmla="*/ 1909751 h 2066613"/>
                  <a:gd name="connsiteX235" fmla="*/ 326430 w 2082217"/>
                  <a:gd name="connsiteY235" fmla="*/ 1916074 h 2066613"/>
                  <a:gd name="connsiteX236" fmla="*/ 332269 w 2082217"/>
                  <a:gd name="connsiteY236" fmla="*/ 1922377 h 2066613"/>
                  <a:gd name="connsiteX237" fmla="*/ 335198 w 2082217"/>
                  <a:gd name="connsiteY237" fmla="*/ 1925529 h 2066613"/>
                  <a:gd name="connsiteX238" fmla="*/ 338247 w 2082217"/>
                  <a:gd name="connsiteY238" fmla="*/ 1928541 h 2066613"/>
                  <a:gd name="connsiteX239" fmla="*/ 350503 w 2082217"/>
                  <a:gd name="connsiteY239" fmla="*/ 1940549 h 2066613"/>
                  <a:gd name="connsiteX240" fmla="*/ 363297 w 2082217"/>
                  <a:gd name="connsiteY240" fmla="*/ 1951959 h 2066613"/>
                  <a:gd name="connsiteX241" fmla="*/ 366505 w 2082217"/>
                  <a:gd name="connsiteY241" fmla="*/ 1954791 h 2066613"/>
                  <a:gd name="connsiteX242" fmla="*/ 369813 w 2082217"/>
                  <a:gd name="connsiteY242" fmla="*/ 1957504 h 2066613"/>
                  <a:gd name="connsiteX243" fmla="*/ 376469 w 2082217"/>
                  <a:gd name="connsiteY243" fmla="*/ 1962890 h 2066613"/>
                  <a:gd name="connsiteX244" fmla="*/ 493844 w 2082217"/>
                  <a:gd name="connsiteY244" fmla="*/ 2031587 h 2066613"/>
                  <a:gd name="connsiteX245" fmla="*/ 558490 w 2082217"/>
                  <a:gd name="connsiteY245" fmla="*/ 2052491 h 2066613"/>
                  <a:gd name="connsiteX246" fmla="*/ 575050 w 2082217"/>
                  <a:gd name="connsiteY246" fmla="*/ 2056202 h 2066613"/>
                  <a:gd name="connsiteX247" fmla="*/ 583341 w 2082217"/>
                  <a:gd name="connsiteY247" fmla="*/ 2057977 h 2066613"/>
                  <a:gd name="connsiteX248" fmla="*/ 591710 w 2082217"/>
                  <a:gd name="connsiteY248" fmla="*/ 2059393 h 2066613"/>
                  <a:gd name="connsiteX249" fmla="*/ 608450 w 2082217"/>
                  <a:gd name="connsiteY249" fmla="*/ 2062046 h 2066613"/>
                  <a:gd name="connsiteX250" fmla="*/ 625269 w 2082217"/>
                  <a:gd name="connsiteY250" fmla="*/ 2064041 h 2066613"/>
                  <a:gd name="connsiteX251" fmla="*/ 633698 w 2082217"/>
                  <a:gd name="connsiteY251" fmla="*/ 2064799 h 2066613"/>
                  <a:gd name="connsiteX252" fmla="*/ 642148 w 2082217"/>
                  <a:gd name="connsiteY252" fmla="*/ 2065397 h 2066613"/>
                  <a:gd name="connsiteX253" fmla="*/ 650597 w 2082217"/>
                  <a:gd name="connsiteY253" fmla="*/ 2065976 h 2066613"/>
                  <a:gd name="connsiteX254" fmla="*/ 659047 w 2082217"/>
                  <a:gd name="connsiteY254" fmla="*/ 2066255 h 2066613"/>
                  <a:gd name="connsiteX255" fmla="*/ 675925 w 2082217"/>
                  <a:gd name="connsiteY255" fmla="*/ 2066614 h 2066613"/>
                  <a:gd name="connsiteX256" fmla="*/ 692286 w 2082217"/>
                  <a:gd name="connsiteY256" fmla="*/ 2066394 h 2066613"/>
                  <a:gd name="connsiteX257" fmla="*/ 757949 w 2082217"/>
                  <a:gd name="connsiteY257" fmla="*/ 2061208 h 2066613"/>
                  <a:gd name="connsiteX258" fmla="*/ 887540 w 2082217"/>
                  <a:gd name="connsiteY258" fmla="*/ 2027019 h 2066613"/>
                  <a:gd name="connsiteX259" fmla="*/ 948918 w 2082217"/>
                  <a:gd name="connsiteY259" fmla="*/ 1996041 h 2066613"/>
                  <a:gd name="connsiteX260" fmla="*/ 1005194 w 2082217"/>
                  <a:gd name="connsiteY260" fmla="*/ 1954652 h 2066613"/>
                  <a:gd name="connsiteX261" fmla="*/ 1014839 w 2082217"/>
                  <a:gd name="connsiteY261" fmla="*/ 1945875 h 2066613"/>
                  <a:gd name="connsiteX262" fmla="*/ 1024205 w 2082217"/>
                  <a:gd name="connsiteY262" fmla="*/ 1936759 h 2066613"/>
                  <a:gd name="connsiteX263" fmla="*/ 1033272 w 2082217"/>
                  <a:gd name="connsiteY263" fmla="*/ 1927324 h 2066613"/>
                  <a:gd name="connsiteX264" fmla="*/ 1041084 w 2082217"/>
                  <a:gd name="connsiteY264" fmla="*/ 1918527 h 2066613"/>
                  <a:gd name="connsiteX265" fmla="*/ 1053121 w 2082217"/>
                  <a:gd name="connsiteY265" fmla="*/ 1931732 h 2066613"/>
                  <a:gd name="connsiteX266" fmla="*/ 1059518 w 2082217"/>
                  <a:gd name="connsiteY266" fmla="*/ 1938335 h 2066613"/>
                  <a:gd name="connsiteX267" fmla="*/ 1066134 w 2082217"/>
                  <a:gd name="connsiteY267" fmla="*/ 1944698 h 2066613"/>
                  <a:gd name="connsiteX268" fmla="*/ 1121015 w 2082217"/>
                  <a:gd name="connsiteY268" fmla="*/ 1988242 h 2066613"/>
                  <a:gd name="connsiteX269" fmla="*/ 1181536 w 2082217"/>
                  <a:gd name="connsiteY269" fmla="*/ 2021354 h 2066613"/>
                  <a:gd name="connsiteX270" fmla="*/ 1310529 w 2082217"/>
                  <a:gd name="connsiteY270" fmla="*/ 2059174 h 2066613"/>
                  <a:gd name="connsiteX271" fmla="*/ 1376212 w 2082217"/>
                  <a:gd name="connsiteY271" fmla="*/ 2065856 h 2066613"/>
                  <a:gd name="connsiteX272" fmla="*/ 1392612 w 2082217"/>
                  <a:gd name="connsiteY272" fmla="*/ 2066414 h 2066613"/>
                  <a:gd name="connsiteX273" fmla="*/ 1409053 w 2082217"/>
                  <a:gd name="connsiteY273" fmla="*/ 2066554 h 2066613"/>
                  <a:gd name="connsiteX274" fmla="*/ 1425952 w 2082217"/>
                  <a:gd name="connsiteY274" fmla="*/ 2066155 h 2066613"/>
                  <a:gd name="connsiteX275" fmla="*/ 1430176 w 2082217"/>
                  <a:gd name="connsiteY275" fmla="*/ 2066035 h 2066613"/>
                  <a:gd name="connsiteX276" fmla="*/ 1434401 w 2082217"/>
                  <a:gd name="connsiteY276" fmla="*/ 2065756 h 2066613"/>
                  <a:gd name="connsiteX277" fmla="*/ 1442851 w 2082217"/>
                  <a:gd name="connsiteY277" fmla="*/ 2065158 h 2066613"/>
                  <a:gd name="connsiteX278" fmla="*/ 1476529 w 2082217"/>
                  <a:gd name="connsiteY278" fmla="*/ 2061647 h 2066613"/>
                  <a:gd name="connsiteX279" fmla="*/ 1509908 w 2082217"/>
                  <a:gd name="connsiteY279" fmla="*/ 2055563 h 2066613"/>
                  <a:gd name="connsiteX280" fmla="*/ 1542849 w 2082217"/>
                  <a:gd name="connsiteY280" fmla="*/ 2047365 h 2066613"/>
                  <a:gd name="connsiteX281" fmla="*/ 1575112 w 2082217"/>
                  <a:gd name="connsiteY281" fmla="*/ 2036614 h 2066613"/>
                  <a:gd name="connsiteX282" fmla="*/ 1590975 w 2082217"/>
                  <a:gd name="connsiteY282" fmla="*/ 2030450 h 2066613"/>
                  <a:gd name="connsiteX283" fmla="*/ 1606618 w 2082217"/>
                  <a:gd name="connsiteY283" fmla="*/ 2023768 h 2066613"/>
                  <a:gd name="connsiteX284" fmla="*/ 1621982 w 2082217"/>
                  <a:gd name="connsiteY284" fmla="*/ 2016427 h 2066613"/>
                  <a:gd name="connsiteX285" fmla="*/ 1629575 w 2082217"/>
                  <a:gd name="connsiteY285" fmla="*/ 2012558 h 2066613"/>
                  <a:gd name="connsiteX286" fmla="*/ 1637088 w 2082217"/>
                  <a:gd name="connsiteY286" fmla="*/ 2008528 h 2066613"/>
                  <a:gd name="connsiteX287" fmla="*/ 1694480 w 2082217"/>
                  <a:gd name="connsiteY287" fmla="*/ 1971646 h 2066613"/>
                  <a:gd name="connsiteX288" fmla="*/ 1745974 w 2082217"/>
                  <a:gd name="connsiteY288" fmla="*/ 1926526 h 2066613"/>
                  <a:gd name="connsiteX289" fmla="*/ 1790114 w 2082217"/>
                  <a:gd name="connsiteY289" fmla="*/ 1873766 h 2066613"/>
                  <a:gd name="connsiteX290" fmla="*/ 1799042 w 2082217"/>
                  <a:gd name="connsiteY290" fmla="*/ 1860741 h 2066613"/>
                  <a:gd name="connsiteX291" fmla="*/ 1807431 w 2082217"/>
                  <a:gd name="connsiteY291" fmla="*/ 1847337 h 2066613"/>
                  <a:gd name="connsiteX292" fmla="*/ 1811557 w 2082217"/>
                  <a:gd name="connsiteY292" fmla="*/ 1840595 h 2066613"/>
                  <a:gd name="connsiteX293" fmla="*/ 1815383 w 2082217"/>
                  <a:gd name="connsiteY293" fmla="*/ 1833653 h 2066613"/>
                  <a:gd name="connsiteX294" fmla="*/ 1822895 w 2082217"/>
                  <a:gd name="connsiteY294" fmla="*/ 1819690 h 2066613"/>
                  <a:gd name="connsiteX295" fmla="*/ 1847367 w 2082217"/>
                  <a:gd name="connsiteY295" fmla="*/ 1761086 h 2066613"/>
                  <a:gd name="connsiteX296" fmla="*/ 1862612 w 2082217"/>
                  <a:gd name="connsiteY296" fmla="*/ 1699270 h 2066613"/>
                  <a:gd name="connsiteX297" fmla="*/ 1864824 w 2082217"/>
                  <a:gd name="connsiteY297" fmla="*/ 1683492 h 2066613"/>
                  <a:gd name="connsiteX298" fmla="*/ 1865840 w 2082217"/>
                  <a:gd name="connsiteY298" fmla="*/ 1675593 h 2066613"/>
                  <a:gd name="connsiteX299" fmla="*/ 1866498 w 2082217"/>
                  <a:gd name="connsiteY299" fmla="*/ 1667654 h 2066613"/>
                  <a:gd name="connsiteX300" fmla="*/ 1867594 w 2082217"/>
                  <a:gd name="connsiteY300" fmla="*/ 1653811 h 2066613"/>
                  <a:gd name="connsiteX301" fmla="*/ 1867634 w 2082217"/>
                  <a:gd name="connsiteY301" fmla="*/ 1652096 h 2066613"/>
                  <a:gd name="connsiteX302" fmla="*/ 1867833 w 2082217"/>
                  <a:gd name="connsiteY302" fmla="*/ 1652016 h 2066613"/>
                  <a:gd name="connsiteX303" fmla="*/ 1867853 w 2082217"/>
                  <a:gd name="connsiteY303" fmla="*/ 1652016 h 2066613"/>
                  <a:gd name="connsiteX304" fmla="*/ 1867913 w 2082217"/>
                  <a:gd name="connsiteY304" fmla="*/ 1651956 h 2066613"/>
                  <a:gd name="connsiteX305" fmla="*/ 1868152 w 2082217"/>
                  <a:gd name="connsiteY305" fmla="*/ 1651816 h 2066613"/>
                  <a:gd name="connsiteX306" fmla="*/ 1869088 w 2082217"/>
                  <a:gd name="connsiteY306" fmla="*/ 1651298 h 2066613"/>
                  <a:gd name="connsiteX307" fmla="*/ 1870962 w 2082217"/>
                  <a:gd name="connsiteY307" fmla="*/ 1650241 h 2066613"/>
                  <a:gd name="connsiteX308" fmla="*/ 1878375 w 2082217"/>
                  <a:gd name="connsiteY308" fmla="*/ 1645852 h 2066613"/>
                  <a:gd name="connsiteX309" fmla="*/ 1885728 w 2082217"/>
                  <a:gd name="connsiteY309" fmla="*/ 1641384 h 2066613"/>
                  <a:gd name="connsiteX310" fmla="*/ 1892942 w 2082217"/>
                  <a:gd name="connsiteY310" fmla="*/ 1636677 h 2066613"/>
                  <a:gd name="connsiteX311" fmla="*/ 1947385 w 2082217"/>
                  <a:gd name="connsiteY311" fmla="*/ 1594349 h 2066613"/>
                  <a:gd name="connsiteX312" fmla="*/ 1994515 w 2082217"/>
                  <a:gd name="connsiteY312" fmla="*/ 1543684 h 2066613"/>
                  <a:gd name="connsiteX313" fmla="*/ 2032776 w 2082217"/>
                  <a:gd name="connsiteY313" fmla="*/ 1485678 h 2066613"/>
                  <a:gd name="connsiteX314" fmla="*/ 2077534 w 2082217"/>
                  <a:gd name="connsiteY314" fmla="*/ 1353928 h 2066613"/>
                  <a:gd name="connsiteX315" fmla="*/ 2082078 w 2082217"/>
                  <a:gd name="connsiteY315" fmla="*/ 1284253 h 2066613"/>
                  <a:gd name="connsiteX316" fmla="*/ 1997623 w 2082217"/>
                  <a:gd name="connsiteY316" fmla="*/ 1044531 h 2066613"/>
                  <a:gd name="connsiteX317" fmla="*/ 1997623 w 2082217"/>
                  <a:gd name="connsiteY317" fmla="*/ 1044531 h 2066613"/>
                  <a:gd name="connsiteX318" fmla="*/ 1997623 w 2082217"/>
                  <a:gd name="connsiteY318" fmla="*/ 1044531 h 2066613"/>
                  <a:gd name="connsiteX319" fmla="*/ 2037619 w 2082217"/>
                  <a:gd name="connsiteY319" fmla="*/ 1347525 h 2066613"/>
                  <a:gd name="connsiteX320" fmla="*/ 1997344 w 2082217"/>
                  <a:gd name="connsiteY320" fmla="*/ 1466010 h 2066613"/>
                  <a:gd name="connsiteX321" fmla="*/ 1962829 w 2082217"/>
                  <a:gd name="connsiteY321" fmla="*/ 1518351 h 2066613"/>
                  <a:gd name="connsiteX322" fmla="*/ 1920203 w 2082217"/>
                  <a:gd name="connsiteY322" fmla="*/ 1564189 h 2066613"/>
                  <a:gd name="connsiteX323" fmla="*/ 1870862 w 2082217"/>
                  <a:gd name="connsiteY323" fmla="*/ 1602567 h 2066613"/>
                  <a:gd name="connsiteX324" fmla="*/ 1864306 w 2082217"/>
                  <a:gd name="connsiteY324" fmla="*/ 1606836 h 2066613"/>
                  <a:gd name="connsiteX325" fmla="*/ 1857630 w 2082217"/>
                  <a:gd name="connsiteY325" fmla="*/ 1610885 h 2066613"/>
                  <a:gd name="connsiteX326" fmla="*/ 1850914 w 2082217"/>
                  <a:gd name="connsiteY326" fmla="*/ 1614875 h 2066613"/>
                  <a:gd name="connsiteX327" fmla="*/ 1845454 w 2082217"/>
                  <a:gd name="connsiteY327" fmla="*/ 1617927 h 2066613"/>
                  <a:gd name="connsiteX328" fmla="*/ 1836586 w 2082217"/>
                  <a:gd name="connsiteY328" fmla="*/ 1622594 h 2066613"/>
                  <a:gd name="connsiteX329" fmla="*/ 1827539 w 2082217"/>
                  <a:gd name="connsiteY329" fmla="*/ 1626923 h 2066613"/>
                  <a:gd name="connsiteX330" fmla="*/ 1827559 w 2082217"/>
                  <a:gd name="connsiteY330" fmla="*/ 1640546 h 2066613"/>
                  <a:gd name="connsiteX331" fmla="*/ 1827299 w 2082217"/>
                  <a:gd name="connsiteY331" fmla="*/ 1650281 h 2066613"/>
                  <a:gd name="connsiteX332" fmla="*/ 1827260 w 2082217"/>
                  <a:gd name="connsiteY332" fmla="*/ 1651497 h 2066613"/>
                  <a:gd name="connsiteX333" fmla="*/ 1827140 w 2082217"/>
                  <a:gd name="connsiteY333" fmla="*/ 1653213 h 2066613"/>
                  <a:gd name="connsiteX334" fmla="*/ 1826861 w 2082217"/>
                  <a:gd name="connsiteY334" fmla="*/ 1656783 h 2066613"/>
                  <a:gd name="connsiteX335" fmla="*/ 1826283 w 2082217"/>
                  <a:gd name="connsiteY335" fmla="*/ 1663944 h 2066613"/>
                  <a:gd name="connsiteX336" fmla="*/ 1825685 w 2082217"/>
                  <a:gd name="connsiteY336" fmla="*/ 1671105 h 2066613"/>
                  <a:gd name="connsiteX337" fmla="*/ 1824769 w 2082217"/>
                  <a:gd name="connsiteY337" fmla="*/ 1678226 h 2066613"/>
                  <a:gd name="connsiteX338" fmla="*/ 1822776 w 2082217"/>
                  <a:gd name="connsiteY338" fmla="*/ 1692448 h 2066613"/>
                  <a:gd name="connsiteX339" fmla="*/ 1809026 w 2082217"/>
                  <a:gd name="connsiteY339" fmla="*/ 1748180 h 2066613"/>
                  <a:gd name="connsiteX340" fmla="*/ 1786926 w 2082217"/>
                  <a:gd name="connsiteY340" fmla="*/ 1801100 h 2066613"/>
                  <a:gd name="connsiteX341" fmla="*/ 1780130 w 2082217"/>
                  <a:gd name="connsiteY341" fmla="*/ 1813726 h 2066613"/>
                  <a:gd name="connsiteX342" fmla="*/ 1776683 w 2082217"/>
                  <a:gd name="connsiteY342" fmla="*/ 1820009 h 2066613"/>
                  <a:gd name="connsiteX343" fmla="*/ 1772936 w 2082217"/>
                  <a:gd name="connsiteY343" fmla="*/ 1826113 h 2066613"/>
                  <a:gd name="connsiteX344" fmla="*/ 1765344 w 2082217"/>
                  <a:gd name="connsiteY344" fmla="*/ 1838261 h 2066613"/>
                  <a:gd name="connsiteX345" fmla="*/ 1757253 w 2082217"/>
                  <a:gd name="connsiteY345" fmla="*/ 1850070 h 2066613"/>
                  <a:gd name="connsiteX346" fmla="*/ 1717178 w 2082217"/>
                  <a:gd name="connsiteY346" fmla="*/ 1897982 h 2066613"/>
                  <a:gd name="connsiteX347" fmla="*/ 1670268 w 2082217"/>
                  <a:gd name="connsiteY347" fmla="*/ 1939073 h 2066613"/>
                  <a:gd name="connsiteX348" fmla="*/ 1617877 w 2082217"/>
                  <a:gd name="connsiteY348" fmla="*/ 1972743 h 2066613"/>
                  <a:gd name="connsiteX349" fmla="*/ 1611022 w 2082217"/>
                  <a:gd name="connsiteY349" fmla="*/ 1976434 h 2066613"/>
                  <a:gd name="connsiteX350" fmla="*/ 1604087 w 2082217"/>
                  <a:gd name="connsiteY350" fmla="*/ 1979984 h 2066613"/>
                  <a:gd name="connsiteX351" fmla="*/ 1590038 w 2082217"/>
                  <a:gd name="connsiteY351" fmla="*/ 1986706 h 2066613"/>
                  <a:gd name="connsiteX352" fmla="*/ 1575730 w 2082217"/>
                  <a:gd name="connsiteY352" fmla="*/ 1992810 h 2066613"/>
                  <a:gd name="connsiteX353" fmla="*/ 1561222 w 2082217"/>
                  <a:gd name="connsiteY353" fmla="*/ 1998435 h 2066613"/>
                  <a:gd name="connsiteX354" fmla="*/ 1531709 w 2082217"/>
                  <a:gd name="connsiteY354" fmla="*/ 2008269 h 2066613"/>
                  <a:gd name="connsiteX355" fmla="*/ 1501538 w 2082217"/>
                  <a:gd name="connsiteY355" fmla="*/ 2015769 h 2066613"/>
                  <a:gd name="connsiteX356" fmla="*/ 1470969 w 2082217"/>
                  <a:gd name="connsiteY356" fmla="*/ 2021354 h 2066613"/>
                  <a:gd name="connsiteX357" fmla="*/ 1440061 w 2082217"/>
                  <a:gd name="connsiteY357" fmla="*/ 2024566 h 2066613"/>
                  <a:gd name="connsiteX358" fmla="*/ 1432309 w 2082217"/>
                  <a:gd name="connsiteY358" fmla="*/ 2025104 h 2066613"/>
                  <a:gd name="connsiteX359" fmla="*/ 1428443 w 2082217"/>
                  <a:gd name="connsiteY359" fmla="*/ 2025363 h 2066613"/>
                  <a:gd name="connsiteX360" fmla="*/ 1424557 w 2082217"/>
                  <a:gd name="connsiteY360" fmla="*/ 2025463 h 2066613"/>
                  <a:gd name="connsiteX361" fmla="*/ 1409033 w 2082217"/>
                  <a:gd name="connsiteY361" fmla="*/ 2025822 h 2066613"/>
                  <a:gd name="connsiteX362" fmla="*/ 1393649 w 2082217"/>
                  <a:gd name="connsiteY362" fmla="*/ 2025703 h 2066613"/>
                  <a:gd name="connsiteX363" fmla="*/ 1378304 w 2082217"/>
                  <a:gd name="connsiteY363" fmla="*/ 2025164 h 2066613"/>
                  <a:gd name="connsiteX364" fmla="*/ 1317046 w 2082217"/>
                  <a:gd name="connsiteY364" fmla="*/ 2018941 h 2066613"/>
                  <a:gd name="connsiteX365" fmla="*/ 1198315 w 2082217"/>
                  <a:gd name="connsiteY365" fmla="*/ 1984193 h 2066613"/>
                  <a:gd name="connsiteX366" fmla="*/ 1143454 w 2082217"/>
                  <a:gd name="connsiteY366" fmla="*/ 1954193 h 2066613"/>
                  <a:gd name="connsiteX367" fmla="*/ 1094212 w 2082217"/>
                  <a:gd name="connsiteY367" fmla="*/ 1915137 h 2066613"/>
                  <a:gd name="connsiteX368" fmla="*/ 1088293 w 2082217"/>
                  <a:gd name="connsiteY368" fmla="*/ 1909452 h 2066613"/>
                  <a:gd name="connsiteX369" fmla="*/ 1082594 w 2082217"/>
                  <a:gd name="connsiteY369" fmla="*/ 1903547 h 2066613"/>
                  <a:gd name="connsiteX370" fmla="*/ 1071534 w 2082217"/>
                  <a:gd name="connsiteY370" fmla="*/ 1891400 h 2066613"/>
                  <a:gd name="connsiteX371" fmla="*/ 1070777 w 2082217"/>
                  <a:gd name="connsiteY371" fmla="*/ 1890562 h 2066613"/>
                  <a:gd name="connsiteX372" fmla="*/ 1069940 w 2082217"/>
                  <a:gd name="connsiteY372" fmla="*/ 1889565 h 2066613"/>
                  <a:gd name="connsiteX373" fmla="*/ 1068286 w 2082217"/>
                  <a:gd name="connsiteY373" fmla="*/ 1887550 h 2066613"/>
                  <a:gd name="connsiteX374" fmla="*/ 1064998 w 2082217"/>
                  <a:gd name="connsiteY374" fmla="*/ 1883501 h 2066613"/>
                  <a:gd name="connsiteX375" fmla="*/ 1058800 w 2082217"/>
                  <a:gd name="connsiteY375" fmla="*/ 1875123 h 2066613"/>
                  <a:gd name="connsiteX376" fmla="*/ 1043476 w 2082217"/>
                  <a:gd name="connsiteY376" fmla="*/ 1849750 h 2066613"/>
                  <a:gd name="connsiteX377" fmla="*/ 1041782 w 2082217"/>
                  <a:gd name="connsiteY377" fmla="*/ 1846459 h 2066613"/>
                  <a:gd name="connsiteX378" fmla="*/ 1041563 w 2082217"/>
                  <a:gd name="connsiteY378" fmla="*/ 1846040 h 2066613"/>
                  <a:gd name="connsiteX379" fmla="*/ 1041244 w 2082217"/>
                  <a:gd name="connsiteY379" fmla="*/ 1845741 h 2066613"/>
                  <a:gd name="connsiteX380" fmla="*/ 1040945 w 2082217"/>
                  <a:gd name="connsiteY380" fmla="*/ 1846040 h 2066613"/>
                  <a:gd name="connsiteX381" fmla="*/ 1040726 w 2082217"/>
                  <a:gd name="connsiteY381" fmla="*/ 1846459 h 2066613"/>
                  <a:gd name="connsiteX382" fmla="*/ 1039869 w 2082217"/>
                  <a:gd name="connsiteY382" fmla="*/ 1848115 h 2066613"/>
                  <a:gd name="connsiteX383" fmla="*/ 1036441 w 2082217"/>
                  <a:gd name="connsiteY383" fmla="*/ 1854697 h 2066613"/>
                  <a:gd name="connsiteX384" fmla="*/ 1032774 w 2082217"/>
                  <a:gd name="connsiteY384" fmla="*/ 1861140 h 2066613"/>
                  <a:gd name="connsiteX385" fmla="*/ 1028868 w 2082217"/>
                  <a:gd name="connsiteY385" fmla="*/ 1867443 h 2066613"/>
                  <a:gd name="connsiteX386" fmla="*/ 1011153 w 2082217"/>
                  <a:gd name="connsiteY386" fmla="*/ 1891220 h 2066613"/>
                  <a:gd name="connsiteX387" fmla="*/ 1003680 w 2082217"/>
                  <a:gd name="connsiteY387" fmla="*/ 1899618 h 2066613"/>
                  <a:gd name="connsiteX388" fmla="*/ 995589 w 2082217"/>
                  <a:gd name="connsiteY388" fmla="*/ 1908035 h 2066613"/>
                  <a:gd name="connsiteX389" fmla="*/ 987219 w 2082217"/>
                  <a:gd name="connsiteY389" fmla="*/ 1916174 h 2066613"/>
                  <a:gd name="connsiteX390" fmla="*/ 978590 w 2082217"/>
                  <a:gd name="connsiteY390" fmla="*/ 1924013 h 2066613"/>
                  <a:gd name="connsiteX391" fmla="*/ 927993 w 2082217"/>
                  <a:gd name="connsiteY391" fmla="*/ 1961214 h 2066613"/>
                  <a:gd name="connsiteX392" fmla="*/ 872255 w 2082217"/>
                  <a:gd name="connsiteY392" fmla="*/ 1989339 h 2066613"/>
                  <a:gd name="connsiteX393" fmla="*/ 752728 w 2082217"/>
                  <a:gd name="connsiteY393" fmla="*/ 2020836 h 2066613"/>
                  <a:gd name="connsiteX394" fmla="*/ 691390 w 2082217"/>
                  <a:gd name="connsiteY394" fmla="*/ 2025683 h 2066613"/>
                  <a:gd name="connsiteX395" fmla="*/ 676045 w 2082217"/>
                  <a:gd name="connsiteY395" fmla="*/ 2025882 h 2066613"/>
                  <a:gd name="connsiteX396" fmla="*/ 660521 w 2082217"/>
                  <a:gd name="connsiteY396" fmla="*/ 2025543 h 2066613"/>
                  <a:gd name="connsiteX397" fmla="*/ 652769 w 2082217"/>
                  <a:gd name="connsiteY397" fmla="*/ 2025304 h 2066613"/>
                  <a:gd name="connsiteX398" fmla="*/ 645017 w 2082217"/>
                  <a:gd name="connsiteY398" fmla="*/ 2024765 h 2066613"/>
                  <a:gd name="connsiteX399" fmla="*/ 637265 w 2082217"/>
                  <a:gd name="connsiteY399" fmla="*/ 2024207 h 2066613"/>
                  <a:gd name="connsiteX400" fmla="*/ 629533 w 2082217"/>
                  <a:gd name="connsiteY400" fmla="*/ 2023508 h 2066613"/>
                  <a:gd name="connsiteX401" fmla="*/ 614109 w 2082217"/>
                  <a:gd name="connsiteY401" fmla="*/ 2021673 h 2066613"/>
                  <a:gd name="connsiteX402" fmla="*/ 598765 w 2082217"/>
                  <a:gd name="connsiteY402" fmla="*/ 2019240 h 2066613"/>
                  <a:gd name="connsiteX403" fmla="*/ 591092 w 2082217"/>
                  <a:gd name="connsiteY403" fmla="*/ 2017963 h 2066613"/>
                  <a:gd name="connsiteX404" fmla="*/ 583500 w 2082217"/>
                  <a:gd name="connsiteY404" fmla="*/ 2016328 h 2066613"/>
                  <a:gd name="connsiteX405" fmla="*/ 568335 w 2082217"/>
                  <a:gd name="connsiteY405" fmla="*/ 2012937 h 2066613"/>
                  <a:gd name="connsiteX406" fmla="*/ 509169 w 2082217"/>
                  <a:gd name="connsiteY406" fmla="*/ 1993807 h 2066613"/>
                  <a:gd name="connsiteX407" fmla="*/ 401997 w 2082217"/>
                  <a:gd name="connsiteY407" fmla="*/ 1931074 h 2066613"/>
                  <a:gd name="connsiteX408" fmla="*/ 395939 w 2082217"/>
                  <a:gd name="connsiteY408" fmla="*/ 1926167 h 2066613"/>
                  <a:gd name="connsiteX409" fmla="*/ 392910 w 2082217"/>
                  <a:gd name="connsiteY409" fmla="*/ 1923714 h 2066613"/>
                  <a:gd name="connsiteX410" fmla="*/ 390000 w 2082217"/>
                  <a:gd name="connsiteY410" fmla="*/ 1921121 h 2066613"/>
                  <a:gd name="connsiteX411" fmla="*/ 378342 w 2082217"/>
                  <a:gd name="connsiteY411" fmla="*/ 1910728 h 2066613"/>
                  <a:gd name="connsiteX412" fmla="*/ 367183 w 2082217"/>
                  <a:gd name="connsiteY412" fmla="*/ 1899797 h 2066613"/>
                  <a:gd name="connsiteX413" fmla="*/ 364393 w 2082217"/>
                  <a:gd name="connsiteY413" fmla="*/ 1897065 h 2066613"/>
                  <a:gd name="connsiteX414" fmla="*/ 361742 w 2082217"/>
                  <a:gd name="connsiteY414" fmla="*/ 1894212 h 2066613"/>
                  <a:gd name="connsiteX415" fmla="*/ 356422 w 2082217"/>
                  <a:gd name="connsiteY415" fmla="*/ 1888487 h 2066613"/>
                  <a:gd name="connsiteX416" fmla="*/ 351121 w 2082217"/>
                  <a:gd name="connsiteY416" fmla="*/ 1882743 h 2066613"/>
                  <a:gd name="connsiteX417" fmla="*/ 346079 w 2082217"/>
                  <a:gd name="connsiteY417" fmla="*/ 1876758 h 2066613"/>
                  <a:gd name="connsiteX418" fmla="*/ 341057 w 2082217"/>
                  <a:gd name="connsiteY418" fmla="*/ 1870774 h 2066613"/>
                  <a:gd name="connsiteX419" fmla="*/ 338546 w 2082217"/>
                  <a:gd name="connsiteY419" fmla="*/ 1867782 h 2066613"/>
                  <a:gd name="connsiteX420" fmla="*/ 336175 w 2082217"/>
                  <a:gd name="connsiteY420" fmla="*/ 1864671 h 2066613"/>
                  <a:gd name="connsiteX421" fmla="*/ 326709 w 2082217"/>
                  <a:gd name="connsiteY421" fmla="*/ 1852204 h 2066613"/>
                  <a:gd name="connsiteX422" fmla="*/ 317841 w 2082217"/>
                  <a:gd name="connsiteY422" fmla="*/ 1839298 h 2066613"/>
                  <a:gd name="connsiteX423" fmla="*/ 291237 w 2082217"/>
                  <a:gd name="connsiteY423" fmla="*/ 1792283 h 2066613"/>
                  <a:gd name="connsiteX424" fmla="*/ 288288 w 2082217"/>
                  <a:gd name="connsiteY424" fmla="*/ 1786199 h 2066613"/>
                  <a:gd name="connsiteX425" fmla="*/ 285618 w 2082217"/>
                  <a:gd name="connsiteY425" fmla="*/ 1779996 h 2066613"/>
                  <a:gd name="connsiteX426" fmla="*/ 280357 w 2082217"/>
                  <a:gd name="connsiteY426" fmla="*/ 1767529 h 2066613"/>
                  <a:gd name="connsiteX427" fmla="*/ 275734 w 2082217"/>
                  <a:gd name="connsiteY427" fmla="*/ 1754803 h 2066613"/>
                  <a:gd name="connsiteX428" fmla="*/ 273462 w 2082217"/>
                  <a:gd name="connsiteY428" fmla="*/ 1748420 h 2066613"/>
                  <a:gd name="connsiteX429" fmla="*/ 271489 w 2082217"/>
                  <a:gd name="connsiteY429" fmla="*/ 1741937 h 2066613"/>
                  <a:gd name="connsiteX430" fmla="*/ 259153 w 2082217"/>
                  <a:gd name="connsiteY430" fmla="*/ 1689237 h 2066613"/>
                  <a:gd name="connsiteX431" fmla="*/ 256005 w 2082217"/>
                  <a:gd name="connsiteY431" fmla="*/ 1662328 h 2066613"/>
                  <a:gd name="connsiteX432" fmla="*/ 255467 w 2082217"/>
                  <a:gd name="connsiteY432" fmla="*/ 1655586 h 2066613"/>
                  <a:gd name="connsiteX433" fmla="*/ 255188 w 2082217"/>
                  <a:gd name="connsiteY433" fmla="*/ 1652215 h 2066613"/>
                  <a:gd name="connsiteX434" fmla="*/ 255128 w 2082217"/>
                  <a:gd name="connsiteY434" fmla="*/ 1650899 h 2066613"/>
                  <a:gd name="connsiteX435" fmla="*/ 255088 w 2082217"/>
                  <a:gd name="connsiteY435" fmla="*/ 1649762 h 2066613"/>
                  <a:gd name="connsiteX436" fmla="*/ 254849 w 2082217"/>
                  <a:gd name="connsiteY436" fmla="*/ 1640586 h 2066613"/>
                  <a:gd name="connsiteX437" fmla="*/ 254849 w 2082217"/>
                  <a:gd name="connsiteY437" fmla="*/ 1635081 h 2066613"/>
                  <a:gd name="connsiteX438" fmla="*/ 254969 w 2082217"/>
                  <a:gd name="connsiteY438" fmla="*/ 1629576 h 2066613"/>
                  <a:gd name="connsiteX439" fmla="*/ 255008 w 2082217"/>
                  <a:gd name="connsiteY439" fmla="*/ 1628199 h 2066613"/>
                  <a:gd name="connsiteX440" fmla="*/ 255008 w 2082217"/>
                  <a:gd name="connsiteY440" fmla="*/ 1627501 h 2066613"/>
                  <a:gd name="connsiteX441" fmla="*/ 254789 w 2082217"/>
                  <a:gd name="connsiteY441" fmla="*/ 1626923 h 2066613"/>
                  <a:gd name="connsiteX442" fmla="*/ 252298 w 2082217"/>
                  <a:gd name="connsiteY442" fmla="*/ 1625746 h 2066613"/>
                  <a:gd name="connsiteX443" fmla="*/ 247316 w 2082217"/>
                  <a:gd name="connsiteY443" fmla="*/ 1623392 h 2066613"/>
                  <a:gd name="connsiteX444" fmla="*/ 238409 w 2082217"/>
                  <a:gd name="connsiteY444" fmla="*/ 1618784 h 2066613"/>
                  <a:gd name="connsiteX445" fmla="*/ 233765 w 2082217"/>
                  <a:gd name="connsiteY445" fmla="*/ 1616191 h 2066613"/>
                  <a:gd name="connsiteX446" fmla="*/ 227010 w 2082217"/>
                  <a:gd name="connsiteY446" fmla="*/ 1612282 h 2066613"/>
                  <a:gd name="connsiteX447" fmla="*/ 213738 w 2082217"/>
                  <a:gd name="connsiteY447" fmla="*/ 1604023 h 2066613"/>
                  <a:gd name="connsiteX448" fmla="*/ 207201 w 2082217"/>
                  <a:gd name="connsiteY448" fmla="*/ 1599755 h 2066613"/>
                  <a:gd name="connsiteX449" fmla="*/ 200805 w 2082217"/>
                  <a:gd name="connsiteY449" fmla="*/ 1595267 h 2066613"/>
                  <a:gd name="connsiteX450" fmla="*/ 152739 w 2082217"/>
                  <a:gd name="connsiteY450" fmla="*/ 1555273 h 2066613"/>
                  <a:gd name="connsiteX451" fmla="*/ 111687 w 2082217"/>
                  <a:gd name="connsiteY451" fmla="*/ 1507999 h 2066613"/>
                  <a:gd name="connsiteX452" fmla="*/ 79005 w 2082217"/>
                  <a:gd name="connsiteY452" fmla="*/ 1454481 h 2066613"/>
                  <a:gd name="connsiteX453" fmla="*/ 72250 w 2082217"/>
                  <a:gd name="connsiteY453" fmla="*/ 1440299 h 2066613"/>
                  <a:gd name="connsiteX454" fmla="*/ 66112 w 2082217"/>
                  <a:gd name="connsiteY454" fmla="*/ 1425837 h 2066613"/>
                  <a:gd name="connsiteX455" fmla="*/ 60652 w 2082217"/>
                  <a:gd name="connsiteY455" fmla="*/ 1411096 h 2066613"/>
                  <a:gd name="connsiteX456" fmla="*/ 55829 w 2082217"/>
                  <a:gd name="connsiteY456" fmla="*/ 1396136 h 2066613"/>
                  <a:gd name="connsiteX457" fmla="*/ 43055 w 2082217"/>
                  <a:gd name="connsiteY457" fmla="*/ 1334620 h 2066613"/>
                  <a:gd name="connsiteX458" fmla="*/ 41182 w 2082217"/>
                  <a:gd name="connsiteY458" fmla="*/ 1271846 h 2066613"/>
                  <a:gd name="connsiteX459" fmla="*/ 50130 w 2082217"/>
                  <a:gd name="connsiteY459" fmla="*/ 1209652 h 2066613"/>
                  <a:gd name="connsiteX460" fmla="*/ 52740 w 2082217"/>
                  <a:gd name="connsiteY460" fmla="*/ 1199339 h 2066613"/>
                  <a:gd name="connsiteX461" fmla="*/ 55550 w 2082217"/>
                  <a:gd name="connsiteY461" fmla="*/ 1189086 h 2066613"/>
                  <a:gd name="connsiteX462" fmla="*/ 58798 w 2082217"/>
                  <a:gd name="connsiteY462" fmla="*/ 1178953 h 2066613"/>
                  <a:gd name="connsiteX463" fmla="*/ 60433 w 2082217"/>
                  <a:gd name="connsiteY463" fmla="*/ 1173887 h 2066613"/>
                  <a:gd name="connsiteX464" fmla="*/ 62266 w 2082217"/>
                  <a:gd name="connsiteY464" fmla="*/ 1168900 h 2066613"/>
                  <a:gd name="connsiteX465" fmla="*/ 65992 w 2082217"/>
                  <a:gd name="connsiteY465" fmla="*/ 1158947 h 2066613"/>
                  <a:gd name="connsiteX466" fmla="*/ 70098 w 2082217"/>
                  <a:gd name="connsiteY466" fmla="*/ 1149153 h 2066613"/>
                  <a:gd name="connsiteX467" fmla="*/ 79025 w 2082217"/>
                  <a:gd name="connsiteY467" fmla="*/ 1129884 h 2066613"/>
                  <a:gd name="connsiteX468" fmla="*/ 83947 w 2082217"/>
                  <a:gd name="connsiteY468" fmla="*/ 1120469 h 2066613"/>
                  <a:gd name="connsiteX469" fmla="*/ 89049 w 2082217"/>
                  <a:gd name="connsiteY469" fmla="*/ 1111154 h 2066613"/>
                  <a:gd name="connsiteX470" fmla="*/ 94509 w 2082217"/>
                  <a:gd name="connsiteY470" fmla="*/ 1102058 h 2066613"/>
                  <a:gd name="connsiteX471" fmla="*/ 97259 w 2082217"/>
                  <a:gd name="connsiteY471" fmla="*/ 1097530 h 2066613"/>
                  <a:gd name="connsiteX472" fmla="*/ 100189 w 2082217"/>
                  <a:gd name="connsiteY472" fmla="*/ 1093102 h 2066613"/>
                  <a:gd name="connsiteX473" fmla="*/ 106047 w 2082217"/>
                  <a:gd name="connsiteY473" fmla="*/ 1084265 h 2066613"/>
                  <a:gd name="connsiteX474" fmla="*/ 112265 w 2082217"/>
                  <a:gd name="connsiteY474" fmla="*/ 1075688 h 2066613"/>
                  <a:gd name="connsiteX475" fmla="*/ 115394 w 2082217"/>
                  <a:gd name="connsiteY475" fmla="*/ 1071399 h 2066613"/>
                  <a:gd name="connsiteX476" fmla="*/ 116151 w 2082217"/>
                  <a:gd name="connsiteY476" fmla="*/ 1070362 h 2066613"/>
                  <a:gd name="connsiteX477" fmla="*/ 116709 w 2082217"/>
                  <a:gd name="connsiteY477" fmla="*/ 1069664 h 2066613"/>
                  <a:gd name="connsiteX478" fmla="*/ 117825 w 2082217"/>
                  <a:gd name="connsiteY478" fmla="*/ 1068268 h 2066613"/>
                  <a:gd name="connsiteX479" fmla="*/ 122269 w 2082217"/>
                  <a:gd name="connsiteY479" fmla="*/ 1062702 h 2066613"/>
                  <a:gd name="connsiteX480" fmla="*/ 126493 w 2082217"/>
                  <a:gd name="connsiteY480" fmla="*/ 1057775 h 2066613"/>
                  <a:gd name="connsiteX481" fmla="*/ 128626 w 2082217"/>
                  <a:gd name="connsiteY481" fmla="*/ 1055322 h 2066613"/>
                  <a:gd name="connsiteX482" fmla="*/ 129702 w 2082217"/>
                  <a:gd name="connsiteY482" fmla="*/ 1054105 h 2066613"/>
                  <a:gd name="connsiteX483" fmla="*/ 130200 w 2082217"/>
                  <a:gd name="connsiteY483" fmla="*/ 1053467 h 2066613"/>
                  <a:gd name="connsiteX484" fmla="*/ 129961 w 2082217"/>
                  <a:gd name="connsiteY484" fmla="*/ 1052689 h 2066613"/>
                  <a:gd name="connsiteX485" fmla="*/ 125796 w 2082217"/>
                  <a:gd name="connsiteY485" fmla="*/ 1040382 h 2066613"/>
                  <a:gd name="connsiteX486" fmla="*/ 124022 w 2082217"/>
                  <a:gd name="connsiteY486" fmla="*/ 1034258 h 2066613"/>
                  <a:gd name="connsiteX487" fmla="*/ 121492 w 2082217"/>
                  <a:gd name="connsiteY487" fmla="*/ 1024344 h 2066613"/>
                  <a:gd name="connsiteX488" fmla="*/ 117287 w 2082217"/>
                  <a:gd name="connsiteY488" fmla="*/ 1004337 h 2066613"/>
                  <a:gd name="connsiteX489" fmla="*/ 112026 w 2082217"/>
                  <a:gd name="connsiteY489" fmla="*/ 941544 h 2066613"/>
                  <a:gd name="connsiteX490" fmla="*/ 113799 w 2082217"/>
                  <a:gd name="connsiteY490" fmla="*/ 910068 h 2066613"/>
                  <a:gd name="connsiteX491" fmla="*/ 114616 w 2082217"/>
                  <a:gd name="connsiteY491" fmla="*/ 902229 h 2066613"/>
                  <a:gd name="connsiteX492" fmla="*/ 115593 w 2082217"/>
                  <a:gd name="connsiteY492" fmla="*/ 894410 h 2066613"/>
                  <a:gd name="connsiteX493" fmla="*/ 118283 w 2082217"/>
                  <a:gd name="connsiteY493" fmla="*/ 878851 h 2066613"/>
                  <a:gd name="connsiteX494" fmla="*/ 121691 w 2082217"/>
                  <a:gd name="connsiteY494" fmla="*/ 863452 h 2066613"/>
                  <a:gd name="connsiteX495" fmla="*/ 123564 w 2082217"/>
                  <a:gd name="connsiteY495" fmla="*/ 855792 h 2066613"/>
                  <a:gd name="connsiteX496" fmla="*/ 124501 w 2082217"/>
                  <a:gd name="connsiteY496" fmla="*/ 851962 h 2066613"/>
                  <a:gd name="connsiteX497" fmla="*/ 125657 w 2082217"/>
                  <a:gd name="connsiteY497" fmla="*/ 848193 h 2066613"/>
                  <a:gd name="connsiteX498" fmla="*/ 130419 w 2082217"/>
                  <a:gd name="connsiteY498" fmla="*/ 833152 h 2066613"/>
                  <a:gd name="connsiteX499" fmla="*/ 131635 w 2082217"/>
                  <a:gd name="connsiteY499" fmla="*/ 829402 h 2066613"/>
                  <a:gd name="connsiteX500" fmla="*/ 133070 w 2082217"/>
                  <a:gd name="connsiteY500" fmla="*/ 825732 h 2066613"/>
                  <a:gd name="connsiteX501" fmla="*/ 135939 w 2082217"/>
                  <a:gd name="connsiteY501" fmla="*/ 818392 h 2066613"/>
                  <a:gd name="connsiteX502" fmla="*/ 148733 w 2082217"/>
                  <a:gd name="connsiteY502" fmla="*/ 789568 h 2066613"/>
                  <a:gd name="connsiteX503" fmla="*/ 156266 w 2082217"/>
                  <a:gd name="connsiteY503" fmla="*/ 775725 h 2066613"/>
                  <a:gd name="connsiteX504" fmla="*/ 160092 w 2082217"/>
                  <a:gd name="connsiteY504" fmla="*/ 768823 h 2066613"/>
                  <a:gd name="connsiteX505" fmla="*/ 164317 w 2082217"/>
                  <a:gd name="connsiteY505" fmla="*/ 762161 h 2066613"/>
                  <a:gd name="connsiteX506" fmla="*/ 169418 w 2082217"/>
                  <a:gd name="connsiteY506" fmla="*/ 754202 h 2066613"/>
                  <a:gd name="connsiteX507" fmla="*/ 171969 w 2082217"/>
                  <a:gd name="connsiteY507" fmla="*/ 750233 h 2066613"/>
                  <a:gd name="connsiteX508" fmla="*/ 174719 w 2082217"/>
                  <a:gd name="connsiteY508" fmla="*/ 746383 h 2066613"/>
                  <a:gd name="connsiteX509" fmla="*/ 185918 w 2082217"/>
                  <a:gd name="connsiteY509" fmla="*/ 731164 h 2066613"/>
                  <a:gd name="connsiteX510" fmla="*/ 198055 w 2082217"/>
                  <a:gd name="connsiteY510" fmla="*/ 716682 h 2066613"/>
                  <a:gd name="connsiteX511" fmla="*/ 204412 w 2082217"/>
                  <a:gd name="connsiteY511" fmla="*/ 709701 h 2066613"/>
                  <a:gd name="connsiteX512" fmla="*/ 210928 w 2082217"/>
                  <a:gd name="connsiteY512" fmla="*/ 702859 h 2066613"/>
                  <a:gd name="connsiteX513" fmla="*/ 224479 w 2082217"/>
                  <a:gd name="connsiteY513" fmla="*/ 689714 h 2066613"/>
                  <a:gd name="connsiteX514" fmla="*/ 231414 w 2082217"/>
                  <a:gd name="connsiteY514" fmla="*/ 683311 h 2066613"/>
                  <a:gd name="connsiteX515" fmla="*/ 238688 w 2082217"/>
                  <a:gd name="connsiteY515" fmla="*/ 677287 h 2066613"/>
                  <a:gd name="connsiteX516" fmla="*/ 246001 w 2082217"/>
                  <a:gd name="connsiteY516" fmla="*/ 671323 h 2066613"/>
                  <a:gd name="connsiteX517" fmla="*/ 249668 w 2082217"/>
                  <a:gd name="connsiteY517" fmla="*/ 668351 h 2066613"/>
                  <a:gd name="connsiteX518" fmla="*/ 253494 w 2082217"/>
                  <a:gd name="connsiteY518" fmla="*/ 665598 h 2066613"/>
                  <a:gd name="connsiteX519" fmla="*/ 259552 w 2082217"/>
                  <a:gd name="connsiteY519" fmla="*/ 661269 h 2066613"/>
                  <a:gd name="connsiteX520" fmla="*/ 264474 w 2082217"/>
                  <a:gd name="connsiteY520" fmla="*/ 657799 h 2066613"/>
                  <a:gd name="connsiteX521" fmla="*/ 271270 w 2082217"/>
                  <a:gd name="connsiteY521" fmla="*/ 653550 h 2066613"/>
                  <a:gd name="connsiteX522" fmla="*/ 274677 w 2082217"/>
                  <a:gd name="connsiteY522" fmla="*/ 651436 h 2066613"/>
                  <a:gd name="connsiteX523" fmla="*/ 276291 w 2082217"/>
                  <a:gd name="connsiteY523" fmla="*/ 650299 h 2066613"/>
                  <a:gd name="connsiteX524" fmla="*/ 275933 w 2082217"/>
                  <a:gd name="connsiteY524" fmla="*/ 648324 h 2066613"/>
                  <a:gd name="connsiteX525" fmla="*/ 273761 w 2082217"/>
                  <a:gd name="connsiteY525" fmla="*/ 632426 h 2066613"/>
                  <a:gd name="connsiteX526" fmla="*/ 273402 w 2082217"/>
                  <a:gd name="connsiteY526" fmla="*/ 628337 h 2066613"/>
                  <a:gd name="connsiteX527" fmla="*/ 273043 w 2082217"/>
                  <a:gd name="connsiteY527" fmla="*/ 622592 h 2066613"/>
                  <a:gd name="connsiteX528" fmla="*/ 272585 w 2082217"/>
                  <a:gd name="connsiteY528" fmla="*/ 609926 h 2066613"/>
                  <a:gd name="connsiteX529" fmla="*/ 272704 w 2082217"/>
                  <a:gd name="connsiteY529" fmla="*/ 597260 h 2066613"/>
                  <a:gd name="connsiteX530" fmla="*/ 272844 w 2082217"/>
                  <a:gd name="connsiteY530" fmla="*/ 590916 h 2066613"/>
                  <a:gd name="connsiteX531" fmla="*/ 273243 w 2082217"/>
                  <a:gd name="connsiteY531" fmla="*/ 584593 h 2066613"/>
                  <a:gd name="connsiteX532" fmla="*/ 283466 w 2082217"/>
                  <a:gd name="connsiteY532" fmla="*/ 522099 h 2066613"/>
                  <a:gd name="connsiteX533" fmla="*/ 305984 w 2082217"/>
                  <a:gd name="connsiteY533" fmla="*/ 462957 h 2066613"/>
                  <a:gd name="connsiteX534" fmla="*/ 339463 w 2082217"/>
                  <a:gd name="connsiteY534" fmla="*/ 409419 h 2066613"/>
                  <a:gd name="connsiteX535" fmla="*/ 382288 w 2082217"/>
                  <a:gd name="connsiteY535" fmla="*/ 363182 h 2066613"/>
                  <a:gd name="connsiteX536" fmla="*/ 441753 w 2082217"/>
                  <a:gd name="connsiteY536" fmla="*/ 320316 h 2066613"/>
                  <a:gd name="connsiteX537" fmla="*/ 474454 w 2082217"/>
                  <a:gd name="connsiteY537" fmla="*/ 303720 h 2066613"/>
                  <a:gd name="connsiteX538" fmla="*/ 491294 w 2082217"/>
                  <a:gd name="connsiteY538" fmla="*/ 296798 h 2066613"/>
                  <a:gd name="connsiteX539" fmla="*/ 495498 w 2082217"/>
                  <a:gd name="connsiteY539" fmla="*/ 295202 h 2066613"/>
                  <a:gd name="connsiteX540" fmla="*/ 497591 w 2082217"/>
                  <a:gd name="connsiteY540" fmla="*/ 294405 h 2066613"/>
                  <a:gd name="connsiteX541" fmla="*/ 498388 w 2082217"/>
                  <a:gd name="connsiteY541" fmla="*/ 294125 h 2066613"/>
                  <a:gd name="connsiteX542" fmla="*/ 499085 w 2082217"/>
                  <a:gd name="connsiteY542" fmla="*/ 293886 h 2066613"/>
                  <a:gd name="connsiteX543" fmla="*/ 504625 w 2082217"/>
                  <a:gd name="connsiteY543" fmla="*/ 292011 h 2066613"/>
                  <a:gd name="connsiteX544" fmla="*/ 512616 w 2082217"/>
                  <a:gd name="connsiteY544" fmla="*/ 289577 h 2066613"/>
                  <a:gd name="connsiteX545" fmla="*/ 514629 w 2082217"/>
                  <a:gd name="connsiteY545" fmla="*/ 288979 h 2066613"/>
                  <a:gd name="connsiteX546" fmla="*/ 515127 w 2082217"/>
                  <a:gd name="connsiteY546" fmla="*/ 288799 h 2066613"/>
                  <a:gd name="connsiteX547" fmla="*/ 515327 w 2082217"/>
                  <a:gd name="connsiteY547" fmla="*/ 288321 h 2066613"/>
                  <a:gd name="connsiteX548" fmla="*/ 515665 w 2082217"/>
                  <a:gd name="connsiteY548" fmla="*/ 287323 h 2066613"/>
                  <a:gd name="connsiteX549" fmla="*/ 517001 w 2082217"/>
                  <a:gd name="connsiteY549" fmla="*/ 283354 h 2066613"/>
                  <a:gd name="connsiteX550" fmla="*/ 519830 w 2082217"/>
                  <a:gd name="connsiteY550" fmla="*/ 275455 h 2066613"/>
                  <a:gd name="connsiteX551" fmla="*/ 521305 w 2082217"/>
                  <a:gd name="connsiteY551" fmla="*/ 271505 h 2066613"/>
                  <a:gd name="connsiteX552" fmla="*/ 522361 w 2082217"/>
                  <a:gd name="connsiteY552" fmla="*/ 268872 h 2066613"/>
                  <a:gd name="connsiteX553" fmla="*/ 523577 w 2082217"/>
                  <a:gd name="connsiteY553" fmla="*/ 265880 h 2066613"/>
                  <a:gd name="connsiteX554" fmla="*/ 545517 w 2082217"/>
                  <a:gd name="connsiteY554" fmla="*/ 218945 h 2066613"/>
                  <a:gd name="connsiteX555" fmla="*/ 579156 w 2082217"/>
                  <a:gd name="connsiteY555" fmla="*/ 166425 h 2066613"/>
                  <a:gd name="connsiteX556" fmla="*/ 620964 w 2082217"/>
                  <a:gd name="connsiteY556" fmla="*/ 119629 h 2066613"/>
                  <a:gd name="connsiteX557" fmla="*/ 671103 w 2082217"/>
                  <a:gd name="connsiteY557" fmla="*/ 81032 h 2066613"/>
                  <a:gd name="connsiteX558" fmla="*/ 728834 w 2082217"/>
                  <a:gd name="connsiteY558" fmla="*/ 53824 h 2066613"/>
                  <a:gd name="connsiteX559" fmla="*/ 759882 w 2082217"/>
                  <a:gd name="connsiteY559" fmla="*/ 45486 h 2066613"/>
                  <a:gd name="connsiteX560" fmla="*/ 767813 w 2082217"/>
                  <a:gd name="connsiteY560" fmla="*/ 44090 h 2066613"/>
                  <a:gd name="connsiteX561" fmla="*/ 771779 w 2082217"/>
                  <a:gd name="connsiteY561" fmla="*/ 43392 h 2066613"/>
                  <a:gd name="connsiteX562" fmla="*/ 775784 w 2082217"/>
                  <a:gd name="connsiteY562" fmla="*/ 42873 h 2066613"/>
                  <a:gd name="connsiteX563" fmla="*/ 783775 w 2082217"/>
                  <a:gd name="connsiteY563" fmla="*/ 41876 h 2066613"/>
                  <a:gd name="connsiteX564" fmla="*/ 791806 w 2082217"/>
                  <a:gd name="connsiteY564" fmla="*/ 41237 h 2066613"/>
                  <a:gd name="connsiteX565" fmla="*/ 807908 w 2082217"/>
                  <a:gd name="connsiteY565" fmla="*/ 40579 h 2066613"/>
                  <a:gd name="connsiteX566" fmla="*/ 823631 w 2082217"/>
                  <a:gd name="connsiteY566" fmla="*/ 40878 h 2066613"/>
                  <a:gd name="connsiteX567" fmla="*/ 827557 w 2082217"/>
                  <a:gd name="connsiteY567" fmla="*/ 40978 h 2066613"/>
                  <a:gd name="connsiteX568" fmla="*/ 831483 w 2082217"/>
                  <a:gd name="connsiteY568" fmla="*/ 41257 h 2066613"/>
                  <a:gd name="connsiteX569" fmla="*/ 839334 w 2082217"/>
                  <a:gd name="connsiteY569" fmla="*/ 41856 h 2066613"/>
                  <a:gd name="connsiteX570" fmla="*/ 847186 w 2082217"/>
                  <a:gd name="connsiteY570" fmla="*/ 42534 h 2066613"/>
                  <a:gd name="connsiteX571" fmla="*/ 855017 w 2082217"/>
                  <a:gd name="connsiteY571" fmla="*/ 43551 h 2066613"/>
                  <a:gd name="connsiteX572" fmla="*/ 916794 w 2082217"/>
                  <a:gd name="connsiteY572" fmla="*/ 58133 h 2066613"/>
                  <a:gd name="connsiteX573" fmla="*/ 974067 w 2082217"/>
                  <a:gd name="connsiteY573" fmla="*/ 86637 h 2066613"/>
                  <a:gd name="connsiteX574" fmla="*/ 1004656 w 2082217"/>
                  <a:gd name="connsiteY574" fmla="*/ 110055 h 2066613"/>
                  <a:gd name="connsiteX575" fmla="*/ 1008283 w 2082217"/>
                  <a:gd name="connsiteY575" fmla="*/ 113226 h 2066613"/>
                  <a:gd name="connsiteX576" fmla="*/ 1011730 w 2082217"/>
                  <a:gd name="connsiteY576" fmla="*/ 116577 h 2066613"/>
                  <a:gd name="connsiteX577" fmla="*/ 1016593 w 2082217"/>
                  <a:gd name="connsiteY577" fmla="*/ 121345 h 2066613"/>
                  <a:gd name="connsiteX578" fmla="*/ 1020718 w 2082217"/>
                  <a:gd name="connsiteY578" fmla="*/ 125733 h 2066613"/>
                  <a:gd name="connsiteX579" fmla="*/ 1024723 w 2082217"/>
                  <a:gd name="connsiteY579" fmla="*/ 130221 h 2066613"/>
                  <a:gd name="connsiteX580" fmla="*/ 1029147 w 2082217"/>
                  <a:gd name="connsiteY580" fmla="*/ 135647 h 2066613"/>
                  <a:gd name="connsiteX581" fmla="*/ 1033472 w 2082217"/>
                  <a:gd name="connsiteY581" fmla="*/ 141172 h 2066613"/>
                  <a:gd name="connsiteX582" fmla="*/ 1037457 w 2082217"/>
                  <a:gd name="connsiteY582" fmla="*/ 146937 h 2066613"/>
                  <a:gd name="connsiteX583" fmla="*/ 1039430 w 2082217"/>
                  <a:gd name="connsiteY583" fmla="*/ 149829 h 2066613"/>
                  <a:gd name="connsiteX584" fmla="*/ 1040427 w 2082217"/>
                  <a:gd name="connsiteY584" fmla="*/ 151285 h 2066613"/>
                  <a:gd name="connsiteX585" fmla="*/ 1040925 w 2082217"/>
                  <a:gd name="connsiteY585" fmla="*/ 152003 h 2066613"/>
                  <a:gd name="connsiteX586" fmla="*/ 1041184 w 2082217"/>
                  <a:gd name="connsiteY586" fmla="*/ 152362 h 2066613"/>
                  <a:gd name="connsiteX587" fmla="*/ 1041563 w 2082217"/>
                  <a:gd name="connsiteY587" fmla="*/ 152342 h 2066613"/>
                  <a:gd name="connsiteX588" fmla="*/ 1049534 w 2082217"/>
                  <a:gd name="connsiteY588" fmla="*/ 140813 h 2066613"/>
                  <a:gd name="connsiteX589" fmla="*/ 1053858 w 2082217"/>
                  <a:gd name="connsiteY589" fmla="*/ 135287 h 2066613"/>
                  <a:gd name="connsiteX590" fmla="*/ 1058322 w 2082217"/>
                  <a:gd name="connsiteY590" fmla="*/ 129882 h 2066613"/>
                  <a:gd name="connsiteX591" fmla="*/ 1067907 w 2082217"/>
                  <a:gd name="connsiteY591" fmla="*/ 119629 h 2066613"/>
                  <a:gd name="connsiteX592" fmla="*/ 1074922 w 2082217"/>
                  <a:gd name="connsiteY592" fmla="*/ 112767 h 2066613"/>
                  <a:gd name="connsiteX593" fmla="*/ 1083431 w 2082217"/>
                  <a:gd name="connsiteY593" fmla="*/ 105467 h 2066613"/>
                  <a:gd name="connsiteX594" fmla="*/ 1101147 w 2082217"/>
                  <a:gd name="connsiteY594" fmla="*/ 91703 h 2066613"/>
                  <a:gd name="connsiteX595" fmla="*/ 1110473 w 2082217"/>
                  <a:gd name="connsiteY595" fmla="*/ 85460 h 2066613"/>
                  <a:gd name="connsiteX596" fmla="*/ 1119979 w 2082217"/>
                  <a:gd name="connsiteY596" fmla="*/ 79476 h 2066613"/>
                  <a:gd name="connsiteX597" fmla="*/ 1178587 w 2082217"/>
                  <a:gd name="connsiteY597" fmla="*/ 54023 h 2066613"/>
                  <a:gd name="connsiteX598" fmla="*/ 1240762 w 2082217"/>
                  <a:gd name="connsiteY598" fmla="*/ 42055 h 2066613"/>
                  <a:gd name="connsiteX599" fmla="*/ 1256465 w 2082217"/>
                  <a:gd name="connsiteY599" fmla="*/ 40938 h 2066613"/>
                  <a:gd name="connsiteX600" fmla="*/ 1272148 w 2082217"/>
                  <a:gd name="connsiteY600" fmla="*/ 40559 h 2066613"/>
                  <a:gd name="connsiteX601" fmla="*/ 1304252 w 2082217"/>
                  <a:gd name="connsiteY601" fmla="*/ 42514 h 2066613"/>
                  <a:gd name="connsiteX602" fmla="*/ 1335878 w 2082217"/>
                  <a:gd name="connsiteY602" fmla="*/ 48438 h 2066613"/>
                  <a:gd name="connsiteX603" fmla="*/ 1343630 w 2082217"/>
                  <a:gd name="connsiteY603" fmla="*/ 50593 h 2066613"/>
                  <a:gd name="connsiteX604" fmla="*/ 1347496 w 2082217"/>
                  <a:gd name="connsiteY604" fmla="*/ 51690 h 2066613"/>
                  <a:gd name="connsiteX605" fmla="*/ 1351302 w 2082217"/>
                  <a:gd name="connsiteY605" fmla="*/ 52946 h 2066613"/>
                  <a:gd name="connsiteX606" fmla="*/ 1358914 w 2082217"/>
                  <a:gd name="connsiteY606" fmla="*/ 55480 h 2066613"/>
                  <a:gd name="connsiteX607" fmla="*/ 1366407 w 2082217"/>
                  <a:gd name="connsiteY607" fmla="*/ 58352 h 2066613"/>
                  <a:gd name="connsiteX608" fmla="*/ 1471108 w 2082217"/>
                  <a:gd name="connsiteY608" fmla="*/ 128765 h 2066613"/>
                  <a:gd name="connsiteX609" fmla="*/ 1511183 w 2082217"/>
                  <a:gd name="connsiteY609" fmla="*/ 176937 h 2066613"/>
                  <a:gd name="connsiteX610" fmla="*/ 1543148 w 2082217"/>
                  <a:gd name="connsiteY610" fmla="*/ 230415 h 2066613"/>
                  <a:gd name="connsiteX611" fmla="*/ 1549365 w 2082217"/>
                  <a:gd name="connsiteY611" fmla="*/ 243260 h 2066613"/>
                  <a:gd name="connsiteX612" fmla="*/ 1555184 w 2082217"/>
                  <a:gd name="connsiteY612" fmla="*/ 256286 h 2066613"/>
                  <a:gd name="connsiteX613" fmla="*/ 1560585 w 2082217"/>
                  <a:gd name="connsiteY613" fmla="*/ 269471 h 2066613"/>
                  <a:gd name="connsiteX614" fmla="*/ 1561202 w 2082217"/>
                  <a:gd name="connsiteY614" fmla="*/ 271007 h 2066613"/>
                  <a:gd name="connsiteX615" fmla="*/ 1561601 w 2082217"/>
                  <a:gd name="connsiteY615" fmla="*/ 272104 h 2066613"/>
                  <a:gd name="connsiteX616" fmla="*/ 1562418 w 2082217"/>
                  <a:gd name="connsiteY616" fmla="*/ 274278 h 2066613"/>
                  <a:gd name="connsiteX617" fmla="*/ 1564032 w 2082217"/>
                  <a:gd name="connsiteY617" fmla="*/ 278626 h 2066613"/>
                  <a:gd name="connsiteX618" fmla="*/ 1566543 w 2082217"/>
                  <a:gd name="connsiteY618" fmla="*/ 285927 h 2066613"/>
                  <a:gd name="connsiteX619" fmla="*/ 1567161 w 2082217"/>
                  <a:gd name="connsiteY619" fmla="*/ 287762 h 2066613"/>
                  <a:gd name="connsiteX620" fmla="*/ 1567480 w 2082217"/>
                  <a:gd name="connsiteY620" fmla="*/ 288680 h 2066613"/>
                  <a:gd name="connsiteX621" fmla="*/ 1568336 w 2082217"/>
                  <a:gd name="connsiteY621" fmla="*/ 289039 h 2066613"/>
                  <a:gd name="connsiteX622" fmla="*/ 1572043 w 2082217"/>
                  <a:gd name="connsiteY622" fmla="*/ 290136 h 2066613"/>
                  <a:gd name="connsiteX623" fmla="*/ 1579416 w 2082217"/>
                  <a:gd name="connsiteY623" fmla="*/ 292450 h 2066613"/>
                  <a:gd name="connsiteX624" fmla="*/ 1583063 w 2082217"/>
                  <a:gd name="connsiteY624" fmla="*/ 293686 h 2066613"/>
                  <a:gd name="connsiteX625" fmla="*/ 1584976 w 2082217"/>
                  <a:gd name="connsiteY625" fmla="*/ 294345 h 2066613"/>
                  <a:gd name="connsiteX626" fmla="*/ 1587746 w 2082217"/>
                  <a:gd name="connsiteY626" fmla="*/ 295402 h 2066613"/>
                  <a:gd name="connsiteX627" fmla="*/ 1598846 w 2082217"/>
                  <a:gd name="connsiteY627" fmla="*/ 299710 h 2066613"/>
                  <a:gd name="connsiteX628" fmla="*/ 1609986 w 2082217"/>
                  <a:gd name="connsiteY628" fmla="*/ 304478 h 2066613"/>
                  <a:gd name="connsiteX629" fmla="*/ 1620946 w 2082217"/>
                  <a:gd name="connsiteY629" fmla="*/ 309664 h 2066613"/>
                  <a:gd name="connsiteX630" fmla="*/ 1631727 w 2082217"/>
                  <a:gd name="connsiteY630" fmla="*/ 315209 h 2066613"/>
                  <a:gd name="connsiteX631" fmla="*/ 1709964 w 2082217"/>
                  <a:gd name="connsiteY631" fmla="*/ 372118 h 2066613"/>
                  <a:gd name="connsiteX632" fmla="*/ 1750976 w 2082217"/>
                  <a:gd name="connsiteY632" fmla="*/ 419991 h 2066613"/>
                  <a:gd name="connsiteX633" fmla="*/ 1782282 w 2082217"/>
                  <a:gd name="connsiteY633" fmla="*/ 474865 h 2066613"/>
                  <a:gd name="connsiteX634" fmla="*/ 1802330 w 2082217"/>
                  <a:gd name="connsiteY634" fmla="*/ 534905 h 2066613"/>
                  <a:gd name="connsiteX635" fmla="*/ 1809942 w 2082217"/>
                  <a:gd name="connsiteY635" fmla="*/ 597758 h 2066613"/>
                  <a:gd name="connsiteX636" fmla="*/ 1809743 w 2082217"/>
                  <a:gd name="connsiteY636" fmla="*/ 619760 h 2066613"/>
                  <a:gd name="connsiteX637" fmla="*/ 1809125 w 2082217"/>
                  <a:gd name="connsiteY637" fmla="*/ 629554 h 2066613"/>
                  <a:gd name="connsiteX638" fmla="*/ 1808428 w 2082217"/>
                  <a:gd name="connsiteY638" fmla="*/ 636475 h 2066613"/>
                  <a:gd name="connsiteX639" fmla="*/ 1807292 w 2082217"/>
                  <a:gd name="connsiteY639" fmla="*/ 644674 h 2066613"/>
                  <a:gd name="connsiteX640" fmla="*/ 1806594 w 2082217"/>
                  <a:gd name="connsiteY640" fmla="*/ 648763 h 2066613"/>
                  <a:gd name="connsiteX641" fmla="*/ 1806415 w 2082217"/>
                  <a:gd name="connsiteY641" fmla="*/ 649780 h 2066613"/>
                  <a:gd name="connsiteX642" fmla="*/ 1806355 w 2082217"/>
                  <a:gd name="connsiteY642" fmla="*/ 650299 h 2066613"/>
                  <a:gd name="connsiteX643" fmla="*/ 1806754 w 2082217"/>
                  <a:gd name="connsiteY643" fmla="*/ 650618 h 2066613"/>
                  <a:gd name="connsiteX644" fmla="*/ 1808507 w 2082217"/>
                  <a:gd name="connsiteY644" fmla="*/ 651715 h 2066613"/>
                  <a:gd name="connsiteX645" fmla="*/ 1815522 w 2082217"/>
                  <a:gd name="connsiteY645" fmla="*/ 656103 h 2066613"/>
                  <a:gd name="connsiteX646" fmla="*/ 1819029 w 2082217"/>
                  <a:gd name="connsiteY646" fmla="*/ 658317 h 2066613"/>
                  <a:gd name="connsiteX647" fmla="*/ 1822397 w 2082217"/>
                  <a:gd name="connsiteY647" fmla="*/ 660731 h 2066613"/>
                  <a:gd name="connsiteX648" fmla="*/ 1830986 w 2082217"/>
                  <a:gd name="connsiteY648" fmla="*/ 666874 h 2066613"/>
                  <a:gd name="connsiteX649" fmla="*/ 1836128 w 2082217"/>
                  <a:gd name="connsiteY649" fmla="*/ 670864 h 2066613"/>
                  <a:gd name="connsiteX650" fmla="*/ 1841169 w 2082217"/>
                  <a:gd name="connsiteY650" fmla="*/ 674973 h 2066613"/>
                  <a:gd name="connsiteX651" fmla="*/ 1851193 w 2082217"/>
                  <a:gd name="connsiteY651" fmla="*/ 683231 h 2066613"/>
                  <a:gd name="connsiteX652" fmla="*/ 1860739 w 2082217"/>
                  <a:gd name="connsiteY652" fmla="*/ 692067 h 2066613"/>
                  <a:gd name="connsiteX653" fmla="*/ 1879032 w 2082217"/>
                  <a:gd name="connsiteY653" fmla="*/ 710518 h 2066613"/>
                  <a:gd name="connsiteX654" fmla="*/ 1887621 w 2082217"/>
                  <a:gd name="connsiteY654" fmla="*/ 720273 h 2066613"/>
                  <a:gd name="connsiteX655" fmla="*/ 1895971 w 2082217"/>
                  <a:gd name="connsiteY655" fmla="*/ 730246 h 2066613"/>
                  <a:gd name="connsiteX656" fmla="*/ 1903743 w 2082217"/>
                  <a:gd name="connsiteY656" fmla="*/ 740678 h 2066613"/>
                  <a:gd name="connsiteX657" fmla="*/ 1907589 w 2082217"/>
                  <a:gd name="connsiteY657" fmla="*/ 745924 h 2066613"/>
                  <a:gd name="connsiteX658" fmla="*/ 1911335 w 2082217"/>
                  <a:gd name="connsiteY658" fmla="*/ 751250 h 2066613"/>
                  <a:gd name="connsiteX659" fmla="*/ 1918350 w 2082217"/>
                  <a:gd name="connsiteY659" fmla="*/ 762221 h 2066613"/>
                  <a:gd name="connsiteX660" fmla="*/ 1921857 w 2082217"/>
                  <a:gd name="connsiteY660" fmla="*/ 767706 h 2066613"/>
                  <a:gd name="connsiteX661" fmla="*/ 1925066 w 2082217"/>
                  <a:gd name="connsiteY661" fmla="*/ 773371 h 2066613"/>
                  <a:gd name="connsiteX662" fmla="*/ 1932678 w 2082217"/>
                  <a:gd name="connsiteY662" fmla="*/ 787175 h 2066613"/>
                  <a:gd name="connsiteX663" fmla="*/ 1939454 w 2082217"/>
                  <a:gd name="connsiteY663" fmla="*/ 801417 h 2066613"/>
                  <a:gd name="connsiteX664" fmla="*/ 1942802 w 2082217"/>
                  <a:gd name="connsiteY664" fmla="*/ 808558 h 2066613"/>
                  <a:gd name="connsiteX665" fmla="*/ 1945691 w 2082217"/>
                  <a:gd name="connsiteY665" fmla="*/ 815898 h 2066613"/>
                  <a:gd name="connsiteX666" fmla="*/ 1951371 w 2082217"/>
                  <a:gd name="connsiteY666" fmla="*/ 830619 h 2066613"/>
                  <a:gd name="connsiteX667" fmla="*/ 1956133 w 2082217"/>
                  <a:gd name="connsiteY667" fmla="*/ 845659 h 2066613"/>
                  <a:gd name="connsiteX668" fmla="*/ 1958405 w 2082217"/>
                  <a:gd name="connsiteY668" fmla="*/ 853219 h 2066613"/>
                  <a:gd name="connsiteX669" fmla="*/ 1960278 w 2082217"/>
                  <a:gd name="connsiteY669" fmla="*/ 860879 h 2066613"/>
                  <a:gd name="connsiteX670" fmla="*/ 1962152 w 2082217"/>
                  <a:gd name="connsiteY670" fmla="*/ 868538 h 2066613"/>
                  <a:gd name="connsiteX671" fmla="*/ 1963865 w 2082217"/>
                  <a:gd name="connsiteY671" fmla="*/ 876238 h 2066613"/>
                  <a:gd name="connsiteX672" fmla="*/ 1966556 w 2082217"/>
                  <a:gd name="connsiteY672" fmla="*/ 891797 h 2066613"/>
                  <a:gd name="connsiteX673" fmla="*/ 1968528 w 2082217"/>
                  <a:gd name="connsiteY673" fmla="*/ 907435 h 2066613"/>
                  <a:gd name="connsiteX674" fmla="*/ 1969326 w 2082217"/>
                  <a:gd name="connsiteY674" fmla="*/ 915274 h 2066613"/>
                  <a:gd name="connsiteX675" fmla="*/ 1969923 w 2082217"/>
                  <a:gd name="connsiteY675" fmla="*/ 923133 h 2066613"/>
                  <a:gd name="connsiteX676" fmla="*/ 1970442 w 2082217"/>
                  <a:gd name="connsiteY676" fmla="*/ 954650 h 2066613"/>
                  <a:gd name="connsiteX677" fmla="*/ 1962729 w 2082217"/>
                  <a:gd name="connsiteY677" fmla="*/ 1017203 h 2066613"/>
                  <a:gd name="connsiteX678" fmla="*/ 1961036 w 2082217"/>
                  <a:gd name="connsiteY678" fmla="*/ 1024544 h 2066613"/>
                  <a:gd name="connsiteX679" fmla="*/ 1959182 w 2082217"/>
                  <a:gd name="connsiteY679" fmla="*/ 1031844 h 2066613"/>
                  <a:gd name="connsiteX680" fmla="*/ 1958365 w 2082217"/>
                  <a:gd name="connsiteY680" fmla="*/ 1034916 h 2066613"/>
                  <a:gd name="connsiteX681" fmla="*/ 1957708 w 2082217"/>
                  <a:gd name="connsiteY681" fmla="*/ 1037210 h 2066613"/>
                  <a:gd name="connsiteX682" fmla="*/ 1956333 w 2082217"/>
                  <a:gd name="connsiteY682" fmla="*/ 1041798 h 2066613"/>
                  <a:gd name="connsiteX683" fmla="*/ 1953523 w 2082217"/>
                  <a:gd name="connsiteY683" fmla="*/ 1050176 h 2066613"/>
                  <a:gd name="connsiteX684" fmla="*/ 1952766 w 2082217"/>
                  <a:gd name="connsiteY684" fmla="*/ 1052250 h 2066613"/>
                  <a:gd name="connsiteX685" fmla="*/ 1952387 w 2082217"/>
                  <a:gd name="connsiteY685" fmla="*/ 1053287 h 2066613"/>
                  <a:gd name="connsiteX686" fmla="*/ 1952606 w 2082217"/>
                  <a:gd name="connsiteY686" fmla="*/ 1053746 h 2066613"/>
                  <a:gd name="connsiteX687" fmla="*/ 1952965 w 2082217"/>
                  <a:gd name="connsiteY687" fmla="*/ 1054165 h 2066613"/>
                  <a:gd name="connsiteX688" fmla="*/ 1955874 w 2082217"/>
                  <a:gd name="connsiteY688" fmla="*/ 1057496 h 2066613"/>
                  <a:gd name="connsiteX689" fmla="*/ 1961673 w 2082217"/>
                  <a:gd name="connsiteY689" fmla="*/ 1064358 h 2066613"/>
                  <a:gd name="connsiteX690" fmla="*/ 1964563 w 2082217"/>
                  <a:gd name="connsiteY690" fmla="*/ 1067968 h 2066613"/>
                  <a:gd name="connsiteX691" fmla="*/ 1967831 w 2082217"/>
                  <a:gd name="connsiteY691" fmla="*/ 1072237 h 2066613"/>
                  <a:gd name="connsiteX692" fmla="*/ 1997703 w 2082217"/>
                  <a:gd name="connsiteY692" fmla="*/ 1118694 h 2066613"/>
                  <a:gd name="connsiteX693" fmla="*/ 2035247 w 2082217"/>
                  <a:gd name="connsiteY693" fmla="*/ 1222438 h 2066613"/>
                  <a:gd name="connsiteX694" fmla="*/ 2041823 w 2082217"/>
                  <a:gd name="connsiteY694" fmla="*/ 1284912 h 2066613"/>
                  <a:gd name="connsiteX695" fmla="*/ 2037738 w 2082217"/>
                  <a:gd name="connsiteY695" fmla="*/ 1347585 h 2066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</a:cxnLst>
                <a:rect l="l" t="t" r="r" b="b"/>
                <a:pathLst>
                  <a:path w="2082217" h="2066613">
                    <a:moveTo>
                      <a:pt x="2082217" y="1284054"/>
                    </a:moveTo>
                    <a:cubicBezTo>
                      <a:pt x="2081779" y="1260776"/>
                      <a:pt x="2079348" y="1237478"/>
                      <a:pt x="2074884" y="1214579"/>
                    </a:cubicBezTo>
                    <a:cubicBezTo>
                      <a:pt x="2066773" y="1174286"/>
                      <a:pt x="2052903" y="1135110"/>
                      <a:pt x="2033175" y="1099245"/>
                    </a:cubicBezTo>
                    <a:cubicBezTo>
                      <a:pt x="2023350" y="1081313"/>
                      <a:pt x="2012410" y="1063979"/>
                      <a:pt x="2000074" y="1047762"/>
                    </a:cubicBezTo>
                    <a:cubicBezTo>
                      <a:pt x="1997962" y="1044870"/>
                      <a:pt x="1998620" y="1045787"/>
                      <a:pt x="1998321" y="1045388"/>
                    </a:cubicBezTo>
                    <a:lnTo>
                      <a:pt x="1997922" y="1044910"/>
                    </a:lnTo>
                    <a:lnTo>
                      <a:pt x="1997623" y="1044551"/>
                    </a:lnTo>
                    <a:lnTo>
                      <a:pt x="1997703" y="1044271"/>
                    </a:lnTo>
                    <a:lnTo>
                      <a:pt x="1998241" y="1042237"/>
                    </a:lnTo>
                    <a:cubicBezTo>
                      <a:pt x="1998978" y="1039524"/>
                      <a:pt x="1999676" y="1036791"/>
                      <a:pt x="2000313" y="1034058"/>
                    </a:cubicBezTo>
                    <a:cubicBezTo>
                      <a:pt x="2000991" y="1031326"/>
                      <a:pt x="2001629" y="1028593"/>
                      <a:pt x="2002207" y="1025840"/>
                    </a:cubicBezTo>
                    <a:cubicBezTo>
                      <a:pt x="2007229" y="1002841"/>
                      <a:pt x="2010118" y="979364"/>
                      <a:pt x="2010835" y="955886"/>
                    </a:cubicBezTo>
                    <a:cubicBezTo>
                      <a:pt x="2011334" y="944157"/>
                      <a:pt x="2010636" y="932409"/>
                      <a:pt x="2010257" y="920680"/>
                    </a:cubicBezTo>
                    <a:cubicBezTo>
                      <a:pt x="2010218" y="917748"/>
                      <a:pt x="2009879" y="914815"/>
                      <a:pt x="2009580" y="911883"/>
                    </a:cubicBezTo>
                    <a:lnTo>
                      <a:pt x="2008683" y="903107"/>
                    </a:lnTo>
                    <a:cubicBezTo>
                      <a:pt x="2008026" y="897262"/>
                      <a:pt x="2007607" y="891398"/>
                      <a:pt x="2006471" y="885613"/>
                    </a:cubicBezTo>
                    <a:lnTo>
                      <a:pt x="2003442" y="868219"/>
                    </a:lnTo>
                    <a:cubicBezTo>
                      <a:pt x="2003004" y="865307"/>
                      <a:pt x="2002187" y="862475"/>
                      <a:pt x="2001529" y="859602"/>
                    </a:cubicBezTo>
                    <a:lnTo>
                      <a:pt x="1999437" y="851025"/>
                    </a:lnTo>
                    <a:lnTo>
                      <a:pt x="1997324" y="842448"/>
                    </a:lnTo>
                    <a:cubicBezTo>
                      <a:pt x="1996667" y="839575"/>
                      <a:pt x="1995630" y="836803"/>
                      <a:pt x="1994793" y="833990"/>
                    </a:cubicBezTo>
                    <a:lnTo>
                      <a:pt x="1989453" y="817155"/>
                    </a:lnTo>
                    <a:cubicBezTo>
                      <a:pt x="1987440" y="811630"/>
                      <a:pt x="1985228" y="806164"/>
                      <a:pt x="1983116" y="800699"/>
                    </a:cubicBezTo>
                    <a:lnTo>
                      <a:pt x="1979867" y="792501"/>
                    </a:lnTo>
                    <a:lnTo>
                      <a:pt x="1976141" y="784502"/>
                    </a:lnTo>
                    <a:cubicBezTo>
                      <a:pt x="1973630" y="779196"/>
                      <a:pt x="1971199" y="773830"/>
                      <a:pt x="1968548" y="768584"/>
                    </a:cubicBezTo>
                    <a:lnTo>
                      <a:pt x="1960059" y="753165"/>
                    </a:lnTo>
                    <a:cubicBezTo>
                      <a:pt x="1958863" y="751051"/>
                      <a:pt x="1957748" y="748896"/>
                      <a:pt x="1956472" y="746842"/>
                    </a:cubicBezTo>
                    <a:lnTo>
                      <a:pt x="1952566" y="740718"/>
                    </a:lnTo>
                    <a:lnTo>
                      <a:pt x="1944715" y="728491"/>
                    </a:lnTo>
                    <a:cubicBezTo>
                      <a:pt x="1943439" y="726416"/>
                      <a:pt x="1941965" y="724501"/>
                      <a:pt x="1940550" y="722546"/>
                    </a:cubicBezTo>
                    <a:lnTo>
                      <a:pt x="1936265" y="716682"/>
                    </a:lnTo>
                    <a:cubicBezTo>
                      <a:pt x="1933376" y="712812"/>
                      <a:pt x="1930586" y="708843"/>
                      <a:pt x="1927577" y="705053"/>
                    </a:cubicBezTo>
                    <a:lnTo>
                      <a:pt x="1918290" y="693923"/>
                    </a:lnTo>
                    <a:cubicBezTo>
                      <a:pt x="1915182" y="690212"/>
                      <a:pt x="1912113" y="686482"/>
                      <a:pt x="1908705" y="683051"/>
                    </a:cubicBezTo>
                    <a:cubicBezTo>
                      <a:pt x="1902029" y="676090"/>
                      <a:pt x="1895553" y="668889"/>
                      <a:pt x="1888319" y="662486"/>
                    </a:cubicBezTo>
                    <a:lnTo>
                      <a:pt x="1877677" y="652672"/>
                    </a:lnTo>
                    <a:cubicBezTo>
                      <a:pt x="1874030" y="649521"/>
                      <a:pt x="1870244" y="646529"/>
                      <a:pt x="1866518" y="643457"/>
                    </a:cubicBezTo>
                    <a:lnTo>
                      <a:pt x="1860898" y="638889"/>
                    </a:lnTo>
                    <a:cubicBezTo>
                      <a:pt x="1859025" y="637373"/>
                      <a:pt x="1857171" y="635837"/>
                      <a:pt x="1855179" y="634461"/>
                    </a:cubicBezTo>
                    <a:lnTo>
                      <a:pt x="1849878" y="630651"/>
                    </a:lnTo>
                    <a:lnTo>
                      <a:pt x="1849499" y="630411"/>
                    </a:lnTo>
                    <a:cubicBezTo>
                      <a:pt x="1849519" y="630292"/>
                      <a:pt x="1849539" y="630132"/>
                      <a:pt x="1849539" y="630012"/>
                    </a:cubicBezTo>
                    <a:lnTo>
                      <a:pt x="1849539" y="629913"/>
                    </a:lnTo>
                    <a:cubicBezTo>
                      <a:pt x="1849539" y="629913"/>
                      <a:pt x="1849539" y="629913"/>
                      <a:pt x="1849539" y="629813"/>
                    </a:cubicBezTo>
                    <a:lnTo>
                      <a:pt x="1849539" y="629434"/>
                    </a:lnTo>
                    <a:lnTo>
                      <a:pt x="1849659" y="627878"/>
                    </a:lnTo>
                    <a:lnTo>
                      <a:pt x="1850017" y="621675"/>
                    </a:lnTo>
                    <a:cubicBezTo>
                      <a:pt x="1850396" y="613417"/>
                      <a:pt x="1850535" y="605139"/>
                      <a:pt x="1850256" y="596881"/>
                    </a:cubicBezTo>
                    <a:cubicBezTo>
                      <a:pt x="1849738" y="573084"/>
                      <a:pt x="1846909" y="549267"/>
                      <a:pt x="1841668" y="525989"/>
                    </a:cubicBezTo>
                    <a:cubicBezTo>
                      <a:pt x="1836367" y="502711"/>
                      <a:pt x="1828774" y="479991"/>
                      <a:pt x="1819069" y="458289"/>
                    </a:cubicBezTo>
                    <a:cubicBezTo>
                      <a:pt x="1809424" y="436547"/>
                      <a:pt x="1797507" y="415882"/>
                      <a:pt x="1783857" y="396593"/>
                    </a:cubicBezTo>
                    <a:cubicBezTo>
                      <a:pt x="1770186" y="377304"/>
                      <a:pt x="1754842" y="359272"/>
                      <a:pt x="1737903" y="342955"/>
                    </a:cubicBezTo>
                    <a:cubicBezTo>
                      <a:pt x="1711877" y="317723"/>
                      <a:pt x="1682304" y="296459"/>
                      <a:pt x="1650579" y="279424"/>
                    </a:cubicBezTo>
                    <a:cubicBezTo>
                      <a:pt x="1646573" y="277370"/>
                      <a:pt x="1642628" y="275196"/>
                      <a:pt x="1638562" y="273241"/>
                    </a:cubicBezTo>
                    <a:lnTo>
                      <a:pt x="1626367" y="267476"/>
                    </a:lnTo>
                    <a:lnTo>
                      <a:pt x="1613971" y="262170"/>
                    </a:lnTo>
                    <a:cubicBezTo>
                      <a:pt x="1609886" y="260475"/>
                      <a:pt x="1605980" y="259078"/>
                      <a:pt x="1601975" y="257523"/>
                    </a:cubicBezTo>
                    <a:lnTo>
                      <a:pt x="1598726" y="256286"/>
                    </a:lnTo>
                    <a:lnTo>
                      <a:pt x="1598069" y="254630"/>
                    </a:lnTo>
                    <a:cubicBezTo>
                      <a:pt x="1596116" y="249863"/>
                      <a:pt x="1594223" y="245076"/>
                      <a:pt x="1592210" y="240328"/>
                    </a:cubicBezTo>
                    <a:cubicBezTo>
                      <a:pt x="1590118" y="235601"/>
                      <a:pt x="1588065" y="230873"/>
                      <a:pt x="1585893" y="226166"/>
                    </a:cubicBezTo>
                    <a:cubicBezTo>
                      <a:pt x="1583641" y="221498"/>
                      <a:pt x="1581449" y="216811"/>
                      <a:pt x="1579118" y="212183"/>
                    </a:cubicBezTo>
                    <a:cubicBezTo>
                      <a:pt x="1568934" y="192017"/>
                      <a:pt x="1557296" y="172409"/>
                      <a:pt x="1544124" y="153619"/>
                    </a:cubicBezTo>
                    <a:cubicBezTo>
                      <a:pt x="1530952" y="134849"/>
                      <a:pt x="1516225" y="116896"/>
                      <a:pt x="1499725" y="100261"/>
                    </a:cubicBezTo>
                    <a:lnTo>
                      <a:pt x="1493507" y="94057"/>
                    </a:lnTo>
                    <a:cubicBezTo>
                      <a:pt x="1491415" y="92003"/>
                      <a:pt x="1489223" y="90028"/>
                      <a:pt x="1487071" y="88033"/>
                    </a:cubicBezTo>
                    <a:cubicBezTo>
                      <a:pt x="1482806" y="83984"/>
                      <a:pt x="1478282" y="80154"/>
                      <a:pt x="1473799" y="76304"/>
                    </a:cubicBezTo>
                    <a:cubicBezTo>
                      <a:pt x="1469315" y="72435"/>
                      <a:pt x="1464532" y="68844"/>
                      <a:pt x="1459909" y="65154"/>
                    </a:cubicBezTo>
                    <a:lnTo>
                      <a:pt x="1452655" y="59868"/>
                    </a:lnTo>
                    <a:cubicBezTo>
                      <a:pt x="1450244" y="58113"/>
                      <a:pt x="1447833" y="56337"/>
                      <a:pt x="1445302" y="54702"/>
                    </a:cubicBezTo>
                    <a:cubicBezTo>
                      <a:pt x="1425414" y="41257"/>
                      <a:pt x="1403971" y="29469"/>
                      <a:pt x="1380974" y="20592"/>
                    </a:cubicBezTo>
                    <a:lnTo>
                      <a:pt x="1372346" y="17301"/>
                    </a:lnTo>
                    <a:lnTo>
                      <a:pt x="1363558" y="14369"/>
                    </a:lnTo>
                    <a:lnTo>
                      <a:pt x="1359153" y="12933"/>
                    </a:lnTo>
                    <a:lnTo>
                      <a:pt x="1354690" y="11656"/>
                    </a:lnTo>
                    <a:lnTo>
                      <a:pt x="1345722" y="9163"/>
                    </a:lnTo>
                    <a:cubicBezTo>
                      <a:pt x="1333646" y="6231"/>
                      <a:pt x="1321450" y="3677"/>
                      <a:pt x="1309035" y="2281"/>
                    </a:cubicBezTo>
                    <a:cubicBezTo>
                      <a:pt x="1302857" y="1403"/>
                      <a:pt x="1296640" y="1004"/>
                      <a:pt x="1290422" y="546"/>
                    </a:cubicBezTo>
                    <a:cubicBezTo>
                      <a:pt x="1287313" y="266"/>
                      <a:pt x="1284205" y="286"/>
                      <a:pt x="1281076" y="167"/>
                    </a:cubicBezTo>
                    <a:cubicBezTo>
                      <a:pt x="1278007" y="107"/>
                      <a:pt x="1274759" y="-33"/>
                      <a:pt x="1271829" y="7"/>
                    </a:cubicBezTo>
                    <a:lnTo>
                      <a:pt x="1254412" y="426"/>
                    </a:lnTo>
                    <a:cubicBezTo>
                      <a:pt x="1248593" y="685"/>
                      <a:pt x="1242735" y="1244"/>
                      <a:pt x="1236896" y="1663"/>
                    </a:cubicBezTo>
                    <a:cubicBezTo>
                      <a:pt x="1213481" y="3837"/>
                      <a:pt x="1189846" y="8185"/>
                      <a:pt x="1166610" y="15227"/>
                    </a:cubicBezTo>
                    <a:cubicBezTo>
                      <a:pt x="1143394" y="22268"/>
                      <a:pt x="1120577" y="31942"/>
                      <a:pt x="1099274" y="44509"/>
                    </a:cubicBezTo>
                    <a:cubicBezTo>
                      <a:pt x="1095547" y="46683"/>
                      <a:pt x="1091960" y="49097"/>
                      <a:pt x="1088293" y="51390"/>
                    </a:cubicBezTo>
                    <a:cubicBezTo>
                      <a:pt x="1084687" y="53764"/>
                      <a:pt x="1080940" y="55958"/>
                      <a:pt x="1077532" y="58591"/>
                    </a:cubicBezTo>
                    <a:cubicBezTo>
                      <a:pt x="1070617" y="63738"/>
                      <a:pt x="1063523" y="68704"/>
                      <a:pt x="1057126" y="74429"/>
                    </a:cubicBezTo>
                    <a:lnTo>
                      <a:pt x="1047342" y="82827"/>
                    </a:lnTo>
                    <a:lnTo>
                      <a:pt x="1042738" y="87295"/>
                    </a:lnTo>
                    <a:lnTo>
                      <a:pt x="1041582" y="88412"/>
                    </a:lnTo>
                    <a:cubicBezTo>
                      <a:pt x="1041303" y="88691"/>
                      <a:pt x="1041443" y="88552"/>
                      <a:pt x="1041383" y="88592"/>
                    </a:cubicBezTo>
                    <a:lnTo>
                      <a:pt x="1041323" y="88631"/>
                    </a:lnTo>
                    <a:cubicBezTo>
                      <a:pt x="1041323" y="88631"/>
                      <a:pt x="1041204" y="88751"/>
                      <a:pt x="1041144" y="88851"/>
                    </a:cubicBezTo>
                    <a:lnTo>
                      <a:pt x="1041104" y="88911"/>
                    </a:lnTo>
                    <a:lnTo>
                      <a:pt x="1041024" y="88771"/>
                    </a:lnTo>
                    <a:cubicBezTo>
                      <a:pt x="1041024" y="88771"/>
                      <a:pt x="1040925" y="88651"/>
                      <a:pt x="1040865" y="88612"/>
                    </a:cubicBezTo>
                    <a:lnTo>
                      <a:pt x="1040825" y="88572"/>
                    </a:lnTo>
                    <a:lnTo>
                      <a:pt x="1040387" y="88153"/>
                    </a:lnTo>
                    <a:lnTo>
                      <a:pt x="1039410" y="87195"/>
                    </a:lnTo>
                    <a:lnTo>
                      <a:pt x="1035465" y="83365"/>
                    </a:lnTo>
                    <a:cubicBezTo>
                      <a:pt x="1034149" y="82089"/>
                      <a:pt x="1032695" y="80932"/>
                      <a:pt x="1031320" y="79715"/>
                    </a:cubicBezTo>
                    <a:cubicBezTo>
                      <a:pt x="1020260" y="69961"/>
                      <a:pt x="1008522" y="60825"/>
                      <a:pt x="996067" y="52727"/>
                    </a:cubicBezTo>
                    <a:cubicBezTo>
                      <a:pt x="975442" y="39163"/>
                      <a:pt x="953162" y="27993"/>
                      <a:pt x="930126" y="19914"/>
                    </a:cubicBezTo>
                    <a:cubicBezTo>
                      <a:pt x="907109" y="11776"/>
                      <a:pt x="883494" y="6390"/>
                      <a:pt x="860039" y="3318"/>
                    </a:cubicBezTo>
                    <a:lnTo>
                      <a:pt x="851231" y="2201"/>
                    </a:lnTo>
                    <a:cubicBezTo>
                      <a:pt x="848302" y="1822"/>
                      <a:pt x="845392" y="1703"/>
                      <a:pt x="842463" y="1443"/>
                    </a:cubicBezTo>
                    <a:lnTo>
                      <a:pt x="833695" y="785"/>
                    </a:lnTo>
                    <a:lnTo>
                      <a:pt x="829311" y="486"/>
                    </a:lnTo>
                    <a:lnTo>
                      <a:pt x="824966" y="366"/>
                    </a:lnTo>
                    <a:lnTo>
                      <a:pt x="816258" y="147"/>
                    </a:lnTo>
                    <a:lnTo>
                      <a:pt x="811913" y="47"/>
                    </a:lnTo>
                    <a:cubicBezTo>
                      <a:pt x="810459" y="7"/>
                      <a:pt x="809044" y="-33"/>
                      <a:pt x="807430" y="47"/>
                    </a:cubicBezTo>
                    <a:cubicBezTo>
                      <a:pt x="801212" y="226"/>
                      <a:pt x="794975" y="226"/>
                      <a:pt x="788757" y="805"/>
                    </a:cubicBezTo>
                    <a:cubicBezTo>
                      <a:pt x="785648" y="1044"/>
                      <a:pt x="782540" y="1264"/>
                      <a:pt x="779431" y="1543"/>
                    </a:cubicBezTo>
                    <a:lnTo>
                      <a:pt x="770145" y="2700"/>
                    </a:lnTo>
                    <a:lnTo>
                      <a:pt x="765501" y="3298"/>
                    </a:lnTo>
                    <a:lnTo>
                      <a:pt x="760898" y="4096"/>
                    </a:lnTo>
                    <a:lnTo>
                      <a:pt x="751691" y="5732"/>
                    </a:lnTo>
                    <a:cubicBezTo>
                      <a:pt x="739535" y="8345"/>
                      <a:pt x="727439" y="11317"/>
                      <a:pt x="715761" y="15366"/>
                    </a:cubicBezTo>
                    <a:cubicBezTo>
                      <a:pt x="692266" y="23106"/>
                      <a:pt x="670107" y="33857"/>
                      <a:pt x="649561" y="46523"/>
                    </a:cubicBezTo>
                    <a:cubicBezTo>
                      <a:pt x="628936" y="59150"/>
                      <a:pt x="610203" y="73990"/>
                      <a:pt x="593006" y="90048"/>
                    </a:cubicBezTo>
                    <a:cubicBezTo>
                      <a:pt x="575788" y="106105"/>
                      <a:pt x="560384" y="123618"/>
                      <a:pt x="546554" y="142030"/>
                    </a:cubicBezTo>
                    <a:cubicBezTo>
                      <a:pt x="532704" y="160421"/>
                      <a:pt x="520428" y="179729"/>
                      <a:pt x="509627" y="199656"/>
                    </a:cubicBezTo>
                    <a:cubicBezTo>
                      <a:pt x="500660" y="216292"/>
                      <a:pt x="492708" y="233367"/>
                      <a:pt x="485734" y="250721"/>
                    </a:cubicBezTo>
                    <a:lnTo>
                      <a:pt x="483482" y="256306"/>
                    </a:lnTo>
                    <a:lnTo>
                      <a:pt x="476348" y="259019"/>
                    </a:lnTo>
                    <a:lnTo>
                      <a:pt x="471824" y="260754"/>
                    </a:lnTo>
                    <a:lnTo>
                      <a:pt x="469552" y="261632"/>
                    </a:lnTo>
                    <a:lnTo>
                      <a:pt x="467201" y="262629"/>
                    </a:lnTo>
                    <a:lnTo>
                      <a:pt x="457815" y="266638"/>
                    </a:lnTo>
                    <a:cubicBezTo>
                      <a:pt x="445400" y="272223"/>
                      <a:pt x="433184" y="278247"/>
                      <a:pt x="421386" y="285109"/>
                    </a:cubicBezTo>
                    <a:cubicBezTo>
                      <a:pt x="397672" y="298593"/>
                      <a:pt x="375493" y="314750"/>
                      <a:pt x="355027" y="332942"/>
                    </a:cubicBezTo>
                    <a:cubicBezTo>
                      <a:pt x="337510" y="348600"/>
                      <a:pt x="321488" y="365974"/>
                      <a:pt x="307080" y="384704"/>
                    </a:cubicBezTo>
                    <a:cubicBezTo>
                      <a:pt x="292692" y="403415"/>
                      <a:pt x="279998" y="423561"/>
                      <a:pt x="269476" y="444865"/>
                    </a:cubicBezTo>
                    <a:cubicBezTo>
                      <a:pt x="258914" y="466148"/>
                      <a:pt x="250365" y="488509"/>
                      <a:pt x="244108" y="511527"/>
                    </a:cubicBezTo>
                    <a:cubicBezTo>
                      <a:pt x="237930" y="534566"/>
                      <a:pt x="234084" y="558263"/>
                      <a:pt x="232570" y="582040"/>
                    </a:cubicBezTo>
                    <a:lnTo>
                      <a:pt x="232131" y="589181"/>
                    </a:lnTo>
                    <a:lnTo>
                      <a:pt x="231952" y="596322"/>
                    </a:lnTo>
                    <a:cubicBezTo>
                      <a:pt x="231852" y="601089"/>
                      <a:pt x="231713" y="605837"/>
                      <a:pt x="231832" y="610604"/>
                    </a:cubicBezTo>
                    <a:cubicBezTo>
                      <a:pt x="231912" y="615371"/>
                      <a:pt x="232071" y="620119"/>
                      <a:pt x="232350" y="624886"/>
                    </a:cubicBezTo>
                    <a:lnTo>
                      <a:pt x="232570" y="628457"/>
                    </a:lnTo>
                    <a:lnTo>
                      <a:pt x="232669" y="629973"/>
                    </a:lnTo>
                    <a:lnTo>
                      <a:pt x="232669" y="630212"/>
                    </a:lnTo>
                    <a:lnTo>
                      <a:pt x="232709" y="630491"/>
                    </a:lnTo>
                    <a:lnTo>
                      <a:pt x="232709" y="630491"/>
                    </a:lnTo>
                    <a:lnTo>
                      <a:pt x="232390" y="630711"/>
                    </a:lnTo>
                    <a:lnTo>
                      <a:pt x="232311" y="630770"/>
                    </a:lnTo>
                    <a:lnTo>
                      <a:pt x="231254" y="631528"/>
                    </a:lnTo>
                    <a:lnTo>
                      <a:pt x="229122" y="633064"/>
                    </a:lnTo>
                    <a:lnTo>
                      <a:pt x="224858" y="636136"/>
                    </a:lnTo>
                    <a:lnTo>
                      <a:pt x="220772" y="639427"/>
                    </a:lnTo>
                    <a:lnTo>
                      <a:pt x="212622" y="646070"/>
                    </a:lnTo>
                    <a:cubicBezTo>
                      <a:pt x="209932" y="648304"/>
                      <a:pt x="207162" y="650458"/>
                      <a:pt x="204551" y="652772"/>
                    </a:cubicBezTo>
                    <a:lnTo>
                      <a:pt x="196819" y="659893"/>
                    </a:lnTo>
                    <a:cubicBezTo>
                      <a:pt x="191678" y="664660"/>
                      <a:pt x="186457" y="669348"/>
                      <a:pt x="181734" y="674534"/>
                    </a:cubicBezTo>
                    <a:lnTo>
                      <a:pt x="174480" y="682154"/>
                    </a:lnTo>
                    <a:cubicBezTo>
                      <a:pt x="172089" y="684707"/>
                      <a:pt x="169598" y="687200"/>
                      <a:pt x="167405" y="689933"/>
                    </a:cubicBezTo>
                    <a:lnTo>
                      <a:pt x="153894" y="706090"/>
                    </a:lnTo>
                    <a:cubicBezTo>
                      <a:pt x="149670" y="711715"/>
                      <a:pt x="145525" y="717380"/>
                      <a:pt x="141380" y="723065"/>
                    </a:cubicBezTo>
                    <a:cubicBezTo>
                      <a:pt x="140363" y="724501"/>
                      <a:pt x="139267" y="725878"/>
                      <a:pt x="138331" y="727354"/>
                    </a:cubicBezTo>
                    <a:lnTo>
                      <a:pt x="135461" y="731782"/>
                    </a:lnTo>
                    <a:lnTo>
                      <a:pt x="129762" y="740678"/>
                    </a:lnTo>
                    <a:cubicBezTo>
                      <a:pt x="128187" y="743152"/>
                      <a:pt x="126593" y="745605"/>
                      <a:pt x="125079" y="748119"/>
                    </a:cubicBezTo>
                    <a:lnTo>
                      <a:pt x="120794" y="755818"/>
                    </a:lnTo>
                    <a:cubicBezTo>
                      <a:pt x="117984" y="760964"/>
                      <a:pt x="115035" y="766051"/>
                      <a:pt x="112404" y="771297"/>
                    </a:cubicBezTo>
                    <a:cubicBezTo>
                      <a:pt x="107422" y="781949"/>
                      <a:pt x="102122" y="792441"/>
                      <a:pt x="98096" y="803511"/>
                    </a:cubicBezTo>
                    <a:lnTo>
                      <a:pt x="94888" y="811729"/>
                    </a:lnTo>
                    <a:lnTo>
                      <a:pt x="93294" y="815839"/>
                    </a:lnTo>
                    <a:cubicBezTo>
                      <a:pt x="92795" y="817215"/>
                      <a:pt x="92377" y="818631"/>
                      <a:pt x="91919" y="820027"/>
                    </a:cubicBezTo>
                    <a:lnTo>
                      <a:pt x="86598" y="836863"/>
                    </a:lnTo>
                    <a:cubicBezTo>
                      <a:pt x="86179" y="838279"/>
                      <a:pt x="85701" y="839655"/>
                      <a:pt x="85303" y="841091"/>
                    </a:cubicBezTo>
                    <a:lnTo>
                      <a:pt x="84246" y="845380"/>
                    </a:lnTo>
                    <a:lnTo>
                      <a:pt x="82134" y="853957"/>
                    </a:lnTo>
                    <a:cubicBezTo>
                      <a:pt x="80799" y="859682"/>
                      <a:pt x="79205" y="865367"/>
                      <a:pt x="78328" y="871191"/>
                    </a:cubicBezTo>
                    <a:lnTo>
                      <a:pt x="75319" y="888605"/>
                    </a:lnTo>
                    <a:cubicBezTo>
                      <a:pt x="74761" y="891497"/>
                      <a:pt x="74561" y="894430"/>
                      <a:pt x="74223" y="897362"/>
                    </a:cubicBezTo>
                    <a:lnTo>
                      <a:pt x="73306" y="906138"/>
                    </a:lnTo>
                    <a:cubicBezTo>
                      <a:pt x="71791" y="917827"/>
                      <a:pt x="71791" y="929576"/>
                      <a:pt x="71333" y="941325"/>
                    </a:cubicBezTo>
                    <a:cubicBezTo>
                      <a:pt x="71054" y="964783"/>
                      <a:pt x="73107" y="988340"/>
                      <a:pt x="77212" y="1011518"/>
                    </a:cubicBezTo>
                    <a:cubicBezTo>
                      <a:pt x="78567" y="1019018"/>
                      <a:pt x="80101" y="1026499"/>
                      <a:pt x="81915" y="1033919"/>
                    </a:cubicBezTo>
                    <a:cubicBezTo>
                      <a:pt x="82752" y="1037529"/>
                      <a:pt x="83708" y="1041100"/>
                      <a:pt x="84665" y="1044670"/>
                    </a:cubicBezTo>
                    <a:lnTo>
                      <a:pt x="83987" y="1045528"/>
                    </a:lnTo>
                    <a:lnTo>
                      <a:pt x="83808" y="1045747"/>
                    </a:lnTo>
                    <a:lnTo>
                      <a:pt x="83728" y="1045847"/>
                    </a:lnTo>
                    <a:lnTo>
                      <a:pt x="82931" y="1046924"/>
                    </a:lnTo>
                    <a:lnTo>
                      <a:pt x="79464" y="1051672"/>
                    </a:lnTo>
                    <a:lnTo>
                      <a:pt x="72569" y="1061186"/>
                    </a:lnTo>
                    <a:lnTo>
                      <a:pt x="66072" y="1070980"/>
                    </a:lnTo>
                    <a:lnTo>
                      <a:pt x="62844" y="1075887"/>
                    </a:lnTo>
                    <a:cubicBezTo>
                      <a:pt x="61788" y="1077543"/>
                      <a:pt x="60811" y="1079238"/>
                      <a:pt x="59795" y="1080914"/>
                    </a:cubicBezTo>
                    <a:lnTo>
                      <a:pt x="53757" y="1091007"/>
                    </a:lnTo>
                    <a:cubicBezTo>
                      <a:pt x="51784" y="1094398"/>
                      <a:pt x="49970" y="1097889"/>
                      <a:pt x="48097" y="1101340"/>
                    </a:cubicBezTo>
                    <a:cubicBezTo>
                      <a:pt x="46264" y="1104810"/>
                      <a:pt x="44291" y="1108221"/>
                      <a:pt x="42637" y="1111792"/>
                    </a:cubicBezTo>
                    <a:cubicBezTo>
                      <a:pt x="39209" y="1118873"/>
                      <a:pt x="35702" y="1125914"/>
                      <a:pt x="32733" y="1133195"/>
                    </a:cubicBezTo>
                    <a:cubicBezTo>
                      <a:pt x="31218" y="1136825"/>
                      <a:pt x="29584" y="1140416"/>
                      <a:pt x="28169" y="1144086"/>
                    </a:cubicBezTo>
                    <a:lnTo>
                      <a:pt x="24024" y="1155157"/>
                    </a:lnTo>
                    <a:cubicBezTo>
                      <a:pt x="23347" y="1157012"/>
                      <a:pt x="22629" y="1158847"/>
                      <a:pt x="21992" y="1160702"/>
                    </a:cubicBezTo>
                    <a:lnTo>
                      <a:pt x="20178" y="1166327"/>
                    </a:lnTo>
                    <a:lnTo>
                      <a:pt x="16571" y="1177597"/>
                    </a:lnTo>
                    <a:cubicBezTo>
                      <a:pt x="15475" y="1181387"/>
                      <a:pt x="14479" y="1185197"/>
                      <a:pt x="13443" y="1189007"/>
                    </a:cubicBezTo>
                    <a:cubicBezTo>
                      <a:pt x="12426" y="1192817"/>
                      <a:pt x="11330" y="1196606"/>
                      <a:pt x="10553" y="1200476"/>
                    </a:cubicBezTo>
                    <a:cubicBezTo>
                      <a:pt x="5212" y="1223196"/>
                      <a:pt x="1825" y="1246394"/>
                      <a:pt x="609" y="1269672"/>
                    </a:cubicBezTo>
                    <a:cubicBezTo>
                      <a:pt x="-607" y="1292930"/>
                      <a:pt x="-49" y="1316268"/>
                      <a:pt x="2701" y="1339447"/>
                    </a:cubicBezTo>
                    <a:cubicBezTo>
                      <a:pt x="8261" y="1385764"/>
                      <a:pt x="21713" y="1431243"/>
                      <a:pt x="42677" y="1472772"/>
                    </a:cubicBezTo>
                    <a:cubicBezTo>
                      <a:pt x="53119" y="1493557"/>
                      <a:pt x="65215" y="1513444"/>
                      <a:pt x="78906" y="1532115"/>
                    </a:cubicBezTo>
                    <a:cubicBezTo>
                      <a:pt x="92636" y="1550765"/>
                      <a:pt x="107841" y="1568259"/>
                      <a:pt x="124301" y="1584396"/>
                    </a:cubicBezTo>
                    <a:cubicBezTo>
                      <a:pt x="140742" y="1600573"/>
                      <a:pt x="158557" y="1615274"/>
                      <a:pt x="177330" y="1628538"/>
                    </a:cubicBezTo>
                    <a:lnTo>
                      <a:pt x="184384" y="1633485"/>
                    </a:lnTo>
                    <a:lnTo>
                      <a:pt x="191598" y="1638193"/>
                    </a:lnTo>
                    <a:cubicBezTo>
                      <a:pt x="196381" y="1641384"/>
                      <a:pt x="201323" y="1644316"/>
                      <a:pt x="206225" y="1647288"/>
                    </a:cubicBezTo>
                    <a:cubicBezTo>
                      <a:pt x="208676" y="1648804"/>
                      <a:pt x="211167" y="1650221"/>
                      <a:pt x="213678" y="1651597"/>
                    </a:cubicBezTo>
                    <a:cubicBezTo>
                      <a:pt x="214575" y="1652096"/>
                      <a:pt x="214216" y="1651916"/>
                      <a:pt x="214356" y="1651996"/>
                    </a:cubicBezTo>
                    <a:cubicBezTo>
                      <a:pt x="214395" y="1652016"/>
                      <a:pt x="214435" y="1652036"/>
                      <a:pt x="214475" y="1652056"/>
                    </a:cubicBezTo>
                    <a:lnTo>
                      <a:pt x="214515" y="1652056"/>
                    </a:lnTo>
                    <a:lnTo>
                      <a:pt x="214555" y="1653691"/>
                    </a:lnTo>
                    <a:lnTo>
                      <a:pt x="214555" y="1653891"/>
                    </a:lnTo>
                    <a:lnTo>
                      <a:pt x="214615" y="1654609"/>
                    </a:lnTo>
                    <a:lnTo>
                      <a:pt x="214914" y="1658359"/>
                    </a:lnTo>
                    <a:lnTo>
                      <a:pt x="215511" y="1665839"/>
                    </a:lnTo>
                    <a:cubicBezTo>
                      <a:pt x="216129" y="1675833"/>
                      <a:pt x="217664" y="1685746"/>
                      <a:pt x="219019" y="1695680"/>
                    </a:cubicBezTo>
                    <a:cubicBezTo>
                      <a:pt x="222347" y="1715427"/>
                      <a:pt x="226512" y="1735095"/>
                      <a:pt x="232689" y="1754144"/>
                    </a:cubicBezTo>
                    <a:lnTo>
                      <a:pt x="234881" y="1761325"/>
                    </a:lnTo>
                    <a:cubicBezTo>
                      <a:pt x="235659" y="1763699"/>
                      <a:pt x="236555" y="1766033"/>
                      <a:pt x="237392" y="1768387"/>
                    </a:cubicBezTo>
                    <a:lnTo>
                      <a:pt x="242514" y="1782489"/>
                    </a:lnTo>
                    <a:lnTo>
                      <a:pt x="248333" y="1796292"/>
                    </a:lnTo>
                    <a:cubicBezTo>
                      <a:pt x="249329" y="1798586"/>
                      <a:pt x="250246" y="1800920"/>
                      <a:pt x="251302" y="1803174"/>
                    </a:cubicBezTo>
                    <a:lnTo>
                      <a:pt x="254550" y="1809916"/>
                    </a:lnTo>
                    <a:cubicBezTo>
                      <a:pt x="262960" y="1828028"/>
                      <a:pt x="273123" y="1845222"/>
                      <a:pt x="283944" y="1861858"/>
                    </a:cubicBezTo>
                    <a:lnTo>
                      <a:pt x="293728" y="1876100"/>
                    </a:lnTo>
                    <a:lnTo>
                      <a:pt x="304151" y="1889844"/>
                    </a:lnTo>
                    <a:lnTo>
                      <a:pt x="306761" y="1893275"/>
                    </a:lnTo>
                    <a:lnTo>
                      <a:pt x="309511" y="1896586"/>
                    </a:lnTo>
                    <a:lnTo>
                      <a:pt x="315051" y="1903168"/>
                    </a:lnTo>
                    <a:lnTo>
                      <a:pt x="320611" y="1909751"/>
                    </a:lnTo>
                    <a:lnTo>
                      <a:pt x="326430" y="1916074"/>
                    </a:lnTo>
                    <a:lnTo>
                      <a:pt x="332269" y="1922377"/>
                    </a:lnTo>
                    <a:lnTo>
                      <a:pt x="335198" y="1925529"/>
                    </a:lnTo>
                    <a:lnTo>
                      <a:pt x="338247" y="1928541"/>
                    </a:lnTo>
                    <a:lnTo>
                      <a:pt x="350503" y="1940549"/>
                    </a:lnTo>
                    <a:lnTo>
                      <a:pt x="363297" y="1951959"/>
                    </a:lnTo>
                    <a:lnTo>
                      <a:pt x="366505" y="1954791"/>
                    </a:lnTo>
                    <a:lnTo>
                      <a:pt x="369813" y="1957504"/>
                    </a:lnTo>
                    <a:lnTo>
                      <a:pt x="376469" y="1962890"/>
                    </a:lnTo>
                    <a:cubicBezTo>
                      <a:pt x="412000" y="1991553"/>
                      <a:pt x="451816" y="2014512"/>
                      <a:pt x="493844" y="2031587"/>
                    </a:cubicBezTo>
                    <a:cubicBezTo>
                      <a:pt x="514928" y="2039945"/>
                      <a:pt x="536490" y="2047106"/>
                      <a:pt x="558490" y="2052491"/>
                    </a:cubicBezTo>
                    <a:cubicBezTo>
                      <a:pt x="563971" y="2053928"/>
                      <a:pt x="569530" y="2054965"/>
                      <a:pt x="575050" y="2056202"/>
                    </a:cubicBezTo>
                    <a:lnTo>
                      <a:pt x="583341" y="2057977"/>
                    </a:lnTo>
                    <a:lnTo>
                      <a:pt x="591710" y="2059393"/>
                    </a:lnTo>
                    <a:cubicBezTo>
                      <a:pt x="597290" y="2060271"/>
                      <a:pt x="602850" y="2061368"/>
                      <a:pt x="608450" y="2062046"/>
                    </a:cubicBezTo>
                    <a:lnTo>
                      <a:pt x="625269" y="2064041"/>
                    </a:lnTo>
                    <a:cubicBezTo>
                      <a:pt x="628079" y="2064420"/>
                      <a:pt x="630888" y="2064619"/>
                      <a:pt x="633698" y="2064799"/>
                    </a:cubicBezTo>
                    <a:lnTo>
                      <a:pt x="642148" y="2065397"/>
                    </a:lnTo>
                    <a:lnTo>
                      <a:pt x="650597" y="2065976"/>
                    </a:lnTo>
                    <a:cubicBezTo>
                      <a:pt x="653407" y="2066155"/>
                      <a:pt x="656237" y="2066155"/>
                      <a:pt x="659047" y="2066255"/>
                    </a:cubicBezTo>
                    <a:lnTo>
                      <a:pt x="675925" y="2066614"/>
                    </a:lnTo>
                    <a:lnTo>
                      <a:pt x="692286" y="2066394"/>
                    </a:lnTo>
                    <a:cubicBezTo>
                      <a:pt x="714127" y="2065836"/>
                      <a:pt x="736048" y="2064160"/>
                      <a:pt x="757949" y="2061208"/>
                    </a:cubicBezTo>
                    <a:cubicBezTo>
                      <a:pt x="801710" y="2055324"/>
                      <a:pt x="845472" y="2044373"/>
                      <a:pt x="887540" y="2027019"/>
                    </a:cubicBezTo>
                    <a:cubicBezTo>
                      <a:pt x="908564" y="2018342"/>
                      <a:pt x="929149" y="2008049"/>
                      <a:pt x="948918" y="1996041"/>
                    </a:cubicBezTo>
                    <a:cubicBezTo>
                      <a:pt x="968686" y="1984013"/>
                      <a:pt x="987558" y="1970150"/>
                      <a:pt x="1005194" y="1954652"/>
                    </a:cubicBezTo>
                    <a:cubicBezTo>
                      <a:pt x="1008462" y="1951799"/>
                      <a:pt x="1011730" y="1948927"/>
                      <a:pt x="1014839" y="1945875"/>
                    </a:cubicBezTo>
                    <a:cubicBezTo>
                      <a:pt x="1017968" y="1942843"/>
                      <a:pt x="1021196" y="1939931"/>
                      <a:pt x="1024205" y="1936759"/>
                    </a:cubicBezTo>
                    <a:lnTo>
                      <a:pt x="1033272" y="1927324"/>
                    </a:lnTo>
                    <a:lnTo>
                      <a:pt x="1041084" y="1918527"/>
                    </a:lnTo>
                    <a:cubicBezTo>
                      <a:pt x="1045050" y="1922976"/>
                      <a:pt x="1048936" y="1927524"/>
                      <a:pt x="1053121" y="1931732"/>
                    </a:cubicBezTo>
                    <a:lnTo>
                      <a:pt x="1059518" y="1938335"/>
                    </a:lnTo>
                    <a:cubicBezTo>
                      <a:pt x="1061690" y="1940489"/>
                      <a:pt x="1063922" y="1942583"/>
                      <a:pt x="1066134" y="1944698"/>
                    </a:cubicBezTo>
                    <a:cubicBezTo>
                      <a:pt x="1083192" y="1960895"/>
                      <a:pt x="1101585" y="1975536"/>
                      <a:pt x="1121015" y="1988242"/>
                    </a:cubicBezTo>
                    <a:cubicBezTo>
                      <a:pt x="1140425" y="2000988"/>
                      <a:pt x="1160731" y="2011999"/>
                      <a:pt x="1181536" y="2021354"/>
                    </a:cubicBezTo>
                    <a:cubicBezTo>
                      <a:pt x="1223205" y="2040084"/>
                      <a:pt x="1266807" y="2052272"/>
                      <a:pt x="1310529" y="2059174"/>
                    </a:cubicBezTo>
                    <a:cubicBezTo>
                      <a:pt x="1332410" y="2062644"/>
                      <a:pt x="1354331" y="2064819"/>
                      <a:pt x="1376212" y="2065856"/>
                    </a:cubicBezTo>
                    <a:cubicBezTo>
                      <a:pt x="1381672" y="2066035"/>
                      <a:pt x="1387152" y="2066334"/>
                      <a:pt x="1392612" y="2066414"/>
                    </a:cubicBezTo>
                    <a:cubicBezTo>
                      <a:pt x="1398092" y="2066454"/>
                      <a:pt x="1403453" y="2066634"/>
                      <a:pt x="1409053" y="2066554"/>
                    </a:cubicBezTo>
                    <a:lnTo>
                      <a:pt x="1425952" y="2066155"/>
                    </a:lnTo>
                    <a:lnTo>
                      <a:pt x="1430176" y="2066035"/>
                    </a:lnTo>
                    <a:lnTo>
                      <a:pt x="1434401" y="2065756"/>
                    </a:lnTo>
                    <a:lnTo>
                      <a:pt x="1442851" y="2065158"/>
                    </a:lnTo>
                    <a:cubicBezTo>
                      <a:pt x="1454130" y="2064559"/>
                      <a:pt x="1465309" y="2062944"/>
                      <a:pt x="1476529" y="2061647"/>
                    </a:cubicBezTo>
                    <a:cubicBezTo>
                      <a:pt x="1487668" y="2059772"/>
                      <a:pt x="1498868" y="2058156"/>
                      <a:pt x="1509908" y="2055563"/>
                    </a:cubicBezTo>
                    <a:cubicBezTo>
                      <a:pt x="1521008" y="2053389"/>
                      <a:pt x="1531908" y="2050257"/>
                      <a:pt x="1542849" y="2047365"/>
                    </a:cubicBezTo>
                    <a:cubicBezTo>
                      <a:pt x="1553650" y="2043934"/>
                      <a:pt x="1564530" y="2040743"/>
                      <a:pt x="1575112" y="2036614"/>
                    </a:cubicBezTo>
                    <a:cubicBezTo>
                      <a:pt x="1580433" y="2034659"/>
                      <a:pt x="1585773" y="2032744"/>
                      <a:pt x="1590975" y="2030450"/>
                    </a:cubicBezTo>
                    <a:cubicBezTo>
                      <a:pt x="1596196" y="2028236"/>
                      <a:pt x="1601457" y="2026082"/>
                      <a:pt x="1606618" y="2023768"/>
                    </a:cubicBezTo>
                    <a:lnTo>
                      <a:pt x="1621982" y="2016427"/>
                    </a:lnTo>
                    <a:cubicBezTo>
                      <a:pt x="1624553" y="2015230"/>
                      <a:pt x="1627064" y="2013894"/>
                      <a:pt x="1629575" y="2012558"/>
                    </a:cubicBezTo>
                    <a:lnTo>
                      <a:pt x="1637088" y="2008528"/>
                    </a:lnTo>
                    <a:cubicBezTo>
                      <a:pt x="1657016" y="1997597"/>
                      <a:pt x="1676366" y="1985509"/>
                      <a:pt x="1694480" y="1971646"/>
                    </a:cubicBezTo>
                    <a:cubicBezTo>
                      <a:pt x="1712634" y="1957863"/>
                      <a:pt x="1729952" y="1942863"/>
                      <a:pt x="1745974" y="1926526"/>
                    </a:cubicBezTo>
                    <a:cubicBezTo>
                      <a:pt x="1761916" y="1910090"/>
                      <a:pt x="1776703" y="1892457"/>
                      <a:pt x="1790114" y="1873766"/>
                    </a:cubicBezTo>
                    <a:lnTo>
                      <a:pt x="1799042" y="1860741"/>
                    </a:lnTo>
                    <a:cubicBezTo>
                      <a:pt x="1801991" y="1856373"/>
                      <a:pt x="1804641" y="1851805"/>
                      <a:pt x="1807431" y="1847337"/>
                    </a:cubicBezTo>
                    <a:lnTo>
                      <a:pt x="1811557" y="1840595"/>
                    </a:lnTo>
                    <a:lnTo>
                      <a:pt x="1815383" y="1833653"/>
                    </a:lnTo>
                    <a:cubicBezTo>
                      <a:pt x="1817894" y="1829005"/>
                      <a:pt x="1820544" y="1824438"/>
                      <a:pt x="1822895" y="1819690"/>
                    </a:cubicBezTo>
                    <a:cubicBezTo>
                      <a:pt x="1832501" y="1800840"/>
                      <a:pt x="1840532" y="1781173"/>
                      <a:pt x="1847367" y="1761086"/>
                    </a:cubicBezTo>
                    <a:cubicBezTo>
                      <a:pt x="1853923" y="1740880"/>
                      <a:pt x="1859005" y="1720215"/>
                      <a:pt x="1862612" y="1699270"/>
                    </a:cubicBezTo>
                    <a:cubicBezTo>
                      <a:pt x="1863429" y="1694024"/>
                      <a:pt x="1864106" y="1688758"/>
                      <a:pt x="1864824" y="1683492"/>
                    </a:cubicBezTo>
                    <a:cubicBezTo>
                      <a:pt x="1865162" y="1680859"/>
                      <a:pt x="1865561" y="1678226"/>
                      <a:pt x="1865840" y="1675593"/>
                    </a:cubicBezTo>
                    <a:lnTo>
                      <a:pt x="1866498" y="1667654"/>
                    </a:lnTo>
                    <a:lnTo>
                      <a:pt x="1867594" y="1653811"/>
                    </a:lnTo>
                    <a:lnTo>
                      <a:pt x="1867634" y="1652096"/>
                    </a:lnTo>
                    <a:cubicBezTo>
                      <a:pt x="1867634" y="1652096"/>
                      <a:pt x="1867793" y="1652056"/>
                      <a:pt x="1867833" y="1652016"/>
                    </a:cubicBezTo>
                    <a:lnTo>
                      <a:pt x="1867853" y="1652016"/>
                    </a:lnTo>
                    <a:cubicBezTo>
                      <a:pt x="1867853" y="1652016"/>
                      <a:pt x="1867833" y="1652016"/>
                      <a:pt x="1867913" y="1651956"/>
                    </a:cubicBezTo>
                    <a:lnTo>
                      <a:pt x="1868152" y="1651816"/>
                    </a:lnTo>
                    <a:lnTo>
                      <a:pt x="1869088" y="1651298"/>
                    </a:lnTo>
                    <a:lnTo>
                      <a:pt x="1870962" y="1650241"/>
                    </a:lnTo>
                    <a:cubicBezTo>
                      <a:pt x="1873472" y="1648864"/>
                      <a:pt x="1875904" y="1647308"/>
                      <a:pt x="1878375" y="1645852"/>
                    </a:cubicBezTo>
                    <a:lnTo>
                      <a:pt x="1885728" y="1641384"/>
                    </a:lnTo>
                    <a:lnTo>
                      <a:pt x="1892942" y="1636677"/>
                    </a:lnTo>
                    <a:cubicBezTo>
                      <a:pt x="1912152" y="1624050"/>
                      <a:pt x="1930426" y="1609948"/>
                      <a:pt x="1947385" y="1594349"/>
                    </a:cubicBezTo>
                    <a:cubicBezTo>
                      <a:pt x="1964364" y="1578771"/>
                      <a:pt x="1980166" y="1561836"/>
                      <a:pt x="1994515" y="1543684"/>
                    </a:cubicBezTo>
                    <a:cubicBezTo>
                      <a:pt x="2008823" y="1525492"/>
                      <a:pt x="2021616" y="1506064"/>
                      <a:pt x="2032776" y="1485678"/>
                    </a:cubicBezTo>
                    <a:cubicBezTo>
                      <a:pt x="2055175" y="1444966"/>
                      <a:pt x="2070280" y="1400026"/>
                      <a:pt x="2077534" y="1353928"/>
                    </a:cubicBezTo>
                    <a:cubicBezTo>
                      <a:pt x="2081041" y="1330850"/>
                      <a:pt x="2082596" y="1307512"/>
                      <a:pt x="2082078" y="1284253"/>
                    </a:cubicBezTo>
                    <a:close/>
                    <a:moveTo>
                      <a:pt x="1997623" y="1044531"/>
                    </a:moveTo>
                    <a:lnTo>
                      <a:pt x="1997623" y="1044531"/>
                    </a:lnTo>
                    <a:cubicBezTo>
                      <a:pt x="1997623" y="1044531"/>
                      <a:pt x="1997623" y="1044531"/>
                      <a:pt x="1997623" y="1044531"/>
                    </a:cubicBezTo>
                    <a:close/>
                    <a:moveTo>
                      <a:pt x="2037619" y="1347525"/>
                    </a:moveTo>
                    <a:cubicBezTo>
                      <a:pt x="2031082" y="1388955"/>
                      <a:pt x="2017531" y="1429328"/>
                      <a:pt x="1997344" y="1466010"/>
                    </a:cubicBezTo>
                    <a:cubicBezTo>
                      <a:pt x="1987301" y="1484382"/>
                      <a:pt x="1975742" y="1501915"/>
                      <a:pt x="1962829" y="1518351"/>
                    </a:cubicBezTo>
                    <a:cubicBezTo>
                      <a:pt x="1949856" y="1534748"/>
                      <a:pt x="1935588" y="1550067"/>
                      <a:pt x="1920203" y="1564189"/>
                    </a:cubicBezTo>
                    <a:cubicBezTo>
                      <a:pt x="1904839" y="1578332"/>
                      <a:pt x="1888279" y="1591118"/>
                      <a:pt x="1870862" y="1602567"/>
                    </a:cubicBezTo>
                    <a:lnTo>
                      <a:pt x="1864306" y="1606836"/>
                    </a:lnTo>
                    <a:lnTo>
                      <a:pt x="1857630" y="1610885"/>
                    </a:lnTo>
                    <a:cubicBezTo>
                      <a:pt x="1855378" y="1612202"/>
                      <a:pt x="1853206" y="1613638"/>
                      <a:pt x="1850914" y="1614875"/>
                    </a:cubicBezTo>
                    <a:lnTo>
                      <a:pt x="1845454" y="1617927"/>
                    </a:lnTo>
                    <a:cubicBezTo>
                      <a:pt x="1842564" y="1619602"/>
                      <a:pt x="1839535" y="1621038"/>
                      <a:pt x="1836586" y="1622594"/>
                    </a:cubicBezTo>
                    <a:cubicBezTo>
                      <a:pt x="1833597" y="1624090"/>
                      <a:pt x="1830568" y="1625466"/>
                      <a:pt x="1827539" y="1626923"/>
                    </a:cubicBezTo>
                    <a:cubicBezTo>
                      <a:pt x="1827280" y="1631371"/>
                      <a:pt x="1827778" y="1636018"/>
                      <a:pt x="1827559" y="1640546"/>
                    </a:cubicBezTo>
                    <a:lnTo>
                      <a:pt x="1827299" y="1650281"/>
                    </a:lnTo>
                    <a:lnTo>
                      <a:pt x="1827260" y="1651497"/>
                    </a:lnTo>
                    <a:lnTo>
                      <a:pt x="1827140" y="1653213"/>
                    </a:lnTo>
                    <a:lnTo>
                      <a:pt x="1826861" y="1656783"/>
                    </a:lnTo>
                    <a:lnTo>
                      <a:pt x="1826283" y="1663944"/>
                    </a:lnTo>
                    <a:lnTo>
                      <a:pt x="1825685" y="1671105"/>
                    </a:lnTo>
                    <a:cubicBezTo>
                      <a:pt x="1825426" y="1673479"/>
                      <a:pt x="1825068" y="1675853"/>
                      <a:pt x="1824769" y="1678226"/>
                    </a:cubicBezTo>
                    <a:cubicBezTo>
                      <a:pt x="1824111" y="1682974"/>
                      <a:pt x="1823513" y="1687721"/>
                      <a:pt x="1822776" y="1692448"/>
                    </a:cubicBezTo>
                    <a:cubicBezTo>
                      <a:pt x="1819508" y="1711318"/>
                      <a:pt x="1814924" y="1729949"/>
                      <a:pt x="1809026" y="1748180"/>
                    </a:cubicBezTo>
                    <a:cubicBezTo>
                      <a:pt x="1802828" y="1766292"/>
                      <a:pt x="1795594" y="1784045"/>
                      <a:pt x="1786926" y="1801100"/>
                    </a:cubicBezTo>
                    <a:cubicBezTo>
                      <a:pt x="1784793" y="1805388"/>
                      <a:pt x="1782382" y="1809517"/>
                      <a:pt x="1780130" y="1813726"/>
                    </a:cubicBezTo>
                    <a:lnTo>
                      <a:pt x="1776683" y="1820009"/>
                    </a:lnTo>
                    <a:lnTo>
                      <a:pt x="1772936" y="1826113"/>
                    </a:lnTo>
                    <a:cubicBezTo>
                      <a:pt x="1770405" y="1830162"/>
                      <a:pt x="1768014" y="1834311"/>
                      <a:pt x="1765344" y="1838261"/>
                    </a:cubicBezTo>
                    <a:lnTo>
                      <a:pt x="1757253" y="1850070"/>
                    </a:lnTo>
                    <a:cubicBezTo>
                      <a:pt x="1745097" y="1867024"/>
                      <a:pt x="1731666" y="1883022"/>
                      <a:pt x="1717178" y="1897982"/>
                    </a:cubicBezTo>
                    <a:cubicBezTo>
                      <a:pt x="1702591" y="1912863"/>
                      <a:pt x="1686828" y="1926506"/>
                      <a:pt x="1670268" y="1939073"/>
                    </a:cubicBezTo>
                    <a:cubicBezTo>
                      <a:pt x="1653748" y="1951719"/>
                      <a:pt x="1636071" y="1962750"/>
                      <a:pt x="1617877" y="1972743"/>
                    </a:cubicBezTo>
                    <a:lnTo>
                      <a:pt x="1611022" y="1976434"/>
                    </a:lnTo>
                    <a:cubicBezTo>
                      <a:pt x="1608750" y="1977670"/>
                      <a:pt x="1606459" y="1978907"/>
                      <a:pt x="1604087" y="1979984"/>
                    </a:cubicBezTo>
                    <a:lnTo>
                      <a:pt x="1590038" y="1986706"/>
                    </a:lnTo>
                    <a:cubicBezTo>
                      <a:pt x="1585295" y="1988821"/>
                      <a:pt x="1580493" y="1990775"/>
                      <a:pt x="1575730" y="1992810"/>
                    </a:cubicBezTo>
                    <a:cubicBezTo>
                      <a:pt x="1570987" y="1994924"/>
                      <a:pt x="1566085" y="1996660"/>
                      <a:pt x="1561222" y="1998435"/>
                    </a:cubicBezTo>
                    <a:cubicBezTo>
                      <a:pt x="1551557" y="2002205"/>
                      <a:pt x="1541593" y="2005117"/>
                      <a:pt x="1531709" y="2008269"/>
                    </a:cubicBezTo>
                    <a:cubicBezTo>
                      <a:pt x="1521685" y="2010902"/>
                      <a:pt x="1511701" y="2013794"/>
                      <a:pt x="1501538" y="2015769"/>
                    </a:cubicBezTo>
                    <a:cubicBezTo>
                      <a:pt x="1491435" y="2018163"/>
                      <a:pt x="1481172" y="2019599"/>
                      <a:pt x="1470969" y="2021354"/>
                    </a:cubicBezTo>
                    <a:cubicBezTo>
                      <a:pt x="1460686" y="2022531"/>
                      <a:pt x="1450423" y="2024047"/>
                      <a:pt x="1440061" y="2024566"/>
                    </a:cubicBezTo>
                    <a:lnTo>
                      <a:pt x="1432309" y="2025104"/>
                    </a:lnTo>
                    <a:lnTo>
                      <a:pt x="1428443" y="2025363"/>
                    </a:lnTo>
                    <a:lnTo>
                      <a:pt x="1424557" y="2025463"/>
                    </a:lnTo>
                    <a:lnTo>
                      <a:pt x="1409033" y="2025822"/>
                    </a:lnTo>
                    <a:cubicBezTo>
                      <a:pt x="1403872" y="2025902"/>
                      <a:pt x="1398790" y="2025742"/>
                      <a:pt x="1393649" y="2025703"/>
                    </a:cubicBezTo>
                    <a:cubicBezTo>
                      <a:pt x="1388527" y="2025623"/>
                      <a:pt x="1383406" y="2025344"/>
                      <a:pt x="1378304" y="2025164"/>
                    </a:cubicBezTo>
                    <a:cubicBezTo>
                      <a:pt x="1357838" y="2024187"/>
                      <a:pt x="1337372" y="2022152"/>
                      <a:pt x="1317046" y="2018941"/>
                    </a:cubicBezTo>
                    <a:cubicBezTo>
                      <a:pt x="1276413" y="2012538"/>
                      <a:pt x="1236258" y="2001268"/>
                      <a:pt x="1198315" y="1984193"/>
                    </a:cubicBezTo>
                    <a:cubicBezTo>
                      <a:pt x="1179344" y="1975656"/>
                      <a:pt x="1160951" y="1965682"/>
                      <a:pt x="1143454" y="1954193"/>
                    </a:cubicBezTo>
                    <a:cubicBezTo>
                      <a:pt x="1125937" y="1942743"/>
                      <a:pt x="1109457" y="1929598"/>
                      <a:pt x="1094212" y="1915137"/>
                    </a:cubicBezTo>
                    <a:cubicBezTo>
                      <a:pt x="1092239" y="1913242"/>
                      <a:pt x="1090246" y="1911367"/>
                      <a:pt x="1088293" y="1909452"/>
                    </a:cubicBezTo>
                    <a:lnTo>
                      <a:pt x="1082594" y="1903547"/>
                    </a:lnTo>
                    <a:cubicBezTo>
                      <a:pt x="1078728" y="1899678"/>
                      <a:pt x="1075201" y="1895469"/>
                      <a:pt x="1071534" y="1891400"/>
                    </a:cubicBezTo>
                    <a:lnTo>
                      <a:pt x="1070777" y="1890562"/>
                    </a:lnTo>
                    <a:lnTo>
                      <a:pt x="1069940" y="1889565"/>
                    </a:lnTo>
                    <a:lnTo>
                      <a:pt x="1068286" y="1887550"/>
                    </a:lnTo>
                    <a:lnTo>
                      <a:pt x="1064998" y="1883501"/>
                    </a:lnTo>
                    <a:cubicBezTo>
                      <a:pt x="1062945" y="1880708"/>
                      <a:pt x="1060773" y="1877975"/>
                      <a:pt x="1058800" y="1875123"/>
                    </a:cubicBezTo>
                    <a:cubicBezTo>
                      <a:pt x="1053041" y="1867084"/>
                      <a:pt x="1047999" y="1858547"/>
                      <a:pt x="1043476" y="1849750"/>
                    </a:cubicBezTo>
                    <a:lnTo>
                      <a:pt x="1041782" y="1846459"/>
                    </a:lnTo>
                    <a:lnTo>
                      <a:pt x="1041563" y="1846040"/>
                    </a:lnTo>
                    <a:cubicBezTo>
                      <a:pt x="1041503" y="1845901"/>
                      <a:pt x="1041423" y="1845721"/>
                      <a:pt x="1041244" y="1845741"/>
                    </a:cubicBezTo>
                    <a:cubicBezTo>
                      <a:pt x="1041064" y="1845741"/>
                      <a:pt x="1041004" y="1845921"/>
                      <a:pt x="1040945" y="1846040"/>
                    </a:cubicBezTo>
                    <a:lnTo>
                      <a:pt x="1040726" y="1846459"/>
                    </a:lnTo>
                    <a:lnTo>
                      <a:pt x="1039869" y="1848115"/>
                    </a:lnTo>
                    <a:cubicBezTo>
                      <a:pt x="1038713" y="1850309"/>
                      <a:pt x="1037637" y="1852523"/>
                      <a:pt x="1036441" y="1854697"/>
                    </a:cubicBezTo>
                    <a:lnTo>
                      <a:pt x="1032774" y="1861140"/>
                    </a:lnTo>
                    <a:cubicBezTo>
                      <a:pt x="1031519" y="1863274"/>
                      <a:pt x="1030164" y="1865329"/>
                      <a:pt x="1028868" y="1867443"/>
                    </a:cubicBezTo>
                    <a:cubicBezTo>
                      <a:pt x="1023508" y="1875761"/>
                      <a:pt x="1017589" y="1883700"/>
                      <a:pt x="1011153" y="1891220"/>
                    </a:cubicBezTo>
                    <a:lnTo>
                      <a:pt x="1003680" y="1899618"/>
                    </a:lnTo>
                    <a:lnTo>
                      <a:pt x="995589" y="1908035"/>
                    </a:lnTo>
                    <a:cubicBezTo>
                      <a:pt x="992919" y="1910868"/>
                      <a:pt x="990009" y="1913461"/>
                      <a:pt x="987219" y="1916174"/>
                    </a:cubicBezTo>
                    <a:cubicBezTo>
                      <a:pt x="984449" y="1918906"/>
                      <a:pt x="981520" y="1921460"/>
                      <a:pt x="978590" y="1924013"/>
                    </a:cubicBezTo>
                    <a:cubicBezTo>
                      <a:pt x="962807" y="1937896"/>
                      <a:pt x="945849" y="1950343"/>
                      <a:pt x="927993" y="1961214"/>
                    </a:cubicBezTo>
                    <a:cubicBezTo>
                      <a:pt x="910138" y="1972065"/>
                      <a:pt x="891446" y="1981420"/>
                      <a:pt x="872255" y="1989339"/>
                    </a:cubicBezTo>
                    <a:cubicBezTo>
                      <a:pt x="833834" y="2005197"/>
                      <a:pt x="793460" y="2015350"/>
                      <a:pt x="752728" y="2020836"/>
                    </a:cubicBezTo>
                    <a:cubicBezTo>
                      <a:pt x="732361" y="2023568"/>
                      <a:pt x="711875" y="2025144"/>
                      <a:pt x="691390" y="2025683"/>
                    </a:cubicBezTo>
                    <a:lnTo>
                      <a:pt x="676045" y="2025882"/>
                    </a:lnTo>
                    <a:lnTo>
                      <a:pt x="660521" y="2025543"/>
                    </a:lnTo>
                    <a:cubicBezTo>
                      <a:pt x="657931" y="2025463"/>
                      <a:pt x="655340" y="2025463"/>
                      <a:pt x="652769" y="2025304"/>
                    </a:cubicBezTo>
                    <a:lnTo>
                      <a:pt x="645017" y="2024765"/>
                    </a:lnTo>
                    <a:lnTo>
                      <a:pt x="637265" y="2024207"/>
                    </a:lnTo>
                    <a:cubicBezTo>
                      <a:pt x="634675" y="2024027"/>
                      <a:pt x="632104" y="2023848"/>
                      <a:pt x="629533" y="2023508"/>
                    </a:cubicBezTo>
                    <a:lnTo>
                      <a:pt x="614109" y="2021673"/>
                    </a:lnTo>
                    <a:cubicBezTo>
                      <a:pt x="608968" y="2021055"/>
                      <a:pt x="603886" y="2020038"/>
                      <a:pt x="598765" y="2019240"/>
                    </a:cubicBezTo>
                    <a:lnTo>
                      <a:pt x="591092" y="2017963"/>
                    </a:lnTo>
                    <a:lnTo>
                      <a:pt x="583500" y="2016328"/>
                    </a:lnTo>
                    <a:cubicBezTo>
                      <a:pt x="578438" y="2015191"/>
                      <a:pt x="573337" y="2014253"/>
                      <a:pt x="568335" y="2012937"/>
                    </a:cubicBezTo>
                    <a:cubicBezTo>
                      <a:pt x="548188" y="2008010"/>
                      <a:pt x="528459" y="2001447"/>
                      <a:pt x="509169" y="1993807"/>
                    </a:cubicBezTo>
                    <a:cubicBezTo>
                      <a:pt x="470728" y="1978169"/>
                      <a:pt x="434360" y="1957225"/>
                      <a:pt x="401997" y="1931074"/>
                    </a:cubicBezTo>
                    <a:lnTo>
                      <a:pt x="395939" y="1926167"/>
                    </a:lnTo>
                    <a:lnTo>
                      <a:pt x="392910" y="1923714"/>
                    </a:lnTo>
                    <a:lnTo>
                      <a:pt x="390000" y="1921121"/>
                    </a:lnTo>
                    <a:lnTo>
                      <a:pt x="378342" y="1910728"/>
                    </a:lnTo>
                    <a:lnTo>
                      <a:pt x="367183" y="1899797"/>
                    </a:lnTo>
                    <a:lnTo>
                      <a:pt x="364393" y="1897065"/>
                    </a:lnTo>
                    <a:lnTo>
                      <a:pt x="361742" y="1894212"/>
                    </a:lnTo>
                    <a:lnTo>
                      <a:pt x="356422" y="1888487"/>
                    </a:lnTo>
                    <a:lnTo>
                      <a:pt x="351121" y="1882743"/>
                    </a:lnTo>
                    <a:lnTo>
                      <a:pt x="346079" y="1876758"/>
                    </a:lnTo>
                    <a:lnTo>
                      <a:pt x="341057" y="1870774"/>
                    </a:lnTo>
                    <a:lnTo>
                      <a:pt x="338546" y="1867782"/>
                    </a:lnTo>
                    <a:lnTo>
                      <a:pt x="336175" y="1864671"/>
                    </a:lnTo>
                    <a:lnTo>
                      <a:pt x="326709" y="1852204"/>
                    </a:lnTo>
                    <a:lnTo>
                      <a:pt x="317841" y="1839298"/>
                    </a:lnTo>
                    <a:cubicBezTo>
                      <a:pt x="308037" y="1824198"/>
                      <a:pt x="298830" y="1808660"/>
                      <a:pt x="291237" y="1792283"/>
                    </a:cubicBezTo>
                    <a:lnTo>
                      <a:pt x="288288" y="1786199"/>
                    </a:lnTo>
                    <a:cubicBezTo>
                      <a:pt x="287332" y="1784165"/>
                      <a:pt x="286515" y="1782050"/>
                      <a:pt x="285618" y="1779996"/>
                    </a:cubicBezTo>
                    <a:lnTo>
                      <a:pt x="280357" y="1767529"/>
                    </a:lnTo>
                    <a:lnTo>
                      <a:pt x="275734" y="1754803"/>
                    </a:lnTo>
                    <a:cubicBezTo>
                      <a:pt x="274976" y="1752668"/>
                      <a:pt x="274179" y="1750574"/>
                      <a:pt x="273462" y="1748420"/>
                    </a:cubicBezTo>
                    <a:lnTo>
                      <a:pt x="271489" y="1741937"/>
                    </a:lnTo>
                    <a:cubicBezTo>
                      <a:pt x="265889" y="1724763"/>
                      <a:pt x="262183" y="1707030"/>
                      <a:pt x="259153" y="1689237"/>
                    </a:cubicBezTo>
                    <a:cubicBezTo>
                      <a:pt x="257958" y="1680281"/>
                      <a:pt x="256543" y="1671364"/>
                      <a:pt x="256005" y="1662328"/>
                    </a:cubicBezTo>
                    <a:lnTo>
                      <a:pt x="255467" y="1655586"/>
                    </a:lnTo>
                    <a:lnTo>
                      <a:pt x="255188" y="1652215"/>
                    </a:lnTo>
                    <a:cubicBezTo>
                      <a:pt x="255128" y="1651577"/>
                      <a:pt x="255148" y="1651318"/>
                      <a:pt x="255128" y="1650899"/>
                    </a:cubicBezTo>
                    <a:lnTo>
                      <a:pt x="255088" y="1649762"/>
                    </a:lnTo>
                    <a:lnTo>
                      <a:pt x="254849" y="1640586"/>
                    </a:lnTo>
                    <a:cubicBezTo>
                      <a:pt x="254769" y="1638751"/>
                      <a:pt x="254789" y="1636916"/>
                      <a:pt x="254849" y="1635081"/>
                    </a:cubicBezTo>
                    <a:lnTo>
                      <a:pt x="254969" y="1629576"/>
                    </a:lnTo>
                    <a:lnTo>
                      <a:pt x="255008" y="1628199"/>
                    </a:lnTo>
                    <a:lnTo>
                      <a:pt x="255008" y="1627501"/>
                    </a:lnTo>
                    <a:cubicBezTo>
                      <a:pt x="255028" y="1627282"/>
                      <a:pt x="255068" y="1626982"/>
                      <a:pt x="254789" y="1626923"/>
                    </a:cubicBezTo>
                    <a:lnTo>
                      <a:pt x="252298" y="1625746"/>
                    </a:lnTo>
                    <a:lnTo>
                      <a:pt x="247316" y="1623392"/>
                    </a:lnTo>
                    <a:cubicBezTo>
                      <a:pt x="244347" y="1621876"/>
                      <a:pt x="241358" y="1620360"/>
                      <a:pt x="238409" y="1618784"/>
                    </a:cubicBezTo>
                    <a:lnTo>
                      <a:pt x="233765" y="1616191"/>
                    </a:lnTo>
                    <a:cubicBezTo>
                      <a:pt x="231494" y="1614935"/>
                      <a:pt x="229222" y="1613658"/>
                      <a:pt x="227010" y="1612282"/>
                    </a:cubicBezTo>
                    <a:cubicBezTo>
                      <a:pt x="222546" y="1609569"/>
                      <a:pt x="218062" y="1606936"/>
                      <a:pt x="213738" y="1604023"/>
                    </a:cubicBezTo>
                    <a:lnTo>
                      <a:pt x="207201" y="1599755"/>
                    </a:lnTo>
                    <a:lnTo>
                      <a:pt x="200805" y="1595267"/>
                    </a:lnTo>
                    <a:cubicBezTo>
                      <a:pt x="183766" y="1583239"/>
                      <a:pt x="167625" y="1569914"/>
                      <a:pt x="152739" y="1555273"/>
                    </a:cubicBezTo>
                    <a:cubicBezTo>
                      <a:pt x="137832" y="1540652"/>
                      <a:pt x="124082" y="1524834"/>
                      <a:pt x="111687" y="1507999"/>
                    </a:cubicBezTo>
                    <a:cubicBezTo>
                      <a:pt x="99332" y="1491124"/>
                      <a:pt x="88411" y="1473191"/>
                      <a:pt x="79005" y="1454481"/>
                    </a:cubicBezTo>
                    <a:cubicBezTo>
                      <a:pt x="76554" y="1449853"/>
                      <a:pt x="74482" y="1445026"/>
                      <a:pt x="72250" y="1440299"/>
                    </a:cubicBezTo>
                    <a:cubicBezTo>
                      <a:pt x="70078" y="1435531"/>
                      <a:pt x="68145" y="1430664"/>
                      <a:pt x="66112" y="1425837"/>
                    </a:cubicBezTo>
                    <a:cubicBezTo>
                      <a:pt x="64299" y="1420930"/>
                      <a:pt x="62346" y="1416063"/>
                      <a:pt x="60652" y="1411096"/>
                    </a:cubicBezTo>
                    <a:cubicBezTo>
                      <a:pt x="59018" y="1406110"/>
                      <a:pt x="57224" y="1401183"/>
                      <a:pt x="55829" y="1396136"/>
                    </a:cubicBezTo>
                    <a:cubicBezTo>
                      <a:pt x="49811" y="1376049"/>
                      <a:pt x="45526" y="1355444"/>
                      <a:pt x="43055" y="1334620"/>
                    </a:cubicBezTo>
                    <a:cubicBezTo>
                      <a:pt x="40584" y="1313795"/>
                      <a:pt x="40086" y="1292771"/>
                      <a:pt x="41182" y="1271846"/>
                    </a:cubicBezTo>
                    <a:cubicBezTo>
                      <a:pt x="42258" y="1250902"/>
                      <a:pt x="45327" y="1230058"/>
                      <a:pt x="50130" y="1209652"/>
                    </a:cubicBezTo>
                    <a:cubicBezTo>
                      <a:pt x="50827" y="1206181"/>
                      <a:pt x="51824" y="1202770"/>
                      <a:pt x="52740" y="1199339"/>
                    </a:cubicBezTo>
                    <a:cubicBezTo>
                      <a:pt x="53677" y="1195928"/>
                      <a:pt x="54554" y="1192497"/>
                      <a:pt x="55550" y="1189086"/>
                    </a:cubicBezTo>
                    <a:lnTo>
                      <a:pt x="58798" y="1178953"/>
                    </a:lnTo>
                    <a:lnTo>
                      <a:pt x="60433" y="1173887"/>
                    </a:lnTo>
                    <a:cubicBezTo>
                      <a:pt x="61010" y="1172211"/>
                      <a:pt x="61668" y="1170556"/>
                      <a:pt x="62266" y="1168900"/>
                    </a:cubicBezTo>
                    <a:lnTo>
                      <a:pt x="65992" y="1158947"/>
                    </a:lnTo>
                    <a:cubicBezTo>
                      <a:pt x="67268" y="1155635"/>
                      <a:pt x="68742" y="1152424"/>
                      <a:pt x="70098" y="1149153"/>
                    </a:cubicBezTo>
                    <a:cubicBezTo>
                      <a:pt x="72768" y="1142590"/>
                      <a:pt x="75956" y="1136247"/>
                      <a:pt x="79025" y="1129884"/>
                    </a:cubicBezTo>
                    <a:cubicBezTo>
                      <a:pt x="80500" y="1126672"/>
                      <a:pt x="82293" y="1123601"/>
                      <a:pt x="83947" y="1120469"/>
                    </a:cubicBezTo>
                    <a:cubicBezTo>
                      <a:pt x="85641" y="1117377"/>
                      <a:pt x="87255" y="1114205"/>
                      <a:pt x="89049" y="1111154"/>
                    </a:cubicBezTo>
                    <a:lnTo>
                      <a:pt x="94509" y="1102058"/>
                    </a:lnTo>
                    <a:cubicBezTo>
                      <a:pt x="95426" y="1100542"/>
                      <a:pt x="96323" y="1099006"/>
                      <a:pt x="97259" y="1097530"/>
                    </a:cubicBezTo>
                    <a:lnTo>
                      <a:pt x="100189" y="1093102"/>
                    </a:lnTo>
                    <a:lnTo>
                      <a:pt x="106047" y="1084265"/>
                    </a:lnTo>
                    <a:lnTo>
                      <a:pt x="112265" y="1075688"/>
                    </a:lnTo>
                    <a:lnTo>
                      <a:pt x="115394" y="1071399"/>
                    </a:lnTo>
                    <a:lnTo>
                      <a:pt x="116151" y="1070362"/>
                    </a:lnTo>
                    <a:lnTo>
                      <a:pt x="116709" y="1069664"/>
                    </a:lnTo>
                    <a:lnTo>
                      <a:pt x="117825" y="1068268"/>
                    </a:lnTo>
                    <a:lnTo>
                      <a:pt x="122269" y="1062702"/>
                    </a:lnTo>
                    <a:cubicBezTo>
                      <a:pt x="123604" y="1061007"/>
                      <a:pt x="125099" y="1059411"/>
                      <a:pt x="126493" y="1057775"/>
                    </a:cubicBezTo>
                    <a:lnTo>
                      <a:pt x="128626" y="1055322"/>
                    </a:lnTo>
                    <a:lnTo>
                      <a:pt x="129702" y="1054105"/>
                    </a:lnTo>
                    <a:cubicBezTo>
                      <a:pt x="129861" y="1053886"/>
                      <a:pt x="130100" y="1053726"/>
                      <a:pt x="130200" y="1053467"/>
                    </a:cubicBezTo>
                    <a:cubicBezTo>
                      <a:pt x="130180" y="1053208"/>
                      <a:pt x="130041" y="1052948"/>
                      <a:pt x="129961" y="1052689"/>
                    </a:cubicBezTo>
                    <a:cubicBezTo>
                      <a:pt x="128446" y="1048620"/>
                      <a:pt x="127071" y="1044531"/>
                      <a:pt x="125796" y="1040382"/>
                    </a:cubicBezTo>
                    <a:cubicBezTo>
                      <a:pt x="125178" y="1038367"/>
                      <a:pt x="124541" y="1036113"/>
                      <a:pt x="124022" y="1034258"/>
                    </a:cubicBezTo>
                    <a:cubicBezTo>
                      <a:pt x="123146" y="1030967"/>
                      <a:pt x="122269" y="1027675"/>
                      <a:pt x="121492" y="1024344"/>
                    </a:cubicBezTo>
                    <a:cubicBezTo>
                      <a:pt x="119877" y="1017722"/>
                      <a:pt x="118502" y="1011040"/>
                      <a:pt x="117287" y="1004337"/>
                    </a:cubicBezTo>
                    <a:cubicBezTo>
                      <a:pt x="113620" y="983613"/>
                      <a:pt x="111787" y="962569"/>
                      <a:pt x="112026" y="941544"/>
                    </a:cubicBezTo>
                    <a:cubicBezTo>
                      <a:pt x="112464" y="931052"/>
                      <a:pt x="112404" y="920520"/>
                      <a:pt x="113799" y="910068"/>
                    </a:cubicBezTo>
                    <a:lnTo>
                      <a:pt x="114616" y="902229"/>
                    </a:lnTo>
                    <a:cubicBezTo>
                      <a:pt x="114915" y="899616"/>
                      <a:pt x="115075" y="896983"/>
                      <a:pt x="115593" y="894410"/>
                    </a:cubicBezTo>
                    <a:lnTo>
                      <a:pt x="118283" y="878851"/>
                    </a:lnTo>
                    <a:cubicBezTo>
                      <a:pt x="119040" y="873645"/>
                      <a:pt x="120495" y="868578"/>
                      <a:pt x="121691" y="863452"/>
                    </a:cubicBezTo>
                    <a:lnTo>
                      <a:pt x="123564" y="855792"/>
                    </a:lnTo>
                    <a:lnTo>
                      <a:pt x="124501" y="851962"/>
                    </a:lnTo>
                    <a:cubicBezTo>
                      <a:pt x="124839" y="850686"/>
                      <a:pt x="125278" y="849449"/>
                      <a:pt x="125657" y="848193"/>
                    </a:cubicBezTo>
                    <a:lnTo>
                      <a:pt x="130419" y="833152"/>
                    </a:lnTo>
                    <a:cubicBezTo>
                      <a:pt x="130838" y="831896"/>
                      <a:pt x="131196" y="830639"/>
                      <a:pt x="131635" y="829402"/>
                    </a:cubicBezTo>
                    <a:lnTo>
                      <a:pt x="133070" y="825732"/>
                    </a:lnTo>
                    <a:lnTo>
                      <a:pt x="135939" y="818392"/>
                    </a:lnTo>
                    <a:cubicBezTo>
                      <a:pt x="139506" y="808478"/>
                      <a:pt x="144309" y="799103"/>
                      <a:pt x="148733" y="789568"/>
                    </a:cubicBezTo>
                    <a:cubicBezTo>
                      <a:pt x="151085" y="784881"/>
                      <a:pt x="153755" y="780333"/>
                      <a:pt x="156266" y="775725"/>
                    </a:cubicBezTo>
                    <a:lnTo>
                      <a:pt x="160092" y="768823"/>
                    </a:lnTo>
                    <a:cubicBezTo>
                      <a:pt x="161447" y="766589"/>
                      <a:pt x="162902" y="764395"/>
                      <a:pt x="164317" y="762161"/>
                    </a:cubicBezTo>
                    <a:lnTo>
                      <a:pt x="169418" y="754202"/>
                    </a:lnTo>
                    <a:lnTo>
                      <a:pt x="171969" y="750233"/>
                    </a:lnTo>
                    <a:cubicBezTo>
                      <a:pt x="172806" y="748896"/>
                      <a:pt x="173802" y="747680"/>
                      <a:pt x="174719" y="746383"/>
                    </a:cubicBezTo>
                    <a:lnTo>
                      <a:pt x="185918" y="731164"/>
                    </a:lnTo>
                    <a:lnTo>
                      <a:pt x="198055" y="716682"/>
                    </a:lnTo>
                    <a:cubicBezTo>
                      <a:pt x="200027" y="714209"/>
                      <a:pt x="202259" y="711995"/>
                      <a:pt x="204412" y="709701"/>
                    </a:cubicBezTo>
                    <a:lnTo>
                      <a:pt x="210928" y="702859"/>
                    </a:lnTo>
                    <a:cubicBezTo>
                      <a:pt x="215153" y="698191"/>
                      <a:pt x="219876" y="694002"/>
                      <a:pt x="224479" y="689714"/>
                    </a:cubicBezTo>
                    <a:lnTo>
                      <a:pt x="231414" y="683311"/>
                    </a:lnTo>
                    <a:cubicBezTo>
                      <a:pt x="233765" y="681236"/>
                      <a:pt x="236256" y="679301"/>
                      <a:pt x="238688" y="677287"/>
                    </a:cubicBezTo>
                    <a:lnTo>
                      <a:pt x="246001" y="671323"/>
                    </a:lnTo>
                    <a:lnTo>
                      <a:pt x="249668" y="668351"/>
                    </a:lnTo>
                    <a:lnTo>
                      <a:pt x="253494" y="665598"/>
                    </a:lnTo>
                    <a:lnTo>
                      <a:pt x="259552" y="661269"/>
                    </a:lnTo>
                    <a:cubicBezTo>
                      <a:pt x="261206" y="660112"/>
                      <a:pt x="262800" y="658896"/>
                      <a:pt x="264474" y="657799"/>
                    </a:cubicBezTo>
                    <a:lnTo>
                      <a:pt x="271270" y="653550"/>
                    </a:lnTo>
                    <a:lnTo>
                      <a:pt x="274677" y="651436"/>
                    </a:lnTo>
                    <a:cubicBezTo>
                      <a:pt x="275215" y="651057"/>
                      <a:pt x="275893" y="650797"/>
                      <a:pt x="276291" y="650299"/>
                    </a:cubicBezTo>
                    <a:lnTo>
                      <a:pt x="275933" y="648324"/>
                    </a:lnTo>
                    <a:cubicBezTo>
                      <a:pt x="274996" y="643058"/>
                      <a:pt x="274259" y="637752"/>
                      <a:pt x="273761" y="632426"/>
                    </a:cubicBezTo>
                    <a:lnTo>
                      <a:pt x="273402" y="628337"/>
                    </a:lnTo>
                    <a:lnTo>
                      <a:pt x="273043" y="622592"/>
                    </a:lnTo>
                    <a:cubicBezTo>
                      <a:pt x="272804" y="618363"/>
                      <a:pt x="272665" y="614155"/>
                      <a:pt x="272585" y="609926"/>
                    </a:cubicBezTo>
                    <a:cubicBezTo>
                      <a:pt x="272485" y="605697"/>
                      <a:pt x="272585" y="601488"/>
                      <a:pt x="272704" y="597260"/>
                    </a:cubicBezTo>
                    <a:lnTo>
                      <a:pt x="272844" y="590916"/>
                    </a:lnTo>
                    <a:lnTo>
                      <a:pt x="273243" y="584593"/>
                    </a:lnTo>
                    <a:cubicBezTo>
                      <a:pt x="274578" y="563509"/>
                      <a:pt x="277985" y="542525"/>
                      <a:pt x="283466" y="522099"/>
                    </a:cubicBezTo>
                    <a:cubicBezTo>
                      <a:pt x="289025" y="501694"/>
                      <a:pt x="296598" y="481866"/>
                      <a:pt x="305984" y="462957"/>
                    </a:cubicBezTo>
                    <a:cubicBezTo>
                      <a:pt x="315330" y="444027"/>
                      <a:pt x="326629" y="426094"/>
                      <a:pt x="339463" y="409419"/>
                    </a:cubicBezTo>
                    <a:cubicBezTo>
                      <a:pt x="352296" y="392723"/>
                      <a:pt x="366605" y="377185"/>
                      <a:pt x="382288" y="363182"/>
                    </a:cubicBezTo>
                    <a:cubicBezTo>
                      <a:pt x="400602" y="346905"/>
                      <a:pt x="420470" y="332404"/>
                      <a:pt x="441753" y="320316"/>
                    </a:cubicBezTo>
                    <a:cubicBezTo>
                      <a:pt x="452315" y="314152"/>
                      <a:pt x="463315" y="308746"/>
                      <a:pt x="474454" y="303720"/>
                    </a:cubicBezTo>
                    <a:cubicBezTo>
                      <a:pt x="480074" y="301326"/>
                      <a:pt x="485694" y="298833"/>
                      <a:pt x="491294" y="296798"/>
                    </a:cubicBezTo>
                    <a:lnTo>
                      <a:pt x="495498" y="295202"/>
                    </a:lnTo>
                    <a:lnTo>
                      <a:pt x="497591" y="294405"/>
                    </a:lnTo>
                    <a:cubicBezTo>
                      <a:pt x="497989" y="294245"/>
                      <a:pt x="498149" y="294205"/>
                      <a:pt x="498388" y="294125"/>
                    </a:cubicBezTo>
                    <a:lnTo>
                      <a:pt x="499085" y="293886"/>
                    </a:lnTo>
                    <a:lnTo>
                      <a:pt x="504625" y="292011"/>
                    </a:lnTo>
                    <a:cubicBezTo>
                      <a:pt x="507256" y="291073"/>
                      <a:pt x="509966" y="290395"/>
                      <a:pt x="512616" y="289577"/>
                    </a:cubicBezTo>
                    <a:lnTo>
                      <a:pt x="514629" y="288979"/>
                    </a:lnTo>
                    <a:cubicBezTo>
                      <a:pt x="514789" y="288919"/>
                      <a:pt x="514968" y="288899"/>
                      <a:pt x="515127" y="288799"/>
                    </a:cubicBezTo>
                    <a:cubicBezTo>
                      <a:pt x="515247" y="288660"/>
                      <a:pt x="515247" y="288480"/>
                      <a:pt x="515327" y="288321"/>
                    </a:cubicBezTo>
                    <a:lnTo>
                      <a:pt x="515665" y="287323"/>
                    </a:lnTo>
                    <a:lnTo>
                      <a:pt x="517001" y="283354"/>
                    </a:lnTo>
                    <a:cubicBezTo>
                      <a:pt x="517857" y="280701"/>
                      <a:pt x="518814" y="278068"/>
                      <a:pt x="519830" y="275455"/>
                    </a:cubicBezTo>
                    <a:lnTo>
                      <a:pt x="521305" y="271505"/>
                    </a:lnTo>
                    <a:cubicBezTo>
                      <a:pt x="521484" y="270987"/>
                      <a:pt x="521963" y="269830"/>
                      <a:pt x="522361" y="268872"/>
                    </a:cubicBezTo>
                    <a:lnTo>
                      <a:pt x="523577" y="265880"/>
                    </a:lnTo>
                    <a:cubicBezTo>
                      <a:pt x="530013" y="249883"/>
                      <a:pt x="537307" y="234185"/>
                      <a:pt x="545517" y="218945"/>
                    </a:cubicBezTo>
                    <a:cubicBezTo>
                      <a:pt x="555422" y="200714"/>
                      <a:pt x="566621" y="183100"/>
                      <a:pt x="579156" y="166425"/>
                    </a:cubicBezTo>
                    <a:cubicBezTo>
                      <a:pt x="591690" y="149749"/>
                      <a:pt x="605580" y="133971"/>
                      <a:pt x="620964" y="119629"/>
                    </a:cubicBezTo>
                    <a:cubicBezTo>
                      <a:pt x="636329" y="105287"/>
                      <a:pt x="652969" y="92102"/>
                      <a:pt x="671103" y="81032"/>
                    </a:cubicBezTo>
                    <a:cubicBezTo>
                      <a:pt x="689178" y="69901"/>
                      <a:pt x="708488" y="60526"/>
                      <a:pt x="728834" y="53824"/>
                    </a:cubicBezTo>
                    <a:cubicBezTo>
                      <a:pt x="738937" y="50293"/>
                      <a:pt x="749400" y="47760"/>
                      <a:pt x="759882" y="45486"/>
                    </a:cubicBezTo>
                    <a:lnTo>
                      <a:pt x="767813" y="44090"/>
                    </a:lnTo>
                    <a:lnTo>
                      <a:pt x="771779" y="43392"/>
                    </a:lnTo>
                    <a:lnTo>
                      <a:pt x="775784" y="42873"/>
                    </a:lnTo>
                    <a:lnTo>
                      <a:pt x="783775" y="41876"/>
                    </a:lnTo>
                    <a:cubicBezTo>
                      <a:pt x="786446" y="41616"/>
                      <a:pt x="789136" y="41457"/>
                      <a:pt x="791806" y="41237"/>
                    </a:cubicBezTo>
                    <a:cubicBezTo>
                      <a:pt x="797167" y="40719"/>
                      <a:pt x="802527" y="40759"/>
                      <a:pt x="807908" y="40579"/>
                    </a:cubicBezTo>
                    <a:cubicBezTo>
                      <a:pt x="813209" y="40559"/>
                      <a:pt x="818390" y="40779"/>
                      <a:pt x="823631" y="40878"/>
                    </a:cubicBezTo>
                    <a:lnTo>
                      <a:pt x="827557" y="40978"/>
                    </a:lnTo>
                    <a:lnTo>
                      <a:pt x="831483" y="41257"/>
                    </a:lnTo>
                    <a:lnTo>
                      <a:pt x="839334" y="41856"/>
                    </a:lnTo>
                    <a:cubicBezTo>
                      <a:pt x="841945" y="42095"/>
                      <a:pt x="844575" y="42175"/>
                      <a:pt x="847186" y="42534"/>
                    </a:cubicBezTo>
                    <a:lnTo>
                      <a:pt x="855017" y="43551"/>
                    </a:lnTo>
                    <a:cubicBezTo>
                      <a:pt x="875902" y="46284"/>
                      <a:pt x="896687" y="51031"/>
                      <a:pt x="916794" y="58133"/>
                    </a:cubicBezTo>
                    <a:cubicBezTo>
                      <a:pt x="936921" y="65174"/>
                      <a:pt x="956191" y="74888"/>
                      <a:pt x="974067" y="86637"/>
                    </a:cubicBezTo>
                    <a:cubicBezTo>
                      <a:pt x="984848" y="93638"/>
                      <a:pt x="995031" y="101577"/>
                      <a:pt x="1004656" y="110055"/>
                    </a:cubicBezTo>
                    <a:cubicBezTo>
                      <a:pt x="1005852" y="111112"/>
                      <a:pt x="1007127" y="112109"/>
                      <a:pt x="1008283" y="113226"/>
                    </a:cubicBezTo>
                    <a:lnTo>
                      <a:pt x="1011730" y="116577"/>
                    </a:lnTo>
                    <a:lnTo>
                      <a:pt x="1016593" y="121345"/>
                    </a:lnTo>
                    <a:cubicBezTo>
                      <a:pt x="1018068" y="122701"/>
                      <a:pt x="1019383" y="124237"/>
                      <a:pt x="1020718" y="125733"/>
                    </a:cubicBezTo>
                    <a:lnTo>
                      <a:pt x="1024723" y="130221"/>
                    </a:lnTo>
                    <a:cubicBezTo>
                      <a:pt x="1026338" y="131916"/>
                      <a:pt x="1027693" y="133811"/>
                      <a:pt x="1029147" y="135647"/>
                    </a:cubicBezTo>
                    <a:lnTo>
                      <a:pt x="1033472" y="141172"/>
                    </a:lnTo>
                    <a:cubicBezTo>
                      <a:pt x="1034867" y="143047"/>
                      <a:pt x="1036122" y="145022"/>
                      <a:pt x="1037457" y="146937"/>
                    </a:cubicBezTo>
                    <a:lnTo>
                      <a:pt x="1039430" y="149829"/>
                    </a:lnTo>
                    <a:lnTo>
                      <a:pt x="1040427" y="151285"/>
                    </a:lnTo>
                    <a:lnTo>
                      <a:pt x="1040925" y="152003"/>
                    </a:lnTo>
                    <a:lnTo>
                      <a:pt x="1041184" y="152362"/>
                    </a:lnTo>
                    <a:cubicBezTo>
                      <a:pt x="1041284" y="152482"/>
                      <a:pt x="1041483" y="152462"/>
                      <a:pt x="1041563" y="152342"/>
                    </a:cubicBezTo>
                    <a:cubicBezTo>
                      <a:pt x="1044233" y="148512"/>
                      <a:pt x="1046784" y="144583"/>
                      <a:pt x="1049534" y="140813"/>
                    </a:cubicBezTo>
                    <a:lnTo>
                      <a:pt x="1053858" y="135287"/>
                    </a:lnTo>
                    <a:cubicBezTo>
                      <a:pt x="1055293" y="133432"/>
                      <a:pt x="1056708" y="131577"/>
                      <a:pt x="1058322" y="129882"/>
                    </a:cubicBezTo>
                    <a:cubicBezTo>
                      <a:pt x="1061471" y="126411"/>
                      <a:pt x="1064440" y="122841"/>
                      <a:pt x="1067907" y="119629"/>
                    </a:cubicBezTo>
                    <a:lnTo>
                      <a:pt x="1074922" y="112767"/>
                    </a:lnTo>
                    <a:lnTo>
                      <a:pt x="1083431" y="105467"/>
                    </a:lnTo>
                    <a:cubicBezTo>
                      <a:pt x="1088991" y="100460"/>
                      <a:pt x="1095149" y="96191"/>
                      <a:pt x="1101147" y="91703"/>
                    </a:cubicBezTo>
                    <a:cubicBezTo>
                      <a:pt x="1104096" y="89389"/>
                      <a:pt x="1107345" y="87514"/>
                      <a:pt x="1110473" y="85460"/>
                    </a:cubicBezTo>
                    <a:cubicBezTo>
                      <a:pt x="1113642" y="83465"/>
                      <a:pt x="1116750" y="81371"/>
                      <a:pt x="1119979" y="79476"/>
                    </a:cubicBezTo>
                    <a:cubicBezTo>
                      <a:pt x="1138432" y="68585"/>
                      <a:pt x="1158260" y="60187"/>
                      <a:pt x="1178587" y="54023"/>
                    </a:cubicBezTo>
                    <a:cubicBezTo>
                      <a:pt x="1198933" y="47860"/>
                      <a:pt x="1219838" y="43990"/>
                      <a:pt x="1240762" y="42055"/>
                    </a:cubicBezTo>
                    <a:cubicBezTo>
                      <a:pt x="1246003" y="41696"/>
                      <a:pt x="1251224" y="41198"/>
                      <a:pt x="1256465" y="40938"/>
                    </a:cubicBezTo>
                    <a:lnTo>
                      <a:pt x="1272148" y="40559"/>
                    </a:lnTo>
                    <a:cubicBezTo>
                      <a:pt x="1282830" y="40639"/>
                      <a:pt x="1293611" y="41098"/>
                      <a:pt x="1304252" y="42514"/>
                    </a:cubicBezTo>
                    <a:cubicBezTo>
                      <a:pt x="1314933" y="43711"/>
                      <a:pt x="1325455" y="45925"/>
                      <a:pt x="1335878" y="48438"/>
                    </a:cubicBezTo>
                    <a:lnTo>
                      <a:pt x="1343630" y="50593"/>
                    </a:lnTo>
                    <a:lnTo>
                      <a:pt x="1347496" y="51690"/>
                    </a:lnTo>
                    <a:lnTo>
                      <a:pt x="1351302" y="52946"/>
                    </a:lnTo>
                    <a:lnTo>
                      <a:pt x="1358914" y="55480"/>
                    </a:lnTo>
                    <a:lnTo>
                      <a:pt x="1366407" y="58352"/>
                    </a:lnTo>
                    <a:cubicBezTo>
                      <a:pt x="1406323" y="73931"/>
                      <a:pt x="1441675" y="98924"/>
                      <a:pt x="1471108" y="128765"/>
                    </a:cubicBezTo>
                    <a:cubicBezTo>
                      <a:pt x="1485915" y="143665"/>
                      <a:pt x="1499227" y="159882"/>
                      <a:pt x="1511183" y="176937"/>
                    </a:cubicBezTo>
                    <a:cubicBezTo>
                      <a:pt x="1523160" y="193991"/>
                      <a:pt x="1533802" y="211904"/>
                      <a:pt x="1543148" y="230415"/>
                    </a:cubicBezTo>
                    <a:cubicBezTo>
                      <a:pt x="1545280" y="234663"/>
                      <a:pt x="1547293" y="238972"/>
                      <a:pt x="1549365" y="243260"/>
                    </a:cubicBezTo>
                    <a:cubicBezTo>
                      <a:pt x="1551358" y="247569"/>
                      <a:pt x="1553231" y="251937"/>
                      <a:pt x="1555184" y="256286"/>
                    </a:cubicBezTo>
                    <a:cubicBezTo>
                      <a:pt x="1557037" y="260654"/>
                      <a:pt x="1558791" y="265063"/>
                      <a:pt x="1560585" y="269471"/>
                    </a:cubicBezTo>
                    <a:lnTo>
                      <a:pt x="1561202" y="271007"/>
                    </a:lnTo>
                    <a:lnTo>
                      <a:pt x="1561601" y="272104"/>
                    </a:lnTo>
                    <a:lnTo>
                      <a:pt x="1562418" y="274278"/>
                    </a:lnTo>
                    <a:lnTo>
                      <a:pt x="1564032" y="278626"/>
                    </a:lnTo>
                    <a:cubicBezTo>
                      <a:pt x="1564929" y="281040"/>
                      <a:pt x="1565706" y="283494"/>
                      <a:pt x="1566543" y="285927"/>
                    </a:cubicBezTo>
                    <a:lnTo>
                      <a:pt x="1567161" y="287762"/>
                    </a:lnTo>
                    <a:lnTo>
                      <a:pt x="1567480" y="288680"/>
                    </a:lnTo>
                    <a:cubicBezTo>
                      <a:pt x="1567659" y="288959"/>
                      <a:pt x="1568058" y="288919"/>
                      <a:pt x="1568336" y="289039"/>
                    </a:cubicBezTo>
                    <a:lnTo>
                      <a:pt x="1572043" y="290136"/>
                    </a:lnTo>
                    <a:cubicBezTo>
                      <a:pt x="1574514" y="290854"/>
                      <a:pt x="1576985" y="291592"/>
                      <a:pt x="1579416" y="292450"/>
                    </a:cubicBezTo>
                    <a:lnTo>
                      <a:pt x="1583063" y="293686"/>
                    </a:lnTo>
                    <a:lnTo>
                      <a:pt x="1584976" y="294345"/>
                    </a:lnTo>
                    <a:lnTo>
                      <a:pt x="1587746" y="295402"/>
                    </a:lnTo>
                    <a:cubicBezTo>
                      <a:pt x="1591453" y="296838"/>
                      <a:pt x="1595140" y="298175"/>
                      <a:pt x="1598846" y="299710"/>
                    </a:cubicBezTo>
                    <a:lnTo>
                      <a:pt x="1609986" y="304478"/>
                    </a:lnTo>
                    <a:lnTo>
                      <a:pt x="1620946" y="309664"/>
                    </a:lnTo>
                    <a:cubicBezTo>
                      <a:pt x="1624593" y="311399"/>
                      <a:pt x="1628120" y="313374"/>
                      <a:pt x="1631727" y="315209"/>
                    </a:cubicBezTo>
                    <a:cubicBezTo>
                      <a:pt x="1660204" y="330489"/>
                      <a:pt x="1686708" y="349558"/>
                      <a:pt x="1709964" y="372118"/>
                    </a:cubicBezTo>
                    <a:cubicBezTo>
                      <a:pt x="1725109" y="386699"/>
                      <a:pt x="1738800" y="402816"/>
                      <a:pt x="1750976" y="419991"/>
                    </a:cubicBezTo>
                    <a:cubicBezTo>
                      <a:pt x="1763152" y="437185"/>
                      <a:pt x="1773733" y="455556"/>
                      <a:pt x="1782282" y="474865"/>
                    </a:cubicBezTo>
                    <a:cubicBezTo>
                      <a:pt x="1790891" y="494154"/>
                      <a:pt x="1797627" y="514280"/>
                      <a:pt x="1802330" y="534905"/>
                    </a:cubicBezTo>
                    <a:cubicBezTo>
                      <a:pt x="1806973" y="555530"/>
                      <a:pt x="1809464" y="576634"/>
                      <a:pt x="1809942" y="597758"/>
                    </a:cubicBezTo>
                    <a:cubicBezTo>
                      <a:pt x="1810201" y="605099"/>
                      <a:pt x="1810082" y="612439"/>
                      <a:pt x="1809743" y="619760"/>
                    </a:cubicBezTo>
                    <a:cubicBezTo>
                      <a:pt x="1809564" y="623310"/>
                      <a:pt x="1809305" y="627579"/>
                      <a:pt x="1809125" y="629554"/>
                    </a:cubicBezTo>
                    <a:cubicBezTo>
                      <a:pt x="1808926" y="631868"/>
                      <a:pt x="1808707" y="634181"/>
                      <a:pt x="1808428" y="636475"/>
                    </a:cubicBezTo>
                    <a:cubicBezTo>
                      <a:pt x="1808109" y="639228"/>
                      <a:pt x="1807730" y="641961"/>
                      <a:pt x="1807292" y="644674"/>
                    </a:cubicBezTo>
                    <a:lnTo>
                      <a:pt x="1806594" y="648763"/>
                    </a:lnTo>
                    <a:lnTo>
                      <a:pt x="1806415" y="649780"/>
                    </a:lnTo>
                    <a:cubicBezTo>
                      <a:pt x="1806415" y="649959"/>
                      <a:pt x="1806315" y="650119"/>
                      <a:pt x="1806355" y="650299"/>
                    </a:cubicBezTo>
                    <a:cubicBezTo>
                      <a:pt x="1806435" y="650458"/>
                      <a:pt x="1806634" y="650498"/>
                      <a:pt x="1806754" y="650618"/>
                    </a:cubicBezTo>
                    <a:lnTo>
                      <a:pt x="1808507" y="651715"/>
                    </a:lnTo>
                    <a:lnTo>
                      <a:pt x="1815522" y="656103"/>
                    </a:lnTo>
                    <a:cubicBezTo>
                      <a:pt x="1816678" y="656841"/>
                      <a:pt x="1817874" y="657539"/>
                      <a:pt x="1819029" y="658317"/>
                    </a:cubicBezTo>
                    <a:lnTo>
                      <a:pt x="1822397" y="660731"/>
                    </a:lnTo>
                    <a:lnTo>
                      <a:pt x="1830986" y="666874"/>
                    </a:lnTo>
                    <a:cubicBezTo>
                      <a:pt x="1832780" y="668091"/>
                      <a:pt x="1834434" y="669488"/>
                      <a:pt x="1836128" y="670864"/>
                    </a:cubicBezTo>
                    <a:lnTo>
                      <a:pt x="1841169" y="674973"/>
                    </a:lnTo>
                    <a:cubicBezTo>
                      <a:pt x="1844517" y="677726"/>
                      <a:pt x="1847925" y="680418"/>
                      <a:pt x="1851193" y="683231"/>
                    </a:cubicBezTo>
                    <a:lnTo>
                      <a:pt x="1860739" y="692067"/>
                    </a:lnTo>
                    <a:cubicBezTo>
                      <a:pt x="1867255" y="697792"/>
                      <a:pt x="1873034" y="704275"/>
                      <a:pt x="1879032" y="710518"/>
                    </a:cubicBezTo>
                    <a:cubicBezTo>
                      <a:pt x="1882101" y="713590"/>
                      <a:pt x="1884831" y="716941"/>
                      <a:pt x="1887621" y="720273"/>
                    </a:cubicBezTo>
                    <a:lnTo>
                      <a:pt x="1895971" y="730246"/>
                    </a:lnTo>
                    <a:cubicBezTo>
                      <a:pt x="1898681" y="733637"/>
                      <a:pt x="1901152" y="737208"/>
                      <a:pt x="1903743" y="740678"/>
                    </a:cubicBezTo>
                    <a:lnTo>
                      <a:pt x="1907589" y="745924"/>
                    </a:lnTo>
                    <a:cubicBezTo>
                      <a:pt x="1908864" y="747680"/>
                      <a:pt x="1910200" y="749395"/>
                      <a:pt x="1911335" y="751250"/>
                    </a:cubicBezTo>
                    <a:lnTo>
                      <a:pt x="1918350" y="762221"/>
                    </a:lnTo>
                    <a:lnTo>
                      <a:pt x="1921857" y="767706"/>
                    </a:lnTo>
                    <a:cubicBezTo>
                      <a:pt x="1922993" y="769562"/>
                      <a:pt x="1923990" y="771496"/>
                      <a:pt x="1925066" y="773371"/>
                    </a:cubicBezTo>
                    <a:lnTo>
                      <a:pt x="1932678" y="787175"/>
                    </a:lnTo>
                    <a:cubicBezTo>
                      <a:pt x="1935050" y="791862"/>
                      <a:pt x="1937202" y="796669"/>
                      <a:pt x="1939454" y="801417"/>
                    </a:cubicBezTo>
                    <a:lnTo>
                      <a:pt x="1942802" y="808558"/>
                    </a:lnTo>
                    <a:lnTo>
                      <a:pt x="1945691" y="815898"/>
                    </a:lnTo>
                    <a:cubicBezTo>
                      <a:pt x="1947584" y="820805"/>
                      <a:pt x="1949577" y="825672"/>
                      <a:pt x="1951371" y="830619"/>
                    </a:cubicBezTo>
                    <a:lnTo>
                      <a:pt x="1956133" y="845659"/>
                    </a:lnTo>
                    <a:cubicBezTo>
                      <a:pt x="1956871" y="848173"/>
                      <a:pt x="1957827" y="850646"/>
                      <a:pt x="1958405" y="853219"/>
                    </a:cubicBezTo>
                    <a:lnTo>
                      <a:pt x="1960278" y="860879"/>
                    </a:lnTo>
                    <a:lnTo>
                      <a:pt x="1962152" y="868538"/>
                    </a:lnTo>
                    <a:cubicBezTo>
                      <a:pt x="1962729" y="871092"/>
                      <a:pt x="1963487" y="873625"/>
                      <a:pt x="1963865" y="876238"/>
                    </a:cubicBezTo>
                    <a:lnTo>
                      <a:pt x="1966556" y="891797"/>
                    </a:lnTo>
                    <a:cubicBezTo>
                      <a:pt x="1967592" y="896963"/>
                      <a:pt x="1967931" y="902229"/>
                      <a:pt x="1968528" y="907435"/>
                    </a:cubicBezTo>
                    <a:lnTo>
                      <a:pt x="1969326" y="915274"/>
                    </a:lnTo>
                    <a:cubicBezTo>
                      <a:pt x="1969585" y="917887"/>
                      <a:pt x="1969903" y="920500"/>
                      <a:pt x="1969923" y="923133"/>
                    </a:cubicBezTo>
                    <a:cubicBezTo>
                      <a:pt x="1970222" y="933645"/>
                      <a:pt x="1970900" y="944137"/>
                      <a:pt x="1970442" y="954650"/>
                    </a:cubicBezTo>
                    <a:cubicBezTo>
                      <a:pt x="1969804" y="975654"/>
                      <a:pt x="1967213" y="996638"/>
                      <a:pt x="1962729" y="1017203"/>
                    </a:cubicBezTo>
                    <a:cubicBezTo>
                      <a:pt x="1962211" y="1019657"/>
                      <a:pt x="1961653" y="1022110"/>
                      <a:pt x="1961036" y="1024544"/>
                    </a:cubicBezTo>
                    <a:cubicBezTo>
                      <a:pt x="1960458" y="1026997"/>
                      <a:pt x="1959840" y="1029431"/>
                      <a:pt x="1959182" y="1031844"/>
                    </a:cubicBezTo>
                    <a:lnTo>
                      <a:pt x="1958365" y="1034916"/>
                    </a:lnTo>
                    <a:lnTo>
                      <a:pt x="1957708" y="1037210"/>
                    </a:lnTo>
                    <a:cubicBezTo>
                      <a:pt x="1957269" y="1038746"/>
                      <a:pt x="1956811" y="1040282"/>
                      <a:pt x="1956333" y="1041798"/>
                    </a:cubicBezTo>
                    <a:cubicBezTo>
                      <a:pt x="1955476" y="1044610"/>
                      <a:pt x="1954519" y="1047403"/>
                      <a:pt x="1953523" y="1050176"/>
                    </a:cubicBezTo>
                    <a:lnTo>
                      <a:pt x="1952766" y="1052250"/>
                    </a:lnTo>
                    <a:lnTo>
                      <a:pt x="1952387" y="1053287"/>
                    </a:lnTo>
                    <a:cubicBezTo>
                      <a:pt x="1952307" y="1053487"/>
                      <a:pt x="1952506" y="1053626"/>
                      <a:pt x="1952606" y="1053746"/>
                    </a:cubicBezTo>
                    <a:lnTo>
                      <a:pt x="1952965" y="1054165"/>
                    </a:lnTo>
                    <a:lnTo>
                      <a:pt x="1955874" y="1057496"/>
                    </a:lnTo>
                    <a:cubicBezTo>
                      <a:pt x="1957807" y="1059710"/>
                      <a:pt x="1959740" y="1061885"/>
                      <a:pt x="1961673" y="1064358"/>
                    </a:cubicBezTo>
                    <a:lnTo>
                      <a:pt x="1964563" y="1067968"/>
                    </a:lnTo>
                    <a:cubicBezTo>
                      <a:pt x="1965579" y="1069245"/>
                      <a:pt x="1966297" y="1070083"/>
                      <a:pt x="1967831" y="1072237"/>
                    </a:cubicBezTo>
                    <a:cubicBezTo>
                      <a:pt x="1978991" y="1086898"/>
                      <a:pt x="1988855" y="1102517"/>
                      <a:pt x="1997703" y="1118694"/>
                    </a:cubicBezTo>
                    <a:cubicBezTo>
                      <a:pt x="2015499" y="1151008"/>
                      <a:pt x="2027934" y="1186234"/>
                      <a:pt x="2035247" y="1222438"/>
                    </a:cubicBezTo>
                    <a:cubicBezTo>
                      <a:pt x="2039233" y="1243023"/>
                      <a:pt x="2041425" y="1263967"/>
                      <a:pt x="2041823" y="1284912"/>
                    </a:cubicBezTo>
                    <a:cubicBezTo>
                      <a:pt x="2042302" y="1305856"/>
                      <a:pt x="2040887" y="1326860"/>
                      <a:pt x="2037738" y="1347585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43" name="Freeform 11">
                <a:extLst>
                  <a:ext uri="{FF2B5EF4-FFF2-40B4-BE49-F238E27FC236}">
                    <a16:creationId xmlns:a16="http://schemas.microsoft.com/office/drawing/2014/main" id="{409FEADD-1837-8ECA-56FA-67BD2B5C5706}"/>
                  </a:ext>
                </a:extLst>
              </p:cNvPr>
              <p:cNvSpPr/>
              <p:nvPr/>
            </p:nvSpPr>
            <p:spPr>
              <a:xfrm>
                <a:off x="2376086" y="2778542"/>
                <a:ext cx="1922991" cy="1906800"/>
              </a:xfrm>
              <a:custGeom>
                <a:avLst/>
                <a:gdLst>
                  <a:gd name="connsiteX0" fmla="*/ 1916829 w 1922991"/>
                  <a:gd name="connsiteY0" fmla="*/ 1150163 h 1906800"/>
                  <a:gd name="connsiteX1" fmla="*/ 1883330 w 1922991"/>
                  <a:gd name="connsiteY1" fmla="*/ 1057629 h 1906800"/>
                  <a:gd name="connsiteX2" fmla="*/ 1856607 w 1922991"/>
                  <a:gd name="connsiteY2" fmla="*/ 1016039 h 1906800"/>
                  <a:gd name="connsiteX3" fmla="*/ 1851804 w 1922991"/>
                  <a:gd name="connsiteY3" fmla="*/ 1009975 h 1906800"/>
                  <a:gd name="connsiteX4" fmla="*/ 1846424 w 1922991"/>
                  <a:gd name="connsiteY4" fmla="*/ 1003393 h 1906800"/>
                  <a:gd name="connsiteX5" fmla="*/ 1843733 w 1922991"/>
                  <a:gd name="connsiteY5" fmla="*/ 1000102 h 1906800"/>
                  <a:gd name="connsiteX6" fmla="*/ 1842398 w 1922991"/>
                  <a:gd name="connsiteY6" fmla="*/ 998446 h 1906800"/>
                  <a:gd name="connsiteX7" fmla="*/ 1841262 w 1922991"/>
                  <a:gd name="connsiteY7" fmla="*/ 996751 h 1906800"/>
                  <a:gd name="connsiteX8" fmla="*/ 1836739 w 1922991"/>
                  <a:gd name="connsiteY8" fmla="*/ 989949 h 1906800"/>
                  <a:gd name="connsiteX9" fmla="*/ 1832215 w 1922991"/>
                  <a:gd name="connsiteY9" fmla="*/ 983147 h 1906800"/>
                  <a:gd name="connsiteX10" fmla="*/ 1831657 w 1922991"/>
                  <a:gd name="connsiteY10" fmla="*/ 982289 h 1906800"/>
                  <a:gd name="connsiteX11" fmla="*/ 1831278 w 1922991"/>
                  <a:gd name="connsiteY11" fmla="*/ 981371 h 1906800"/>
                  <a:gd name="connsiteX12" fmla="*/ 1831577 w 1922991"/>
                  <a:gd name="connsiteY12" fmla="*/ 979437 h 1906800"/>
                  <a:gd name="connsiteX13" fmla="*/ 1832175 w 1922991"/>
                  <a:gd name="connsiteY13" fmla="*/ 975567 h 1906800"/>
                  <a:gd name="connsiteX14" fmla="*/ 1833849 w 1922991"/>
                  <a:gd name="connsiteY14" fmla="*/ 967548 h 1906800"/>
                  <a:gd name="connsiteX15" fmla="*/ 1834865 w 1922991"/>
                  <a:gd name="connsiteY15" fmla="*/ 963459 h 1906800"/>
                  <a:gd name="connsiteX16" fmla="*/ 1836161 w 1922991"/>
                  <a:gd name="connsiteY16" fmla="*/ 959310 h 1906800"/>
                  <a:gd name="connsiteX17" fmla="*/ 1839030 w 1922991"/>
                  <a:gd name="connsiteY17" fmla="*/ 950294 h 1906800"/>
                  <a:gd name="connsiteX18" fmla="*/ 1840385 w 1922991"/>
                  <a:gd name="connsiteY18" fmla="*/ 945766 h 1906800"/>
                  <a:gd name="connsiteX19" fmla="*/ 1841402 w 1922991"/>
                  <a:gd name="connsiteY19" fmla="*/ 941976 h 1906800"/>
                  <a:gd name="connsiteX20" fmla="*/ 1843036 w 1922991"/>
                  <a:gd name="connsiteY20" fmla="*/ 935513 h 1906800"/>
                  <a:gd name="connsiteX21" fmla="*/ 1844530 w 1922991"/>
                  <a:gd name="connsiteY21" fmla="*/ 929011 h 1906800"/>
                  <a:gd name="connsiteX22" fmla="*/ 1851366 w 1922991"/>
                  <a:gd name="connsiteY22" fmla="*/ 873618 h 1906800"/>
                  <a:gd name="connsiteX23" fmla="*/ 1850887 w 1922991"/>
                  <a:gd name="connsiteY23" fmla="*/ 845672 h 1906800"/>
                  <a:gd name="connsiteX24" fmla="*/ 1850349 w 1922991"/>
                  <a:gd name="connsiteY24" fmla="*/ 838711 h 1906800"/>
                  <a:gd name="connsiteX25" fmla="*/ 1849632 w 1922991"/>
                  <a:gd name="connsiteY25" fmla="*/ 831769 h 1906800"/>
                  <a:gd name="connsiteX26" fmla="*/ 1847898 w 1922991"/>
                  <a:gd name="connsiteY26" fmla="*/ 817906 h 1906800"/>
                  <a:gd name="connsiteX27" fmla="*/ 1845527 w 1922991"/>
                  <a:gd name="connsiteY27" fmla="*/ 804143 h 1906800"/>
                  <a:gd name="connsiteX28" fmla="*/ 1844012 w 1922991"/>
                  <a:gd name="connsiteY28" fmla="*/ 797321 h 1906800"/>
                  <a:gd name="connsiteX29" fmla="*/ 1842358 w 1922991"/>
                  <a:gd name="connsiteY29" fmla="*/ 790539 h 1906800"/>
                  <a:gd name="connsiteX30" fmla="*/ 1840704 w 1922991"/>
                  <a:gd name="connsiteY30" fmla="*/ 783757 h 1906800"/>
                  <a:gd name="connsiteX31" fmla="*/ 1838692 w 1922991"/>
                  <a:gd name="connsiteY31" fmla="*/ 777074 h 1906800"/>
                  <a:gd name="connsiteX32" fmla="*/ 1834487 w 1922991"/>
                  <a:gd name="connsiteY32" fmla="*/ 763750 h 1906800"/>
                  <a:gd name="connsiteX33" fmla="*/ 1829445 w 1922991"/>
                  <a:gd name="connsiteY33" fmla="*/ 750725 h 1906800"/>
                  <a:gd name="connsiteX34" fmla="*/ 1826914 w 1922991"/>
                  <a:gd name="connsiteY34" fmla="*/ 744222 h 1906800"/>
                  <a:gd name="connsiteX35" fmla="*/ 1823945 w 1922991"/>
                  <a:gd name="connsiteY35" fmla="*/ 737899 h 1906800"/>
                  <a:gd name="connsiteX36" fmla="*/ 1817947 w 1922991"/>
                  <a:gd name="connsiteY36" fmla="*/ 725272 h 1906800"/>
                  <a:gd name="connsiteX37" fmla="*/ 1811191 w 1922991"/>
                  <a:gd name="connsiteY37" fmla="*/ 713045 h 1906800"/>
                  <a:gd name="connsiteX38" fmla="*/ 1808361 w 1922991"/>
                  <a:gd name="connsiteY38" fmla="*/ 708018 h 1906800"/>
                  <a:gd name="connsiteX39" fmla="*/ 1805233 w 1922991"/>
                  <a:gd name="connsiteY39" fmla="*/ 703151 h 1906800"/>
                  <a:gd name="connsiteX40" fmla="*/ 1799015 w 1922991"/>
                  <a:gd name="connsiteY40" fmla="*/ 693417 h 1906800"/>
                  <a:gd name="connsiteX41" fmla="*/ 1795687 w 1922991"/>
                  <a:gd name="connsiteY41" fmla="*/ 688689 h 1906800"/>
                  <a:gd name="connsiteX42" fmla="*/ 1792260 w 1922991"/>
                  <a:gd name="connsiteY42" fmla="*/ 684042 h 1906800"/>
                  <a:gd name="connsiteX43" fmla="*/ 1785365 w 1922991"/>
                  <a:gd name="connsiteY43" fmla="*/ 674766 h 1906800"/>
                  <a:gd name="connsiteX44" fmla="*/ 1777931 w 1922991"/>
                  <a:gd name="connsiteY44" fmla="*/ 665910 h 1906800"/>
                  <a:gd name="connsiteX45" fmla="*/ 1770299 w 1922991"/>
                  <a:gd name="connsiteY45" fmla="*/ 657233 h 1906800"/>
                  <a:gd name="connsiteX46" fmla="*/ 1754018 w 1922991"/>
                  <a:gd name="connsiteY46" fmla="*/ 640817 h 1906800"/>
                  <a:gd name="connsiteX47" fmla="*/ 1745529 w 1922991"/>
                  <a:gd name="connsiteY47" fmla="*/ 632958 h 1906800"/>
                  <a:gd name="connsiteX48" fmla="*/ 1736581 w 1922991"/>
                  <a:gd name="connsiteY48" fmla="*/ 625617 h 1906800"/>
                  <a:gd name="connsiteX49" fmla="*/ 1732097 w 1922991"/>
                  <a:gd name="connsiteY49" fmla="*/ 621947 h 1906800"/>
                  <a:gd name="connsiteX50" fmla="*/ 1727534 w 1922991"/>
                  <a:gd name="connsiteY50" fmla="*/ 618396 h 1906800"/>
                  <a:gd name="connsiteX51" fmla="*/ 1722632 w 1922991"/>
                  <a:gd name="connsiteY51" fmla="*/ 614906 h 1906800"/>
                  <a:gd name="connsiteX52" fmla="*/ 1716095 w 1922991"/>
                  <a:gd name="connsiteY52" fmla="*/ 610278 h 1906800"/>
                  <a:gd name="connsiteX53" fmla="*/ 1709280 w 1922991"/>
                  <a:gd name="connsiteY53" fmla="*/ 605710 h 1906800"/>
                  <a:gd name="connsiteX54" fmla="*/ 1703242 w 1922991"/>
                  <a:gd name="connsiteY54" fmla="*/ 600943 h 1906800"/>
                  <a:gd name="connsiteX55" fmla="*/ 1691345 w 1922991"/>
                  <a:gd name="connsiteY55" fmla="*/ 591368 h 1906800"/>
                  <a:gd name="connsiteX56" fmla="*/ 1688376 w 1922991"/>
                  <a:gd name="connsiteY56" fmla="*/ 588974 h 1906800"/>
                  <a:gd name="connsiteX57" fmla="*/ 1687698 w 1922991"/>
                  <a:gd name="connsiteY57" fmla="*/ 588316 h 1906800"/>
                  <a:gd name="connsiteX58" fmla="*/ 1687598 w 1922991"/>
                  <a:gd name="connsiteY58" fmla="*/ 587439 h 1906800"/>
                  <a:gd name="connsiteX59" fmla="*/ 1687499 w 1922991"/>
                  <a:gd name="connsiteY59" fmla="*/ 585683 h 1906800"/>
                  <a:gd name="connsiteX60" fmla="*/ 1687339 w 1922991"/>
                  <a:gd name="connsiteY60" fmla="*/ 582113 h 1906800"/>
                  <a:gd name="connsiteX61" fmla="*/ 1687260 w 1922991"/>
                  <a:gd name="connsiteY61" fmla="*/ 578423 h 1906800"/>
                  <a:gd name="connsiteX62" fmla="*/ 1688316 w 1922991"/>
                  <a:gd name="connsiteY62" fmla="*/ 562624 h 1906800"/>
                  <a:gd name="connsiteX63" fmla="*/ 1689970 w 1922991"/>
                  <a:gd name="connsiteY63" fmla="*/ 548941 h 1906800"/>
                  <a:gd name="connsiteX64" fmla="*/ 1690687 w 1922991"/>
                  <a:gd name="connsiteY64" fmla="*/ 538130 h 1906800"/>
                  <a:gd name="connsiteX65" fmla="*/ 1690866 w 1922991"/>
                  <a:gd name="connsiteY65" fmla="*/ 518821 h 1906800"/>
                  <a:gd name="connsiteX66" fmla="*/ 1684211 w 1922991"/>
                  <a:gd name="connsiteY66" fmla="*/ 463747 h 1906800"/>
                  <a:gd name="connsiteX67" fmla="*/ 1666634 w 1922991"/>
                  <a:gd name="connsiteY67" fmla="*/ 411107 h 1906800"/>
                  <a:gd name="connsiteX68" fmla="*/ 1639074 w 1922991"/>
                  <a:gd name="connsiteY68" fmla="*/ 362836 h 1906800"/>
                  <a:gd name="connsiteX69" fmla="*/ 1602825 w 1922991"/>
                  <a:gd name="connsiteY69" fmla="*/ 320528 h 1906800"/>
                  <a:gd name="connsiteX70" fmla="*/ 1533356 w 1922991"/>
                  <a:gd name="connsiteY70" fmla="*/ 270002 h 1906800"/>
                  <a:gd name="connsiteX71" fmla="*/ 1523771 w 1922991"/>
                  <a:gd name="connsiteY71" fmla="*/ 265075 h 1906800"/>
                  <a:gd name="connsiteX72" fmla="*/ 1514026 w 1922991"/>
                  <a:gd name="connsiteY72" fmla="*/ 260468 h 1906800"/>
                  <a:gd name="connsiteX73" fmla="*/ 1504102 w 1922991"/>
                  <a:gd name="connsiteY73" fmla="*/ 256219 h 1906800"/>
                  <a:gd name="connsiteX74" fmla="*/ 1493859 w 1922991"/>
                  <a:gd name="connsiteY74" fmla="*/ 252249 h 1906800"/>
                  <a:gd name="connsiteX75" fmla="*/ 1491289 w 1922991"/>
                  <a:gd name="connsiteY75" fmla="*/ 251272 h 1906800"/>
                  <a:gd name="connsiteX76" fmla="*/ 1487761 w 1922991"/>
                  <a:gd name="connsiteY76" fmla="*/ 250095 h 1906800"/>
                  <a:gd name="connsiteX77" fmla="*/ 1480527 w 1922991"/>
                  <a:gd name="connsiteY77" fmla="*/ 247722 h 1906800"/>
                  <a:gd name="connsiteX78" fmla="*/ 1473393 w 1922991"/>
                  <a:gd name="connsiteY78" fmla="*/ 245268 h 1906800"/>
                  <a:gd name="connsiteX79" fmla="*/ 1466817 w 1922991"/>
                  <a:gd name="connsiteY79" fmla="*/ 242356 h 1906800"/>
                  <a:gd name="connsiteX80" fmla="*/ 1460241 w 1922991"/>
                  <a:gd name="connsiteY80" fmla="*/ 239444 h 1906800"/>
                  <a:gd name="connsiteX81" fmla="*/ 1459424 w 1922991"/>
                  <a:gd name="connsiteY81" fmla="*/ 239085 h 1906800"/>
                  <a:gd name="connsiteX82" fmla="*/ 1458687 w 1922991"/>
                  <a:gd name="connsiteY82" fmla="*/ 238586 h 1906800"/>
                  <a:gd name="connsiteX83" fmla="*/ 1457909 w 1922991"/>
                  <a:gd name="connsiteY83" fmla="*/ 236950 h 1906800"/>
                  <a:gd name="connsiteX84" fmla="*/ 1456355 w 1922991"/>
                  <a:gd name="connsiteY84" fmla="*/ 233699 h 1906800"/>
                  <a:gd name="connsiteX85" fmla="*/ 1453246 w 1922991"/>
                  <a:gd name="connsiteY85" fmla="*/ 227176 h 1906800"/>
                  <a:gd name="connsiteX86" fmla="*/ 1450277 w 1922991"/>
                  <a:gd name="connsiteY86" fmla="*/ 220474 h 1906800"/>
                  <a:gd name="connsiteX87" fmla="*/ 1447188 w 1922991"/>
                  <a:gd name="connsiteY87" fmla="*/ 211997 h 1906800"/>
                  <a:gd name="connsiteX88" fmla="*/ 1445654 w 1922991"/>
                  <a:gd name="connsiteY88" fmla="*/ 207748 h 1906800"/>
                  <a:gd name="connsiteX89" fmla="*/ 1444877 w 1922991"/>
                  <a:gd name="connsiteY89" fmla="*/ 205633 h 1906800"/>
                  <a:gd name="connsiteX90" fmla="*/ 1444239 w 1922991"/>
                  <a:gd name="connsiteY90" fmla="*/ 203998 h 1906800"/>
                  <a:gd name="connsiteX91" fmla="*/ 1439277 w 1922991"/>
                  <a:gd name="connsiteY91" fmla="*/ 191910 h 1906800"/>
                  <a:gd name="connsiteX92" fmla="*/ 1433956 w 1922991"/>
                  <a:gd name="connsiteY92" fmla="*/ 179982 h 1906800"/>
                  <a:gd name="connsiteX93" fmla="*/ 1428277 w 1922991"/>
                  <a:gd name="connsiteY93" fmla="*/ 168253 h 1906800"/>
                  <a:gd name="connsiteX94" fmla="*/ 1399262 w 1922991"/>
                  <a:gd name="connsiteY94" fmla="*/ 119702 h 1906800"/>
                  <a:gd name="connsiteX95" fmla="*/ 1363371 w 1922991"/>
                  <a:gd name="connsiteY95" fmla="*/ 76537 h 1906800"/>
                  <a:gd name="connsiteX96" fmla="*/ 1272261 w 1922991"/>
                  <a:gd name="connsiteY96" fmla="*/ 15080 h 1906800"/>
                  <a:gd name="connsiteX97" fmla="*/ 1265864 w 1922991"/>
                  <a:gd name="connsiteY97" fmla="*/ 12626 h 1906800"/>
                  <a:gd name="connsiteX98" fmla="*/ 1259368 w 1922991"/>
                  <a:gd name="connsiteY98" fmla="*/ 10492 h 1906800"/>
                  <a:gd name="connsiteX99" fmla="*/ 1256119 w 1922991"/>
                  <a:gd name="connsiteY99" fmla="*/ 9415 h 1906800"/>
                  <a:gd name="connsiteX100" fmla="*/ 1252831 w 1922991"/>
                  <a:gd name="connsiteY100" fmla="*/ 8497 h 1906800"/>
                  <a:gd name="connsiteX101" fmla="*/ 1246255 w 1922991"/>
                  <a:gd name="connsiteY101" fmla="*/ 6662 h 1906800"/>
                  <a:gd name="connsiteX102" fmla="*/ 1219512 w 1922991"/>
                  <a:gd name="connsiteY102" fmla="*/ 1656 h 1906800"/>
                  <a:gd name="connsiteX103" fmla="*/ 1192330 w 1922991"/>
                  <a:gd name="connsiteY103" fmla="*/ 0 h 1906800"/>
                  <a:gd name="connsiteX104" fmla="*/ 1178301 w 1922991"/>
                  <a:gd name="connsiteY104" fmla="*/ 339 h 1906800"/>
                  <a:gd name="connsiteX105" fmla="*/ 1164352 w 1922991"/>
                  <a:gd name="connsiteY105" fmla="*/ 1317 h 1906800"/>
                  <a:gd name="connsiteX106" fmla="*/ 1059810 w 1922991"/>
                  <a:gd name="connsiteY106" fmla="*/ 33531 h 1906800"/>
                  <a:gd name="connsiteX107" fmla="*/ 1051719 w 1922991"/>
                  <a:gd name="connsiteY107" fmla="*/ 38637 h 1906800"/>
                  <a:gd name="connsiteX108" fmla="*/ 1043768 w 1922991"/>
                  <a:gd name="connsiteY108" fmla="*/ 43943 h 1906800"/>
                  <a:gd name="connsiteX109" fmla="*/ 1028662 w 1922991"/>
                  <a:gd name="connsiteY109" fmla="*/ 55692 h 1906800"/>
                  <a:gd name="connsiteX110" fmla="*/ 1021369 w 1922991"/>
                  <a:gd name="connsiteY110" fmla="*/ 61915 h 1906800"/>
                  <a:gd name="connsiteX111" fmla="*/ 1013517 w 1922991"/>
                  <a:gd name="connsiteY111" fmla="*/ 69595 h 1906800"/>
                  <a:gd name="connsiteX112" fmla="*/ 995184 w 1922991"/>
                  <a:gd name="connsiteY112" fmla="*/ 90998 h 1906800"/>
                  <a:gd name="connsiteX113" fmla="*/ 992952 w 1922991"/>
                  <a:gd name="connsiteY113" fmla="*/ 93771 h 1906800"/>
                  <a:gd name="connsiteX114" fmla="*/ 991836 w 1922991"/>
                  <a:gd name="connsiteY114" fmla="*/ 95147 h 1906800"/>
                  <a:gd name="connsiteX115" fmla="*/ 990720 w 1922991"/>
                  <a:gd name="connsiteY115" fmla="*/ 96324 h 1906800"/>
                  <a:gd name="connsiteX116" fmla="*/ 986256 w 1922991"/>
                  <a:gd name="connsiteY116" fmla="*/ 100812 h 1906800"/>
                  <a:gd name="connsiteX117" fmla="*/ 977268 w 1922991"/>
                  <a:gd name="connsiteY117" fmla="*/ 109589 h 1906800"/>
                  <a:gd name="connsiteX118" fmla="*/ 973223 w 1922991"/>
                  <a:gd name="connsiteY118" fmla="*/ 113179 h 1906800"/>
                  <a:gd name="connsiteX119" fmla="*/ 969397 w 1922991"/>
                  <a:gd name="connsiteY119" fmla="*/ 116411 h 1906800"/>
                  <a:gd name="connsiteX120" fmla="*/ 961745 w 1922991"/>
                  <a:gd name="connsiteY120" fmla="*/ 122873 h 1906800"/>
                  <a:gd name="connsiteX121" fmla="*/ 961047 w 1922991"/>
                  <a:gd name="connsiteY121" fmla="*/ 122893 h 1906800"/>
                  <a:gd name="connsiteX122" fmla="*/ 960569 w 1922991"/>
                  <a:gd name="connsiteY122" fmla="*/ 122494 h 1906800"/>
                  <a:gd name="connsiteX123" fmla="*/ 959612 w 1922991"/>
                  <a:gd name="connsiteY123" fmla="*/ 121677 h 1906800"/>
                  <a:gd name="connsiteX124" fmla="*/ 957699 w 1922991"/>
                  <a:gd name="connsiteY124" fmla="*/ 120061 h 1906800"/>
                  <a:gd name="connsiteX125" fmla="*/ 953873 w 1922991"/>
                  <a:gd name="connsiteY125" fmla="*/ 116829 h 1906800"/>
                  <a:gd name="connsiteX126" fmla="*/ 950047 w 1922991"/>
                  <a:gd name="connsiteY126" fmla="*/ 113598 h 1906800"/>
                  <a:gd name="connsiteX127" fmla="*/ 948134 w 1922991"/>
                  <a:gd name="connsiteY127" fmla="*/ 111982 h 1906800"/>
                  <a:gd name="connsiteX128" fmla="*/ 947177 w 1922991"/>
                  <a:gd name="connsiteY128" fmla="*/ 111165 h 1906800"/>
                  <a:gd name="connsiteX129" fmla="*/ 946081 w 1922991"/>
                  <a:gd name="connsiteY129" fmla="*/ 110147 h 1906800"/>
                  <a:gd name="connsiteX130" fmla="*/ 937094 w 1922991"/>
                  <a:gd name="connsiteY130" fmla="*/ 101390 h 1906800"/>
                  <a:gd name="connsiteX131" fmla="*/ 928126 w 1922991"/>
                  <a:gd name="connsiteY131" fmla="*/ 91676 h 1906800"/>
                  <a:gd name="connsiteX132" fmla="*/ 920454 w 1922991"/>
                  <a:gd name="connsiteY132" fmla="*/ 82202 h 1906800"/>
                  <a:gd name="connsiteX133" fmla="*/ 912563 w 1922991"/>
                  <a:gd name="connsiteY133" fmla="*/ 73046 h 1906800"/>
                  <a:gd name="connsiteX134" fmla="*/ 908438 w 1922991"/>
                  <a:gd name="connsiteY134" fmla="*/ 68837 h 1906800"/>
                  <a:gd name="connsiteX135" fmla="*/ 904731 w 1922991"/>
                  <a:gd name="connsiteY135" fmla="*/ 65207 h 1906800"/>
                  <a:gd name="connsiteX136" fmla="*/ 901782 w 1922991"/>
                  <a:gd name="connsiteY136" fmla="*/ 62314 h 1906800"/>
                  <a:gd name="connsiteX137" fmla="*/ 898673 w 1922991"/>
                  <a:gd name="connsiteY137" fmla="*/ 59602 h 1906800"/>
                  <a:gd name="connsiteX138" fmla="*/ 872567 w 1922991"/>
                  <a:gd name="connsiteY138" fmla="*/ 39615 h 1906800"/>
                  <a:gd name="connsiteX139" fmla="*/ 823664 w 1922991"/>
                  <a:gd name="connsiteY139" fmla="*/ 15279 h 1906800"/>
                  <a:gd name="connsiteX140" fmla="*/ 769939 w 1922991"/>
                  <a:gd name="connsiteY140" fmla="*/ 2633 h 1906800"/>
                  <a:gd name="connsiteX141" fmla="*/ 763044 w 1922991"/>
                  <a:gd name="connsiteY141" fmla="*/ 1735 h 1906800"/>
                  <a:gd name="connsiteX142" fmla="*/ 756089 w 1922991"/>
                  <a:gd name="connsiteY142" fmla="*/ 1157 h 1906800"/>
                  <a:gd name="connsiteX143" fmla="*/ 749114 w 1922991"/>
                  <a:gd name="connsiteY143" fmla="*/ 638 h 1906800"/>
                  <a:gd name="connsiteX144" fmla="*/ 745627 w 1922991"/>
                  <a:gd name="connsiteY144" fmla="*/ 379 h 1906800"/>
                  <a:gd name="connsiteX145" fmla="*/ 742119 w 1922991"/>
                  <a:gd name="connsiteY145" fmla="*/ 299 h 1906800"/>
                  <a:gd name="connsiteX146" fmla="*/ 728130 w 1922991"/>
                  <a:gd name="connsiteY146" fmla="*/ 20 h 1906800"/>
                  <a:gd name="connsiteX147" fmla="*/ 714539 w 1922991"/>
                  <a:gd name="connsiteY147" fmla="*/ 578 h 1906800"/>
                  <a:gd name="connsiteX148" fmla="*/ 707764 w 1922991"/>
                  <a:gd name="connsiteY148" fmla="*/ 1097 h 1906800"/>
                  <a:gd name="connsiteX149" fmla="*/ 701008 w 1922991"/>
                  <a:gd name="connsiteY149" fmla="*/ 1955 h 1906800"/>
                  <a:gd name="connsiteX150" fmla="*/ 697640 w 1922991"/>
                  <a:gd name="connsiteY150" fmla="*/ 2374 h 1906800"/>
                  <a:gd name="connsiteX151" fmla="*/ 694292 w 1922991"/>
                  <a:gd name="connsiteY151" fmla="*/ 2972 h 1906800"/>
                  <a:gd name="connsiteX152" fmla="*/ 687597 w 1922991"/>
                  <a:gd name="connsiteY152" fmla="*/ 4149 h 1906800"/>
                  <a:gd name="connsiteX153" fmla="*/ 661272 w 1922991"/>
                  <a:gd name="connsiteY153" fmla="*/ 11230 h 1906800"/>
                  <a:gd name="connsiteX154" fmla="*/ 611711 w 1922991"/>
                  <a:gd name="connsiteY154" fmla="*/ 34608 h 1906800"/>
                  <a:gd name="connsiteX155" fmla="*/ 567790 w 1922991"/>
                  <a:gd name="connsiteY155" fmla="*/ 68458 h 1906800"/>
                  <a:gd name="connsiteX156" fmla="*/ 530465 w 1922991"/>
                  <a:gd name="connsiteY156" fmla="*/ 110247 h 1906800"/>
                  <a:gd name="connsiteX157" fmla="*/ 499995 w 1922991"/>
                  <a:gd name="connsiteY157" fmla="*/ 157821 h 1906800"/>
                  <a:gd name="connsiteX158" fmla="*/ 479928 w 1922991"/>
                  <a:gd name="connsiteY158" fmla="*/ 200746 h 1906800"/>
                  <a:gd name="connsiteX159" fmla="*/ 478812 w 1922991"/>
                  <a:gd name="connsiteY159" fmla="*/ 203499 h 1906800"/>
                  <a:gd name="connsiteX160" fmla="*/ 477596 w 1922991"/>
                  <a:gd name="connsiteY160" fmla="*/ 206631 h 1906800"/>
                  <a:gd name="connsiteX161" fmla="*/ 474787 w 1922991"/>
                  <a:gd name="connsiteY161" fmla="*/ 214350 h 1906800"/>
                  <a:gd name="connsiteX162" fmla="*/ 471977 w 1922991"/>
                  <a:gd name="connsiteY162" fmla="*/ 222070 h 1906800"/>
                  <a:gd name="connsiteX163" fmla="*/ 468649 w 1922991"/>
                  <a:gd name="connsiteY163" fmla="*/ 229171 h 1906800"/>
                  <a:gd name="connsiteX164" fmla="*/ 465281 w 1922991"/>
                  <a:gd name="connsiteY164" fmla="*/ 236232 h 1906800"/>
                  <a:gd name="connsiteX165" fmla="*/ 464444 w 1922991"/>
                  <a:gd name="connsiteY165" fmla="*/ 237987 h 1906800"/>
                  <a:gd name="connsiteX166" fmla="*/ 463966 w 1922991"/>
                  <a:gd name="connsiteY166" fmla="*/ 238845 h 1906800"/>
                  <a:gd name="connsiteX167" fmla="*/ 463109 w 1922991"/>
                  <a:gd name="connsiteY167" fmla="*/ 239284 h 1906800"/>
                  <a:gd name="connsiteX168" fmla="*/ 459542 w 1922991"/>
                  <a:gd name="connsiteY168" fmla="*/ 240860 h 1906800"/>
                  <a:gd name="connsiteX169" fmla="*/ 452427 w 1922991"/>
                  <a:gd name="connsiteY169" fmla="*/ 244011 h 1906800"/>
                  <a:gd name="connsiteX170" fmla="*/ 448860 w 1922991"/>
                  <a:gd name="connsiteY170" fmla="*/ 245587 h 1906800"/>
                  <a:gd name="connsiteX171" fmla="*/ 444994 w 1922991"/>
                  <a:gd name="connsiteY171" fmla="*/ 246924 h 1906800"/>
                  <a:gd name="connsiteX172" fmla="*/ 434054 w 1922991"/>
                  <a:gd name="connsiteY172" fmla="*/ 250514 h 1906800"/>
                  <a:gd name="connsiteX173" fmla="*/ 432679 w 1922991"/>
                  <a:gd name="connsiteY173" fmla="*/ 250953 h 1906800"/>
                  <a:gd name="connsiteX174" fmla="*/ 431443 w 1922991"/>
                  <a:gd name="connsiteY174" fmla="*/ 251372 h 1906800"/>
                  <a:gd name="connsiteX175" fmla="*/ 429490 w 1922991"/>
                  <a:gd name="connsiteY175" fmla="*/ 252110 h 1906800"/>
                  <a:gd name="connsiteX176" fmla="*/ 425605 w 1922991"/>
                  <a:gd name="connsiteY176" fmla="*/ 253586 h 1906800"/>
                  <a:gd name="connsiteX177" fmla="*/ 410380 w 1922991"/>
                  <a:gd name="connsiteY177" fmla="*/ 259829 h 1906800"/>
                  <a:gd name="connsiteX178" fmla="*/ 381285 w 1922991"/>
                  <a:gd name="connsiteY178" fmla="*/ 274590 h 1906800"/>
                  <a:gd name="connsiteX179" fmla="*/ 328476 w 1922991"/>
                  <a:gd name="connsiteY179" fmla="*/ 312649 h 1906800"/>
                  <a:gd name="connsiteX180" fmla="*/ 290593 w 1922991"/>
                  <a:gd name="connsiteY180" fmla="*/ 353540 h 1906800"/>
                  <a:gd name="connsiteX181" fmla="*/ 261100 w 1922991"/>
                  <a:gd name="connsiteY181" fmla="*/ 400695 h 1906800"/>
                  <a:gd name="connsiteX182" fmla="*/ 241331 w 1922991"/>
                  <a:gd name="connsiteY182" fmla="*/ 452557 h 1906800"/>
                  <a:gd name="connsiteX183" fmla="*/ 232384 w 1922991"/>
                  <a:gd name="connsiteY183" fmla="*/ 507292 h 1906800"/>
                  <a:gd name="connsiteX184" fmla="*/ 232025 w 1922991"/>
                  <a:gd name="connsiteY184" fmla="*/ 512837 h 1906800"/>
                  <a:gd name="connsiteX185" fmla="*/ 231905 w 1922991"/>
                  <a:gd name="connsiteY185" fmla="*/ 518402 h 1906800"/>
                  <a:gd name="connsiteX186" fmla="*/ 231806 w 1922991"/>
                  <a:gd name="connsiteY186" fmla="*/ 529532 h 1906800"/>
                  <a:gd name="connsiteX187" fmla="*/ 232204 w 1922991"/>
                  <a:gd name="connsiteY187" fmla="*/ 540643 h 1906800"/>
                  <a:gd name="connsiteX188" fmla="*/ 232384 w 1922991"/>
                  <a:gd name="connsiteY188" fmla="*/ 543416 h 1906800"/>
                  <a:gd name="connsiteX189" fmla="*/ 232643 w 1922991"/>
                  <a:gd name="connsiteY189" fmla="*/ 546787 h 1906800"/>
                  <a:gd name="connsiteX190" fmla="*/ 233400 w 1922991"/>
                  <a:gd name="connsiteY190" fmla="*/ 554566 h 1906800"/>
                  <a:gd name="connsiteX191" fmla="*/ 235273 w 1922991"/>
                  <a:gd name="connsiteY191" fmla="*/ 570264 h 1906800"/>
                  <a:gd name="connsiteX192" fmla="*/ 235333 w 1922991"/>
                  <a:gd name="connsiteY192" fmla="*/ 584885 h 1906800"/>
                  <a:gd name="connsiteX193" fmla="*/ 235114 w 1922991"/>
                  <a:gd name="connsiteY193" fmla="*/ 588276 h 1906800"/>
                  <a:gd name="connsiteX194" fmla="*/ 234536 w 1922991"/>
                  <a:gd name="connsiteY194" fmla="*/ 588955 h 1906800"/>
                  <a:gd name="connsiteX195" fmla="*/ 233818 w 1922991"/>
                  <a:gd name="connsiteY195" fmla="*/ 589533 h 1906800"/>
                  <a:gd name="connsiteX196" fmla="*/ 232384 w 1922991"/>
                  <a:gd name="connsiteY196" fmla="*/ 590690 h 1906800"/>
                  <a:gd name="connsiteX197" fmla="*/ 226664 w 1922991"/>
                  <a:gd name="connsiteY197" fmla="*/ 595338 h 1906800"/>
                  <a:gd name="connsiteX198" fmla="*/ 215246 w 1922991"/>
                  <a:gd name="connsiteY198" fmla="*/ 604653 h 1906800"/>
                  <a:gd name="connsiteX199" fmla="*/ 205341 w 1922991"/>
                  <a:gd name="connsiteY199" fmla="*/ 611255 h 1906800"/>
                  <a:gd name="connsiteX200" fmla="*/ 196892 w 1922991"/>
                  <a:gd name="connsiteY200" fmla="*/ 617299 h 1906800"/>
                  <a:gd name="connsiteX201" fmla="*/ 193464 w 1922991"/>
                  <a:gd name="connsiteY201" fmla="*/ 619733 h 1906800"/>
                  <a:gd name="connsiteX202" fmla="*/ 190216 w 1922991"/>
                  <a:gd name="connsiteY202" fmla="*/ 622386 h 1906800"/>
                  <a:gd name="connsiteX203" fmla="*/ 183700 w 1922991"/>
                  <a:gd name="connsiteY203" fmla="*/ 627692 h 1906800"/>
                  <a:gd name="connsiteX204" fmla="*/ 177223 w 1922991"/>
                  <a:gd name="connsiteY204" fmla="*/ 633037 h 1906800"/>
                  <a:gd name="connsiteX205" fmla="*/ 171066 w 1922991"/>
                  <a:gd name="connsiteY205" fmla="*/ 638762 h 1906800"/>
                  <a:gd name="connsiteX206" fmla="*/ 159009 w 1922991"/>
                  <a:gd name="connsiteY206" fmla="*/ 650451 h 1906800"/>
                  <a:gd name="connsiteX207" fmla="*/ 153210 w 1922991"/>
                  <a:gd name="connsiteY207" fmla="*/ 656535 h 1906800"/>
                  <a:gd name="connsiteX208" fmla="*/ 147551 w 1922991"/>
                  <a:gd name="connsiteY208" fmla="*/ 662738 h 1906800"/>
                  <a:gd name="connsiteX209" fmla="*/ 136770 w 1922991"/>
                  <a:gd name="connsiteY209" fmla="*/ 675604 h 1906800"/>
                  <a:gd name="connsiteX210" fmla="*/ 126826 w 1922991"/>
                  <a:gd name="connsiteY210" fmla="*/ 689128 h 1906800"/>
                  <a:gd name="connsiteX211" fmla="*/ 124374 w 1922991"/>
                  <a:gd name="connsiteY211" fmla="*/ 692539 h 1906800"/>
                  <a:gd name="connsiteX212" fmla="*/ 122123 w 1922991"/>
                  <a:gd name="connsiteY212" fmla="*/ 696070 h 1906800"/>
                  <a:gd name="connsiteX213" fmla="*/ 117599 w 1922991"/>
                  <a:gd name="connsiteY213" fmla="*/ 703131 h 1906800"/>
                  <a:gd name="connsiteX214" fmla="*/ 113853 w 1922991"/>
                  <a:gd name="connsiteY214" fmla="*/ 709035 h 1906800"/>
                  <a:gd name="connsiteX215" fmla="*/ 110485 w 1922991"/>
                  <a:gd name="connsiteY215" fmla="*/ 715159 h 1906800"/>
                  <a:gd name="connsiteX216" fmla="*/ 103809 w 1922991"/>
                  <a:gd name="connsiteY216" fmla="*/ 727426 h 1906800"/>
                  <a:gd name="connsiteX217" fmla="*/ 92490 w 1922991"/>
                  <a:gd name="connsiteY217" fmla="*/ 752959 h 1906800"/>
                  <a:gd name="connsiteX218" fmla="*/ 89939 w 1922991"/>
                  <a:gd name="connsiteY218" fmla="*/ 759461 h 1906800"/>
                  <a:gd name="connsiteX219" fmla="*/ 88664 w 1922991"/>
                  <a:gd name="connsiteY219" fmla="*/ 762713 h 1906800"/>
                  <a:gd name="connsiteX220" fmla="*/ 87588 w 1922991"/>
                  <a:gd name="connsiteY220" fmla="*/ 766044 h 1906800"/>
                  <a:gd name="connsiteX221" fmla="*/ 83383 w 1922991"/>
                  <a:gd name="connsiteY221" fmla="*/ 779368 h 1906800"/>
                  <a:gd name="connsiteX222" fmla="*/ 82347 w 1922991"/>
                  <a:gd name="connsiteY222" fmla="*/ 782700 h 1906800"/>
                  <a:gd name="connsiteX223" fmla="*/ 81529 w 1922991"/>
                  <a:gd name="connsiteY223" fmla="*/ 786090 h 1906800"/>
                  <a:gd name="connsiteX224" fmla="*/ 79875 w 1922991"/>
                  <a:gd name="connsiteY224" fmla="*/ 792873 h 1906800"/>
                  <a:gd name="connsiteX225" fmla="*/ 76866 w 1922991"/>
                  <a:gd name="connsiteY225" fmla="*/ 806496 h 1906800"/>
                  <a:gd name="connsiteX226" fmla="*/ 74475 w 1922991"/>
                  <a:gd name="connsiteY226" fmla="*/ 820260 h 1906800"/>
                  <a:gd name="connsiteX227" fmla="*/ 73618 w 1922991"/>
                  <a:gd name="connsiteY227" fmla="*/ 827181 h 1906800"/>
                  <a:gd name="connsiteX228" fmla="*/ 72901 w 1922991"/>
                  <a:gd name="connsiteY228" fmla="*/ 834123 h 1906800"/>
                  <a:gd name="connsiteX229" fmla="*/ 71326 w 1922991"/>
                  <a:gd name="connsiteY229" fmla="*/ 862029 h 1906800"/>
                  <a:gd name="connsiteX230" fmla="*/ 75970 w 1922991"/>
                  <a:gd name="connsiteY230" fmla="*/ 917641 h 1906800"/>
                  <a:gd name="connsiteX231" fmla="*/ 79676 w 1922991"/>
                  <a:gd name="connsiteY231" fmla="*/ 935354 h 1906800"/>
                  <a:gd name="connsiteX232" fmla="*/ 81928 w 1922991"/>
                  <a:gd name="connsiteY232" fmla="*/ 944111 h 1906800"/>
                  <a:gd name="connsiteX233" fmla="*/ 83761 w 1922991"/>
                  <a:gd name="connsiteY233" fmla="*/ 950354 h 1906800"/>
                  <a:gd name="connsiteX234" fmla="*/ 85635 w 1922991"/>
                  <a:gd name="connsiteY234" fmla="*/ 956478 h 1906800"/>
                  <a:gd name="connsiteX235" fmla="*/ 87607 w 1922991"/>
                  <a:gd name="connsiteY235" fmla="*/ 962581 h 1906800"/>
                  <a:gd name="connsiteX236" fmla="*/ 88106 w 1922991"/>
                  <a:gd name="connsiteY236" fmla="*/ 964117 h 1906800"/>
                  <a:gd name="connsiteX237" fmla="*/ 88464 w 1922991"/>
                  <a:gd name="connsiteY237" fmla="*/ 965613 h 1906800"/>
                  <a:gd name="connsiteX238" fmla="*/ 89162 w 1922991"/>
                  <a:gd name="connsiteY238" fmla="*/ 968605 h 1906800"/>
                  <a:gd name="connsiteX239" fmla="*/ 89859 w 1922991"/>
                  <a:gd name="connsiteY239" fmla="*/ 971597 h 1906800"/>
                  <a:gd name="connsiteX240" fmla="*/ 90198 w 1922991"/>
                  <a:gd name="connsiteY240" fmla="*/ 973093 h 1906800"/>
                  <a:gd name="connsiteX241" fmla="*/ 90417 w 1922991"/>
                  <a:gd name="connsiteY241" fmla="*/ 974530 h 1906800"/>
                  <a:gd name="connsiteX242" fmla="*/ 91294 w 1922991"/>
                  <a:gd name="connsiteY242" fmla="*/ 980234 h 1906800"/>
                  <a:gd name="connsiteX243" fmla="*/ 91473 w 1922991"/>
                  <a:gd name="connsiteY243" fmla="*/ 981671 h 1906800"/>
                  <a:gd name="connsiteX244" fmla="*/ 90696 w 1922991"/>
                  <a:gd name="connsiteY244" fmla="*/ 982947 h 1906800"/>
                  <a:gd name="connsiteX245" fmla="*/ 89042 w 1922991"/>
                  <a:gd name="connsiteY245" fmla="*/ 985441 h 1906800"/>
                  <a:gd name="connsiteX246" fmla="*/ 85714 w 1922991"/>
                  <a:gd name="connsiteY246" fmla="*/ 990447 h 1906800"/>
                  <a:gd name="connsiteX247" fmla="*/ 82386 w 1922991"/>
                  <a:gd name="connsiteY247" fmla="*/ 995454 h 1906800"/>
                  <a:gd name="connsiteX248" fmla="*/ 80732 w 1922991"/>
                  <a:gd name="connsiteY248" fmla="*/ 997947 h 1906800"/>
                  <a:gd name="connsiteX249" fmla="*/ 78759 w 1922991"/>
                  <a:gd name="connsiteY249" fmla="*/ 1000421 h 1906800"/>
                  <a:gd name="connsiteX250" fmla="*/ 70529 w 1922991"/>
                  <a:gd name="connsiteY250" fmla="*/ 1010494 h 1906800"/>
                  <a:gd name="connsiteX251" fmla="*/ 68477 w 1922991"/>
                  <a:gd name="connsiteY251" fmla="*/ 1013007 h 1906800"/>
                  <a:gd name="connsiteX252" fmla="*/ 67440 w 1922991"/>
                  <a:gd name="connsiteY252" fmla="*/ 1014264 h 1906800"/>
                  <a:gd name="connsiteX253" fmla="*/ 66703 w 1922991"/>
                  <a:gd name="connsiteY253" fmla="*/ 1015261 h 1906800"/>
                  <a:gd name="connsiteX254" fmla="*/ 63913 w 1922991"/>
                  <a:gd name="connsiteY254" fmla="*/ 1019111 h 1906800"/>
                  <a:gd name="connsiteX255" fmla="*/ 58333 w 1922991"/>
                  <a:gd name="connsiteY255" fmla="*/ 1026791 h 1906800"/>
                  <a:gd name="connsiteX256" fmla="*/ 53092 w 1922991"/>
                  <a:gd name="connsiteY256" fmla="*/ 1034710 h 1906800"/>
                  <a:gd name="connsiteX257" fmla="*/ 50462 w 1922991"/>
                  <a:gd name="connsiteY257" fmla="*/ 1038659 h 1906800"/>
                  <a:gd name="connsiteX258" fmla="*/ 48011 w 1922991"/>
                  <a:gd name="connsiteY258" fmla="*/ 1042728 h 1906800"/>
                  <a:gd name="connsiteX259" fmla="*/ 43128 w 1922991"/>
                  <a:gd name="connsiteY259" fmla="*/ 1050867 h 1906800"/>
                  <a:gd name="connsiteX260" fmla="*/ 38585 w 1922991"/>
                  <a:gd name="connsiteY260" fmla="*/ 1059185 h 1906800"/>
                  <a:gd name="connsiteX261" fmla="*/ 34181 w 1922991"/>
                  <a:gd name="connsiteY261" fmla="*/ 1067582 h 1906800"/>
                  <a:gd name="connsiteX262" fmla="*/ 26230 w 1922991"/>
                  <a:gd name="connsiteY262" fmla="*/ 1084797 h 1906800"/>
                  <a:gd name="connsiteX263" fmla="*/ 22563 w 1922991"/>
                  <a:gd name="connsiteY263" fmla="*/ 1093533 h 1906800"/>
                  <a:gd name="connsiteX264" fmla="*/ 19255 w 1922991"/>
                  <a:gd name="connsiteY264" fmla="*/ 1102410 h 1906800"/>
                  <a:gd name="connsiteX265" fmla="*/ 17601 w 1922991"/>
                  <a:gd name="connsiteY265" fmla="*/ 1106858 h 1906800"/>
                  <a:gd name="connsiteX266" fmla="*/ 16166 w 1922991"/>
                  <a:gd name="connsiteY266" fmla="*/ 1111366 h 1906800"/>
                  <a:gd name="connsiteX267" fmla="*/ 13257 w 1922991"/>
                  <a:gd name="connsiteY267" fmla="*/ 1120382 h 1906800"/>
                  <a:gd name="connsiteX268" fmla="*/ 10766 w 1922991"/>
                  <a:gd name="connsiteY268" fmla="*/ 1129518 h 1906800"/>
                  <a:gd name="connsiteX269" fmla="*/ 8454 w 1922991"/>
                  <a:gd name="connsiteY269" fmla="*/ 1138693 h 1906800"/>
                  <a:gd name="connsiteX270" fmla="*/ 483 w 1922991"/>
                  <a:gd name="connsiteY270" fmla="*/ 1194126 h 1906800"/>
                  <a:gd name="connsiteX271" fmla="*/ 2157 w 1922991"/>
                  <a:gd name="connsiteY271" fmla="*/ 1250137 h 1906800"/>
                  <a:gd name="connsiteX272" fmla="*/ 13555 w 1922991"/>
                  <a:gd name="connsiteY272" fmla="*/ 1304971 h 1906800"/>
                  <a:gd name="connsiteX273" fmla="*/ 17860 w 1922991"/>
                  <a:gd name="connsiteY273" fmla="*/ 1318316 h 1906800"/>
                  <a:gd name="connsiteX274" fmla="*/ 22722 w 1922991"/>
                  <a:gd name="connsiteY274" fmla="*/ 1331461 h 1906800"/>
                  <a:gd name="connsiteX275" fmla="*/ 28202 w 1922991"/>
                  <a:gd name="connsiteY275" fmla="*/ 1344367 h 1906800"/>
                  <a:gd name="connsiteX276" fmla="*/ 34221 w 1922991"/>
                  <a:gd name="connsiteY276" fmla="*/ 1357033 h 1906800"/>
                  <a:gd name="connsiteX277" fmla="*/ 63455 w 1922991"/>
                  <a:gd name="connsiteY277" fmla="*/ 1404926 h 1906800"/>
                  <a:gd name="connsiteX278" fmla="*/ 100321 w 1922991"/>
                  <a:gd name="connsiteY278" fmla="*/ 1447353 h 1906800"/>
                  <a:gd name="connsiteX279" fmla="*/ 143565 w 1922991"/>
                  <a:gd name="connsiteY279" fmla="*/ 1483337 h 1906800"/>
                  <a:gd name="connsiteX280" fmla="*/ 149324 w 1922991"/>
                  <a:gd name="connsiteY280" fmla="*/ 1487386 h 1906800"/>
                  <a:gd name="connsiteX281" fmla="*/ 155223 w 1922991"/>
                  <a:gd name="connsiteY281" fmla="*/ 1491236 h 1906800"/>
                  <a:gd name="connsiteX282" fmla="*/ 167199 w 1922991"/>
                  <a:gd name="connsiteY282" fmla="*/ 1498676 h 1906800"/>
                  <a:gd name="connsiteX283" fmla="*/ 173297 w 1922991"/>
                  <a:gd name="connsiteY283" fmla="*/ 1502207 h 1906800"/>
                  <a:gd name="connsiteX284" fmla="*/ 177343 w 1922991"/>
                  <a:gd name="connsiteY284" fmla="*/ 1504461 h 1906800"/>
                  <a:gd name="connsiteX285" fmla="*/ 181667 w 1922991"/>
                  <a:gd name="connsiteY285" fmla="*/ 1506795 h 1906800"/>
                  <a:gd name="connsiteX286" fmla="*/ 198965 w 1922991"/>
                  <a:gd name="connsiteY286" fmla="*/ 1516010 h 1906800"/>
                  <a:gd name="connsiteX287" fmla="*/ 207015 w 1922991"/>
                  <a:gd name="connsiteY287" fmla="*/ 1521715 h 1906800"/>
                  <a:gd name="connsiteX288" fmla="*/ 211041 w 1922991"/>
                  <a:gd name="connsiteY288" fmla="*/ 1524568 h 1906800"/>
                  <a:gd name="connsiteX289" fmla="*/ 211439 w 1922991"/>
                  <a:gd name="connsiteY289" fmla="*/ 1525046 h 1906800"/>
                  <a:gd name="connsiteX290" fmla="*/ 211539 w 1922991"/>
                  <a:gd name="connsiteY290" fmla="*/ 1525665 h 1906800"/>
                  <a:gd name="connsiteX291" fmla="*/ 211698 w 1922991"/>
                  <a:gd name="connsiteY291" fmla="*/ 1526901 h 1906800"/>
                  <a:gd name="connsiteX292" fmla="*/ 212017 w 1922991"/>
                  <a:gd name="connsiteY292" fmla="*/ 1529375 h 1906800"/>
                  <a:gd name="connsiteX293" fmla="*/ 213313 w 1922991"/>
                  <a:gd name="connsiteY293" fmla="*/ 1539308 h 1906800"/>
                  <a:gd name="connsiteX294" fmla="*/ 213970 w 1922991"/>
                  <a:gd name="connsiteY294" fmla="*/ 1544275 h 1906800"/>
                  <a:gd name="connsiteX295" fmla="*/ 214130 w 1922991"/>
                  <a:gd name="connsiteY295" fmla="*/ 1549681 h 1906800"/>
                  <a:gd name="connsiteX296" fmla="*/ 214409 w 1922991"/>
                  <a:gd name="connsiteY296" fmla="*/ 1566217 h 1906800"/>
                  <a:gd name="connsiteX297" fmla="*/ 214449 w 1922991"/>
                  <a:gd name="connsiteY297" fmla="*/ 1568291 h 1906800"/>
                  <a:gd name="connsiteX298" fmla="*/ 214508 w 1922991"/>
                  <a:gd name="connsiteY298" fmla="*/ 1570186 h 1906800"/>
                  <a:gd name="connsiteX299" fmla="*/ 214767 w 1922991"/>
                  <a:gd name="connsiteY299" fmla="*/ 1573198 h 1906800"/>
                  <a:gd name="connsiteX300" fmla="*/ 215266 w 1922991"/>
                  <a:gd name="connsiteY300" fmla="*/ 1579242 h 1906800"/>
                  <a:gd name="connsiteX301" fmla="*/ 218075 w 1922991"/>
                  <a:gd name="connsiteY301" fmla="*/ 1603298 h 1906800"/>
                  <a:gd name="connsiteX302" fmla="*/ 229115 w 1922991"/>
                  <a:gd name="connsiteY302" fmla="*/ 1650433 h 1906800"/>
                  <a:gd name="connsiteX303" fmla="*/ 230869 w 1922991"/>
                  <a:gd name="connsiteY303" fmla="*/ 1656238 h 1906800"/>
                  <a:gd name="connsiteX304" fmla="*/ 232902 w 1922991"/>
                  <a:gd name="connsiteY304" fmla="*/ 1661942 h 1906800"/>
                  <a:gd name="connsiteX305" fmla="*/ 237027 w 1922991"/>
                  <a:gd name="connsiteY305" fmla="*/ 1673332 h 1906800"/>
                  <a:gd name="connsiteX306" fmla="*/ 241750 w 1922991"/>
                  <a:gd name="connsiteY306" fmla="*/ 1684502 h 1906800"/>
                  <a:gd name="connsiteX307" fmla="*/ 244141 w 1922991"/>
                  <a:gd name="connsiteY307" fmla="*/ 1690068 h 1906800"/>
                  <a:gd name="connsiteX308" fmla="*/ 246791 w 1922991"/>
                  <a:gd name="connsiteY308" fmla="*/ 1695533 h 1906800"/>
                  <a:gd name="connsiteX309" fmla="*/ 270685 w 1922991"/>
                  <a:gd name="connsiteY309" fmla="*/ 1737761 h 1906800"/>
                  <a:gd name="connsiteX310" fmla="*/ 278656 w 1922991"/>
                  <a:gd name="connsiteY310" fmla="*/ 1749370 h 1906800"/>
                  <a:gd name="connsiteX311" fmla="*/ 287185 w 1922991"/>
                  <a:gd name="connsiteY311" fmla="*/ 1760600 h 1906800"/>
                  <a:gd name="connsiteX312" fmla="*/ 289318 w 1922991"/>
                  <a:gd name="connsiteY312" fmla="*/ 1763413 h 1906800"/>
                  <a:gd name="connsiteX313" fmla="*/ 291589 w 1922991"/>
                  <a:gd name="connsiteY313" fmla="*/ 1766106 h 1906800"/>
                  <a:gd name="connsiteX314" fmla="*/ 296133 w 1922991"/>
                  <a:gd name="connsiteY314" fmla="*/ 1771511 h 1906800"/>
                  <a:gd name="connsiteX315" fmla="*/ 300677 w 1922991"/>
                  <a:gd name="connsiteY315" fmla="*/ 1776917 h 1906800"/>
                  <a:gd name="connsiteX316" fmla="*/ 305479 w 1922991"/>
                  <a:gd name="connsiteY316" fmla="*/ 1782083 h 1906800"/>
                  <a:gd name="connsiteX317" fmla="*/ 310282 w 1922991"/>
                  <a:gd name="connsiteY317" fmla="*/ 1787249 h 1906800"/>
                  <a:gd name="connsiteX318" fmla="*/ 312673 w 1922991"/>
                  <a:gd name="connsiteY318" fmla="*/ 1789842 h 1906800"/>
                  <a:gd name="connsiteX319" fmla="*/ 315184 w 1922991"/>
                  <a:gd name="connsiteY319" fmla="*/ 1792316 h 1906800"/>
                  <a:gd name="connsiteX320" fmla="*/ 325268 w 1922991"/>
                  <a:gd name="connsiteY320" fmla="*/ 1802210 h 1906800"/>
                  <a:gd name="connsiteX321" fmla="*/ 335809 w 1922991"/>
                  <a:gd name="connsiteY321" fmla="*/ 1811605 h 1906800"/>
                  <a:gd name="connsiteX322" fmla="*/ 338440 w 1922991"/>
                  <a:gd name="connsiteY322" fmla="*/ 1813958 h 1906800"/>
                  <a:gd name="connsiteX323" fmla="*/ 341190 w 1922991"/>
                  <a:gd name="connsiteY323" fmla="*/ 1816192 h 1906800"/>
                  <a:gd name="connsiteX324" fmla="*/ 346690 w 1922991"/>
                  <a:gd name="connsiteY324" fmla="*/ 1820641 h 1906800"/>
                  <a:gd name="connsiteX325" fmla="*/ 444018 w 1922991"/>
                  <a:gd name="connsiteY325" fmla="*/ 1877589 h 1906800"/>
                  <a:gd name="connsiteX326" fmla="*/ 497883 w 1922991"/>
                  <a:gd name="connsiteY326" fmla="*/ 1895003 h 1906800"/>
                  <a:gd name="connsiteX327" fmla="*/ 511713 w 1922991"/>
                  <a:gd name="connsiteY327" fmla="*/ 1898095 h 1906800"/>
                  <a:gd name="connsiteX328" fmla="*/ 518648 w 1922991"/>
                  <a:gd name="connsiteY328" fmla="*/ 1899591 h 1906800"/>
                  <a:gd name="connsiteX329" fmla="*/ 525643 w 1922991"/>
                  <a:gd name="connsiteY329" fmla="*/ 1900748 h 1906800"/>
                  <a:gd name="connsiteX330" fmla="*/ 539632 w 1922991"/>
                  <a:gd name="connsiteY330" fmla="*/ 1902982 h 1906800"/>
                  <a:gd name="connsiteX331" fmla="*/ 553721 w 1922991"/>
                  <a:gd name="connsiteY331" fmla="*/ 1904657 h 1906800"/>
                  <a:gd name="connsiteX332" fmla="*/ 667728 w 1922991"/>
                  <a:gd name="connsiteY332" fmla="*/ 1902144 h 1906800"/>
                  <a:gd name="connsiteX333" fmla="*/ 777511 w 1922991"/>
                  <a:gd name="connsiteY333" fmla="*/ 1873261 h 1906800"/>
                  <a:gd name="connsiteX334" fmla="*/ 827829 w 1922991"/>
                  <a:gd name="connsiteY334" fmla="*/ 1847888 h 1906800"/>
                  <a:gd name="connsiteX335" fmla="*/ 872926 w 1922991"/>
                  <a:gd name="connsiteY335" fmla="*/ 1814736 h 1906800"/>
                  <a:gd name="connsiteX336" fmla="*/ 880578 w 1922991"/>
                  <a:gd name="connsiteY336" fmla="*/ 1807775 h 1906800"/>
                  <a:gd name="connsiteX337" fmla="*/ 887991 w 1922991"/>
                  <a:gd name="connsiteY337" fmla="*/ 1800574 h 1906800"/>
                  <a:gd name="connsiteX338" fmla="*/ 895146 w 1922991"/>
                  <a:gd name="connsiteY338" fmla="*/ 1793134 h 1906800"/>
                  <a:gd name="connsiteX339" fmla="*/ 902300 w 1922991"/>
                  <a:gd name="connsiteY339" fmla="*/ 1785095 h 1906800"/>
                  <a:gd name="connsiteX340" fmla="*/ 920016 w 1922991"/>
                  <a:gd name="connsiteY340" fmla="*/ 1761298 h 1906800"/>
                  <a:gd name="connsiteX341" fmla="*/ 924220 w 1922991"/>
                  <a:gd name="connsiteY341" fmla="*/ 1754975 h 1906800"/>
                  <a:gd name="connsiteX342" fmla="*/ 928425 w 1922991"/>
                  <a:gd name="connsiteY342" fmla="*/ 1748831 h 1906800"/>
                  <a:gd name="connsiteX343" fmla="*/ 932630 w 1922991"/>
                  <a:gd name="connsiteY343" fmla="*/ 1742688 h 1906800"/>
                  <a:gd name="connsiteX344" fmla="*/ 933686 w 1922991"/>
                  <a:gd name="connsiteY344" fmla="*/ 1741152 h 1906800"/>
                  <a:gd name="connsiteX345" fmla="*/ 934742 w 1922991"/>
                  <a:gd name="connsiteY345" fmla="*/ 1739756 h 1906800"/>
                  <a:gd name="connsiteX346" fmla="*/ 936835 w 1922991"/>
                  <a:gd name="connsiteY346" fmla="*/ 1737422 h 1906800"/>
                  <a:gd name="connsiteX347" fmla="*/ 941040 w 1922991"/>
                  <a:gd name="connsiteY347" fmla="*/ 1732754 h 1906800"/>
                  <a:gd name="connsiteX348" fmla="*/ 943132 w 1922991"/>
                  <a:gd name="connsiteY348" fmla="*/ 1730420 h 1906800"/>
                  <a:gd name="connsiteX349" fmla="*/ 945145 w 1922991"/>
                  <a:gd name="connsiteY349" fmla="*/ 1728246 h 1906800"/>
                  <a:gd name="connsiteX350" fmla="*/ 952578 w 1922991"/>
                  <a:gd name="connsiteY350" fmla="*/ 1720606 h 1906800"/>
                  <a:gd name="connsiteX351" fmla="*/ 953494 w 1922991"/>
                  <a:gd name="connsiteY351" fmla="*/ 1719649 h 1906800"/>
                  <a:gd name="connsiteX352" fmla="*/ 954272 w 1922991"/>
                  <a:gd name="connsiteY352" fmla="*/ 1718791 h 1906800"/>
                  <a:gd name="connsiteX353" fmla="*/ 955846 w 1922991"/>
                  <a:gd name="connsiteY353" fmla="*/ 1717076 h 1906800"/>
                  <a:gd name="connsiteX354" fmla="*/ 958995 w 1922991"/>
                  <a:gd name="connsiteY354" fmla="*/ 1713645 h 1906800"/>
                  <a:gd name="connsiteX355" fmla="*/ 960569 w 1922991"/>
                  <a:gd name="connsiteY355" fmla="*/ 1711930 h 1906800"/>
                  <a:gd name="connsiteX356" fmla="*/ 960967 w 1922991"/>
                  <a:gd name="connsiteY356" fmla="*/ 1711491 h 1906800"/>
                  <a:gd name="connsiteX357" fmla="*/ 961506 w 1922991"/>
                  <a:gd name="connsiteY357" fmla="*/ 1711172 h 1906800"/>
                  <a:gd name="connsiteX358" fmla="*/ 962063 w 1922991"/>
                  <a:gd name="connsiteY358" fmla="*/ 1711471 h 1906800"/>
                  <a:gd name="connsiteX359" fmla="*/ 962462 w 1922991"/>
                  <a:gd name="connsiteY359" fmla="*/ 1711910 h 1906800"/>
                  <a:gd name="connsiteX360" fmla="*/ 965611 w 1922991"/>
                  <a:gd name="connsiteY360" fmla="*/ 1715340 h 1906800"/>
                  <a:gd name="connsiteX361" fmla="*/ 968759 w 1922991"/>
                  <a:gd name="connsiteY361" fmla="*/ 1718771 h 1906800"/>
                  <a:gd name="connsiteX362" fmla="*/ 969536 w 1922991"/>
                  <a:gd name="connsiteY362" fmla="*/ 1719629 h 1906800"/>
                  <a:gd name="connsiteX363" fmla="*/ 970453 w 1922991"/>
                  <a:gd name="connsiteY363" fmla="*/ 1720587 h 1906800"/>
                  <a:gd name="connsiteX364" fmla="*/ 972306 w 1922991"/>
                  <a:gd name="connsiteY364" fmla="*/ 1722501 h 1906800"/>
                  <a:gd name="connsiteX365" fmla="*/ 976013 w 1922991"/>
                  <a:gd name="connsiteY365" fmla="*/ 1726331 h 1906800"/>
                  <a:gd name="connsiteX366" fmla="*/ 979879 w 1922991"/>
                  <a:gd name="connsiteY366" fmla="*/ 1730420 h 1906800"/>
                  <a:gd name="connsiteX367" fmla="*/ 988289 w 1922991"/>
                  <a:gd name="connsiteY367" fmla="*/ 1739736 h 1906800"/>
                  <a:gd name="connsiteX368" fmla="*/ 989345 w 1922991"/>
                  <a:gd name="connsiteY368" fmla="*/ 1741112 h 1906800"/>
                  <a:gd name="connsiteX369" fmla="*/ 990401 w 1922991"/>
                  <a:gd name="connsiteY369" fmla="*/ 1742608 h 1906800"/>
                  <a:gd name="connsiteX370" fmla="*/ 992533 w 1922991"/>
                  <a:gd name="connsiteY370" fmla="*/ 1745620 h 1906800"/>
                  <a:gd name="connsiteX371" fmla="*/ 996798 w 1922991"/>
                  <a:gd name="connsiteY371" fmla="*/ 1751624 h 1906800"/>
                  <a:gd name="connsiteX372" fmla="*/ 1002597 w 1922991"/>
                  <a:gd name="connsiteY372" fmla="*/ 1760680 h 1906800"/>
                  <a:gd name="connsiteX373" fmla="*/ 1008495 w 1922991"/>
                  <a:gd name="connsiteY373" fmla="*/ 1769556 h 1906800"/>
                  <a:gd name="connsiteX374" fmla="*/ 1014852 w 1922991"/>
                  <a:gd name="connsiteY374" fmla="*/ 1777715 h 1906800"/>
                  <a:gd name="connsiteX375" fmla="*/ 1018041 w 1922991"/>
                  <a:gd name="connsiteY375" fmla="*/ 1781784 h 1906800"/>
                  <a:gd name="connsiteX376" fmla="*/ 1019635 w 1922991"/>
                  <a:gd name="connsiteY376" fmla="*/ 1783798 h 1906800"/>
                  <a:gd name="connsiteX377" fmla="*/ 1021429 w 1922991"/>
                  <a:gd name="connsiteY377" fmla="*/ 1785873 h 1906800"/>
                  <a:gd name="connsiteX378" fmla="*/ 1031213 w 1922991"/>
                  <a:gd name="connsiteY378" fmla="*/ 1796585 h 1906800"/>
                  <a:gd name="connsiteX379" fmla="*/ 1036255 w 1922991"/>
                  <a:gd name="connsiteY379" fmla="*/ 1801811 h 1906800"/>
                  <a:gd name="connsiteX380" fmla="*/ 1041496 w 1922991"/>
                  <a:gd name="connsiteY380" fmla="*/ 1806837 h 1906800"/>
                  <a:gd name="connsiteX381" fmla="*/ 1134659 w 1922991"/>
                  <a:gd name="connsiteY381" fmla="*/ 1868553 h 1906800"/>
                  <a:gd name="connsiteX382" fmla="*/ 1243485 w 1922991"/>
                  <a:gd name="connsiteY382" fmla="*/ 1900349 h 1906800"/>
                  <a:gd name="connsiteX383" fmla="*/ 1300459 w 1922991"/>
                  <a:gd name="connsiteY383" fmla="*/ 1906133 h 1906800"/>
                  <a:gd name="connsiteX384" fmla="*/ 1314807 w 1922991"/>
                  <a:gd name="connsiteY384" fmla="*/ 1906632 h 1906800"/>
                  <a:gd name="connsiteX385" fmla="*/ 1329155 w 1922991"/>
                  <a:gd name="connsiteY385" fmla="*/ 1906752 h 1906800"/>
                  <a:gd name="connsiteX386" fmla="*/ 1343344 w 1922991"/>
                  <a:gd name="connsiteY386" fmla="*/ 1906413 h 1906800"/>
                  <a:gd name="connsiteX387" fmla="*/ 1346891 w 1922991"/>
                  <a:gd name="connsiteY387" fmla="*/ 1906333 h 1906800"/>
                  <a:gd name="connsiteX388" fmla="*/ 1350438 w 1922991"/>
                  <a:gd name="connsiteY388" fmla="*/ 1906074 h 1906800"/>
                  <a:gd name="connsiteX389" fmla="*/ 1357513 w 1922991"/>
                  <a:gd name="connsiteY389" fmla="*/ 1905575 h 1906800"/>
                  <a:gd name="connsiteX390" fmla="*/ 1385731 w 1922991"/>
                  <a:gd name="connsiteY390" fmla="*/ 1902643 h 1906800"/>
                  <a:gd name="connsiteX391" fmla="*/ 1413610 w 1922991"/>
                  <a:gd name="connsiteY391" fmla="*/ 1897536 h 1906800"/>
                  <a:gd name="connsiteX392" fmla="*/ 1441110 w 1922991"/>
                  <a:gd name="connsiteY392" fmla="*/ 1890714 h 1906800"/>
                  <a:gd name="connsiteX393" fmla="*/ 1467973 w 1922991"/>
                  <a:gd name="connsiteY393" fmla="*/ 1881738 h 1906800"/>
                  <a:gd name="connsiteX394" fmla="*/ 1481165 w 1922991"/>
                  <a:gd name="connsiteY394" fmla="*/ 1876612 h 1906800"/>
                  <a:gd name="connsiteX395" fmla="*/ 1494198 w 1922991"/>
                  <a:gd name="connsiteY395" fmla="*/ 1871067 h 1906800"/>
                  <a:gd name="connsiteX396" fmla="*/ 1506972 w 1922991"/>
                  <a:gd name="connsiteY396" fmla="*/ 1864963 h 1906800"/>
                  <a:gd name="connsiteX397" fmla="*/ 1513269 w 1922991"/>
                  <a:gd name="connsiteY397" fmla="*/ 1861731 h 1906800"/>
                  <a:gd name="connsiteX398" fmla="*/ 1519507 w 1922991"/>
                  <a:gd name="connsiteY398" fmla="*/ 1858380 h 1906800"/>
                  <a:gd name="connsiteX399" fmla="*/ 1567054 w 1922991"/>
                  <a:gd name="connsiteY399" fmla="*/ 1827841 h 1906800"/>
                  <a:gd name="connsiteX400" fmla="*/ 1609521 w 1922991"/>
                  <a:gd name="connsiteY400" fmla="*/ 1790640 h 1906800"/>
                  <a:gd name="connsiteX401" fmla="*/ 1645670 w 1922991"/>
                  <a:gd name="connsiteY401" fmla="*/ 1747415 h 1906800"/>
                  <a:gd name="connsiteX402" fmla="*/ 1652964 w 1922991"/>
                  <a:gd name="connsiteY402" fmla="*/ 1736783 h 1906800"/>
                  <a:gd name="connsiteX403" fmla="*/ 1659799 w 1922991"/>
                  <a:gd name="connsiteY403" fmla="*/ 1725873 h 1906800"/>
                  <a:gd name="connsiteX404" fmla="*/ 1663187 w 1922991"/>
                  <a:gd name="connsiteY404" fmla="*/ 1720387 h 1906800"/>
                  <a:gd name="connsiteX405" fmla="*/ 1666275 w 1922991"/>
                  <a:gd name="connsiteY405" fmla="*/ 1714742 h 1906800"/>
                  <a:gd name="connsiteX406" fmla="*/ 1672393 w 1922991"/>
                  <a:gd name="connsiteY406" fmla="*/ 1703412 h 1906800"/>
                  <a:gd name="connsiteX407" fmla="*/ 1692202 w 1922991"/>
                  <a:gd name="connsiteY407" fmla="*/ 1655998 h 1906800"/>
                  <a:gd name="connsiteX408" fmla="*/ 1704497 w 1922991"/>
                  <a:gd name="connsiteY408" fmla="*/ 1606151 h 1906800"/>
                  <a:gd name="connsiteX409" fmla="*/ 1706271 w 1922991"/>
                  <a:gd name="connsiteY409" fmla="*/ 1593425 h 1906800"/>
                  <a:gd name="connsiteX410" fmla="*/ 1707108 w 1922991"/>
                  <a:gd name="connsiteY410" fmla="*/ 1587061 h 1906800"/>
                  <a:gd name="connsiteX411" fmla="*/ 1707626 w 1922991"/>
                  <a:gd name="connsiteY411" fmla="*/ 1580659 h 1906800"/>
                  <a:gd name="connsiteX412" fmla="*/ 1708144 w 1922991"/>
                  <a:gd name="connsiteY412" fmla="*/ 1574256 h 1906800"/>
                  <a:gd name="connsiteX413" fmla="*/ 1708403 w 1922991"/>
                  <a:gd name="connsiteY413" fmla="*/ 1571044 h 1906800"/>
                  <a:gd name="connsiteX414" fmla="*/ 1708523 w 1922991"/>
                  <a:gd name="connsiteY414" fmla="*/ 1569368 h 1906800"/>
                  <a:gd name="connsiteX415" fmla="*/ 1708562 w 1922991"/>
                  <a:gd name="connsiteY415" fmla="*/ 1567174 h 1906800"/>
                  <a:gd name="connsiteX416" fmla="*/ 1708841 w 1922991"/>
                  <a:gd name="connsiteY416" fmla="*/ 1549641 h 1906800"/>
                  <a:gd name="connsiteX417" fmla="*/ 1708921 w 1922991"/>
                  <a:gd name="connsiteY417" fmla="*/ 1546270 h 1906800"/>
                  <a:gd name="connsiteX418" fmla="*/ 1708961 w 1922991"/>
                  <a:gd name="connsiteY418" fmla="*/ 1544594 h 1906800"/>
                  <a:gd name="connsiteX419" fmla="*/ 1709160 w 1922991"/>
                  <a:gd name="connsiteY419" fmla="*/ 1543058 h 1906800"/>
                  <a:gd name="connsiteX420" fmla="*/ 1709957 w 1922991"/>
                  <a:gd name="connsiteY420" fmla="*/ 1536895 h 1906800"/>
                  <a:gd name="connsiteX421" fmla="*/ 1710754 w 1922991"/>
                  <a:gd name="connsiteY421" fmla="*/ 1530731 h 1906800"/>
                  <a:gd name="connsiteX422" fmla="*/ 1711153 w 1922991"/>
                  <a:gd name="connsiteY422" fmla="*/ 1527659 h 1906800"/>
                  <a:gd name="connsiteX423" fmla="*/ 1711352 w 1922991"/>
                  <a:gd name="connsiteY423" fmla="*/ 1526123 h 1906800"/>
                  <a:gd name="connsiteX424" fmla="*/ 1711771 w 1922991"/>
                  <a:gd name="connsiteY424" fmla="*/ 1524667 h 1906800"/>
                  <a:gd name="connsiteX425" fmla="*/ 1719104 w 1922991"/>
                  <a:gd name="connsiteY425" fmla="*/ 1519481 h 1906800"/>
                  <a:gd name="connsiteX426" fmla="*/ 1722771 w 1922991"/>
                  <a:gd name="connsiteY426" fmla="*/ 1516888 h 1906800"/>
                  <a:gd name="connsiteX427" fmla="*/ 1724604 w 1922991"/>
                  <a:gd name="connsiteY427" fmla="*/ 1515591 h 1906800"/>
                  <a:gd name="connsiteX428" fmla="*/ 1726776 w 1922991"/>
                  <a:gd name="connsiteY428" fmla="*/ 1514454 h 1906800"/>
                  <a:gd name="connsiteX429" fmla="*/ 1744194 w 1922991"/>
                  <a:gd name="connsiteY429" fmla="*/ 1505259 h 1906800"/>
                  <a:gd name="connsiteX430" fmla="*/ 1751726 w 1922991"/>
                  <a:gd name="connsiteY430" fmla="*/ 1501070 h 1906800"/>
                  <a:gd name="connsiteX431" fmla="*/ 1757784 w 1922991"/>
                  <a:gd name="connsiteY431" fmla="*/ 1497460 h 1906800"/>
                  <a:gd name="connsiteX432" fmla="*/ 1763803 w 1922991"/>
                  <a:gd name="connsiteY432" fmla="*/ 1493809 h 1906800"/>
                  <a:gd name="connsiteX433" fmla="*/ 1769701 w 1922991"/>
                  <a:gd name="connsiteY433" fmla="*/ 1489960 h 1906800"/>
                  <a:gd name="connsiteX434" fmla="*/ 1814140 w 1922991"/>
                  <a:gd name="connsiteY434" fmla="*/ 1455411 h 1906800"/>
                  <a:gd name="connsiteX435" fmla="*/ 1852442 w 1922991"/>
                  <a:gd name="connsiteY435" fmla="*/ 1414261 h 1906800"/>
                  <a:gd name="connsiteX436" fmla="*/ 1883350 w 1922991"/>
                  <a:gd name="connsiteY436" fmla="*/ 1367405 h 1906800"/>
                  <a:gd name="connsiteX437" fmla="*/ 1889827 w 1922991"/>
                  <a:gd name="connsiteY437" fmla="*/ 1354958 h 1906800"/>
                  <a:gd name="connsiteX438" fmla="*/ 1895765 w 1922991"/>
                  <a:gd name="connsiteY438" fmla="*/ 1342252 h 1906800"/>
                  <a:gd name="connsiteX439" fmla="*/ 1905888 w 1922991"/>
                  <a:gd name="connsiteY439" fmla="*/ 1316102 h 1906800"/>
                  <a:gd name="connsiteX440" fmla="*/ 1919280 w 1922991"/>
                  <a:gd name="connsiteY440" fmla="*/ 1261726 h 1906800"/>
                  <a:gd name="connsiteX441" fmla="*/ 1922907 w 1922991"/>
                  <a:gd name="connsiteY441" fmla="*/ 1205815 h 1906800"/>
                  <a:gd name="connsiteX442" fmla="*/ 1917048 w 1922991"/>
                  <a:gd name="connsiteY442" fmla="*/ 1150103 h 1906800"/>
                  <a:gd name="connsiteX443" fmla="*/ 1820378 w 1922991"/>
                  <a:gd name="connsiteY443" fmla="*/ 1389207 h 1906800"/>
                  <a:gd name="connsiteX444" fmla="*/ 1786580 w 1922991"/>
                  <a:gd name="connsiteY444" fmla="*/ 1425531 h 1906800"/>
                  <a:gd name="connsiteX445" fmla="*/ 1747242 w 1922991"/>
                  <a:gd name="connsiteY445" fmla="*/ 1456110 h 1906800"/>
                  <a:gd name="connsiteX446" fmla="*/ 1742021 w 1922991"/>
                  <a:gd name="connsiteY446" fmla="*/ 1459520 h 1906800"/>
                  <a:gd name="connsiteX447" fmla="*/ 1736681 w 1922991"/>
                  <a:gd name="connsiteY447" fmla="*/ 1462752 h 1906800"/>
                  <a:gd name="connsiteX448" fmla="*/ 1731320 w 1922991"/>
                  <a:gd name="connsiteY448" fmla="*/ 1465943 h 1906800"/>
                  <a:gd name="connsiteX449" fmla="*/ 1721635 w 1922991"/>
                  <a:gd name="connsiteY449" fmla="*/ 1471289 h 1906800"/>
                  <a:gd name="connsiteX450" fmla="*/ 1714999 w 1922991"/>
                  <a:gd name="connsiteY450" fmla="*/ 1474700 h 1906800"/>
                  <a:gd name="connsiteX451" fmla="*/ 1708463 w 1922991"/>
                  <a:gd name="connsiteY451" fmla="*/ 1478191 h 1906800"/>
                  <a:gd name="connsiteX452" fmla="*/ 1695390 w 1922991"/>
                  <a:gd name="connsiteY452" fmla="*/ 1485192 h 1906800"/>
                  <a:gd name="connsiteX453" fmla="*/ 1692122 w 1922991"/>
                  <a:gd name="connsiteY453" fmla="*/ 1486948 h 1906800"/>
                  <a:gd name="connsiteX454" fmla="*/ 1689970 w 1922991"/>
                  <a:gd name="connsiteY454" fmla="*/ 1489281 h 1906800"/>
                  <a:gd name="connsiteX455" fmla="*/ 1685685 w 1922991"/>
                  <a:gd name="connsiteY455" fmla="*/ 1493969 h 1906800"/>
                  <a:gd name="connsiteX456" fmla="*/ 1677096 w 1922991"/>
                  <a:gd name="connsiteY456" fmla="*/ 1503324 h 1906800"/>
                  <a:gd name="connsiteX457" fmla="*/ 1676239 w 1922991"/>
                  <a:gd name="connsiteY457" fmla="*/ 1505359 h 1906800"/>
                  <a:gd name="connsiteX458" fmla="*/ 1675562 w 1922991"/>
                  <a:gd name="connsiteY458" fmla="*/ 1507453 h 1906800"/>
                  <a:gd name="connsiteX459" fmla="*/ 1674207 w 1922991"/>
                  <a:gd name="connsiteY459" fmla="*/ 1511662 h 1906800"/>
                  <a:gd name="connsiteX460" fmla="*/ 1671497 w 1922991"/>
                  <a:gd name="connsiteY460" fmla="*/ 1520080 h 1906800"/>
                  <a:gd name="connsiteX461" fmla="*/ 1668786 w 1922991"/>
                  <a:gd name="connsiteY461" fmla="*/ 1528497 h 1906800"/>
                  <a:gd name="connsiteX462" fmla="*/ 1668109 w 1922991"/>
                  <a:gd name="connsiteY462" fmla="*/ 1530592 h 1906800"/>
                  <a:gd name="connsiteX463" fmla="*/ 1668049 w 1922991"/>
                  <a:gd name="connsiteY463" fmla="*/ 1533125 h 1906800"/>
                  <a:gd name="connsiteX464" fmla="*/ 1667969 w 1922991"/>
                  <a:gd name="connsiteY464" fmla="*/ 1538251 h 1906800"/>
                  <a:gd name="connsiteX465" fmla="*/ 1667850 w 1922991"/>
                  <a:gd name="connsiteY465" fmla="*/ 1563903 h 1906800"/>
                  <a:gd name="connsiteX466" fmla="*/ 1667850 w 1922991"/>
                  <a:gd name="connsiteY466" fmla="*/ 1567513 h 1906800"/>
                  <a:gd name="connsiteX467" fmla="*/ 1667810 w 1922991"/>
                  <a:gd name="connsiteY467" fmla="*/ 1567713 h 1906800"/>
                  <a:gd name="connsiteX468" fmla="*/ 1667770 w 1922991"/>
                  <a:gd name="connsiteY468" fmla="*/ 1568072 h 1906800"/>
                  <a:gd name="connsiteX469" fmla="*/ 1667710 w 1922991"/>
                  <a:gd name="connsiteY469" fmla="*/ 1568770 h 1906800"/>
                  <a:gd name="connsiteX470" fmla="*/ 1667471 w 1922991"/>
                  <a:gd name="connsiteY470" fmla="*/ 1571583 h 1906800"/>
                  <a:gd name="connsiteX471" fmla="*/ 1667013 w 1922991"/>
                  <a:gd name="connsiteY471" fmla="*/ 1577208 h 1906800"/>
                  <a:gd name="connsiteX472" fmla="*/ 1666574 w 1922991"/>
                  <a:gd name="connsiteY472" fmla="*/ 1582833 h 1906800"/>
                  <a:gd name="connsiteX473" fmla="*/ 1665817 w 1922991"/>
                  <a:gd name="connsiteY473" fmla="*/ 1588418 h 1906800"/>
                  <a:gd name="connsiteX474" fmla="*/ 1664283 w 1922991"/>
                  <a:gd name="connsiteY474" fmla="*/ 1599588 h 1906800"/>
                  <a:gd name="connsiteX475" fmla="*/ 1653482 w 1922991"/>
                  <a:gd name="connsiteY475" fmla="*/ 1643352 h 1906800"/>
                  <a:gd name="connsiteX476" fmla="*/ 1636045 w 1922991"/>
                  <a:gd name="connsiteY476" fmla="*/ 1685081 h 1906800"/>
                  <a:gd name="connsiteX477" fmla="*/ 1630644 w 1922991"/>
                  <a:gd name="connsiteY477" fmla="*/ 1695074 h 1906800"/>
                  <a:gd name="connsiteX478" fmla="*/ 1627934 w 1922991"/>
                  <a:gd name="connsiteY478" fmla="*/ 1700061 h 1906800"/>
                  <a:gd name="connsiteX479" fmla="*/ 1624945 w 1922991"/>
                  <a:gd name="connsiteY479" fmla="*/ 1704908 h 1906800"/>
                  <a:gd name="connsiteX480" fmla="*/ 1618907 w 1922991"/>
                  <a:gd name="connsiteY480" fmla="*/ 1714563 h 1906800"/>
                  <a:gd name="connsiteX481" fmla="*/ 1612450 w 1922991"/>
                  <a:gd name="connsiteY481" fmla="*/ 1723978 h 1906800"/>
                  <a:gd name="connsiteX482" fmla="*/ 1453725 w 1922991"/>
                  <a:gd name="connsiteY482" fmla="*/ 1843799 h 1906800"/>
                  <a:gd name="connsiteX483" fmla="*/ 1429592 w 1922991"/>
                  <a:gd name="connsiteY483" fmla="*/ 1851858 h 1906800"/>
                  <a:gd name="connsiteX484" fmla="*/ 1404861 w 1922991"/>
                  <a:gd name="connsiteY484" fmla="*/ 1857981 h 1906800"/>
                  <a:gd name="connsiteX485" fmla="*/ 1379772 w 1922991"/>
                  <a:gd name="connsiteY485" fmla="*/ 1862589 h 1906800"/>
                  <a:gd name="connsiteX486" fmla="*/ 1354344 w 1922991"/>
                  <a:gd name="connsiteY486" fmla="*/ 1865222 h 1906800"/>
                  <a:gd name="connsiteX487" fmla="*/ 1347967 w 1922991"/>
                  <a:gd name="connsiteY487" fmla="*/ 1865681 h 1906800"/>
                  <a:gd name="connsiteX488" fmla="*/ 1344779 w 1922991"/>
                  <a:gd name="connsiteY488" fmla="*/ 1865920 h 1906800"/>
                  <a:gd name="connsiteX489" fmla="*/ 1341570 w 1922991"/>
                  <a:gd name="connsiteY489" fmla="*/ 1865980 h 1906800"/>
                  <a:gd name="connsiteX490" fmla="*/ 1328757 w 1922991"/>
                  <a:gd name="connsiteY490" fmla="*/ 1866279 h 1906800"/>
                  <a:gd name="connsiteX491" fmla="*/ 1315485 w 1922991"/>
                  <a:gd name="connsiteY491" fmla="*/ 1866180 h 1906800"/>
                  <a:gd name="connsiteX492" fmla="*/ 1302173 w 1922991"/>
                  <a:gd name="connsiteY492" fmla="*/ 1865721 h 1906800"/>
                  <a:gd name="connsiteX493" fmla="*/ 1249643 w 1922991"/>
                  <a:gd name="connsiteY493" fmla="*/ 1860395 h 1906800"/>
                  <a:gd name="connsiteX494" fmla="*/ 1151080 w 1922991"/>
                  <a:gd name="connsiteY494" fmla="*/ 1831651 h 1906800"/>
                  <a:gd name="connsiteX495" fmla="*/ 1069216 w 1922991"/>
                  <a:gd name="connsiteY495" fmla="*/ 1777515 h 1906800"/>
                  <a:gd name="connsiteX496" fmla="*/ 1064672 w 1922991"/>
                  <a:gd name="connsiteY496" fmla="*/ 1773167 h 1906800"/>
                  <a:gd name="connsiteX497" fmla="*/ 1060328 w 1922991"/>
                  <a:gd name="connsiteY497" fmla="*/ 1768659 h 1906800"/>
                  <a:gd name="connsiteX498" fmla="*/ 1051878 w 1922991"/>
                  <a:gd name="connsiteY498" fmla="*/ 1759403 h 1906800"/>
                  <a:gd name="connsiteX499" fmla="*/ 1051101 w 1922991"/>
                  <a:gd name="connsiteY499" fmla="*/ 1758526 h 1906800"/>
                  <a:gd name="connsiteX500" fmla="*/ 1050723 w 1922991"/>
                  <a:gd name="connsiteY500" fmla="*/ 1758107 h 1906800"/>
                  <a:gd name="connsiteX501" fmla="*/ 1050543 w 1922991"/>
                  <a:gd name="connsiteY501" fmla="*/ 1757907 h 1906800"/>
                  <a:gd name="connsiteX502" fmla="*/ 1050244 w 1922991"/>
                  <a:gd name="connsiteY502" fmla="*/ 1757528 h 1906800"/>
                  <a:gd name="connsiteX503" fmla="*/ 1049029 w 1922991"/>
                  <a:gd name="connsiteY503" fmla="*/ 1756032 h 1906800"/>
                  <a:gd name="connsiteX504" fmla="*/ 1046657 w 1922991"/>
                  <a:gd name="connsiteY504" fmla="*/ 1752901 h 1906800"/>
                  <a:gd name="connsiteX505" fmla="*/ 1041954 w 1922991"/>
                  <a:gd name="connsiteY505" fmla="*/ 1746617 h 1906800"/>
                  <a:gd name="connsiteX506" fmla="*/ 1032588 w 1922991"/>
                  <a:gd name="connsiteY506" fmla="*/ 1733971 h 1906800"/>
                  <a:gd name="connsiteX507" fmla="*/ 1024059 w 1922991"/>
                  <a:gd name="connsiteY507" fmla="*/ 1719509 h 1906800"/>
                  <a:gd name="connsiteX508" fmla="*/ 1015689 w 1922991"/>
                  <a:gd name="connsiteY508" fmla="*/ 1704629 h 1906800"/>
                  <a:gd name="connsiteX509" fmla="*/ 1009073 w 1922991"/>
                  <a:gd name="connsiteY509" fmla="*/ 1695573 h 1906800"/>
                  <a:gd name="connsiteX510" fmla="*/ 1005765 w 1922991"/>
                  <a:gd name="connsiteY510" fmla="*/ 1691045 h 1906800"/>
                  <a:gd name="connsiteX511" fmla="*/ 1004111 w 1922991"/>
                  <a:gd name="connsiteY511" fmla="*/ 1688771 h 1906800"/>
                  <a:gd name="connsiteX512" fmla="*/ 1003294 w 1922991"/>
                  <a:gd name="connsiteY512" fmla="*/ 1687634 h 1906800"/>
                  <a:gd name="connsiteX513" fmla="*/ 1003095 w 1922991"/>
                  <a:gd name="connsiteY513" fmla="*/ 1687355 h 1906800"/>
                  <a:gd name="connsiteX514" fmla="*/ 1002876 w 1922991"/>
                  <a:gd name="connsiteY514" fmla="*/ 1687215 h 1906800"/>
                  <a:gd name="connsiteX515" fmla="*/ 1002457 w 1922991"/>
                  <a:gd name="connsiteY515" fmla="*/ 1686916 h 1906800"/>
                  <a:gd name="connsiteX516" fmla="*/ 988747 w 1922991"/>
                  <a:gd name="connsiteY516" fmla="*/ 1677621 h 1906800"/>
                  <a:gd name="connsiteX517" fmla="*/ 987033 w 1922991"/>
                  <a:gd name="connsiteY517" fmla="*/ 1676464 h 1906800"/>
                  <a:gd name="connsiteX518" fmla="*/ 986615 w 1922991"/>
                  <a:gd name="connsiteY518" fmla="*/ 1676185 h 1906800"/>
                  <a:gd name="connsiteX519" fmla="*/ 986256 w 1922991"/>
                  <a:gd name="connsiteY519" fmla="*/ 1676065 h 1906800"/>
                  <a:gd name="connsiteX520" fmla="*/ 985539 w 1922991"/>
                  <a:gd name="connsiteY520" fmla="*/ 1675825 h 1906800"/>
                  <a:gd name="connsiteX521" fmla="*/ 982649 w 1922991"/>
                  <a:gd name="connsiteY521" fmla="*/ 1674908 h 1906800"/>
                  <a:gd name="connsiteX522" fmla="*/ 976890 w 1922991"/>
                  <a:gd name="connsiteY522" fmla="*/ 1673053 h 1906800"/>
                  <a:gd name="connsiteX523" fmla="*/ 974000 w 1922991"/>
                  <a:gd name="connsiteY523" fmla="*/ 1672135 h 1906800"/>
                  <a:gd name="connsiteX524" fmla="*/ 972585 w 1922991"/>
                  <a:gd name="connsiteY524" fmla="*/ 1671697 h 1906800"/>
                  <a:gd name="connsiteX525" fmla="*/ 971489 w 1922991"/>
                  <a:gd name="connsiteY525" fmla="*/ 1671597 h 1906800"/>
                  <a:gd name="connsiteX526" fmla="*/ 967065 w 1922991"/>
                  <a:gd name="connsiteY526" fmla="*/ 1671178 h 1906800"/>
                  <a:gd name="connsiteX527" fmla="*/ 962641 w 1922991"/>
                  <a:gd name="connsiteY527" fmla="*/ 1670759 h 1906800"/>
                  <a:gd name="connsiteX528" fmla="*/ 960051 w 1922991"/>
                  <a:gd name="connsiteY528" fmla="*/ 1670759 h 1906800"/>
                  <a:gd name="connsiteX529" fmla="*/ 957839 w 1922991"/>
                  <a:gd name="connsiteY529" fmla="*/ 1670978 h 1906800"/>
                  <a:gd name="connsiteX530" fmla="*/ 953415 w 1922991"/>
                  <a:gd name="connsiteY530" fmla="*/ 1671397 h 1906800"/>
                  <a:gd name="connsiteX531" fmla="*/ 951203 w 1922991"/>
                  <a:gd name="connsiteY531" fmla="*/ 1671617 h 1906800"/>
                  <a:gd name="connsiteX532" fmla="*/ 950107 w 1922991"/>
                  <a:gd name="connsiteY532" fmla="*/ 1671716 h 1906800"/>
                  <a:gd name="connsiteX533" fmla="*/ 948692 w 1922991"/>
                  <a:gd name="connsiteY533" fmla="*/ 1672155 h 1906800"/>
                  <a:gd name="connsiteX534" fmla="*/ 937154 w 1922991"/>
                  <a:gd name="connsiteY534" fmla="*/ 1675845 h 1906800"/>
                  <a:gd name="connsiteX535" fmla="*/ 936436 w 1922991"/>
                  <a:gd name="connsiteY535" fmla="*/ 1676085 h 1906800"/>
                  <a:gd name="connsiteX536" fmla="*/ 936077 w 1922991"/>
                  <a:gd name="connsiteY536" fmla="*/ 1676204 h 1906800"/>
                  <a:gd name="connsiteX537" fmla="*/ 935659 w 1922991"/>
                  <a:gd name="connsiteY537" fmla="*/ 1676484 h 1906800"/>
                  <a:gd name="connsiteX538" fmla="*/ 933945 w 1922991"/>
                  <a:gd name="connsiteY538" fmla="*/ 1677641 h 1906800"/>
                  <a:gd name="connsiteX539" fmla="*/ 930518 w 1922991"/>
                  <a:gd name="connsiteY539" fmla="*/ 1679974 h 1906800"/>
                  <a:gd name="connsiteX540" fmla="*/ 923662 w 1922991"/>
                  <a:gd name="connsiteY540" fmla="*/ 1684622 h 1906800"/>
                  <a:gd name="connsiteX541" fmla="*/ 920235 w 1922991"/>
                  <a:gd name="connsiteY541" fmla="*/ 1686956 h 1906800"/>
                  <a:gd name="connsiteX542" fmla="*/ 918581 w 1922991"/>
                  <a:gd name="connsiteY542" fmla="*/ 1688891 h 1906800"/>
                  <a:gd name="connsiteX543" fmla="*/ 916967 w 1922991"/>
                  <a:gd name="connsiteY543" fmla="*/ 1691265 h 1906800"/>
                  <a:gd name="connsiteX544" fmla="*/ 910530 w 1922991"/>
                  <a:gd name="connsiteY544" fmla="*/ 1700739 h 1906800"/>
                  <a:gd name="connsiteX545" fmla="*/ 904093 w 1922991"/>
                  <a:gd name="connsiteY545" fmla="*/ 1710234 h 1906800"/>
                  <a:gd name="connsiteX546" fmla="*/ 898035 w 1922991"/>
                  <a:gd name="connsiteY546" fmla="*/ 1720527 h 1906800"/>
                  <a:gd name="connsiteX547" fmla="*/ 872069 w 1922991"/>
                  <a:gd name="connsiteY547" fmla="*/ 1758007 h 1906800"/>
                  <a:gd name="connsiteX548" fmla="*/ 865274 w 1922991"/>
                  <a:gd name="connsiteY548" fmla="*/ 1765647 h 1906800"/>
                  <a:gd name="connsiteX549" fmla="*/ 859076 w 1922991"/>
                  <a:gd name="connsiteY549" fmla="*/ 1772070 h 1906800"/>
                  <a:gd name="connsiteX550" fmla="*/ 852659 w 1922991"/>
                  <a:gd name="connsiteY550" fmla="*/ 1778293 h 1906800"/>
                  <a:gd name="connsiteX551" fmla="*/ 846023 w 1922991"/>
                  <a:gd name="connsiteY551" fmla="*/ 1784317 h 1906800"/>
                  <a:gd name="connsiteX552" fmla="*/ 806606 w 1922991"/>
                  <a:gd name="connsiteY552" fmla="*/ 1813300 h 1906800"/>
                  <a:gd name="connsiteX553" fmla="*/ 761928 w 1922991"/>
                  <a:gd name="connsiteY553" fmla="*/ 1835820 h 1906800"/>
                  <a:gd name="connsiteX554" fmla="*/ 662208 w 1922991"/>
                  <a:gd name="connsiteY554" fmla="*/ 1861991 h 1906800"/>
                  <a:gd name="connsiteX555" fmla="*/ 609419 w 1922991"/>
                  <a:gd name="connsiteY555" fmla="*/ 1866160 h 1906800"/>
                  <a:gd name="connsiteX556" fmla="*/ 596068 w 1922991"/>
                  <a:gd name="connsiteY556" fmla="*/ 1866339 h 1906800"/>
                  <a:gd name="connsiteX557" fmla="*/ 583234 w 1922991"/>
                  <a:gd name="connsiteY557" fmla="*/ 1866040 h 1906800"/>
                  <a:gd name="connsiteX558" fmla="*/ 576837 w 1922991"/>
                  <a:gd name="connsiteY558" fmla="*/ 1865860 h 1906800"/>
                  <a:gd name="connsiteX559" fmla="*/ 570460 w 1922991"/>
                  <a:gd name="connsiteY559" fmla="*/ 1865402 h 1906800"/>
                  <a:gd name="connsiteX560" fmla="*/ 564083 w 1922991"/>
                  <a:gd name="connsiteY560" fmla="*/ 1864963 h 1906800"/>
                  <a:gd name="connsiteX561" fmla="*/ 557726 w 1922991"/>
                  <a:gd name="connsiteY561" fmla="*/ 1864384 h 1906800"/>
                  <a:gd name="connsiteX562" fmla="*/ 545032 w 1922991"/>
                  <a:gd name="connsiteY562" fmla="*/ 1862888 h 1906800"/>
                  <a:gd name="connsiteX563" fmla="*/ 532438 w 1922991"/>
                  <a:gd name="connsiteY563" fmla="*/ 1860874 h 1906800"/>
                  <a:gd name="connsiteX564" fmla="*/ 526141 w 1922991"/>
                  <a:gd name="connsiteY564" fmla="*/ 1859836 h 1906800"/>
                  <a:gd name="connsiteX565" fmla="*/ 519903 w 1922991"/>
                  <a:gd name="connsiteY565" fmla="*/ 1858480 h 1906800"/>
                  <a:gd name="connsiteX566" fmla="*/ 507468 w 1922991"/>
                  <a:gd name="connsiteY566" fmla="*/ 1855707 h 1906800"/>
                  <a:gd name="connsiteX567" fmla="*/ 459083 w 1922991"/>
                  <a:gd name="connsiteY567" fmla="*/ 1840069 h 1906800"/>
                  <a:gd name="connsiteX568" fmla="*/ 371939 w 1922991"/>
                  <a:gd name="connsiteY568" fmla="*/ 1789084 h 1906800"/>
                  <a:gd name="connsiteX569" fmla="*/ 367036 w 1922991"/>
                  <a:gd name="connsiteY569" fmla="*/ 1785115 h 1906800"/>
                  <a:gd name="connsiteX570" fmla="*/ 364585 w 1922991"/>
                  <a:gd name="connsiteY570" fmla="*/ 1783140 h 1906800"/>
                  <a:gd name="connsiteX571" fmla="*/ 362234 w 1922991"/>
                  <a:gd name="connsiteY571" fmla="*/ 1781046 h 1906800"/>
                  <a:gd name="connsiteX572" fmla="*/ 352828 w 1922991"/>
                  <a:gd name="connsiteY572" fmla="*/ 1772668 h 1906800"/>
                  <a:gd name="connsiteX573" fmla="*/ 343860 w 1922991"/>
                  <a:gd name="connsiteY573" fmla="*/ 1763852 h 1906800"/>
                  <a:gd name="connsiteX574" fmla="*/ 341608 w 1922991"/>
                  <a:gd name="connsiteY574" fmla="*/ 1761657 h 1906800"/>
                  <a:gd name="connsiteX575" fmla="*/ 339476 w 1922991"/>
                  <a:gd name="connsiteY575" fmla="*/ 1759344 h 1906800"/>
                  <a:gd name="connsiteX576" fmla="*/ 335212 w 1922991"/>
                  <a:gd name="connsiteY576" fmla="*/ 1754736 h 1906800"/>
                  <a:gd name="connsiteX577" fmla="*/ 330947 w 1922991"/>
                  <a:gd name="connsiteY577" fmla="*/ 1750148 h 1906800"/>
                  <a:gd name="connsiteX578" fmla="*/ 326922 w 1922991"/>
                  <a:gd name="connsiteY578" fmla="*/ 1745341 h 1906800"/>
                  <a:gd name="connsiteX579" fmla="*/ 322876 w 1922991"/>
                  <a:gd name="connsiteY579" fmla="*/ 1740553 h 1906800"/>
                  <a:gd name="connsiteX580" fmla="*/ 320863 w 1922991"/>
                  <a:gd name="connsiteY580" fmla="*/ 1738160 h 1906800"/>
                  <a:gd name="connsiteX581" fmla="*/ 318970 w 1922991"/>
                  <a:gd name="connsiteY581" fmla="*/ 1735666 h 1906800"/>
                  <a:gd name="connsiteX582" fmla="*/ 311398 w 1922991"/>
                  <a:gd name="connsiteY582" fmla="*/ 1725713 h 1906800"/>
                  <a:gd name="connsiteX583" fmla="*/ 304343 w 1922991"/>
                  <a:gd name="connsiteY583" fmla="*/ 1715420 h 1906800"/>
                  <a:gd name="connsiteX584" fmla="*/ 283260 w 1922991"/>
                  <a:gd name="connsiteY584" fmla="*/ 1678139 h 1906800"/>
                  <a:gd name="connsiteX585" fmla="*/ 280908 w 1922991"/>
                  <a:gd name="connsiteY585" fmla="*/ 1673332 h 1906800"/>
                  <a:gd name="connsiteX586" fmla="*/ 278816 w 1922991"/>
                  <a:gd name="connsiteY586" fmla="*/ 1668425 h 1906800"/>
                  <a:gd name="connsiteX587" fmla="*/ 274651 w 1922991"/>
                  <a:gd name="connsiteY587" fmla="*/ 1658591 h 1906800"/>
                  <a:gd name="connsiteX588" fmla="*/ 271024 w 1922991"/>
                  <a:gd name="connsiteY588" fmla="*/ 1648578 h 1906800"/>
                  <a:gd name="connsiteX589" fmla="*/ 269230 w 1922991"/>
                  <a:gd name="connsiteY589" fmla="*/ 1643571 h 1906800"/>
                  <a:gd name="connsiteX590" fmla="*/ 267696 w 1922991"/>
                  <a:gd name="connsiteY590" fmla="*/ 1638485 h 1906800"/>
                  <a:gd name="connsiteX591" fmla="*/ 258011 w 1922991"/>
                  <a:gd name="connsiteY591" fmla="*/ 1597115 h 1906800"/>
                  <a:gd name="connsiteX592" fmla="*/ 255560 w 1922991"/>
                  <a:gd name="connsiteY592" fmla="*/ 1575991 h 1906800"/>
                  <a:gd name="connsiteX593" fmla="*/ 255121 w 1922991"/>
                  <a:gd name="connsiteY593" fmla="*/ 1570685 h 1906800"/>
                  <a:gd name="connsiteX594" fmla="*/ 254902 w 1922991"/>
                  <a:gd name="connsiteY594" fmla="*/ 1568032 h 1906800"/>
                  <a:gd name="connsiteX595" fmla="*/ 254902 w 1922991"/>
                  <a:gd name="connsiteY595" fmla="*/ 1567693 h 1906800"/>
                  <a:gd name="connsiteX596" fmla="*/ 254862 w 1922991"/>
                  <a:gd name="connsiteY596" fmla="*/ 1567035 h 1906800"/>
                  <a:gd name="connsiteX597" fmla="*/ 254862 w 1922991"/>
                  <a:gd name="connsiteY597" fmla="*/ 1562507 h 1906800"/>
                  <a:gd name="connsiteX598" fmla="*/ 254723 w 1922991"/>
                  <a:gd name="connsiteY598" fmla="*/ 1538331 h 1906800"/>
                  <a:gd name="connsiteX599" fmla="*/ 254663 w 1922991"/>
                  <a:gd name="connsiteY599" fmla="*/ 1534202 h 1906800"/>
                  <a:gd name="connsiteX600" fmla="*/ 254623 w 1922991"/>
                  <a:gd name="connsiteY600" fmla="*/ 1532147 h 1906800"/>
                  <a:gd name="connsiteX601" fmla="*/ 254424 w 1922991"/>
                  <a:gd name="connsiteY601" fmla="*/ 1530213 h 1906800"/>
                  <a:gd name="connsiteX602" fmla="*/ 252252 w 1922991"/>
                  <a:gd name="connsiteY602" fmla="*/ 1523431 h 1906800"/>
                  <a:gd name="connsiteX603" fmla="*/ 247888 w 1922991"/>
                  <a:gd name="connsiteY603" fmla="*/ 1509887 h 1906800"/>
                  <a:gd name="connsiteX604" fmla="*/ 246791 w 1922991"/>
                  <a:gd name="connsiteY604" fmla="*/ 1506496 h 1906800"/>
                  <a:gd name="connsiteX605" fmla="*/ 246253 w 1922991"/>
                  <a:gd name="connsiteY605" fmla="*/ 1504800 h 1906800"/>
                  <a:gd name="connsiteX606" fmla="*/ 245955 w 1922991"/>
                  <a:gd name="connsiteY606" fmla="*/ 1503982 h 1906800"/>
                  <a:gd name="connsiteX607" fmla="*/ 245456 w 1922991"/>
                  <a:gd name="connsiteY607" fmla="*/ 1503244 h 1906800"/>
                  <a:gd name="connsiteX608" fmla="*/ 240733 w 1922991"/>
                  <a:gd name="connsiteY608" fmla="*/ 1498098 h 1906800"/>
                  <a:gd name="connsiteX609" fmla="*/ 231288 w 1922991"/>
                  <a:gd name="connsiteY609" fmla="*/ 1487805 h 1906800"/>
                  <a:gd name="connsiteX610" fmla="*/ 228398 w 1922991"/>
                  <a:gd name="connsiteY610" fmla="*/ 1485870 h 1906800"/>
                  <a:gd name="connsiteX611" fmla="*/ 225130 w 1922991"/>
                  <a:gd name="connsiteY611" fmla="*/ 1484115 h 1906800"/>
                  <a:gd name="connsiteX612" fmla="*/ 218594 w 1922991"/>
                  <a:gd name="connsiteY612" fmla="*/ 1480624 h 1906800"/>
                  <a:gd name="connsiteX613" fmla="*/ 205501 w 1922991"/>
                  <a:gd name="connsiteY613" fmla="*/ 1473663 h 1906800"/>
                  <a:gd name="connsiteX614" fmla="*/ 198905 w 1922991"/>
                  <a:gd name="connsiteY614" fmla="*/ 1470232 h 1906800"/>
                  <a:gd name="connsiteX615" fmla="*/ 193225 w 1922991"/>
                  <a:gd name="connsiteY615" fmla="*/ 1467060 h 1906800"/>
                  <a:gd name="connsiteX616" fmla="*/ 187825 w 1922991"/>
                  <a:gd name="connsiteY616" fmla="*/ 1463929 h 1906800"/>
                  <a:gd name="connsiteX617" fmla="*/ 177223 w 1922991"/>
                  <a:gd name="connsiteY617" fmla="*/ 1457326 h 1906800"/>
                  <a:gd name="connsiteX618" fmla="*/ 171982 w 1922991"/>
                  <a:gd name="connsiteY618" fmla="*/ 1453915 h 1906800"/>
                  <a:gd name="connsiteX619" fmla="*/ 166881 w 1922991"/>
                  <a:gd name="connsiteY619" fmla="*/ 1450325 h 1906800"/>
                  <a:gd name="connsiteX620" fmla="*/ 128599 w 1922991"/>
                  <a:gd name="connsiteY620" fmla="*/ 1418470 h 1906800"/>
                  <a:gd name="connsiteX621" fmla="*/ 96097 w 1922991"/>
                  <a:gd name="connsiteY621" fmla="*/ 1381049 h 1906800"/>
                  <a:gd name="connsiteX622" fmla="*/ 70410 w 1922991"/>
                  <a:gd name="connsiteY622" fmla="*/ 1338981 h 1906800"/>
                  <a:gd name="connsiteX623" fmla="*/ 65129 w 1922991"/>
                  <a:gd name="connsiteY623" fmla="*/ 1327890 h 1906800"/>
                  <a:gd name="connsiteX624" fmla="*/ 60326 w 1922991"/>
                  <a:gd name="connsiteY624" fmla="*/ 1316600 h 1906800"/>
                  <a:gd name="connsiteX625" fmla="*/ 56082 w 1922991"/>
                  <a:gd name="connsiteY625" fmla="*/ 1305091 h 1906800"/>
                  <a:gd name="connsiteX626" fmla="*/ 52315 w 1922991"/>
                  <a:gd name="connsiteY626" fmla="*/ 1293422 h 1906800"/>
                  <a:gd name="connsiteX627" fmla="*/ 42351 w 1922991"/>
                  <a:gd name="connsiteY627" fmla="*/ 1245529 h 1906800"/>
                  <a:gd name="connsiteX628" fmla="*/ 40896 w 1922991"/>
                  <a:gd name="connsiteY628" fmla="*/ 1196520 h 1906800"/>
                  <a:gd name="connsiteX629" fmla="*/ 47871 w 1922991"/>
                  <a:gd name="connsiteY629" fmla="*/ 1148068 h 1906800"/>
                  <a:gd name="connsiteX630" fmla="*/ 49904 w 1922991"/>
                  <a:gd name="connsiteY630" fmla="*/ 1140050 h 1906800"/>
                  <a:gd name="connsiteX631" fmla="*/ 52076 w 1922991"/>
                  <a:gd name="connsiteY631" fmla="*/ 1132051 h 1906800"/>
                  <a:gd name="connsiteX632" fmla="*/ 54627 w 1922991"/>
                  <a:gd name="connsiteY632" fmla="*/ 1124172 h 1906800"/>
                  <a:gd name="connsiteX633" fmla="*/ 55882 w 1922991"/>
                  <a:gd name="connsiteY633" fmla="*/ 1120222 h 1906800"/>
                  <a:gd name="connsiteX634" fmla="*/ 57337 w 1922991"/>
                  <a:gd name="connsiteY634" fmla="*/ 1116333 h 1906800"/>
                  <a:gd name="connsiteX635" fmla="*/ 60227 w 1922991"/>
                  <a:gd name="connsiteY635" fmla="*/ 1108553 h 1906800"/>
                  <a:gd name="connsiteX636" fmla="*/ 63455 w 1922991"/>
                  <a:gd name="connsiteY636" fmla="*/ 1100914 h 1906800"/>
                  <a:gd name="connsiteX637" fmla="*/ 70430 w 1922991"/>
                  <a:gd name="connsiteY637" fmla="*/ 1085834 h 1906800"/>
                  <a:gd name="connsiteX638" fmla="*/ 74296 w 1922991"/>
                  <a:gd name="connsiteY638" fmla="*/ 1078453 h 1906800"/>
                  <a:gd name="connsiteX639" fmla="*/ 78281 w 1922991"/>
                  <a:gd name="connsiteY639" fmla="*/ 1071153 h 1906800"/>
                  <a:gd name="connsiteX640" fmla="*/ 82586 w 1922991"/>
                  <a:gd name="connsiteY640" fmla="*/ 1064012 h 1906800"/>
                  <a:gd name="connsiteX641" fmla="*/ 84738 w 1922991"/>
                  <a:gd name="connsiteY641" fmla="*/ 1060441 h 1906800"/>
                  <a:gd name="connsiteX642" fmla="*/ 87049 w 1922991"/>
                  <a:gd name="connsiteY642" fmla="*/ 1056970 h 1906800"/>
                  <a:gd name="connsiteX643" fmla="*/ 91653 w 1922991"/>
                  <a:gd name="connsiteY643" fmla="*/ 1050009 h 1906800"/>
                  <a:gd name="connsiteX644" fmla="*/ 96575 w 1922991"/>
                  <a:gd name="connsiteY644" fmla="*/ 1043247 h 1906800"/>
                  <a:gd name="connsiteX645" fmla="*/ 99026 w 1922991"/>
                  <a:gd name="connsiteY645" fmla="*/ 1039856 h 1906800"/>
                  <a:gd name="connsiteX646" fmla="*/ 99325 w 1922991"/>
                  <a:gd name="connsiteY646" fmla="*/ 1039437 h 1906800"/>
                  <a:gd name="connsiteX647" fmla="*/ 99484 w 1922991"/>
                  <a:gd name="connsiteY647" fmla="*/ 1039218 h 1906800"/>
                  <a:gd name="connsiteX648" fmla="*/ 99724 w 1922991"/>
                  <a:gd name="connsiteY648" fmla="*/ 1038918 h 1906800"/>
                  <a:gd name="connsiteX649" fmla="*/ 101258 w 1922991"/>
                  <a:gd name="connsiteY649" fmla="*/ 1037083 h 1906800"/>
                  <a:gd name="connsiteX650" fmla="*/ 104327 w 1922991"/>
                  <a:gd name="connsiteY650" fmla="*/ 1033413 h 1906800"/>
                  <a:gd name="connsiteX651" fmla="*/ 116583 w 1922991"/>
                  <a:gd name="connsiteY651" fmla="*/ 1018752 h 1906800"/>
                  <a:gd name="connsiteX652" fmla="*/ 118177 w 1922991"/>
                  <a:gd name="connsiteY652" fmla="*/ 1016897 h 1906800"/>
                  <a:gd name="connsiteX653" fmla="*/ 119512 w 1922991"/>
                  <a:gd name="connsiteY653" fmla="*/ 1015002 h 1906800"/>
                  <a:gd name="connsiteX654" fmla="*/ 121345 w 1922991"/>
                  <a:gd name="connsiteY654" fmla="*/ 1011092 h 1906800"/>
                  <a:gd name="connsiteX655" fmla="*/ 124992 w 1922991"/>
                  <a:gd name="connsiteY655" fmla="*/ 1003253 h 1906800"/>
                  <a:gd name="connsiteX656" fmla="*/ 128639 w 1922991"/>
                  <a:gd name="connsiteY656" fmla="*/ 995414 h 1906800"/>
                  <a:gd name="connsiteX657" fmla="*/ 130472 w 1922991"/>
                  <a:gd name="connsiteY657" fmla="*/ 991505 h 1906800"/>
                  <a:gd name="connsiteX658" fmla="*/ 131289 w 1922991"/>
                  <a:gd name="connsiteY658" fmla="*/ 989510 h 1906800"/>
                  <a:gd name="connsiteX659" fmla="*/ 131509 w 1922991"/>
                  <a:gd name="connsiteY659" fmla="*/ 987455 h 1906800"/>
                  <a:gd name="connsiteX660" fmla="*/ 132226 w 1922991"/>
                  <a:gd name="connsiteY660" fmla="*/ 979317 h 1906800"/>
                  <a:gd name="connsiteX661" fmla="*/ 132405 w 1922991"/>
                  <a:gd name="connsiteY661" fmla="*/ 977282 h 1906800"/>
                  <a:gd name="connsiteX662" fmla="*/ 132146 w 1922991"/>
                  <a:gd name="connsiteY662" fmla="*/ 975048 h 1906800"/>
                  <a:gd name="connsiteX663" fmla="*/ 131588 w 1922991"/>
                  <a:gd name="connsiteY663" fmla="*/ 970560 h 1906800"/>
                  <a:gd name="connsiteX664" fmla="*/ 131030 w 1922991"/>
                  <a:gd name="connsiteY664" fmla="*/ 966072 h 1906800"/>
                  <a:gd name="connsiteX665" fmla="*/ 130731 w 1922991"/>
                  <a:gd name="connsiteY665" fmla="*/ 963818 h 1906800"/>
                  <a:gd name="connsiteX666" fmla="*/ 129974 w 1922991"/>
                  <a:gd name="connsiteY666" fmla="*/ 961504 h 1906800"/>
                  <a:gd name="connsiteX667" fmla="*/ 126925 w 1922991"/>
                  <a:gd name="connsiteY667" fmla="*/ 952289 h 1906800"/>
                  <a:gd name="connsiteX668" fmla="*/ 123976 w 1922991"/>
                  <a:gd name="connsiteY668" fmla="*/ 943053 h 1906800"/>
                  <a:gd name="connsiteX669" fmla="*/ 122521 w 1922991"/>
                  <a:gd name="connsiteY669" fmla="*/ 938446 h 1906800"/>
                  <a:gd name="connsiteX670" fmla="*/ 121804 w 1922991"/>
                  <a:gd name="connsiteY670" fmla="*/ 936132 h 1906800"/>
                  <a:gd name="connsiteX671" fmla="*/ 121465 w 1922991"/>
                  <a:gd name="connsiteY671" fmla="*/ 934975 h 1906800"/>
                  <a:gd name="connsiteX672" fmla="*/ 121066 w 1922991"/>
                  <a:gd name="connsiteY672" fmla="*/ 933479 h 1906800"/>
                  <a:gd name="connsiteX673" fmla="*/ 119133 w 1922991"/>
                  <a:gd name="connsiteY673" fmla="*/ 925899 h 1906800"/>
                  <a:gd name="connsiteX674" fmla="*/ 115925 w 1922991"/>
                  <a:gd name="connsiteY674" fmla="*/ 910580 h 1906800"/>
                  <a:gd name="connsiteX675" fmla="*/ 111900 w 1922991"/>
                  <a:gd name="connsiteY675" fmla="*/ 862368 h 1906800"/>
                  <a:gd name="connsiteX676" fmla="*/ 113295 w 1922991"/>
                  <a:gd name="connsiteY676" fmla="*/ 838172 h 1906800"/>
                  <a:gd name="connsiteX677" fmla="*/ 113912 w 1922991"/>
                  <a:gd name="connsiteY677" fmla="*/ 832148 h 1906800"/>
                  <a:gd name="connsiteX678" fmla="*/ 114650 w 1922991"/>
                  <a:gd name="connsiteY678" fmla="*/ 826144 h 1906800"/>
                  <a:gd name="connsiteX679" fmla="*/ 116722 w 1922991"/>
                  <a:gd name="connsiteY679" fmla="*/ 814236 h 1906800"/>
                  <a:gd name="connsiteX680" fmla="*/ 119333 w 1922991"/>
                  <a:gd name="connsiteY680" fmla="*/ 802447 h 1906800"/>
                  <a:gd name="connsiteX681" fmla="*/ 120748 w 1922991"/>
                  <a:gd name="connsiteY681" fmla="*/ 796583 h 1906800"/>
                  <a:gd name="connsiteX682" fmla="*/ 121445 w 1922991"/>
                  <a:gd name="connsiteY682" fmla="*/ 793650 h 1906800"/>
                  <a:gd name="connsiteX683" fmla="*/ 122342 w 1922991"/>
                  <a:gd name="connsiteY683" fmla="*/ 790758 h 1906800"/>
                  <a:gd name="connsiteX684" fmla="*/ 125989 w 1922991"/>
                  <a:gd name="connsiteY684" fmla="*/ 779229 h 1906800"/>
                  <a:gd name="connsiteX685" fmla="*/ 126905 w 1922991"/>
                  <a:gd name="connsiteY685" fmla="*/ 776356 h 1906800"/>
                  <a:gd name="connsiteX686" fmla="*/ 128021 w 1922991"/>
                  <a:gd name="connsiteY686" fmla="*/ 773544 h 1906800"/>
                  <a:gd name="connsiteX687" fmla="*/ 130233 w 1922991"/>
                  <a:gd name="connsiteY687" fmla="*/ 767919 h 1906800"/>
                  <a:gd name="connsiteX688" fmla="*/ 140018 w 1922991"/>
                  <a:gd name="connsiteY688" fmla="*/ 745778 h 1906800"/>
                  <a:gd name="connsiteX689" fmla="*/ 145837 w 1922991"/>
                  <a:gd name="connsiteY689" fmla="*/ 735126 h 1906800"/>
                  <a:gd name="connsiteX690" fmla="*/ 148746 w 1922991"/>
                  <a:gd name="connsiteY690" fmla="*/ 729800 h 1906800"/>
                  <a:gd name="connsiteX691" fmla="*/ 152014 w 1922991"/>
                  <a:gd name="connsiteY691" fmla="*/ 724694 h 1906800"/>
                  <a:gd name="connsiteX692" fmla="*/ 155940 w 1922991"/>
                  <a:gd name="connsiteY692" fmla="*/ 718550 h 1906800"/>
                  <a:gd name="connsiteX693" fmla="*/ 157893 w 1922991"/>
                  <a:gd name="connsiteY693" fmla="*/ 715478 h 1906800"/>
                  <a:gd name="connsiteX694" fmla="*/ 160025 w 1922991"/>
                  <a:gd name="connsiteY694" fmla="*/ 712526 h 1906800"/>
                  <a:gd name="connsiteX695" fmla="*/ 168674 w 1922991"/>
                  <a:gd name="connsiteY695" fmla="*/ 700757 h 1906800"/>
                  <a:gd name="connsiteX696" fmla="*/ 178080 w 1922991"/>
                  <a:gd name="connsiteY696" fmla="*/ 689547 h 1906800"/>
                  <a:gd name="connsiteX697" fmla="*/ 183022 w 1922991"/>
                  <a:gd name="connsiteY697" fmla="*/ 684142 h 1906800"/>
                  <a:gd name="connsiteX698" fmla="*/ 188064 w 1922991"/>
                  <a:gd name="connsiteY698" fmla="*/ 678836 h 1906800"/>
                  <a:gd name="connsiteX699" fmla="*/ 198586 w 1922991"/>
                  <a:gd name="connsiteY699" fmla="*/ 668643 h 1906800"/>
                  <a:gd name="connsiteX700" fmla="*/ 203947 w 1922991"/>
                  <a:gd name="connsiteY700" fmla="*/ 663636 h 1906800"/>
                  <a:gd name="connsiteX701" fmla="*/ 209606 w 1922991"/>
                  <a:gd name="connsiteY701" fmla="*/ 658988 h 1906800"/>
                  <a:gd name="connsiteX702" fmla="*/ 215285 w 1922991"/>
                  <a:gd name="connsiteY702" fmla="*/ 654341 h 1906800"/>
                  <a:gd name="connsiteX703" fmla="*/ 218115 w 1922991"/>
                  <a:gd name="connsiteY703" fmla="*/ 652007 h 1906800"/>
                  <a:gd name="connsiteX704" fmla="*/ 221104 w 1922991"/>
                  <a:gd name="connsiteY704" fmla="*/ 649893 h 1906800"/>
                  <a:gd name="connsiteX705" fmla="*/ 232005 w 1922991"/>
                  <a:gd name="connsiteY705" fmla="*/ 642053 h 1906800"/>
                  <a:gd name="connsiteX706" fmla="*/ 247330 w 1922991"/>
                  <a:gd name="connsiteY706" fmla="*/ 632439 h 1906800"/>
                  <a:gd name="connsiteX707" fmla="*/ 261518 w 1922991"/>
                  <a:gd name="connsiteY707" fmla="*/ 616900 h 1906800"/>
                  <a:gd name="connsiteX708" fmla="*/ 268613 w 1922991"/>
                  <a:gd name="connsiteY708" fmla="*/ 609121 h 1906800"/>
                  <a:gd name="connsiteX709" fmla="*/ 270386 w 1922991"/>
                  <a:gd name="connsiteY709" fmla="*/ 607186 h 1906800"/>
                  <a:gd name="connsiteX710" fmla="*/ 271283 w 1922991"/>
                  <a:gd name="connsiteY710" fmla="*/ 606209 h 1906800"/>
                  <a:gd name="connsiteX711" fmla="*/ 271721 w 1922991"/>
                  <a:gd name="connsiteY711" fmla="*/ 605730 h 1906800"/>
                  <a:gd name="connsiteX712" fmla="*/ 272000 w 1922991"/>
                  <a:gd name="connsiteY712" fmla="*/ 605132 h 1906800"/>
                  <a:gd name="connsiteX713" fmla="*/ 273734 w 1922991"/>
                  <a:gd name="connsiteY713" fmla="*/ 600803 h 1906800"/>
                  <a:gd name="connsiteX714" fmla="*/ 277341 w 1922991"/>
                  <a:gd name="connsiteY714" fmla="*/ 580258 h 1906800"/>
                  <a:gd name="connsiteX715" fmla="*/ 274412 w 1922991"/>
                  <a:gd name="connsiteY715" fmla="*/ 556541 h 1906800"/>
                  <a:gd name="connsiteX716" fmla="*/ 273694 w 1922991"/>
                  <a:gd name="connsiteY716" fmla="*/ 550596 h 1906800"/>
                  <a:gd name="connsiteX717" fmla="*/ 273375 w 1922991"/>
                  <a:gd name="connsiteY717" fmla="*/ 547664 h 1906800"/>
                  <a:gd name="connsiteX718" fmla="*/ 273136 w 1922991"/>
                  <a:gd name="connsiteY718" fmla="*/ 544932 h 1906800"/>
                  <a:gd name="connsiteX719" fmla="*/ 272797 w 1922991"/>
                  <a:gd name="connsiteY719" fmla="*/ 540743 h 1906800"/>
                  <a:gd name="connsiteX720" fmla="*/ 272658 w 1922991"/>
                  <a:gd name="connsiteY720" fmla="*/ 538369 h 1906800"/>
                  <a:gd name="connsiteX721" fmla="*/ 272319 w 1922991"/>
                  <a:gd name="connsiteY721" fmla="*/ 528874 h 1906800"/>
                  <a:gd name="connsiteX722" fmla="*/ 272419 w 1922991"/>
                  <a:gd name="connsiteY722" fmla="*/ 519360 h 1906800"/>
                  <a:gd name="connsiteX723" fmla="*/ 272518 w 1922991"/>
                  <a:gd name="connsiteY723" fmla="*/ 514592 h 1906800"/>
                  <a:gd name="connsiteX724" fmla="*/ 272837 w 1922991"/>
                  <a:gd name="connsiteY724" fmla="*/ 509845 h 1906800"/>
                  <a:gd name="connsiteX725" fmla="*/ 280450 w 1922991"/>
                  <a:gd name="connsiteY725" fmla="*/ 463109 h 1906800"/>
                  <a:gd name="connsiteX726" fmla="*/ 297349 w 1922991"/>
                  <a:gd name="connsiteY726" fmla="*/ 418767 h 1906800"/>
                  <a:gd name="connsiteX727" fmla="*/ 322717 w 1922991"/>
                  <a:gd name="connsiteY727" fmla="*/ 378235 h 1906800"/>
                  <a:gd name="connsiteX728" fmla="*/ 355478 w 1922991"/>
                  <a:gd name="connsiteY728" fmla="*/ 342849 h 1906800"/>
                  <a:gd name="connsiteX729" fmla="*/ 401392 w 1922991"/>
                  <a:gd name="connsiteY729" fmla="*/ 309777 h 1906800"/>
                  <a:gd name="connsiteX730" fmla="*/ 426740 w 1922991"/>
                  <a:gd name="connsiteY730" fmla="*/ 296911 h 1906800"/>
                  <a:gd name="connsiteX731" fmla="*/ 433297 w 1922991"/>
                  <a:gd name="connsiteY731" fmla="*/ 294118 h 1906800"/>
                  <a:gd name="connsiteX732" fmla="*/ 434931 w 1922991"/>
                  <a:gd name="connsiteY732" fmla="*/ 293420 h 1906800"/>
                  <a:gd name="connsiteX733" fmla="*/ 436704 w 1922991"/>
                  <a:gd name="connsiteY733" fmla="*/ 292742 h 1906800"/>
                  <a:gd name="connsiteX734" fmla="*/ 440291 w 1922991"/>
                  <a:gd name="connsiteY734" fmla="*/ 291385 h 1906800"/>
                  <a:gd name="connsiteX735" fmla="*/ 443878 w 1922991"/>
                  <a:gd name="connsiteY735" fmla="*/ 290029 h 1906800"/>
                  <a:gd name="connsiteX736" fmla="*/ 445672 w 1922991"/>
                  <a:gd name="connsiteY736" fmla="*/ 289351 h 1906800"/>
                  <a:gd name="connsiteX737" fmla="*/ 447366 w 1922991"/>
                  <a:gd name="connsiteY737" fmla="*/ 288792 h 1906800"/>
                  <a:gd name="connsiteX738" fmla="*/ 449438 w 1922991"/>
                  <a:gd name="connsiteY738" fmla="*/ 288134 h 1906800"/>
                  <a:gd name="connsiteX739" fmla="*/ 466038 w 1922991"/>
                  <a:gd name="connsiteY739" fmla="*/ 282888 h 1906800"/>
                  <a:gd name="connsiteX740" fmla="*/ 469007 w 1922991"/>
                  <a:gd name="connsiteY740" fmla="*/ 281931 h 1906800"/>
                  <a:gd name="connsiteX741" fmla="*/ 470482 w 1922991"/>
                  <a:gd name="connsiteY741" fmla="*/ 281452 h 1906800"/>
                  <a:gd name="connsiteX742" fmla="*/ 471837 w 1922991"/>
                  <a:gd name="connsiteY742" fmla="*/ 280853 h 1906800"/>
                  <a:gd name="connsiteX743" fmla="*/ 476620 w 1922991"/>
                  <a:gd name="connsiteY743" fmla="*/ 277841 h 1906800"/>
                  <a:gd name="connsiteX744" fmla="*/ 486165 w 1922991"/>
                  <a:gd name="connsiteY744" fmla="*/ 271837 h 1906800"/>
                  <a:gd name="connsiteX745" fmla="*/ 490948 w 1922991"/>
                  <a:gd name="connsiteY745" fmla="*/ 268825 h 1906800"/>
                  <a:gd name="connsiteX746" fmla="*/ 492104 w 1922991"/>
                  <a:gd name="connsiteY746" fmla="*/ 268028 h 1906800"/>
                  <a:gd name="connsiteX747" fmla="*/ 492941 w 1922991"/>
                  <a:gd name="connsiteY747" fmla="*/ 266891 h 1906800"/>
                  <a:gd name="connsiteX748" fmla="*/ 494495 w 1922991"/>
                  <a:gd name="connsiteY748" fmla="*/ 264517 h 1906800"/>
                  <a:gd name="connsiteX749" fmla="*/ 500733 w 1922991"/>
                  <a:gd name="connsiteY749" fmla="*/ 255022 h 1906800"/>
                  <a:gd name="connsiteX750" fmla="*/ 503841 w 1922991"/>
                  <a:gd name="connsiteY750" fmla="*/ 250275 h 1906800"/>
                  <a:gd name="connsiteX751" fmla="*/ 505396 w 1922991"/>
                  <a:gd name="connsiteY751" fmla="*/ 247901 h 1906800"/>
                  <a:gd name="connsiteX752" fmla="*/ 506791 w 1922991"/>
                  <a:gd name="connsiteY752" fmla="*/ 245368 h 1906800"/>
                  <a:gd name="connsiteX753" fmla="*/ 510916 w 1922991"/>
                  <a:gd name="connsiteY753" fmla="*/ 233719 h 1906800"/>
                  <a:gd name="connsiteX754" fmla="*/ 515041 w 1922991"/>
                  <a:gd name="connsiteY754" fmla="*/ 222070 h 1906800"/>
                  <a:gd name="connsiteX755" fmla="*/ 515559 w 1922991"/>
                  <a:gd name="connsiteY755" fmla="*/ 220614 h 1906800"/>
                  <a:gd name="connsiteX756" fmla="*/ 515798 w 1922991"/>
                  <a:gd name="connsiteY756" fmla="*/ 219975 h 1906800"/>
                  <a:gd name="connsiteX757" fmla="*/ 515918 w 1922991"/>
                  <a:gd name="connsiteY757" fmla="*/ 219656 h 1906800"/>
                  <a:gd name="connsiteX758" fmla="*/ 516436 w 1922991"/>
                  <a:gd name="connsiteY758" fmla="*/ 218419 h 1906800"/>
                  <a:gd name="connsiteX759" fmla="*/ 517452 w 1922991"/>
                  <a:gd name="connsiteY759" fmla="*/ 215926 h 1906800"/>
                  <a:gd name="connsiteX760" fmla="*/ 535567 w 1922991"/>
                  <a:gd name="connsiteY760" fmla="*/ 177149 h 1906800"/>
                  <a:gd name="connsiteX761" fmla="*/ 562748 w 1922991"/>
                  <a:gd name="connsiteY761" fmla="*/ 134702 h 1906800"/>
                  <a:gd name="connsiteX762" fmla="*/ 595430 w 1922991"/>
                  <a:gd name="connsiteY762" fmla="*/ 98079 h 1906800"/>
                  <a:gd name="connsiteX763" fmla="*/ 674026 w 1922991"/>
                  <a:gd name="connsiteY763" fmla="*/ 49748 h 1906800"/>
                  <a:gd name="connsiteX764" fmla="*/ 695468 w 1922991"/>
                  <a:gd name="connsiteY764" fmla="*/ 43963 h 1906800"/>
                  <a:gd name="connsiteX765" fmla="*/ 700908 w 1922991"/>
                  <a:gd name="connsiteY765" fmla="*/ 43026 h 1906800"/>
                  <a:gd name="connsiteX766" fmla="*/ 703619 w 1922991"/>
                  <a:gd name="connsiteY766" fmla="*/ 42527 h 1906800"/>
                  <a:gd name="connsiteX767" fmla="*/ 706349 w 1922991"/>
                  <a:gd name="connsiteY767" fmla="*/ 42188 h 1906800"/>
                  <a:gd name="connsiteX768" fmla="*/ 711809 w 1922991"/>
                  <a:gd name="connsiteY768" fmla="*/ 41490 h 1906800"/>
                  <a:gd name="connsiteX769" fmla="*/ 717309 w 1922991"/>
                  <a:gd name="connsiteY769" fmla="*/ 41071 h 1906800"/>
                  <a:gd name="connsiteX770" fmla="*/ 728329 w 1922991"/>
                  <a:gd name="connsiteY770" fmla="*/ 40612 h 1906800"/>
                  <a:gd name="connsiteX771" fmla="*/ 731278 w 1922991"/>
                  <a:gd name="connsiteY771" fmla="*/ 40612 h 1906800"/>
                  <a:gd name="connsiteX772" fmla="*/ 734347 w 1922991"/>
                  <a:gd name="connsiteY772" fmla="*/ 40692 h 1906800"/>
                  <a:gd name="connsiteX773" fmla="*/ 740505 w 1922991"/>
                  <a:gd name="connsiteY773" fmla="*/ 40831 h 1906800"/>
                  <a:gd name="connsiteX774" fmla="*/ 743574 w 1922991"/>
                  <a:gd name="connsiteY774" fmla="*/ 40891 h 1906800"/>
                  <a:gd name="connsiteX775" fmla="*/ 746603 w 1922991"/>
                  <a:gd name="connsiteY775" fmla="*/ 41131 h 1906800"/>
                  <a:gd name="connsiteX776" fmla="*/ 752661 w 1922991"/>
                  <a:gd name="connsiteY776" fmla="*/ 41589 h 1906800"/>
                  <a:gd name="connsiteX777" fmla="*/ 758699 w 1922991"/>
                  <a:gd name="connsiteY777" fmla="*/ 42088 h 1906800"/>
                  <a:gd name="connsiteX778" fmla="*/ 764638 w 1922991"/>
                  <a:gd name="connsiteY778" fmla="*/ 42866 h 1906800"/>
                  <a:gd name="connsiteX779" fmla="*/ 810034 w 1922991"/>
                  <a:gd name="connsiteY779" fmla="*/ 53518 h 1906800"/>
                  <a:gd name="connsiteX780" fmla="*/ 850288 w 1922991"/>
                  <a:gd name="connsiteY780" fmla="*/ 73545 h 1906800"/>
                  <a:gd name="connsiteX781" fmla="*/ 871750 w 1922991"/>
                  <a:gd name="connsiteY781" fmla="*/ 89961 h 1906800"/>
                  <a:gd name="connsiteX782" fmla="*/ 874321 w 1922991"/>
                  <a:gd name="connsiteY782" fmla="*/ 92195 h 1906800"/>
                  <a:gd name="connsiteX783" fmla="*/ 876752 w 1922991"/>
                  <a:gd name="connsiteY783" fmla="*/ 94609 h 1906800"/>
                  <a:gd name="connsiteX784" fmla="*/ 881515 w 1922991"/>
                  <a:gd name="connsiteY784" fmla="*/ 99276 h 1906800"/>
                  <a:gd name="connsiteX785" fmla="*/ 887573 w 1922991"/>
                  <a:gd name="connsiteY785" fmla="*/ 105739 h 1906800"/>
                  <a:gd name="connsiteX786" fmla="*/ 890582 w 1922991"/>
                  <a:gd name="connsiteY786" fmla="*/ 109130 h 1906800"/>
                  <a:gd name="connsiteX787" fmla="*/ 892097 w 1922991"/>
                  <a:gd name="connsiteY787" fmla="*/ 110825 h 1906800"/>
                  <a:gd name="connsiteX788" fmla="*/ 893511 w 1922991"/>
                  <a:gd name="connsiteY788" fmla="*/ 112740 h 1906800"/>
                  <a:gd name="connsiteX789" fmla="*/ 899131 w 1922991"/>
                  <a:gd name="connsiteY789" fmla="*/ 120380 h 1906800"/>
                  <a:gd name="connsiteX790" fmla="*/ 910370 w 1922991"/>
                  <a:gd name="connsiteY790" fmla="*/ 135659 h 1906800"/>
                  <a:gd name="connsiteX791" fmla="*/ 913738 w 1922991"/>
                  <a:gd name="connsiteY791" fmla="*/ 140267 h 1906800"/>
                  <a:gd name="connsiteX792" fmla="*/ 914575 w 1922991"/>
                  <a:gd name="connsiteY792" fmla="*/ 141424 h 1906800"/>
                  <a:gd name="connsiteX793" fmla="*/ 915452 w 1922991"/>
                  <a:gd name="connsiteY793" fmla="*/ 142202 h 1906800"/>
                  <a:gd name="connsiteX794" fmla="*/ 917206 w 1922991"/>
                  <a:gd name="connsiteY794" fmla="*/ 143558 h 1906800"/>
                  <a:gd name="connsiteX795" fmla="*/ 924300 w 1922991"/>
                  <a:gd name="connsiteY795" fmla="*/ 148844 h 1906800"/>
                  <a:gd name="connsiteX796" fmla="*/ 938648 w 1922991"/>
                  <a:gd name="connsiteY796" fmla="*/ 158758 h 1906800"/>
                  <a:gd name="connsiteX797" fmla="*/ 939545 w 1922991"/>
                  <a:gd name="connsiteY797" fmla="*/ 159356 h 1906800"/>
                  <a:gd name="connsiteX798" fmla="*/ 940362 w 1922991"/>
                  <a:gd name="connsiteY798" fmla="*/ 159755 h 1906800"/>
                  <a:gd name="connsiteX799" fmla="*/ 941777 w 1922991"/>
                  <a:gd name="connsiteY799" fmla="*/ 160015 h 1906800"/>
                  <a:gd name="connsiteX800" fmla="*/ 944607 w 1922991"/>
                  <a:gd name="connsiteY800" fmla="*/ 160533 h 1906800"/>
                  <a:gd name="connsiteX801" fmla="*/ 950266 w 1922991"/>
                  <a:gd name="connsiteY801" fmla="*/ 161590 h 1906800"/>
                  <a:gd name="connsiteX802" fmla="*/ 955926 w 1922991"/>
                  <a:gd name="connsiteY802" fmla="*/ 162648 h 1906800"/>
                  <a:gd name="connsiteX803" fmla="*/ 958755 w 1922991"/>
                  <a:gd name="connsiteY803" fmla="*/ 163166 h 1906800"/>
                  <a:gd name="connsiteX804" fmla="*/ 960170 w 1922991"/>
                  <a:gd name="connsiteY804" fmla="*/ 163426 h 1906800"/>
                  <a:gd name="connsiteX805" fmla="*/ 960868 w 1922991"/>
                  <a:gd name="connsiteY805" fmla="*/ 163545 h 1906800"/>
                  <a:gd name="connsiteX806" fmla="*/ 961804 w 1922991"/>
                  <a:gd name="connsiteY806" fmla="*/ 163545 h 1906800"/>
                  <a:gd name="connsiteX807" fmla="*/ 973123 w 1922991"/>
                  <a:gd name="connsiteY807" fmla="*/ 161451 h 1906800"/>
                  <a:gd name="connsiteX808" fmla="*/ 978783 w 1922991"/>
                  <a:gd name="connsiteY808" fmla="*/ 160394 h 1906800"/>
                  <a:gd name="connsiteX809" fmla="*/ 984961 w 1922991"/>
                  <a:gd name="connsiteY809" fmla="*/ 158120 h 1906800"/>
                  <a:gd name="connsiteX810" fmla="*/ 999289 w 1922991"/>
                  <a:gd name="connsiteY810" fmla="*/ 148146 h 1906800"/>
                  <a:gd name="connsiteX811" fmla="*/ 1006363 w 1922991"/>
                  <a:gd name="connsiteY811" fmla="*/ 142820 h 1906800"/>
                  <a:gd name="connsiteX812" fmla="*/ 1008097 w 1922991"/>
                  <a:gd name="connsiteY812" fmla="*/ 141344 h 1906800"/>
                  <a:gd name="connsiteX813" fmla="*/ 1009751 w 1922991"/>
                  <a:gd name="connsiteY813" fmla="*/ 139110 h 1906800"/>
                  <a:gd name="connsiteX814" fmla="*/ 1013039 w 1922991"/>
                  <a:gd name="connsiteY814" fmla="*/ 134642 h 1906800"/>
                  <a:gd name="connsiteX815" fmla="*/ 1026191 w 1922991"/>
                  <a:gd name="connsiteY815" fmla="*/ 116750 h 1906800"/>
                  <a:gd name="connsiteX816" fmla="*/ 1032927 w 1922991"/>
                  <a:gd name="connsiteY816" fmla="*/ 108153 h 1906800"/>
                  <a:gd name="connsiteX817" fmla="*/ 1036434 w 1922991"/>
                  <a:gd name="connsiteY817" fmla="*/ 104223 h 1906800"/>
                  <a:gd name="connsiteX818" fmla="*/ 1038188 w 1922991"/>
                  <a:gd name="connsiteY818" fmla="*/ 102248 h 1906800"/>
                  <a:gd name="connsiteX819" fmla="*/ 1039962 w 1922991"/>
                  <a:gd name="connsiteY819" fmla="*/ 100413 h 1906800"/>
                  <a:gd name="connsiteX820" fmla="*/ 1043509 w 1922991"/>
                  <a:gd name="connsiteY820" fmla="*/ 96982 h 1906800"/>
                  <a:gd name="connsiteX821" fmla="*/ 1045820 w 1922991"/>
                  <a:gd name="connsiteY821" fmla="*/ 94688 h 1906800"/>
                  <a:gd name="connsiteX822" fmla="*/ 1048650 w 1922991"/>
                  <a:gd name="connsiteY822" fmla="*/ 91876 h 1906800"/>
                  <a:gd name="connsiteX823" fmla="*/ 1054668 w 1922991"/>
                  <a:gd name="connsiteY823" fmla="*/ 86769 h 1906800"/>
                  <a:gd name="connsiteX824" fmla="*/ 1067083 w 1922991"/>
                  <a:gd name="connsiteY824" fmla="*/ 77095 h 1906800"/>
                  <a:gd name="connsiteX825" fmla="*/ 1073600 w 1922991"/>
                  <a:gd name="connsiteY825" fmla="*/ 72747 h 1906800"/>
                  <a:gd name="connsiteX826" fmla="*/ 1080216 w 1922991"/>
                  <a:gd name="connsiteY826" fmla="*/ 68558 h 1906800"/>
                  <a:gd name="connsiteX827" fmla="*/ 1167919 w 1922991"/>
                  <a:gd name="connsiteY827" fmla="*/ 41749 h 1906800"/>
                  <a:gd name="connsiteX828" fmla="*/ 1180035 w 1922991"/>
                  <a:gd name="connsiteY828" fmla="*/ 40891 h 1906800"/>
                  <a:gd name="connsiteX829" fmla="*/ 1192330 w 1922991"/>
                  <a:gd name="connsiteY829" fmla="*/ 40592 h 1906800"/>
                  <a:gd name="connsiteX830" fmla="*/ 1197930 w 1922991"/>
                  <a:gd name="connsiteY830" fmla="*/ 40712 h 1906800"/>
                  <a:gd name="connsiteX831" fmla="*/ 1203430 w 1922991"/>
                  <a:gd name="connsiteY831" fmla="*/ 40931 h 1906800"/>
                  <a:gd name="connsiteX832" fmla="*/ 1214390 w 1922991"/>
                  <a:gd name="connsiteY832" fmla="*/ 41968 h 1906800"/>
                  <a:gd name="connsiteX833" fmla="*/ 1236092 w 1922991"/>
                  <a:gd name="connsiteY833" fmla="*/ 46018 h 1906800"/>
                  <a:gd name="connsiteX834" fmla="*/ 1241453 w 1922991"/>
                  <a:gd name="connsiteY834" fmla="*/ 47514 h 1906800"/>
                  <a:gd name="connsiteX835" fmla="*/ 1244123 w 1922991"/>
                  <a:gd name="connsiteY835" fmla="*/ 48252 h 1906800"/>
                  <a:gd name="connsiteX836" fmla="*/ 1246773 w 1922991"/>
                  <a:gd name="connsiteY836" fmla="*/ 49149 h 1906800"/>
                  <a:gd name="connsiteX837" fmla="*/ 1252094 w 1922991"/>
                  <a:gd name="connsiteY837" fmla="*/ 50885 h 1906800"/>
                  <a:gd name="connsiteX838" fmla="*/ 1257335 w 1922991"/>
                  <a:gd name="connsiteY838" fmla="*/ 52919 h 1906800"/>
                  <a:gd name="connsiteX839" fmla="*/ 1334376 w 1922991"/>
                  <a:gd name="connsiteY839" fmla="*/ 105121 h 1906800"/>
                  <a:gd name="connsiteX840" fmla="*/ 1365942 w 1922991"/>
                  <a:gd name="connsiteY840" fmla="*/ 143120 h 1906800"/>
                  <a:gd name="connsiteX841" fmla="*/ 1391908 w 1922991"/>
                  <a:gd name="connsiteY841" fmla="*/ 186584 h 1906800"/>
                  <a:gd name="connsiteX842" fmla="*/ 1397030 w 1922991"/>
                  <a:gd name="connsiteY842" fmla="*/ 197176 h 1906800"/>
                  <a:gd name="connsiteX843" fmla="*/ 1401832 w 1922991"/>
                  <a:gd name="connsiteY843" fmla="*/ 207967 h 1906800"/>
                  <a:gd name="connsiteX844" fmla="*/ 1406336 w 1922991"/>
                  <a:gd name="connsiteY844" fmla="*/ 218938 h 1906800"/>
                  <a:gd name="connsiteX845" fmla="*/ 1406615 w 1922991"/>
                  <a:gd name="connsiteY845" fmla="*/ 219616 h 1906800"/>
                  <a:gd name="connsiteX846" fmla="*/ 1406754 w 1922991"/>
                  <a:gd name="connsiteY846" fmla="*/ 219955 h 1906800"/>
                  <a:gd name="connsiteX847" fmla="*/ 1407014 w 1922991"/>
                  <a:gd name="connsiteY847" fmla="*/ 220653 h 1906800"/>
                  <a:gd name="connsiteX848" fmla="*/ 1408149 w 1922991"/>
                  <a:gd name="connsiteY848" fmla="*/ 223845 h 1906800"/>
                  <a:gd name="connsiteX849" fmla="*/ 1410421 w 1922991"/>
                  <a:gd name="connsiteY849" fmla="*/ 230248 h 1906800"/>
                  <a:gd name="connsiteX850" fmla="*/ 1414965 w 1922991"/>
                  <a:gd name="connsiteY850" fmla="*/ 243054 h 1906800"/>
                  <a:gd name="connsiteX851" fmla="*/ 1415921 w 1922991"/>
                  <a:gd name="connsiteY851" fmla="*/ 245767 h 1906800"/>
                  <a:gd name="connsiteX852" fmla="*/ 1417276 w 1922991"/>
                  <a:gd name="connsiteY852" fmla="*/ 248041 h 1906800"/>
                  <a:gd name="connsiteX853" fmla="*/ 1420146 w 1922991"/>
                  <a:gd name="connsiteY853" fmla="*/ 252429 h 1906800"/>
                  <a:gd name="connsiteX854" fmla="*/ 1425905 w 1922991"/>
                  <a:gd name="connsiteY854" fmla="*/ 261186 h 1906800"/>
                  <a:gd name="connsiteX855" fmla="*/ 1428775 w 1922991"/>
                  <a:gd name="connsiteY855" fmla="*/ 265574 h 1906800"/>
                  <a:gd name="connsiteX856" fmla="*/ 1430210 w 1922991"/>
                  <a:gd name="connsiteY856" fmla="*/ 267768 h 1906800"/>
                  <a:gd name="connsiteX857" fmla="*/ 1430688 w 1922991"/>
                  <a:gd name="connsiteY857" fmla="*/ 268227 h 1906800"/>
                  <a:gd name="connsiteX858" fmla="*/ 1431246 w 1922991"/>
                  <a:gd name="connsiteY858" fmla="*/ 268566 h 1906800"/>
                  <a:gd name="connsiteX859" fmla="*/ 1432342 w 1922991"/>
                  <a:gd name="connsiteY859" fmla="*/ 269264 h 1906800"/>
                  <a:gd name="connsiteX860" fmla="*/ 1441170 w 1922991"/>
                  <a:gd name="connsiteY860" fmla="*/ 274810 h 1906800"/>
                  <a:gd name="connsiteX861" fmla="*/ 1449998 w 1922991"/>
                  <a:gd name="connsiteY861" fmla="*/ 280355 h 1906800"/>
                  <a:gd name="connsiteX862" fmla="*/ 1451094 w 1922991"/>
                  <a:gd name="connsiteY862" fmla="*/ 281053 h 1906800"/>
                  <a:gd name="connsiteX863" fmla="*/ 1452429 w 1922991"/>
                  <a:gd name="connsiteY863" fmla="*/ 281532 h 1906800"/>
                  <a:gd name="connsiteX864" fmla="*/ 1455179 w 1922991"/>
                  <a:gd name="connsiteY864" fmla="*/ 282409 h 1906800"/>
                  <a:gd name="connsiteX865" fmla="*/ 1460659 w 1922991"/>
                  <a:gd name="connsiteY865" fmla="*/ 284145 h 1906800"/>
                  <a:gd name="connsiteX866" fmla="*/ 1471620 w 1922991"/>
                  <a:gd name="connsiteY866" fmla="*/ 287635 h 1906800"/>
                  <a:gd name="connsiteX867" fmla="*/ 1476821 w 1922991"/>
                  <a:gd name="connsiteY867" fmla="*/ 289311 h 1906800"/>
                  <a:gd name="connsiteX868" fmla="*/ 1479192 w 1922991"/>
                  <a:gd name="connsiteY868" fmla="*/ 290209 h 1906800"/>
                  <a:gd name="connsiteX869" fmla="*/ 1488558 w 1922991"/>
                  <a:gd name="connsiteY869" fmla="*/ 293819 h 1906800"/>
                  <a:gd name="connsiteX870" fmla="*/ 1497207 w 1922991"/>
                  <a:gd name="connsiteY870" fmla="*/ 297509 h 1906800"/>
                  <a:gd name="connsiteX871" fmla="*/ 1505716 w 1922991"/>
                  <a:gd name="connsiteY871" fmla="*/ 301538 h 1906800"/>
                  <a:gd name="connsiteX872" fmla="*/ 1514066 w 1922991"/>
                  <a:gd name="connsiteY872" fmla="*/ 305847 h 1906800"/>
                  <a:gd name="connsiteX873" fmla="*/ 1574468 w 1922991"/>
                  <a:gd name="connsiteY873" fmla="*/ 349750 h 1906800"/>
                  <a:gd name="connsiteX874" fmla="*/ 1605794 w 1922991"/>
                  <a:gd name="connsiteY874" fmla="*/ 386313 h 1906800"/>
                  <a:gd name="connsiteX875" fmla="*/ 1629469 w 1922991"/>
                  <a:gd name="connsiteY875" fmla="*/ 427763 h 1906800"/>
                  <a:gd name="connsiteX876" fmla="*/ 1644494 w 1922991"/>
                  <a:gd name="connsiteY876" fmla="*/ 472723 h 1906800"/>
                  <a:gd name="connsiteX877" fmla="*/ 1650174 w 1922991"/>
                  <a:gd name="connsiteY877" fmla="*/ 519758 h 1906800"/>
                  <a:gd name="connsiteX878" fmla="*/ 1650034 w 1922991"/>
                  <a:gd name="connsiteY878" fmla="*/ 536275 h 1906800"/>
                  <a:gd name="connsiteX879" fmla="*/ 1649795 w 1922991"/>
                  <a:gd name="connsiteY879" fmla="*/ 540384 h 1906800"/>
                  <a:gd name="connsiteX880" fmla="*/ 1649735 w 1922991"/>
                  <a:gd name="connsiteY880" fmla="*/ 541421 h 1906800"/>
                  <a:gd name="connsiteX881" fmla="*/ 1649576 w 1922991"/>
                  <a:gd name="connsiteY881" fmla="*/ 543396 h 1906800"/>
                  <a:gd name="connsiteX882" fmla="*/ 1649177 w 1922991"/>
                  <a:gd name="connsiteY882" fmla="*/ 548143 h 1906800"/>
                  <a:gd name="connsiteX883" fmla="*/ 1646228 w 1922991"/>
                  <a:gd name="connsiteY883" fmla="*/ 568848 h 1906800"/>
                  <a:gd name="connsiteX884" fmla="*/ 1646467 w 1922991"/>
                  <a:gd name="connsiteY884" fmla="*/ 592126 h 1906800"/>
                  <a:gd name="connsiteX885" fmla="*/ 1647005 w 1922991"/>
                  <a:gd name="connsiteY885" fmla="*/ 594759 h 1906800"/>
                  <a:gd name="connsiteX886" fmla="*/ 1647723 w 1922991"/>
                  <a:gd name="connsiteY886" fmla="*/ 597213 h 1906800"/>
                  <a:gd name="connsiteX887" fmla="*/ 1648440 w 1922991"/>
                  <a:gd name="connsiteY887" fmla="*/ 599666 h 1906800"/>
                  <a:gd name="connsiteX888" fmla="*/ 1649297 w 1922991"/>
                  <a:gd name="connsiteY888" fmla="*/ 601920 h 1906800"/>
                  <a:gd name="connsiteX889" fmla="*/ 1650194 w 1922991"/>
                  <a:gd name="connsiteY889" fmla="*/ 604154 h 1906800"/>
                  <a:gd name="connsiteX890" fmla="*/ 1651489 w 1922991"/>
                  <a:gd name="connsiteY890" fmla="*/ 606368 h 1906800"/>
                  <a:gd name="connsiteX891" fmla="*/ 1655235 w 1922991"/>
                  <a:gd name="connsiteY891" fmla="*/ 610358 h 1906800"/>
                  <a:gd name="connsiteX892" fmla="*/ 1670201 w 1922991"/>
                  <a:gd name="connsiteY892" fmla="*/ 626275 h 1906800"/>
                  <a:gd name="connsiteX893" fmla="*/ 1673948 w 1922991"/>
                  <a:gd name="connsiteY893" fmla="*/ 630265 h 1906800"/>
                  <a:gd name="connsiteX894" fmla="*/ 1675821 w 1922991"/>
                  <a:gd name="connsiteY894" fmla="*/ 632259 h 1906800"/>
                  <a:gd name="connsiteX895" fmla="*/ 1677973 w 1922991"/>
                  <a:gd name="connsiteY895" fmla="*/ 634134 h 1906800"/>
                  <a:gd name="connsiteX896" fmla="*/ 1688575 w 1922991"/>
                  <a:gd name="connsiteY896" fmla="*/ 640737 h 1906800"/>
                  <a:gd name="connsiteX897" fmla="*/ 1693517 w 1922991"/>
                  <a:gd name="connsiteY897" fmla="*/ 644128 h 1906800"/>
                  <a:gd name="connsiteX898" fmla="*/ 1698280 w 1922991"/>
                  <a:gd name="connsiteY898" fmla="*/ 647559 h 1906800"/>
                  <a:gd name="connsiteX899" fmla="*/ 1702983 w 1922991"/>
                  <a:gd name="connsiteY899" fmla="*/ 650910 h 1906800"/>
                  <a:gd name="connsiteX900" fmla="*/ 1706968 w 1922991"/>
                  <a:gd name="connsiteY900" fmla="*/ 654002 h 1906800"/>
                  <a:gd name="connsiteX901" fmla="*/ 1710874 w 1922991"/>
                  <a:gd name="connsiteY901" fmla="*/ 657213 h 1906800"/>
                  <a:gd name="connsiteX902" fmla="*/ 1718686 w 1922991"/>
                  <a:gd name="connsiteY902" fmla="*/ 663616 h 1906800"/>
                  <a:gd name="connsiteX903" fmla="*/ 1726079 w 1922991"/>
                  <a:gd name="connsiteY903" fmla="*/ 670498 h 1906800"/>
                  <a:gd name="connsiteX904" fmla="*/ 1740288 w 1922991"/>
                  <a:gd name="connsiteY904" fmla="*/ 684820 h 1906800"/>
                  <a:gd name="connsiteX905" fmla="*/ 1746943 w 1922991"/>
                  <a:gd name="connsiteY905" fmla="*/ 692380 h 1906800"/>
                  <a:gd name="connsiteX906" fmla="*/ 1753420 w 1922991"/>
                  <a:gd name="connsiteY906" fmla="*/ 700079 h 1906800"/>
                  <a:gd name="connsiteX907" fmla="*/ 1759418 w 1922991"/>
                  <a:gd name="connsiteY907" fmla="*/ 708158 h 1906800"/>
                  <a:gd name="connsiteX908" fmla="*/ 1762408 w 1922991"/>
                  <a:gd name="connsiteY908" fmla="*/ 712207 h 1906800"/>
                  <a:gd name="connsiteX909" fmla="*/ 1765297 w 1922991"/>
                  <a:gd name="connsiteY909" fmla="*/ 716316 h 1906800"/>
                  <a:gd name="connsiteX910" fmla="*/ 1770698 w 1922991"/>
                  <a:gd name="connsiteY910" fmla="*/ 724773 h 1906800"/>
                  <a:gd name="connsiteX911" fmla="*/ 1773428 w 1922991"/>
                  <a:gd name="connsiteY911" fmla="*/ 728982 h 1906800"/>
                  <a:gd name="connsiteX912" fmla="*/ 1775879 w 1922991"/>
                  <a:gd name="connsiteY912" fmla="*/ 733371 h 1906800"/>
                  <a:gd name="connsiteX913" fmla="*/ 1781758 w 1922991"/>
                  <a:gd name="connsiteY913" fmla="*/ 743982 h 1906800"/>
                  <a:gd name="connsiteX914" fmla="*/ 1786939 w 1922991"/>
                  <a:gd name="connsiteY914" fmla="*/ 754933 h 1906800"/>
                  <a:gd name="connsiteX915" fmla="*/ 1789549 w 1922991"/>
                  <a:gd name="connsiteY915" fmla="*/ 760399 h 1906800"/>
                  <a:gd name="connsiteX916" fmla="*/ 1791722 w 1922991"/>
                  <a:gd name="connsiteY916" fmla="*/ 766044 h 1906800"/>
                  <a:gd name="connsiteX917" fmla="*/ 1796106 w 1922991"/>
                  <a:gd name="connsiteY917" fmla="*/ 777314 h 1906800"/>
                  <a:gd name="connsiteX918" fmla="*/ 1799733 w 1922991"/>
                  <a:gd name="connsiteY918" fmla="*/ 788843 h 1906800"/>
                  <a:gd name="connsiteX919" fmla="*/ 1801486 w 1922991"/>
                  <a:gd name="connsiteY919" fmla="*/ 794628 h 1906800"/>
                  <a:gd name="connsiteX920" fmla="*/ 1802901 w 1922991"/>
                  <a:gd name="connsiteY920" fmla="*/ 800512 h 1906800"/>
                  <a:gd name="connsiteX921" fmla="*/ 1804336 w 1922991"/>
                  <a:gd name="connsiteY921" fmla="*/ 806377 h 1906800"/>
                  <a:gd name="connsiteX922" fmla="*/ 1805651 w 1922991"/>
                  <a:gd name="connsiteY922" fmla="*/ 812261 h 1906800"/>
                  <a:gd name="connsiteX923" fmla="*/ 1807704 w 1922991"/>
                  <a:gd name="connsiteY923" fmla="*/ 824169 h 1906800"/>
                  <a:gd name="connsiteX924" fmla="*/ 1809198 w 1922991"/>
                  <a:gd name="connsiteY924" fmla="*/ 836177 h 1906800"/>
                  <a:gd name="connsiteX925" fmla="*/ 1809836 w 1922991"/>
                  <a:gd name="connsiteY925" fmla="*/ 842201 h 1906800"/>
                  <a:gd name="connsiteX926" fmla="*/ 1810314 w 1922991"/>
                  <a:gd name="connsiteY926" fmla="*/ 848245 h 1906800"/>
                  <a:gd name="connsiteX927" fmla="*/ 1810733 w 1922991"/>
                  <a:gd name="connsiteY927" fmla="*/ 872501 h 1906800"/>
                  <a:gd name="connsiteX928" fmla="*/ 1804814 w 1922991"/>
                  <a:gd name="connsiteY928" fmla="*/ 920473 h 1906800"/>
                  <a:gd name="connsiteX929" fmla="*/ 1803519 w 1922991"/>
                  <a:gd name="connsiteY929" fmla="*/ 926098 h 1906800"/>
                  <a:gd name="connsiteX930" fmla="*/ 1802104 w 1922991"/>
                  <a:gd name="connsiteY930" fmla="*/ 931684 h 1906800"/>
                  <a:gd name="connsiteX931" fmla="*/ 1801725 w 1922991"/>
                  <a:gd name="connsiteY931" fmla="*/ 933080 h 1906800"/>
                  <a:gd name="connsiteX932" fmla="*/ 1801367 w 1922991"/>
                  <a:gd name="connsiteY932" fmla="*/ 934476 h 1906800"/>
                  <a:gd name="connsiteX933" fmla="*/ 1800849 w 1922991"/>
                  <a:gd name="connsiteY933" fmla="*/ 936231 h 1906800"/>
                  <a:gd name="connsiteX934" fmla="*/ 1798716 w 1922991"/>
                  <a:gd name="connsiteY934" fmla="*/ 943033 h 1906800"/>
                  <a:gd name="connsiteX935" fmla="*/ 1796564 w 1922991"/>
                  <a:gd name="connsiteY935" fmla="*/ 949835 h 1906800"/>
                  <a:gd name="connsiteX936" fmla="*/ 1794153 w 1922991"/>
                  <a:gd name="connsiteY936" fmla="*/ 956617 h 1906800"/>
                  <a:gd name="connsiteX937" fmla="*/ 1792240 w 1922991"/>
                  <a:gd name="connsiteY937" fmla="*/ 962901 h 1906800"/>
                  <a:gd name="connsiteX938" fmla="*/ 1791682 w 1922991"/>
                  <a:gd name="connsiteY938" fmla="*/ 965972 h 1906800"/>
                  <a:gd name="connsiteX939" fmla="*/ 1791303 w 1922991"/>
                  <a:gd name="connsiteY939" fmla="*/ 969024 h 1906800"/>
                  <a:gd name="connsiteX940" fmla="*/ 1790626 w 1922991"/>
                  <a:gd name="connsiteY940" fmla="*/ 980853 h 1906800"/>
                  <a:gd name="connsiteX941" fmla="*/ 1791104 w 1922991"/>
                  <a:gd name="connsiteY941" fmla="*/ 986378 h 1906800"/>
                  <a:gd name="connsiteX942" fmla="*/ 1791343 w 1922991"/>
                  <a:gd name="connsiteY942" fmla="*/ 989151 h 1906800"/>
                  <a:gd name="connsiteX943" fmla="*/ 1791482 w 1922991"/>
                  <a:gd name="connsiteY943" fmla="*/ 989869 h 1906800"/>
                  <a:gd name="connsiteX944" fmla="*/ 1791781 w 1922991"/>
                  <a:gd name="connsiteY944" fmla="*/ 990527 h 1906800"/>
                  <a:gd name="connsiteX945" fmla="*/ 1792399 w 1922991"/>
                  <a:gd name="connsiteY945" fmla="*/ 991864 h 1906800"/>
                  <a:gd name="connsiteX946" fmla="*/ 1797361 w 1922991"/>
                  <a:gd name="connsiteY946" fmla="*/ 1002515 h 1906800"/>
                  <a:gd name="connsiteX947" fmla="*/ 1802323 w 1922991"/>
                  <a:gd name="connsiteY947" fmla="*/ 1013167 h 1906800"/>
                  <a:gd name="connsiteX948" fmla="*/ 1803579 w 1922991"/>
                  <a:gd name="connsiteY948" fmla="*/ 1015820 h 1906800"/>
                  <a:gd name="connsiteX949" fmla="*/ 1805591 w 1922991"/>
                  <a:gd name="connsiteY949" fmla="*/ 1018233 h 1906800"/>
                  <a:gd name="connsiteX950" fmla="*/ 1809617 w 1922991"/>
                  <a:gd name="connsiteY950" fmla="*/ 1023041 h 1906800"/>
                  <a:gd name="connsiteX951" fmla="*/ 1817668 w 1922991"/>
                  <a:gd name="connsiteY951" fmla="*/ 1032655 h 1906800"/>
                  <a:gd name="connsiteX952" fmla="*/ 1824124 w 1922991"/>
                  <a:gd name="connsiteY952" fmla="*/ 1040554 h 1906800"/>
                  <a:gd name="connsiteX953" fmla="*/ 1847619 w 1922991"/>
                  <a:gd name="connsiteY953" fmla="*/ 1077097 h 1906800"/>
                  <a:gd name="connsiteX954" fmla="*/ 1876953 w 1922991"/>
                  <a:gd name="connsiteY954" fmla="*/ 1158042 h 1906800"/>
                  <a:gd name="connsiteX955" fmla="*/ 1882055 w 1922991"/>
                  <a:gd name="connsiteY955" fmla="*/ 1206752 h 1906800"/>
                  <a:gd name="connsiteX956" fmla="*/ 1878906 w 1922991"/>
                  <a:gd name="connsiteY956" fmla="*/ 1255662 h 1906800"/>
                  <a:gd name="connsiteX957" fmla="*/ 1867188 w 1922991"/>
                  <a:gd name="connsiteY957" fmla="*/ 1303176 h 1906800"/>
                  <a:gd name="connsiteX958" fmla="*/ 1858340 w 1922991"/>
                  <a:gd name="connsiteY958" fmla="*/ 1326055 h 1906800"/>
                  <a:gd name="connsiteX959" fmla="*/ 1853139 w 1922991"/>
                  <a:gd name="connsiteY959" fmla="*/ 1337186 h 1906800"/>
                  <a:gd name="connsiteX960" fmla="*/ 1847460 w 1922991"/>
                  <a:gd name="connsiteY960" fmla="*/ 1348097 h 1906800"/>
                  <a:gd name="connsiteX961" fmla="*/ 1820298 w 1922991"/>
                  <a:gd name="connsiteY961" fmla="*/ 1389287 h 1906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</a:cxnLst>
                <a:rect l="l" t="t" r="r" b="b"/>
                <a:pathLst>
                  <a:path w="1922991" h="1906800">
                    <a:moveTo>
                      <a:pt x="1916829" y="1150163"/>
                    </a:moveTo>
                    <a:cubicBezTo>
                      <a:pt x="1910293" y="1117928"/>
                      <a:pt x="1899253" y="1086512"/>
                      <a:pt x="1883330" y="1057629"/>
                    </a:cubicBezTo>
                    <a:cubicBezTo>
                      <a:pt x="1875419" y="1043187"/>
                      <a:pt x="1866611" y="1029184"/>
                      <a:pt x="1856607" y="1016039"/>
                    </a:cubicBezTo>
                    <a:cubicBezTo>
                      <a:pt x="1855650" y="1014603"/>
                      <a:pt x="1853518" y="1012110"/>
                      <a:pt x="1851804" y="1009975"/>
                    </a:cubicBezTo>
                    <a:lnTo>
                      <a:pt x="1846424" y="1003393"/>
                    </a:lnTo>
                    <a:lnTo>
                      <a:pt x="1843733" y="1000102"/>
                    </a:lnTo>
                    <a:lnTo>
                      <a:pt x="1842398" y="998446"/>
                    </a:lnTo>
                    <a:lnTo>
                      <a:pt x="1841262" y="996751"/>
                    </a:lnTo>
                    <a:lnTo>
                      <a:pt x="1836739" y="989949"/>
                    </a:lnTo>
                    <a:lnTo>
                      <a:pt x="1832215" y="983147"/>
                    </a:lnTo>
                    <a:lnTo>
                      <a:pt x="1831657" y="982289"/>
                    </a:lnTo>
                    <a:cubicBezTo>
                      <a:pt x="1831478" y="982010"/>
                      <a:pt x="1831219" y="981730"/>
                      <a:pt x="1831278" y="981371"/>
                    </a:cubicBezTo>
                    <a:lnTo>
                      <a:pt x="1831577" y="979437"/>
                    </a:lnTo>
                    <a:lnTo>
                      <a:pt x="1832175" y="975567"/>
                    </a:lnTo>
                    <a:cubicBezTo>
                      <a:pt x="1832474" y="973034"/>
                      <a:pt x="1833231" y="970241"/>
                      <a:pt x="1833849" y="967548"/>
                    </a:cubicBezTo>
                    <a:cubicBezTo>
                      <a:pt x="1834188" y="966192"/>
                      <a:pt x="1834427" y="964835"/>
                      <a:pt x="1834865" y="963459"/>
                    </a:cubicBezTo>
                    <a:lnTo>
                      <a:pt x="1836161" y="959310"/>
                    </a:lnTo>
                    <a:cubicBezTo>
                      <a:pt x="1837197" y="956318"/>
                      <a:pt x="1838134" y="953306"/>
                      <a:pt x="1839030" y="950294"/>
                    </a:cubicBezTo>
                    <a:lnTo>
                      <a:pt x="1840385" y="945766"/>
                    </a:lnTo>
                    <a:lnTo>
                      <a:pt x="1841402" y="941976"/>
                    </a:lnTo>
                    <a:cubicBezTo>
                      <a:pt x="1842000" y="939842"/>
                      <a:pt x="1842538" y="937668"/>
                      <a:pt x="1843036" y="935513"/>
                    </a:cubicBezTo>
                    <a:cubicBezTo>
                      <a:pt x="1843574" y="933359"/>
                      <a:pt x="1844072" y="931185"/>
                      <a:pt x="1844530" y="929011"/>
                    </a:cubicBezTo>
                    <a:cubicBezTo>
                      <a:pt x="1848496" y="910819"/>
                      <a:pt x="1850788" y="892268"/>
                      <a:pt x="1851366" y="873618"/>
                    </a:cubicBezTo>
                    <a:cubicBezTo>
                      <a:pt x="1851784" y="864303"/>
                      <a:pt x="1851127" y="854987"/>
                      <a:pt x="1850887" y="845672"/>
                    </a:cubicBezTo>
                    <a:cubicBezTo>
                      <a:pt x="1850887" y="843338"/>
                      <a:pt x="1850588" y="841024"/>
                      <a:pt x="1850349" y="838711"/>
                    </a:cubicBezTo>
                    <a:lnTo>
                      <a:pt x="1849632" y="831769"/>
                    </a:lnTo>
                    <a:cubicBezTo>
                      <a:pt x="1849114" y="827141"/>
                      <a:pt x="1848855" y="822474"/>
                      <a:pt x="1847898" y="817906"/>
                    </a:cubicBezTo>
                    <a:lnTo>
                      <a:pt x="1845527" y="804143"/>
                    </a:lnTo>
                    <a:cubicBezTo>
                      <a:pt x="1845208" y="801829"/>
                      <a:pt x="1844530" y="799595"/>
                      <a:pt x="1844012" y="797321"/>
                    </a:cubicBezTo>
                    <a:lnTo>
                      <a:pt x="1842358" y="790539"/>
                    </a:lnTo>
                    <a:lnTo>
                      <a:pt x="1840704" y="783757"/>
                    </a:lnTo>
                    <a:cubicBezTo>
                      <a:pt x="1840206" y="781483"/>
                      <a:pt x="1839349" y="779309"/>
                      <a:pt x="1838692" y="777074"/>
                    </a:cubicBezTo>
                    <a:lnTo>
                      <a:pt x="1834487" y="763750"/>
                    </a:lnTo>
                    <a:cubicBezTo>
                      <a:pt x="1832893" y="759382"/>
                      <a:pt x="1831099" y="755073"/>
                      <a:pt x="1829445" y="750725"/>
                    </a:cubicBezTo>
                    <a:lnTo>
                      <a:pt x="1826914" y="744222"/>
                    </a:lnTo>
                    <a:lnTo>
                      <a:pt x="1823945" y="737899"/>
                    </a:lnTo>
                    <a:cubicBezTo>
                      <a:pt x="1821932" y="733690"/>
                      <a:pt x="1820039" y="729441"/>
                      <a:pt x="1817947" y="725272"/>
                    </a:cubicBezTo>
                    <a:lnTo>
                      <a:pt x="1811191" y="713045"/>
                    </a:lnTo>
                    <a:cubicBezTo>
                      <a:pt x="1810235" y="711369"/>
                      <a:pt x="1809378" y="709654"/>
                      <a:pt x="1808361" y="708018"/>
                    </a:cubicBezTo>
                    <a:lnTo>
                      <a:pt x="1805233" y="703151"/>
                    </a:lnTo>
                    <a:lnTo>
                      <a:pt x="1799015" y="693417"/>
                    </a:lnTo>
                    <a:cubicBezTo>
                      <a:pt x="1798019" y="691761"/>
                      <a:pt x="1796823" y="690245"/>
                      <a:pt x="1795687" y="688689"/>
                    </a:cubicBezTo>
                    <a:lnTo>
                      <a:pt x="1792260" y="684042"/>
                    </a:lnTo>
                    <a:cubicBezTo>
                      <a:pt x="1789948" y="680950"/>
                      <a:pt x="1787776" y="677778"/>
                      <a:pt x="1785365" y="674766"/>
                    </a:cubicBezTo>
                    <a:lnTo>
                      <a:pt x="1777931" y="665910"/>
                    </a:lnTo>
                    <a:cubicBezTo>
                      <a:pt x="1775460" y="662958"/>
                      <a:pt x="1773029" y="659946"/>
                      <a:pt x="1770299" y="657233"/>
                    </a:cubicBezTo>
                    <a:cubicBezTo>
                      <a:pt x="1764938" y="651688"/>
                      <a:pt x="1759837" y="645883"/>
                      <a:pt x="1754018" y="640817"/>
                    </a:cubicBezTo>
                    <a:lnTo>
                      <a:pt x="1745529" y="632958"/>
                    </a:lnTo>
                    <a:cubicBezTo>
                      <a:pt x="1742599" y="630444"/>
                      <a:pt x="1739570" y="628071"/>
                      <a:pt x="1736581" y="625617"/>
                    </a:cubicBezTo>
                    <a:lnTo>
                      <a:pt x="1732097" y="621947"/>
                    </a:lnTo>
                    <a:cubicBezTo>
                      <a:pt x="1730603" y="620730"/>
                      <a:pt x="1729128" y="619473"/>
                      <a:pt x="1727534" y="618396"/>
                    </a:cubicBezTo>
                    <a:lnTo>
                      <a:pt x="1722632" y="614906"/>
                    </a:lnTo>
                    <a:cubicBezTo>
                      <a:pt x="1720439" y="613370"/>
                      <a:pt x="1718367" y="611794"/>
                      <a:pt x="1716095" y="610278"/>
                    </a:cubicBezTo>
                    <a:lnTo>
                      <a:pt x="1709280" y="605710"/>
                    </a:lnTo>
                    <a:cubicBezTo>
                      <a:pt x="1707128" y="604154"/>
                      <a:pt x="1705274" y="602538"/>
                      <a:pt x="1703242" y="600943"/>
                    </a:cubicBezTo>
                    <a:lnTo>
                      <a:pt x="1691345" y="591368"/>
                    </a:lnTo>
                    <a:lnTo>
                      <a:pt x="1688376" y="588974"/>
                    </a:lnTo>
                    <a:cubicBezTo>
                      <a:pt x="1688136" y="588755"/>
                      <a:pt x="1687837" y="588615"/>
                      <a:pt x="1687698" y="588316"/>
                    </a:cubicBezTo>
                    <a:cubicBezTo>
                      <a:pt x="1687578" y="588017"/>
                      <a:pt x="1687638" y="587738"/>
                      <a:pt x="1687598" y="587439"/>
                    </a:cubicBezTo>
                    <a:lnTo>
                      <a:pt x="1687499" y="585683"/>
                    </a:lnTo>
                    <a:cubicBezTo>
                      <a:pt x="1687419" y="584546"/>
                      <a:pt x="1687379" y="583329"/>
                      <a:pt x="1687339" y="582113"/>
                    </a:cubicBezTo>
                    <a:cubicBezTo>
                      <a:pt x="1687279" y="580916"/>
                      <a:pt x="1687260" y="579679"/>
                      <a:pt x="1687260" y="578423"/>
                    </a:cubicBezTo>
                    <a:cubicBezTo>
                      <a:pt x="1687240" y="573416"/>
                      <a:pt x="1687499" y="568070"/>
                      <a:pt x="1688316" y="562624"/>
                    </a:cubicBezTo>
                    <a:cubicBezTo>
                      <a:pt x="1688993" y="558057"/>
                      <a:pt x="1689551" y="553489"/>
                      <a:pt x="1689970" y="548941"/>
                    </a:cubicBezTo>
                    <a:cubicBezTo>
                      <a:pt x="1690388" y="544054"/>
                      <a:pt x="1690528" y="541441"/>
                      <a:pt x="1690687" y="538130"/>
                    </a:cubicBezTo>
                    <a:cubicBezTo>
                      <a:pt x="1690986" y="531707"/>
                      <a:pt x="1691086" y="525264"/>
                      <a:pt x="1690866" y="518821"/>
                    </a:cubicBezTo>
                    <a:cubicBezTo>
                      <a:pt x="1690448" y="500290"/>
                      <a:pt x="1688276" y="481819"/>
                      <a:pt x="1684211" y="463747"/>
                    </a:cubicBezTo>
                    <a:cubicBezTo>
                      <a:pt x="1680085" y="445695"/>
                      <a:pt x="1674187" y="428042"/>
                      <a:pt x="1666634" y="411107"/>
                    </a:cubicBezTo>
                    <a:cubicBezTo>
                      <a:pt x="1659121" y="394152"/>
                      <a:pt x="1649815" y="377995"/>
                      <a:pt x="1639074" y="362836"/>
                    </a:cubicBezTo>
                    <a:cubicBezTo>
                      <a:pt x="1628333" y="347676"/>
                      <a:pt x="1616237" y="333434"/>
                      <a:pt x="1602825" y="320528"/>
                    </a:cubicBezTo>
                    <a:cubicBezTo>
                      <a:pt x="1582220" y="300541"/>
                      <a:pt x="1558665" y="283606"/>
                      <a:pt x="1533356" y="270002"/>
                    </a:cubicBezTo>
                    <a:cubicBezTo>
                      <a:pt x="1530148" y="268367"/>
                      <a:pt x="1527019" y="266611"/>
                      <a:pt x="1523771" y="265075"/>
                    </a:cubicBezTo>
                    <a:lnTo>
                      <a:pt x="1514026" y="260468"/>
                    </a:lnTo>
                    <a:lnTo>
                      <a:pt x="1504102" y="256219"/>
                    </a:lnTo>
                    <a:cubicBezTo>
                      <a:pt x="1500754" y="254823"/>
                      <a:pt x="1497267" y="253586"/>
                      <a:pt x="1493859" y="252249"/>
                    </a:cubicBezTo>
                    <a:lnTo>
                      <a:pt x="1491289" y="251272"/>
                    </a:lnTo>
                    <a:lnTo>
                      <a:pt x="1487761" y="250095"/>
                    </a:lnTo>
                    <a:lnTo>
                      <a:pt x="1480527" y="247722"/>
                    </a:lnTo>
                    <a:cubicBezTo>
                      <a:pt x="1478156" y="246904"/>
                      <a:pt x="1475605" y="246206"/>
                      <a:pt x="1473393" y="245268"/>
                    </a:cubicBezTo>
                    <a:lnTo>
                      <a:pt x="1466817" y="242356"/>
                    </a:lnTo>
                    <a:lnTo>
                      <a:pt x="1460241" y="239444"/>
                    </a:lnTo>
                    <a:lnTo>
                      <a:pt x="1459424" y="239085"/>
                    </a:lnTo>
                    <a:cubicBezTo>
                      <a:pt x="1459165" y="238965"/>
                      <a:pt x="1458846" y="238865"/>
                      <a:pt x="1458687" y="238586"/>
                    </a:cubicBezTo>
                    <a:lnTo>
                      <a:pt x="1457909" y="236950"/>
                    </a:lnTo>
                    <a:lnTo>
                      <a:pt x="1456355" y="233699"/>
                    </a:lnTo>
                    <a:lnTo>
                      <a:pt x="1453246" y="227176"/>
                    </a:lnTo>
                    <a:cubicBezTo>
                      <a:pt x="1452250" y="224962"/>
                      <a:pt x="1451074" y="222967"/>
                      <a:pt x="1450277" y="220474"/>
                    </a:cubicBezTo>
                    <a:lnTo>
                      <a:pt x="1447188" y="211997"/>
                    </a:lnTo>
                    <a:lnTo>
                      <a:pt x="1445654" y="207748"/>
                    </a:lnTo>
                    <a:lnTo>
                      <a:pt x="1444877" y="205633"/>
                    </a:lnTo>
                    <a:cubicBezTo>
                      <a:pt x="1444617" y="204895"/>
                      <a:pt x="1444458" y="204556"/>
                      <a:pt x="1444239" y="203998"/>
                    </a:cubicBezTo>
                    <a:cubicBezTo>
                      <a:pt x="1442585" y="199968"/>
                      <a:pt x="1440991" y="195919"/>
                      <a:pt x="1439277" y="191910"/>
                    </a:cubicBezTo>
                    <a:cubicBezTo>
                      <a:pt x="1437503" y="187940"/>
                      <a:pt x="1435789" y="183931"/>
                      <a:pt x="1433956" y="179982"/>
                    </a:cubicBezTo>
                    <a:cubicBezTo>
                      <a:pt x="1432063" y="176072"/>
                      <a:pt x="1430229" y="172122"/>
                      <a:pt x="1428277" y="168253"/>
                    </a:cubicBezTo>
                    <a:cubicBezTo>
                      <a:pt x="1419747" y="151358"/>
                      <a:pt x="1410062" y="135101"/>
                      <a:pt x="1399262" y="119702"/>
                    </a:cubicBezTo>
                    <a:cubicBezTo>
                      <a:pt x="1388461" y="104303"/>
                      <a:pt x="1376524" y="89761"/>
                      <a:pt x="1363371" y="76537"/>
                    </a:cubicBezTo>
                    <a:cubicBezTo>
                      <a:pt x="1337206" y="49987"/>
                      <a:pt x="1306318" y="28345"/>
                      <a:pt x="1272261" y="15080"/>
                    </a:cubicBezTo>
                    <a:lnTo>
                      <a:pt x="1265864" y="12626"/>
                    </a:lnTo>
                    <a:lnTo>
                      <a:pt x="1259368" y="10492"/>
                    </a:lnTo>
                    <a:lnTo>
                      <a:pt x="1256119" y="9415"/>
                    </a:lnTo>
                    <a:lnTo>
                      <a:pt x="1252831" y="8497"/>
                    </a:lnTo>
                    <a:lnTo>
                      <a:pt x="1246255" y="6662"/>
                    </a:lnTo>
                    <a:cubicBezTo>
                      <a:pt x="1237427" y="4568"/>
                      <a:pt x="1228519" y="2653"/>
                      <a:pt x="1219512" y="1656"/>
                    </a:cubicBezTo>
                    <a:cubicBezTo>
                      <a:pt x="1210504" y="439"/>
                      <a:pt x="1201457" y="80"/>
                      <a:pt x="1192330" y="0"/>
                    </a:cubicBezTo>
                    <a:lnTo>
                      <a:pt x="1178301" y="339"/>
                    </a:lnTo>
                    <a:cubicBezTo>
                      <a:pt x="1173638" y="559"/>
                      <a:pt x="1169015" y="1017"/>
                      <a:pt x="1164352" y="1317"/>
                    </a:cubicBezTo>
                    <a:cubicBezTo>
                      <a:pt x="1127345" y="4727"/>
                      <a:pt x="1091296" y="15020"/>
                      <a:pt x="1059810" y="33531"/>
                    </a:cubicBezTo>
                    <a:cubicBezTo>
                      <a:pt x="1057060" y="35147"/>
                      <a:pt x="1054429" y="36942"/>
                      <a:pt x="1051719" y="38637"/>
                    </a:cubicBezTo>
                    <a:cubicBezTo>
                      <a:pt x="1049069" y="40393"/>
                      <a:pt x="1046259" y="41948"/>
                      <a:pt x="1043768" y="43943"/>
                    </a:cubicBezTo>
                    <a:cubicBezTo>
                      <a:pt x="1038686" y="47793"/>
                      <a:pt x="1033385" y="51363"/>
                      <a:pt x="1028662" y="55692"/>
                    </a:cubicBezTo>
                    <a:lnTo>
                      <a:pt x="1021369" y="61915"/>
                    </a:lnTo>
                    <a:lnTo>
                      <a:pt x="1013517" y="69595"/>
                    </a:lnTo>
                    <a:cubicBezTo>
                      <a:pt x="1006921" y="75898"/>
                      <a:pt x="1001202" y="83717"/>
                      <a:pt x="995184" y="90998"/>
                    </a:cubicBezTo>
                    <a:lnTo>
                      <a:pt x="992952" y="93771"/>
                    </a:lnTo>
                    <a:lnTo>
                      <a:pt x="991836" y="95147"/>
                    </a:lnTo>
                    <a:cubicBezTo>
                      <a:pt x="991457" y="95586"/>
                      <a:pt x="991098" y="95925"/>
                      <a:pt x="990720" y="96324"/>
                    </a:cubicBezTo>
                    <a:lnTo>
                      <a:pt x="986256" y="100812"/>
                    </a:lnTo>
                    <a:cubicBezTo>
                      <a:pt x="983267" y="103784"/>
                      <a:pt x="980278" y="106716"/>
                      <a:pt x="977268" y="109589"/>
                    </a:cubicBezTo>
                    <a:cubicBezTo>
                      <a:pt x="975674" y="111184"/>
                      <a:pt x="974518" y="112062"/>
                      <a:pt x="973223" y="113179"/>
                    </a:cubicBezTo>
                    <a:lnTo>
                      <a:pt x="969397" y="116411"/>
                    </a:lnTo>
                    <a:lnTo>
                      <a:pt x="961745" y="122873"/>
                    </a:lnTo>
                    <a:cubicBezTo>
                      <a:pt x="961585" y="122993"/>
                      <a:pt x="961226" y="123013"/>
                      <a:pt x="961047" y="122893"/>
                    </a:cubicBezTo>
                    <a:cubicBezTo>
                      <a:pt x="960888" y="122774"/>
                      <a:pt x="960728" y="122634"/>
                      <a:pt x="960569" y="122494"/>
                    </a:cubicBezTo>
                    <a:lnTo>
                      <a:pt x="959612" y="121677"/>
                    </a:lnTo>
                    <a:lnTo>
                      <a:pt x="957699" y="120061"/>
                    </a:lnTo>
                    <a:lnTo>
                      <a:pt x="953873" y="116829"/>
                    </a:lnTo>
                    <a:lnTo>
                      <a:pt x="950047" y="113598"/>
                    </a:lnTo>
                    <a:lnTo>
                      <a:pt x="948134" y="111982"/>
                    </a:lnTo>
                    <a:lnTo>
                      <a:pt x="947177" y="111165"/>
                    </a:lnTo>
                    <a:cubicBezTo>
                      <a:pt x="946878" y="110905"/>
                      <a:pt x="946440" y="110486"/>
                      <a:pt x="946081" y="110147"/>
                    </a:cubicBezTo>
                    <a:cubicBezTo>
                      <a:pt x="943072" y="107275"/>
                      <a:pt x="940083" y="104363"/>
                      <a:pt x="937094" y="101390"/>
                    </a:cubicBezTo>
                    <a:cubicBezTo>
                      <a:pt x="934105" y="98339"/>
                      <a:pt x="931175" y="95745"/>
                      <a:pt x="928126" y="91676"/>
                    </a:cubicBezTo>
                    <a:lnTo>
                      <a:pt x="920454" y="82202"/>
                    </a:lnTo>
                    <a:cubicBezTo>
                      <a:pt x="917883" y="79050"/>
                      <a:pt x="915392" y="75799"/>
                      <a:pt x="912563" y="73046"/>
                    </a:cubicBezTo>
                    <a:cubicBezTo>
                      <a:pt x="911188" y="71630"/>
                      <a:pt x="909812" y="70134"/>
                      <a:pt x="908438" y="68837"/>
                    </a:cubicBezTo>
                    <a:lnTo>
                      <a:pt x="904731" y="65207"/>
                    </a:lnTo>
                    <a:lnTo>
                      <a:pt x="901782" y="62314"/>
                    </a:lnTo>
                    <a:cubicBezTo>
                      <a:pt x="900805" y="61337"/>
                      <a:pt x="899709" y="60519"/>
                      <a:pt x="898673" y="59602"/>
                    </a:cubicBezTo>
                    <a:cubicBezTo>
                      <a:pt x="890423" y="52361"/>
                      <a:pt x="881754" y="45579"/>
                      <a:pt x="872567" y="39615"/>
                    </a:cubicBezTo>
                    <a:cubicBezTo>
                      <a:pt x="857342" y="29601"/>
                      <a:pt x="840962" y="21323"/>
                      <a:pt x="823664" y="15279"/>
                    </a:cubicBezTo>
                    <a:cubicBezTo>
                      <a:pt x="806387" y="9176"/>
                      <a:pt x="788332" y="5027"/>
                      <a:pt x="769939" y="2633"/>
                    </a:cubicBezTo>
                    <a:lnTo>
                      <a:pt x="763044" y="1735"/>
                    </a:lnTo>
                    <a:cubicBezTo>
                      <a:pt x="760752" y="1416"/>
                      <a:pt x="758400" y="1356"/>
                      <a:pt x="756089" y="1157"/>
                    </a:cubicBezTo>
                    <a:lnTo>
                      <a:pt x="749114" y="638"/>
                    </a:lnTo>
                    <a:lnTo>
                      <a:pt x="745627" y="379"/>
                    </a:lnTo>
                    <a:lnTo>
                      <a:pt x="742119" y="299"/>
                    </a:lnTo>
                    <a:cubicBezTo>
                      <a:pt x="737456" y="219"/>
                      <a:pt x="732733" y="0"/>
                      <a:pt x="728130" y="20"/>
                    </a:cubicBezTo>
                    <a:cubicBezTo>
                      <a:pt x="723606" y="180"/>
                      <a:pt x="719043" y="120"/>
                      <a:pt x="714539" y="578"/>
                    </a:cubicBezTo>
                    <a:lnTo>
                      <a:pt x="707764" y="1097"/>
                    </a:lnTo>
                    <a:lnTo>
                      <a:pt x="701008" y="1955"/>
                    </a:lnTo>
                    <a:lnTo>
                      <a:pt x="697640" y="2374"/>
                    </a:lnTo>
                    <a:lnTo>
                      <a:pt x="694292" y="2972"/>
                    </a:lnTo>
                    <a:lnTo>
                      <a:pt x="687597" y="4149"/>
                    </a:lnTo>
                    <a:cubicBezTo>
                      <a:pt x="678729" y="6104"/>
                      <a:pt x="669881" y="8218"/>
                      <a:pt x="661272" y="11230"/>
                    </a:cubicBezTo>
                    <a:cubicBezTo>
                      <a:pt x="643954" y="16915"/>
                      <a:pt x="627374" y="24954"/>
                      <a:pt x="611711" y="34608"/>
                    </a:cubicBezTo>
                    <a:cubicBezTo>
                      <a:pt x="595988" y="44203"/>
                      <a:pt x="581401" y="55772"/>
                      <a:pt x="567790" y="68458"/>
                    </a:cubicBezTo>
                    <a:cubicBezTo>
                      <a:pt x="554179" y="81144"/>
                      <a:pt x="541744" y="95247"/>
                      <a:pt x="530465" y="110247"/>
                    </a:cubicBezTo>
                    <a:cubicBezTo>
                      <a:pt x="519166" y="125247"/>
                      <a:pt x="509003" y="141205"/>
                      <a:pt x="499995" y="157821"/>
                    </a:cubicBezTo>
                    <a:cubicBezTo>
                      <a:pt x="492522" y="171704"/>
                      <a:pt x="485827" y="186045"/>
                      <a:pt x="479928" y="200746"/>
                    </a:cubicBezTo>
                    <a:lnTo>
                      <a:pt x="478812" y="203499"/>
                    </a:lnTo>
                    <a:cubicBezTo>
                      <a:pt x="478433" y="204437"/>
                      <a:pt x="478095" y="205195"/>
                      <a:pt x="477596" y="206631"/>
                    </a:cubicBezTo>
                    <a:lnTo>
                      <a:pt x="474787" y="214350"/>
                    </a:lnTo>
                    <a:lnTo>
                      <a:pt x="471977" y="222070"/>
                    </a:lnTo>
                    <a:cubicBezTo>
                      <a:pt x="470940" y="224523"/>
                      <a:pt x="469745" y="226797"/>
                      <a:pt x="468649" y="229171"/>
                    </a:cubicBezTo>
                    <a:lnTo>
                      <a:pt x="465281" y="236232"/>
                    </a:lnTo>
                    <a:lnTo>
                      <a:pt x="464444" y="237987"/>
                    </a:lnTo>
                    <a:cubicBezTo>
                      <a:pt x="464285" y="238267"/>
                      <a:pt x="464205" y="238606"/>
                      <a:pt x="463966" y="238845"/>
                    </a:cubicBezTo>
                    <a:cubicBezTo>
                      <a:pt x="463727" y="239065"/>
                      <a:pt x="463388" y="239124"/>
                      <a:pt x="463109" y="239284"/>
                    </a:cubicBezTo>
                    <a:lnTo>
                      <a:pt x="459542" y="240860"/>
                    </a:lnTo>
                    <a:lnTo>
                      <a:pt x="452427" y="244011"/>
                    </a:lnTo>
                    <a:lnTo>
                      <a:pt x="448860" y="245587"/>
                    </a:lnTo>
                    <a:cubicBezTo>
                      <a:pt x="447625" y="246086"/>
                      <a:pt x="446270" y="246465"/>
                      <a:pt x="444994" y="246924"/>
                    </a:cubicBezTo>
                    <a:lnTo>
                      <a:pt x="434054" y="250514"/>
                    </a:lnTo>
                    <a:lnTo>
                      <a:pt x="432679" y="250953"/>
                    </a:lnTo>
                    <a:cubicBezTo>
                      <a:pt x="432240" y="251093"/>
                      <a:pt x="431702" y="251272"/>
                      <a:pt x="431443" y="251372"/>
                    </a:cubicBezTo>
                    <a:lnTo>
                      <a:pt x="429490" y="252110"/>
                    </a:lnTo>
                    <a:lnTo>
                      <a:pt x="425605" y="253586"/>
                    </a:lnTo>
                    <a:cubicBezTo>
                      <a:pt x="420324" y="255501"/>
                      <a:pt x="415401" y="257695"/>
                      <a:pt x="410380" y="259829"/>
                    </a:cubicBezTo>
                    <a:cubicBezTo>
                      <a:pt x="400475" y="264297"/>
                      <a:pt x="390691" y="269105"/>
                      <a:pt x="381285" y="274590"/>
                    </a:cubicBezTo>
                    <a:cubicBezTo>
                      <a:pt x="362353" y="285322"/>
                      <a:pt x="344717" y="298227"/>
                      <a:pt x="328476" y="312649"/>
                    </a:cubicBezTo>
                    <a:cubicBezTo>
                      <a:pt x="314586" y="325056"/>
                      <a:pt x="301932" y="338819"/>
                      <a:pt x="290593" y="353540"/>
                    </a:cubicBezTo>
                    <a:cubicBezTo>
                      <a:pt x="279254" y="368281"/>
                      <a:pt x="269310" y="384059"/>
                      <a:pt x="261100" y="400695"/>
                    </a:cubicBezTo>
                    <a:cubicBezTo>
                      <a:pt x="252850" y="417311"/>
                      <a:pt x="246214" y="434705"/>
                      <a:pt x="241331" y="452557"/>
                    </a:cubicBezTo>
                    <a:cubicBezTo>
                      <a:pt x="236549" y="470449"/>
                      <a:pt x="233559" y="488821"/>
                      <a:pt x="232384" y="507292"/>
                    </a:cubicBezTo>
                    <a:lnTo>
                      <a:pt x="232025" y="512837"/>
                    </a:lnTo>
                    <a:lnTo>
                      <a:pt x="231905" y="518402"/>
                    </a:lnTo>
                    <a:cubicBezTo>
                      <a:pt x="231826" y="522112"/>
                      <a:pt x="231706" y="525822"/>
                      <a:pt x="231806" y="529532"/>
                    </a:cubicBezTo>
                    <a:cubicBezTo>
                      <a:pt x="231866" y="533243"/>
                      <a:pt x="231985" y="536953"/>
                      <a:pt x="232204" y="540643"/>
                    </a:cubicBezTo>
                    <a:lnTo>
                      <a:pt x="232384" y="543416"/>
                    </a:lnTo>
                    <a:lnTo>
                      <a:pt x="232643" y="546787"/>
                    </a:lnTo>
                    <a:cubicBezTo>
                      <a:pt x="232822" y="549260"/>
                      <a:pt x="233101" y="551953"/>
                      <a:pt x="233400" y="554566"/>
                    </a:cubicBezTo>
                    <a:cubicBezTo>
                      <a:pt x="233938" y="559792"/>
                      <a:pt x="234994" y="565138"/>
                      <a:pt x="235273" y="570264"/>
                    </a:cubicBezTo>
                    <a:cubicBezTo>
                      <a:pt x="235632" y="575391"/>
                      <a:pt x="235572" y="580298"/>
                      <a:pt x="235333" y="584885"/>
                    </a:cubicBezTo>
                    <a:lnTo>
                      <a:pt x="235114" y="588276"/>
                    </a:lnTo>
                    <a:cubicBezTo>
                      <a:pt x="235054" y="588615"/>
                      <a:pt x="234775" y="588755"/>
                      <a:pt x="234536" y="588955"/>
                    </a:cubicBezTo>
                    <a:lnTo>
                      <a:pt x="233818" y="589533"/>
                    </a:lnTo>
                    <a:lnTo>
                      <a:pt x="232384" y="590690"/>
                    </a:lnTo>
                    <a:lnTo>
                      <a:pt x="226664" y="595338"/>
                    </a:lnTo>
                    <a:lnTo>
                      <a:pt x="215246" y="604653"/>
                    </a:lnTo>
                    <a:cubicBezTo>
                      <a:pt x="211918" y="606787"/>
                      <a:pt x="208630" y="609041"/>
                      <a:pt x="205341" y="611255"/>
                    </a:cubicBezTo>
                    <a:lnTo>
                      <a:pt x="196892" y="617299"/>
                    </a:lnTo>
                    <a:lnTo>
                      <a:pt x="193464" y="619733"/>
                    </a:lnTo>
                    <a:lnTo>
                      <a:pt x="190216" y="622386"/>
                    </a:lnTo>
                    <a:lnTo>
                      <a:pt x="183700" y="627692"/>
                    </a:lnTo>
                    <a:cubicBezTo>
                      <a:pt x="181548" y="629487"/>
                      <a:pt x="179316" y="631182"/>
                      <a:pt x="177223" y="633037"/>
                    </a:cubicBezTo>
                    <a:lnTo>
                      <a:pt x="171066" y="638762"/>
                    </a:lnTo>
                    <a:cubicBezTo>
                      <a:pt x="166960" y="642572"/>
                      <a:pt x="162756" y="646282"/>
                      <a:pt x="159009" y="650451"/>
                    </a:cubicBezTo>
                    <a:lnTo>
                      <a:pt x="153210" y="656535"/>
                    </a:lnTo>
                    <a:cubicBezTo>
                      <a:pt x="151297" y="658569"/>
                      <a:pt x="149284" y="660544"/>
                      <a:pt x="147551" y="662738"/>
                    </a:cubicBezTo>
                    <a:lnTo>
                      <a:pt x="136770" y="675604"/>
                    </a:lnTo>
                    <a:lnTo>
                      <a:pt x="126826" y="689128"/>
                    </a:lnTo>
                    <a:cubicBezTo>
                      <a:pt x="126009" y="690265"/>
                      <a:pt x="125132" y="691342"/>
                      <a:pt x="124374" y="692539"/>
                    </a:cubicBezTo>
                    <a:lnTo>
                      <a:pt x="122123" y="696070"/>
                    </a:lnTo>
                    <a:lnTo>
                      <a:pt x="117599" y="703131"/>
                    </a:lnTo>
                    <a:cubicBezTo>
                      <a:pt x="116344" y="705106"/>
                      <a:pt x="115068" y="707041"/>
                      <a:pt x="113853" y="709035"/>
                    </a:cubicBezTo>
                    <a:lnTo>
                      <a:pt x="110485" y="715159"/>
                    </a:lnTo>
                    <a:cubicBezTo>
                      <a:pt x="108273" y="719268"/>
                      <a:pt x="105901" y="723277"/>
                      <a:pt x="103809" y="727426"/>
                    </a:cubicBezTo>
                    <a:cubicBezTo>
                      <a:pt x="99923" y="735904"/>
                      <a:pt x="95618" y="744182"/>
                      <a:pt x="92490" y="752959"/>
                    </a:cubicBezTo>
                    <a:lnTo>
                      <a:pt x="89939" y="759461"/>
                    </a:lnTo>
                    <a:lnTo>
                      <a:pt x="88664" y="762713"/>
                    </a:lnTo>
                    <a:cubicBezTo>
                      <a:pt x="88265" y="763810"/>
                      <a:pt x="87946" y="764927"/>
                      <a:pt x="87588" y="766044"/>
                    </a:cubicBezTo>
                    <a:lnTo>
                      <a:pt x="83383" y="779368"/>
                    </a:lnTo>
                    <a:cubicBezTo>
                      <a:pt x="83044" y="780485"/>
                      <a:pt x="82645" y="781583"/>
                      <a:pt x="82347" y="782700"/>
                    </a:cubicBezTo>
                    <a:lnTo>
                      <a:pt x="81529" y="786090"/>
                    </a:lnTo>
                    <a:lnTo>
                      <a:pt x="79875" y="792873"/>
                    </a:lnTo>
                    <a:cubicBezTo>
                      <a:pt x="78819" y="797400"/>
                      <a:pt x="77504" y="801889"/>
                      <a:pt x="76866" y="806496"/>
                    </a:cubicBezTo>
                    <a:lnTo>
                      <a:pt x="74475" y="820260"/>
                    </a:lnTo>
                    <a:cubicBezTo>
                      <a:pt x="73997" y="822534"/>
                      <a:pt x="73877" y="824867"/>
                      <a:pt x="73618" y="827181"/>
                    </a:cubicBezTo>
                    <a:lnTo>
                      <a:pt x="72901" y="834123"/>
                    </a:lnTo>
                    <a:cubicBezTo>
                      <a:pt x="71625" y="843358"/>
                      <a:pt x="71745" y="852713"/>
                      <a:pt x="71326" y="862029"/>
                    </a:cubicBezTo>
                    <a:cubicBezTo>
                      <a:pt x="71087" y="880679"/>
                      <a:pt x="72721" y="899310"/>
                      <a:pt x="75970" y="917641"/>
                    </a:cubicBezTo>
                    <a:cubicBezTo>
                      <a:pt x="77046" y="923585"/>
                      <a:pt x="78241" y="929489"/>
                      <a:pt x="79676" y="935354"/>
                    </a:cubicBezTo>
                    <a:cubicBezTo>
                      <a:pt x="80354" y="938286"/>
                      <a:pt x="81151" y="941198"/>
                      <a:pt x="81928" y="944111"/>
                    </a:cubicBezTo>
                    <a:cubicBezTo>
                      <a:pt x="82526" y="946384"/>
                      <a:pt x="83144" y="948259"/>
                      <a:pt x="83761" y="950354"/>
                    </a:cubicBezTo>
                    <a:cubicBezTo>
                      <a:pt x="84399" y="952388"/>
                      <a:pt x="84977" y="954443"/>
                      <a:pt x="85635" y="956478"/>
                    </a:cubicBezTo>
                    <a:lnTo>
                      <a:pt x="87607" y="962581"/>
                    </a:lnTo>
                    <a:lnTo>
                      <a:pt x="88106" y="964117"/>
                    </a:lnTo>
                    <a:lnTo>
                      <a:pt x="88464" y="965613"/>
                    </a:lnTo>
                    <a:lnTo>
                      <a:pt x="89162" y="968605"/>
                    </a:lnTo>
                    <a:lnTo>
                      <a:pt x="89859" y="971597"/>
                    </a:lnTo>
                    <a:lnTo>
                      <a:pt x="90198" y="973093"/>
                    </a:lnTo>
                    <a:lnTo>
                      <a:pt x="90417" y="974530"/>
                    </a:lnTo>
                    <a:lnTo>
                      <a:pt x="91294" y="980234"/>
                    </a:lnTo>
                    <a:cubicBezTo>
                      <a:pt x="91354" y="980713"/>
                      <a:pt x="91493" y="981172"/>
                      <a:pt x="91473" y="981671"/>
                    </a:cubicBezTo>
                    <a:cubicBezTo>
                      <a:pt x="91314" y="982149"/>
                      <a:pt x="90955" y="982528"/>
                      <a:pt x="90696" y="982947"/>
                    </a:cubicBezTo>
                    <a:lnTo>
                      <a:pt x="89042" y="985441"/>
                    </a:lnTo>
                    <a:lnTo>
                      <a:pt x="85714" y="990447"/>
                    </a:lnTo>
                    <a:lnTo>
                      <a:pt x="82386" y="995454"/>
                    </a:lnTo>
                    <a:lnTo>
                      <a:pt x="80732" y="997947"/>
                    </a:lnTo>
                    <a:cubicBezTo>
                      <a:pt x="80194" y="998785"/>
                      <a:pt x="79417" y="999603"/>
                      <a:pt x="78759" y="1000421"/>
                    </a:cubicBezTo>
                    <a:lnTo>
                      <a:pt x="70529" y="1010494"/>
                    </a:lnTo>
                    <a:lnTo>
                      <a:pt x="68477" y="1013007"/>
                    </a:lnTo>
                    <a:lnTo>
                      <a:pt x="67440" y="1014264"/>
                    </a:lnTo>
                    <a:lnTo>
                      <a:pt x="66703" y="1015261"/>
                    </a:lnTo>
                    <a:lnTo>
                      <a:pt x="63913" y="1019111"/>
                    </a:lnTo>
                    <a:lnTo>
                      <a:pt x="58333" y="1026791"/>
                    </a:lnTo>
                    <a:lnTo>
                      <a:pt x="53092" y="1034710"/>
                    </a:lnTo>
                    <a:lnTo>
                      <a:pt x="50462" y="1038659"/>
                    </a:lnTo>
                    <a:cubicBezTo>
                      <a:pt x="49625" y="1039996"/>
                      <a:pt x="48828" y="1041372"/>
                      <a:pt x="48011" y="1042728"/>
                    </a:cubicBezTo>
                    <a:lnTo>
                      <a:pt x="43128" y="1050867"/>
                    </a:lnTo>
                    <a:cubicBezTo>
                      <a:pt x="41534" y="1053599"/>
                      <a:pt x="40099" y="1056432"/>
                      <a:pt x="38585" y="1059185"/>
                    </a:cubicBezTo>
                    <a:cubicBezTo>
                      <a:pt x="37110" y="1061977"/>
                      <a:pt x="35496" y="1064710"/>
                      <a:pt x="34181" y="1067582"/>
                    </a:cubicBezTo>
                    <a:cubicBezTo>
                      <a:pt x="31451" y="1073287"/>
                      <a:pt x="28581" y="1078932"/>
                      <a:pt x="26230" y="1084797"/>
                    </a:cubicBezTo>
                    <a:cubicBezTo>
                      <a:pt x="25014" y="1087709"/>
                      <a:pt x="23679" y="1090581"/>
                      <a:pt x="22563" y="1093533"/>
                    </a:cubicBezTo>
                    <a:lnTo>
                      <a:pt x="19255" y="1102410"/>
                    </a:lnTo>
                    <a:cubicBezTo>
                      <a:pt x="18717" y="1103886"/>
                      <a:pt x="18139" y="1105362"/>
                      <a:pt x="17601" y="1106858"/>
                    </a:cubicBezTo>
                    <a:lnTo>
                      <a:pt x="16166" y="1111366"/>
                    </a:lnTo>
                    <a:lnTo>
                      <a:pt x="13257" y="1120382"/>
                    </a:lnTo>
                    <a:lnTo>
                      <a:pt x="10766" y="1129518"/>
                    </a:lnTo>
                    <a:cubicBezTo>
                      <a:pt x="9948" y="1132570"/>
                      <a:pt x="9052" y="1135602"/>
                      <a:pt x="8454" y="1138693"/>
                    </a:cubicBezTo>
                    <a:cubicBezTo>
                      <a:pt x="4169" y="1156885"/>
                      <a:pt x="1439" y="1175456"/>
                      <a:pt x="483" y="1194126"/>
                    </a:cubicBezTo>
                    <a:cubicBezTo>
                      <a:pt x="-474" y="1212796"/>
                      <a:pt x="-55" y="1231566"/>
                      <a:pt x="2157" y="1250137"/>
                    </a:cubicBezTo>
                    <a:cubicBezTo>
                      <a:pt x="4369" y="1268708"/>
                      <a:pt x="8195" y="1287059"/>
                      <a:pt x="13555" y="1304971"/>
                    </a:cubicBezTo>
                    <a:cubicBezTo>
                      <a:pt x="14791" y="1309479"/>
                      <a:pt x="16425" y="1313868"/>
                      <a:pt x="17860" y="1318316"/>
                    </a:cubicBezTo>
                    <a:cubicBezTo>
                      <a:pt x="19354" y="1322744"/>
                      <a:pt x="21108" y="1327073"/>
                      <a:pt x="22722" y="1331461"/>
                    </a:cubicBezTo>
                    <a:cubicBezTo>
                      <a:pt x="24556" y="1335749"/>
                      <a:pt x="26269" y="1340118"/>
                      <a:pt x="28202" y="1344367"/>
                    </a:cubicBezTo>
                    <a:cubicBezTo>
                      <a:pt x="30195" y="1348595"/>
                      <a:pt x="32029" y="1352904"/>
                      <a:pt x="34221" y="1357033"/>
                    </a:cubicBezTo>
                    <a:cubicBezTo>
                      <a:pt x="42610" y="1373748"/>
                      <a:pt x="52375" y="1389806"/>
                      <a:pt x="63455" y="1404926"/>
                    </a:cubicBezTo>
                    <a:cubicBezTo>
                      <a:pt x="74575" y="1420005"/>
                      <a:pt x="86910" y="1434208"/>
                      <a:pt x="100321" y="1447353"/>
                    </a:cubicBezTo>
                    <a:cubicBezTo>
                      <a:pt x="113693" y="1460538"/>
                      <a:pt x="128221" y="1472506"/>
                      <a:pt x="143565" y="1483337"/>
                    </a:cubicBezTo>
                    <a:lnTo>
                      <a:pt x="149324" y="1487386"/>
                    </a:lnTo>
                    <a:lnTo>
                      <a:pt x="155223" y="1491236"/>
                    </a:lnTo>
                    <a:cubicBezTo>
                      <a:pt x="159109" y="1493869"/>
                      <a:pt x="163174" y="1496243"/>
                      <a:pt x="167199" y="1498676"/>
                    </a:cubicBezTo>
                    <a:cubicBezTo>
                      <a:pt x="169192" y="1499913"/>
                      <a:pt x="171245" y="1501070"/>
                      <a:pt x="173297" y="1502207"/>
                    </a:cubicBezTo>
                    <a:lnTo>
                      <a:pt x="177343" y="1504461"/>
                    </a:lnTo>
                    <a:lnTo>
                      <a:pt x="181667" y="1506795"/>
                    </a:lnTo>
                    <a:cubicBezTo>
                      <a:pt x="187426" y="1509907"/>
                      <a:pt x="193385" y="1512859"/>
                      <a:pt x="198965" y="1516010"/>
                    </a:cubicBezTo>
                    <a:lnTo>
                      <a:pt x="207015" y="1521715"/>
                    </a:lnTo>
                    <a:lnTo>
                      <a:pt x="211041" y="1524568"/>
                    </a:lnTo>
                    <a:cubicBezTo>
                      <a:pt x="211220" y="1524667"/>
                      <a:pt x="211360" y="1524827"/>
                      <a:pt x="211439" y="1525046"/>
                    </a:cubicBezTo>
                    <a:cubicBezTo>
                      <a:pt x="211499" y="1525246"/>
                      <a:pt x="211499" y="1525465"/>
                      <a:pt x="211539" y="1525665"/>
                    </a:cubicBezTo>
                    <a:lnTo>
                      <a:pt x="211698" y="1526901"/>
                    </a:lnTo>
                    <a:lnTo>
                      <a:pt x="212017" y="1529375"/>
                    </a:lnTo>
                    <a:lnTo>
                      <a:pt x="213313" y="1539308"/>
                    </a:lnTo>
                    <a:lnTo>
                      <a:pt x="213970" y="1544275"/>
                    </a:lnTo>
                    <a:cubicBezTo>
                      <a:pt x="214090" y="1546011"/>
                      <a:pt x="214070" y="1547886"/>
                      <a:pt x="214130" y="1549681"/>
                    </a:cubicBezTo>
                    <a:lnTo>
                      <a:pt x="214409" y="1566217"/>
                    </a:lnTo>
                    <a:lnTo>
                      <a:pt x="214449" y="1568291"/>
                    </a:lnTo>
                    <a:cubicBezTo>
                      <a:pt x="214449" y="1568950"/>
                      <a:pt x="214449" y="1569767"/>
                      <a:pt x="214508" y="1570186"/>
                    </a:cubicBezTo>
                    <a:lnTo>
                      <a:pt x="214767" y="1573198"/>
                    </a:lnTo>
                    <a:lnTo>
                      <a:pt x="215266" y="1579242"/>
                    </a:lnTo>
                    <a:cubicBezTo>
                      <a:pt x="215724" y="1587321"/>
                      <a:pt x="217019" y="1595300"/>
                      <a:pt x="218075" y="1603298"/>
                    </a:cubicBezTo>
                    <a:cubicBezTo>
                      <a:pt x="220806" y="1619196"/>
                      <a:pt x="224074" y="1635074"/>
                      <a:pt x="229115" y="1650433"/>
                    </a:cubicBezTo>
                    <a:lnTo>
                      <a:pt x="230869" y="1656238"/>
                    </a:lnTo>
                    <a:cubicBezTo>
                      <a:pt x="231507" y="1658152"/>
                      <a:pt x="232224" y="1660047"/>
                      <a:pt x="232902" y="1661942"/>
                    </a:cubicBezTo>
                    <a:lnTo>
                      <a:pt x="237027" y="1673332"/>
                    </a:lnTo>
                    <a:lnTo>
                      <a:pt x="241750" y="1684502"/>
                    </a:lnTo>
                    <a:cubicBezTo>
                      <a:pt x="242547" y="1686358"/>
                      <a:pt x="243284" y="1688253"/>
                      <a:pt x="244141" y="1690068"/>
                    </a:cubicBezTo>
                    <a:lnTo>
                      <a:pt x="246791" y="1695533"/>
                    </a:lnTo>
                    <a:cubicBezTo>
                      <a:pt x="253567" y="1710234"/>
                      <a:pt x="261877" y="1724177"/>
                      <a:pt x="270685" y="1737761"/>
                    </a:cubicBezTo>
                    <a:lnTo>
                      <a:pt x="278656" y="1749370"/>
                    </a:lnTo>
                    <a:lnTo>
                      <a:pt x="287185" y="1760600"/>
                    </a:lnTo>
                    <a:lnTo>
                      <a:pt x="289318" y="1763413"/>
                    </a:lnTo>
                    <a:lnTo>
                      <a:pt x="291589" y="1766106"/>
                    </a:lnTo>
                    <a:lnTo>
                      <a:pt x="296133" y="1771511"/>
                    </a:lnTo>
                    <a:lnTo>
                      <a:pt x="300677" y="1776917"/>
                    </a:lnTo>
                    <a:lnTo>
                      <a:pt x="305479" y="1782083"/>
                    </a:lnTo>
                    <a:lnTo>
                      <a:pt x="310282" y="1787249"/>
                    </a:lnTo>
                    <a:lnTo>
                      <a:pt x="312673" y="1789842"/>
                    </a:lnTo>
                    <a:lnTo>
                      <a:pt x="315184" y="1792316"/>
                    </a:lnTo>
                    <a:lnTo>
                      <a:pt x="325268" y="1802210"/>
                    </a:lnTo>
                    <a:lnTo>
                      <a:pt x="335809" y="1811605"/>
                    </a:lnTo>
                    <a:lnTo>
                      <a:pt x="338440" y="1813958"/>
                    </a:lnTo>
                    <a:lnTo>
                      <a:pt x="341190" y="1816192"/>
                    </a:lnTo>
                    <a:lnTo>
                      <a:pt x="346690" y="1820641"/>
                    </a:lnTo>
                    <a:cubicBezTo>
                      <a:pt x="376004" y="1844338"/>
                      <a:pt x="409064" y="1863367"/>
                      <a:pt x="444018" y="1877589"/>
                    </a:cubicBezTo>
                    <a:cubicBezTo>
                      <a:pt x="461574" y="1884531"/>
                      <a:pt x="479529" y="1890515"/>
                      <a:pt x="497883" y="1895003"/>
                    </a:cubicBezTo>
                    <a:cubicBezTo>
                      <a:pt x="502446" y="1896200"/>
                      <a:pt x="507110" y="1897038"/>
                      <a:pt x="511713" y="1898095"/>
                    </a:cubicBezTo>
                    <a:lnTo>
                      <a:pt x="518648" y="1899591"/>
                    </a:lnTo>
                    <a:lnTo>
                      <a:pt x="525643" y="1900748"/>
                    </a:lnTo>
                    <a:cubicBezTo>
                      <a:pt x="530306" y="1901466"/>
                      <a:pt x="534949" y="1902403"/>
                      <a:pt x="539632" y="1902982"/>
                    </a:cubicBezTo>
                    <a:lnTo>
                      <a:pt x="553721" y="1904657"/>
                    </a:lnTo>
                    <a:cubicBezTo>
                      <a:pt x="591165" y="1908327"/>
                      <a:pt x="629945" y="1907151"/>
                      <a:pt x="667728" y="1902144"/>
                    </a:cubicBezTo>
                    <a:cubicBezTo>
                      <a:pt x="705512" y="1897057"/>
                      <a:pt x="742637" y="1887662"/>
                      <a:pt x="777511" y="1873261"/>
                    </a:cubicBezTo>
                    <a:cubicBezTo>
                      <a:pt x="794948" y="1866060"/>
                      <a:pt x="811807" y="1857622"/>
                      <a:pt x="827829" y="1847888"/>
                    </a:cubicBezTo>
                    <a:cubicBezTo>
                      <a:pt x="843831" y="1838154"/>
                      <a:pt x="858937" y="1827024"/>
                      <a:pt x="872926" y="1814736"/>
                    </a:cubicBezTo>
                    <a:cubicBezTo>
                      <a:pt x="875517" y="1812462"/>
                      <a:pt x="878127" y="1810208"/>
                      <a:pt x="880578" y="1807775"/>
                    </a:cubicBezTo>
                    <a:cubicBezTo>
                      <a:pt x="883029" y="1805361"/>
                      <a:pt x="885640" y="1803087"/>
                      <a:pt x="887991" y="1800574"/>
                    </a:cubicBezTo>
                    <a:lnTo>
                      <a:pt x="895146" y="1793134"/>
                    </a:lnTo>
                    <a:lnTo>
                      <a:pt x="902300" y="1785095"/>
                    </a:lnTo>
                    <a:cubicBezTo>
                      <a:pt x="908398" y="1777435"/>
                      <a:pt x="914595" y="1769995"/>
                      <a:pt x="920016" y="1761298"/>
                    </a:cubicBezTo>
                    <a:lnTo>
                      <a:pt x="924220" y="1754975"/>
                    </a:lnTo>
                    <a:lnTo>
                      <a:pt x="928425" y="1748831"/>
                    </a:lnTo>
                    <a:lnTo>
                      <a:pt x="932630" y="1742688"/>
                    </a:lnTo>
                    <a:lnTo>
                      <a:pt x="933686" y="1741152"/>
                    </a:lnTo>
                    <a:cubicBezTo>
                      <a:pt x="934045" y="1740653"/>
                      <a:pt x="934384" y="1740095"/>
                      <a:pt x="934742" y="1739756"/>
                    </a:cubicBezTo>
                    <a:lnTo>
                      <a:pt x="936835" y="1737422"/>
                    </a:lnTo>
                    <a:lnTo>
                      <a:pt x="941040" y="1732754"/>
                    </a:lnTo>
                    <a:lnTo>
                      <a:pt x="943132" y="1730420"/>
                    </a:lnTo>
                    <a:cubicBezTo>
                      <a:pt x="943829" y="1729643"/>
                      <a:pt x="944547" y="1728825"/>
                      <a:pt x="945145" y="1728246"/>
                    </a:cubicBezTo>
                    <a:lnTo>
                      <a:pt x="952578" y="1720606"/>
                    </a:lnTo>
                    <a:lnTo>
                      <a:pt x="953494" y="1719649"/>
                    </a:lnTo>
                    <a:lnTo>
                      <a:pt x="954272" y="1718791"/>
                    </a:lnTo>
                    <a:lnTo>
                      <a:pt x="955846" y="1717076"/>
                    </a:lnTo>
                    <a:lnTo>
                      <a:pt x="958995" y="1713645"/>
                    </a:lnTo>
                    <a:lnTo>
                      <a:pt x="960569" y="1711930"/>
                    </a:lnTo>
                    <a:lnTo>
                      <a:pt x="960967" y="1711491"/>
                    </a:lnTo>
                    <a:cubicBezTo>
                      <a:pt x="961087" y="1711351"/>
                      <a:pt x="961207" y="1711172"/>
                      <a:pt x="961506" y="1711172"/>
                    </a:cubicBezTo>
                    <a:cubicBezTo>
                      <a:pt x="961824" y="1711172"/>
                      <a:pt x="961944" y="1711331"/>
                      <a:pt x="962063" y="1711471"/>
                    </a:cubicBezTo>
                    <a:lnTo>
                      <a:pt x="962462" y="1711910"/>
                    </a:lnTo>
                    <a:lnTo>
                      <a:pt x="965611" y="1715340"/>
                    </a:lnTo>
                    <a:lnTo>
                      <a:pt x="968759" y="1718771"/>
                    </a:lnTo>
                    <a:lnTo>
                      <a:pt x="969536" y="1719629"/>
                    </a:lnTo>
                    <a:lnTo>
                      <a:pt x="970453" y="1720587"/>
                    </a:lnTo>
                    <a:lnTo>
                      <a:pt x="972306" y="1722501"/>
                    </a:lnTo>
                    <a:lnTo>
                      <a:pt x="976013" y="1726331"/>
                    </a:lnTo>
                    <a:cubicBezTo>
                      <a:pt x="977288" y="1727648"/>
                      <a:pt x="978404" y="1728725"/>
                      <a:pt x="979879" y="1730420"/>
                    </a:cubicBezTo>
                    <a:lnTo>
                      <a:pt x="988289" y="1739736"/>
                    </a:lnTo>
                    <a:cubicBezTo>
                      <a:pt x="988627" y="1740075"/>
                      <a:pt x="988986" y="1740613"/>
                      <a:pt x="989345" y="1741112"/>
                    </a:cubicBezTo>
                    <a:lnTo>
                      <a:pt x="990401" y="1742608"/>
                    </a:lnTo>
                    <a:lnTo>
                      <a:pt x="992533" y="1745620"/>
                    </a:lnTo>
                    <a:lnTo>
                      <a:pt x="996798" y="1751624"/>
                    </a:lnTo>
                    <a:cubicBezTo>
                      <a:pt x="998611" y="1754836"/>
                      <a:pt x="1000644" y="1757708"/>
                      <a:pt x="1002597" y="1760680"/>
                    </a:cubicBezTo>
                    <a:lnTo>
                      <a:pt x="1008495" y="1769556"/>
                    </a:lnTo>
                    <a:cubicBezTo>
                      <a:pt x="1010588" y="1772309"/>
                      <a:pt x="1012740" y="1775002"/>
                      <a:pt x="1014852" y="1777715"/>
                    </a:cubicBezTo>
                    <a:lnTo>
                      <a:pt x="1018041" y="1781784"/>
                    </a:lnTo>
                    <a:cubicBezTo>
                      <a:pt x="1018579" y="1782462"/>
                      <a:pt x="1019097" y="1783140"/>
                      <a:pt x="1019635" y="1783798"/>
                    </a:cubicBezTo>
                    <a:lnTo>
                      <a:pt x="1021429" y="1785873"/>
                    </a:lnTo>
                    <a:cubicBezTo>
                      <a:pt x="1024677" y="1789463"/>
                      <a:pt x="1027766" y="1793174"/>
                      <a:pt x="1031213" y="1796585"/>
                    </a:cubicBezTo>
                    <a:lnTo>
                      <a:pt x="1036255" y="1801811"/>
                    </a:lnTo>
                    <a:lnTo>
                      <a:pt x="1041496" y="1806837"/>
                    </a:lnTo>
                    <a:cubicBezTo>
                      <a:pt x="1068419" y="1832589"/>
                      <a:pt x="1100323" y="1853134"/>
                      <a:pt x="1134659" y="1868553"/>
                    </a:cubicBezTo>
                    <a:cubicBezTo>
                      <a:pt x="1169015" y="1884012"/>
                      <a:pt x="1205841" y="1894424"/>
                      <a:pt x="1243485" y="1900349"/>
                    </a:cubicBezTo>
                    <a:cubicBezTo>
                      <a:pt x="1262297" y="1903321"/>
                      <a:pt x="1281348" y="1905236"/>
                      <a:pt x="1300459" y="1906133"/>
                    </a:cubicBezTo>
                    <a:cubicBezTo>
                      <a:pt x="1305242" y="1906293"/>
                      <a:pt x="1310024" y="1906552"/>
                      <a:pt x="1314807" y="1906632"/>
                    </a:cubicBezTo>
                    <a:cubicBezTo>
                      <a:pt x="1319590" y="1906652"/>
                      <a:pt x="1324412" y="1906831"/>
                      <a:pt x="1329155" y="1906752"/>
                    </a:cubicBezTo>
                    <a:lnTo>
                      <a:pt x="1343344" y="1906413"/>
                    </a:lnTo>
                    <a:lnTo>
                      <a:pt x="1346891" y="1906333"/>
                    </a:lnTo>
                    <a:lnTo>
                      <a:pt x="1350438" y="1906074"/>
                    </a:lnTo>
                    <a:lnTo>
                      <a:pt x="1357513" y="1905575"/>
                    </a:lnTo>
                    <a:cubicBezTo>
                      <a:pt x="1366978" y="1905116"/>
                      <a:pt x="1376325" y="1903700"/>
                      <a:pt x="1385731" y="1902643"/>
                    </a:cubicBezTo>
                    <a:cubicBezTo>
                      <a:pt x="1395037" y="1901027"/>
                      <a:pt x="1404423" y="1899730"/>
                      <a:pt x="1413610" y="1897536"/>
                    </a:cubicBezTo>
                    <a:cubicBezTo>
                      <a:pt x="1422896" y="1895741"/>
                      <a:pt x="1431963" y="1893088"/>
                      <a:pt x="1441110" y="1890714"/>
                    </a:cubicBezTo>
                    <a:cubicBezTo>
                      <a:pt x="1450098" y="1887822"/>
                      <a:pt x="1459185" y="1885209"/>
                      <a:pt x="1467973" y="1881738"/>
                    </a:cubicBezTo>
                    <a:cubicBezTo>
                      <a:pt x="1472397" y="1880103"/>
                      <a:pt x="1476861" y="1878547"/>
                      <a:pt x="1481165" y="1876612"/>
                    </a:cubicBezTo>
                    <a:cubicBezTo>
                      <a:pt x="1485509" y="1874757"/>
                      <a:pt x="1489874" y="1872981"/>
                      <a:pt x="1494198" y="1871067"/>
                    </a:cubicBezTo>
                    <a:lnTo>
                      <a:pt x="1506972" y="1864963"/>
                    </a:lnTo>
                    <a:cubicBezTo>
                      <a:pt x="1509124" y="1863985"/>
                      <a:pt x="1511197" y="1862868"/>
                      <a:pt x="1513269" y="1861731"/>
                    </a:cubicBezTo>
                    <a:lnTo>
                      <a:pt x="1519507" y="1858380"/>
                    </a:lnTo>
                    <a:cubicBezTo>
                      <a:pt x="1536027" y="1849304"/>
                      <a:pt x="1552109" y="1839311"/>
                      <a:pt x="1567054" y="1827841"/>
                    </a:cubicBezTo>
                    <a:cubicBezTo>
                      <a:pt x="1582060" y="1816432"/>
                      <a:pt x="1596329" y="1804085"/>
                      <a:pt x="1609521" y="1790640"/>
                    </a:cubicBezTo>
                    <a:cubicBezTo>
                      <a:pt x="1622613" y="1777116"/>
                      <a:pt x="1634710" y="1762675"/>
                      <a:pt x="1645670" y="1747415"/>
                    </a:cubicBezTo>
                    <a:lnTo>
                      <a:pt x="1652964" y="1736783"/>
                    </a:lnTo>
                    <a:cubicBezTo>
                      <a:pt x="1655375" y="1733233"/>
                      <a:pt x="1657507" y="1729503"/>
                      <a:pt x="1659799" y="1725873"/>
                    </a:cubicBezTo>
                    <a:lnTo>
                      <a:pt x="1663187" y="1720387"/>
                    </a:lnTo>
                    <a:lnTo>
                      <a:pt x="1666275" y="1714742"/>
                    </a:lnTo>
                    <a:cubicBezTo>
                      <a:pt x="1668308" y="1710952"/>
                      <a:pt x="1670480" y="1707262"/>
                      <a:pt x="1672393" y="1703412"/>
                    </a:cubicBezTo>
                    <a:cubicBezTo>
                      <a:pt x="1680185" y="1688113"/>
                      <a:pt x="1686642" y="1672195"/>
                      <a:pt x="1692202" y="1655998"/>
                    </a:cubicBezTo>
                    <a:cubicBezTo>
                      <a:pt x="1697463" y="1639682"/>
                      <a:pt x="1701568" y="1623026"/>
                      <a:pt x="1704497" y="1606151"/>
                    </a:cubicBezTo>
                    <a:cubicBezTo>
                      <a:pt x="1705155" y="1601922"/>
                      <a:pt x="1705673" y="1597673"/>
                      <a:pt x="1706271" y="1593425"/>
                    </a:cubicBezTo>
                    <a:cubicBezTo>
                      <a:pt x="1706550" y="1591310"/>
                      <a:pt x="1706888" y="1589176"/>
                      <a:pt x="1707108" y="1587061"/>
                    </a:cubicBezTo>
                    <a:lnTo>
                      <a:pt x="1707626" y="1580659"/>
                    </a:lnTo>
                    <a:lnTo>
                      <a:pt x="1708144" y="1574256"/>
                    </a:lnTo>
                    <a:lnTo>
                      <a:pt x="1708403" y="1571044"/>
                    </a:lnTo>
                    <a:cubicBezTo>
                      <a:pt x="1708443" y="1570466"/>
                      <a:pt x="1708503" y="1570067"/>
                      <a:pt x="1708523" y="1569368"/>
                    </a:cubicBezTo>
                    <a:lnTo>
                      <a:pt x="1708562" y="1567174"/>
                    </a:lnTo>
                    <a:lnTo>
                      <a:pt x="1708841" y="1549641"/>
                    </a:lnTo>
                    <a:lnTo>
                      <a:pt x="1708921" y="1546270"/>
                    </a:lnTo>
                    <a:lnTo>
                      <a:pt x="1708961" y="1544594"/>
                    </a:lnTo>
                    <a:lnTo>
                      <a:pt x="1709160" y="1543058"/>
                    </a:lnTo>
                    <a:lnTo>
                      <a:pt x="1709957" y="1536895"/>
                    </a:lnTo>
                    <a:lnTo>
                      <a:pt x="1710754" y="1530731"/>
                    </a:lnTo>
                    <a:lnTo>
                      <a:pt x="1711153" y="1527659"/>
                    </a:lnTo>
                    <a:lnTo>
                      <a:pt x="1711352" y="1526123"/>
                    </a:lnTo>
                    <a:cubicBezTo>
                      <a:pt x="1711472" y="1525625"/>
                      <a:pt x="1711352" y="1525026"/>
                      <a:pt x="1711771" y="1524667"/>
                    </a:cubicBezTo>
                    <a:lnTo>
                      <a:pt x="1719104" y="1519481"/>
                    </a:lnTo>
                    <a:lnTo>
                      <a:pt x="1722771" y="1516888"/>
                    </a:lnTo>
                    <a:lnTo>
                      <a:pt x="1724604" y="1515591"/>
                    </a:lnTo>
                    <a:lnTo>
                      <a:pt x="1726776" y="1514454"/>
                    </a:lnTo>
                    <a:cubicBezTo>
                      <a:pt x="1732576" y="1511383"/>
                      <a:pt x="1738394" y="1508411"/>
                      <a:pt x="1744194" y="1505259"/>
                    </a:cubicBezTo>
                    <a:lnTo>
                      <a:pt x="1751726" y="1501070"/>
                    </a:lnTo>
                    <a:cubicBezTo>
                      <a:pt x="1753799" y="1499953"/>
                      <a:pt x="1755752" y="1498657"/>
                      <a:pt x="1757784" y="1497460"/>
                    </a:cubicBezTo>
                    <a:lnTo>
                      <a:pt x="1763803" y="1493809"/>
                    </a:lnTo>
                    <a:lnTo>
                      <a:pt x="1769701" y="1489960"/>
                    </a:lnTo>
                    <a:cubicBezTo>
                      <a:pt x="1785404" y="1479647"/>
                      <a:pt x="1800330" y="1468138"/>
                      <a:pt x="1814140" y="1455411"/>
                    </a:cubicBezTo>
                    <a:cubicBezTo>
                      <a:pt x="1827970" y="1442725"/>
                      <a:pt x="1840804" y="1428962"/>
                      <a:pt x="1852442" y="1414261"/>
                    </a:cubicBezTo>
                    <a:cubicBezTo>
                      <a:pt x="1864020" y="1399520"/>
                      <a:pt x="1874362" y="1383822"/>
                      <a:pt x="1883350" y="1367405"/>
                    </a:cubicBezTo>
                    <a:cubicBezTo>
                      <a:pt x="1885701" y="1363356"/>
                      <a:pt x="1887674" y="1359107"/>
                      <a:pt x="1889827" y="1354958"/>
                    </a:cubicBezTo>
                    <a:cubicBezTo>
                      <a:pt x="1891899" y="1350770"/>
                      <a:pt x="1893792" y="1346481"/>
                      <a:pt x="1895765" y="1342252"/>
                    </a:cubicBezTo>
                    <a:cubicBezTo>
                      <a:pt x="1899432" y="1333655"/>
                      <a:pt x="1902939" y="1324978"/>
                      <a:pt x="1905888" y="1316102"/>
                    </a:cubicBezTo>
                    <a:cubicBezTo>
                      <a:pt x="1911887" y="1298389"/>
                      <a:pt x="1916390" y="1280197"/>
                      <a:pt x="1919280" y="1261726"/>
                    </a:cubicBezTo>
                    <a:cubicBezTo>
                      <a:pt x="1922070" y="1243255"/>
                      <a:pt x="1923345" y="1224525"/>
                      <a:pt x="1922907" y="1205815"/>
                    </a:cubicBezTo>
                    <a:cubicBezTo>
                      <a:pt x="1922548" y="1187105"/>
                      <a:pt x="1920615" y="1168454"/>
                      <a:pt x="1917048" y="1150103"/>
                    </a:cubicBezTo>
                    <a:close/>
                    <a:moveTo>
                      <a:pt x="1820378" y="1389207"/>
                    </a:moveTo>
                    <a:cubicBezTo>
                      <a:pt x="1810115" y="1402153"/>
                      <a:pt x="1798796" y="1414321"/>
                      <a:pt x="1786580" y="1425531"/>
                    </a:cubicBezTo>
                    <a:cubicBezTo>
                      <a:pt x="1774384" y="1436781"/>
                      <a:pt x="1761152" y="1446974"/>
                      <a:pt x="1747242" y="1456110"/>
                    </a:cubicBezTo>
                    <a:lnTo>
                      <a:pt x="1742021" y="1459520"/>
                    </a:lnTo>
                    <a:lnTo>
                      <a:pt x="1736681" y="1462752"/>
                    </a:lnTo>
                    <a:cubicBezTo>
                      <a:pt x="1734887" y="1463809"/>
                      <a:pt x="1733153" y="1464966"/>
                      <a:pt x="1731320" y="1465943"/>
                    </a:cubicBezTo>
                    <a:lnTo>
                      <a:pt x="1721635" y="1471289"/>
                    </a:lnTo>
                    <a:lnTo>
                      <a:pt x="1714999" y="1474700"/>
                    </a:lnTo>
                    <a:lnTo>
                      <a:pt x="1708463" y="1478191"/>
                    </a:lnTo>
                    <a:lnTo>
                      <a:pt x="1695390" y="1485192"/>
                    </a:lnTo>
                    <a:lnTo>
                      <a:pt x="1692122" y="1486948"/>
                    </a:lnTo>
                    <a:lnTo>
                      <a:pt x="1689970" y="1489281"/>
                    </a:lnTo>
                    <a:lnTo>
                      <a:pt x="1685685" y="1493969"/>
                    </a:lnTo>
                    <a:lnTo>
                      <a:pt x="1677096" y="1503324"/>
                    </a:lnTo>
                    <a:cubicBezTo>
                      <a:pt x="1676638" y="1503942"/>
                      <a:pt x="1676478" y="1504641"/>
                      <a:pt x="1676239" y="1505359"/>
                    </a:cubicBezTo>
                    <a:lnTo>
                      <a:pt x="1675562" y="1507453"/>
                    </a:lnTo>
                    <a:lnTo>
                      <a:pt x="1674207" y="1511662"/>
                    </a:lnTo>
                    <a:lnTo>
                      <a:pt x="1671497" y="1520080"/>
                    </a:lnTo>
                    <a:lnTo>
                      <a:pt x="1668786" y="1528497"/>
                    </a:lnTo>
                    <a:lnTo>
                      <a:pt x="1668109" y="1530592"/>
                    </a:lnTo>
                    <a:cubicBezTo>
                      <a:pt x="1668049" y="1531409"/>
                      <a:pt x="1668069" y="1532287"/>
                      <a:pt x="1668049" y="1533125"/>
                    </a:cubicBezTo>
                    <a:lnTo>
                      <a:pt x="1667969" y="1538251"/>
                    </a:lnTo>
                    <a:lnTo>
                      <a:pt x="1667850" y="1563903"/>
                    </a:lnTo>
                    <a:lnTo>
                      <a:pt x="1667850" y="1567513"/>
                    </a:lnTo>
                    <a:lnTo>
                      <a:pt x="1667810" y="1567713"/>
                    </a:lnTo>
                    <a:lnTo>
                      <a:pt x="1667770" y="1568072"/>
                    </a:lnTo>
                    <a:lnTo>
                      <a:pt x="1667710" y="1568770"/>
                    </a:lnTo>
                    <a:lnTo>
                      <a:pt x="1667471" y="1571583"/>
                    </a:lnTo>
                    <a:lnTo>
                      <a:pt x="1667013" y="1577208"/>
                    </a:lnTo>
                    <a:lnTo>
                      <a:pt x="1666574" y="1582833"/>
                    </a:lnTo>
                    <a:cubicBezTo>
                      <a:pt x="1666375" y="1584708"/>
                      <a:pt x="1666076" y="1586563"/>
                      <a:pt x="1665817" y="1588418"/>
                    </a:cubicBezTo>
                    <a:cubicBezTo>
                      <a:pt x="1665279" y="1592128"/>
                      <a:pt x="1664841" y="1595878"/>
                      <a:pt x="1664283" y="1599588"/>
                    </a:cubicBezTo>
                    <a:cubicBezTo>
                      <a:pt x="1661692" y="1614389"/>
                      <a:pt x="1658105" y="1629010"/>
                      <a:pt x="1653482" y="1643352"/>
                    </a:cubicBezTo>
                    <a:cubicBezTo>
                      <a:pt x="1648579" y="1657594"/>
                      <a:pt x="1642900" y="1671597"/>
                      <a:pt x="1636045" y="1685081"/>
                    </a:cubicBezTo>
                    <a:cubicBezTo>
                      <a:pt x="1634371" y="1688472"/>
                      <a:pt x="1632418" y="1691723"/>
                      <a:pt x="1630644" y="1695074"/>
                    </a:cubicBezTo>
                    <a:lnTo>
                      <a:pt x="1627934" y="1700061"/>
                    </a:lnTo>
                    <a:lnTo>
                      <a:pt x="1624945" y="1704908"/>
                    </a:lnTo>
                    <a:cubicBezTo>
                      <a:pt x="1622912" y="1708120"/>
                      <a:pt x="1621059" y="1711431"/>
                      <a:pt x="1618907" y="1714563"/>
                    </a:cubicBezTo>
                    <a:lnTo>
                      <a:pt x="1612450" y="1723978"/>
                    </a:lnTo>
                    <a:cubicBezTo>
                      <a:pt x="1573949" y="1778393"/>
                      <a:pt x="1517275" y="1820381"/>
                      <a:pt x="1453725" y="1843799"/>
                    </a:cubicBezTo>
                    <a:cubicBezTo>
                      <a:pt x="1445833" y="1846911"/>
                      <a:pt x="1437663" y="1849245"/>
                      <a:pt x="1429592" y="1851858"/>
                    </a:cubicBezTo>
                    <a:cubicBezTo>
                      <a:pt x="1421362" y="1853952"/>
                      <a:pt x="1413231" y="1856386"/>
                      <a:pt x="1404861" y="1857981"/>
                    </a:cubicBezTo>
                    <a:cubicBezTo>
                      <a:pt x="1396591" y="1859976"/>
                      <a:pt x="1388142" y="1861093"/>
                      <a:pt x="1379772" y="1862589"/>
                    </a:cubicBezTo>
                    <a:cubicBezTo>
                      <a:pt x="1371303" y="1863507"/>
                      <a:pt x="1362873" y="1864823"/>
                      <a:pt x="1354344" y="1865222"/>
                    </a:cubicBezTo>
                    <a:lnTo>
                      <a:pt x="1347967" y="1865681"/>
                    </a:lnTo>
                    <a:lnTo>
                      <a:pt x="1344779" y="1865920"/>
                    </a:lnTo>
                    <a:lnTo>
                      <a:pt x="1341570" y="1865980"/>
                    </a:lnTo>
                    <a:lnTo>
                      <a:pt x="1328757" y="1866279"/>
                    </a:lnTo>
                    <a:cubicBezTo>
                      <a:pt x="1324452" y="1866359"/>
                      <a:pt x="1319889" y="1866199"/>
                      <a:pt x="1315485" y="1866180"/>
                    </a:cubicBezTo>
                    <a:cubicBezTo>
                      <a:pt x="1311041" y="1866120"/>
                      <a:pt x="1306617" y="1865860"/>
                      <a:pt x="1302173" y="1865721"/>
                    </a:cubicBezTo>
                    <a:cubicBezTo>
                      <a:pt x="1284457" y="1864883"/>
                      <a:pt x="1266901" y="1863128"/>
                      <a:pt x="1249643" y="1860395"/>
                    </a:cubicBezTo>
                    <a:cubicBezTo>
                      <a:pt x="1215108" y="1854949"/>
                      <a:pt x="1181729" y="1845455"/>
                      <a:pt x="1151080" y="1831651"/>
                    </a:cubicBezTo>
                    <a:cubicBezTo>
                      <a:pt x="1120431" y="1817888"/>
                      <a:pt x="1092512" y="1799816"/>
                      <a:pt x="1069216" y="1777515"/>
                    </a:cubicBezTo>
                    <a:lnTo>
                      <a:pt x="1064672" y="1773167"/>
                    </a:lnTo>
                    <a:lnTo>
                      <a:pt x="1060328" y="1768659"/>
                    </a:lnTo>
                    <a:cubicBezTo>
                      <a:pt x="1057339" y="1765727"/>
                      <a:pt x="1054708" y="1762495"/>
                      <a:pt x="1051878" y="1759403"/>
                    </a:cubicBezTo>
                    <a:lnTo>
                      <a:pt x="1051101" y="1758526"/>
                    </a:lnTo>
                    <a:lnTo>
                      <a:pt x="1050723" y="1758107"/>
                    </a:lnTo>
                    <a:lnTo>
                      <a:pt x="1050543" y="1757907"/>
                    </a:lnTo>
                    <a:lnTo>
                      <a:pt x="1050244" y="1757528"/>
                    </a:lnTo>
                    <a:lnTo>
                      <a:pt x="1049029" y="1756032"/>
                    </a:lnTo>
                    <a:cubicBezTo>
                      <a:pt x="1048212" y="1755015"/>
                      <a:pt x="1047455" y="1753938"/>
                      <a:pt x="1046657" y="1752901"/>
                    </a:cubicBezTo>
                    <a:lnTo>
                      <a:pt x="1041954" y="1746617"/>
                    </a:lnTo>
                    <a:cubicBezTo>
                      <a:pt x="1038826" y="1742389"/>
                      <a:pt x="1035657" y="1738299"/>
                      <a:pt x="1032588" y="1733971"/>
                    </a:cubicBezTo>
                    <a:lnTo>
                      <a:pt x="1024059" y="1719509"/>
                    </a:lnTo>
                    <a:cubicBezTo>
                      <a:pt x="1021229" y="1714662"/>
                      <a:pt x="1018320" y="1710035"/>
                      <a:pt x="1015689" y="1704629"/>
                    </a:cubicBezTo>
                    <a:lnTo>
                      <a:pt x="1009073" y="1695573"/>
                    </a:lnTo>
                    <a:lnTo>
                      <a:pt x="1005765" y="1691045"/>
                    </a:lnTo>
                    <a:lnTo>
                      <a:pt x="1004111" y="1688771"/>
                    </a:lnTo>
                    <a:lnTo>
                      <a:pt x="1003294" y="1687634"/>
                    </a:lnTo>
                    <a:lnTo>
                      <a:pt x="1003095" y="1687355"/>
                    </a:lnTo>
                    <a:lnTo>
                      <a:pt x="1002876" y="1687215"/>
                    </a:lnTo>
                    <a:lnTo>
                      <a:pt x="1002457" y="1686916"/>
                    </a:lnTo>
                    <a:lnTo>
                      <a:pt x="988747" y="1677621"/>
                    </a:lnTo>
                    <a:lnTo>
                      <a:pt x="987033" y="1676464"/>
                    </a:lnTo>
                    <a:cubicBezTo>
                      <a:pt x="986894" y="1676364"/>
                      <a:pt x="986734" y="1676264"/>
                      <a:pt x="986615" y="1676185"/>
                    </a:cubicBezTo>
                    <a:lnTo>
                      <a:pt x="986256" y="1676065"/>
                    </a:lnTo>
                    <a:lnTo>
                      <a:pt x="985539" y="1675825"/>
                    </a:lnTo>
                    <a:lnTo>
                      <a:pt x="982649" y="1674908"/>
                    </a:lnTo>
                    <a:lnTo>
                      <a:pt x="976890" y="1673053"/>
                    </a:lnTo>
                    <a:lnTo>
                      <a:pt x="974000" y="1672135"/>
                    </a:lnTo>
                    <a:cubicBezTo>
                      <a:pt x="973542" y="1671996"/>
                      <a:pt x="973004" y="1671796"/>
                      <a:pt x="972585" y="1671697"/>
                    </a:cubicBezTo>
                    <a:lnTo>
                      <a:pt x="971489" y="1671597"/>
                    </a:lnTo>
                    <a:lnTo>
                      <a:pt x="967065" y="1671178"/>
                    </a:lnTo>
                    <a:lnTo>
                      <a:pt x="962641" y="1670759"/>
                    </a:lnTo>
                    <a:cubicBezTo>
                      <a:pt x="962103" y="1670659"/>
                      <a:pt x="960569" y="1670659"/>
                      <a:pt x="960051" y="1670759"/>
                    </a:cubicBezTo>
                    <a:lnTo>
                      <a:pt x="957839" y="1670978"/>
                    </a:lnTo>
                    <a:lnTo>
                      <a:pt x="953415" y="1671397"/>
                    </a:lnTo>
                    <a:lnTo>
                      <a:pt x="951203" y="1671617"/>
                    </a:lnTo>
                    <a:lnTo>
                      <a:pt x="950107" y="1671716"/>
                    </a:lnTo>
                    <a:cubicBezTo>
                      <a:pt x="949668" y="1671816"/>
                      <a:pt x="949150" y="1672016"/>
                      <a:pt x="948692" y="1672155"/>
                    </a:cubicBezTo>
                    <a:lnTo>
                      <a:pt x="937154" y="1675845"/>
                    </a:lnTo>
                    <a:lnTo>
                      <a:pt x="936436" y="1676085"/>
                    </a:lnTo>
                    <a:lnTo>
                      <a:pt x="936077" y="1676204"/>
                    </a:lnTo>
                    <a:lnTo>
                      <a:pt x="935659" y="1676484"/>
                    </a:lnTo>
                    <a:lnTo>
                      <a:pt x="933945" y="1677641"/>
                    </a:lnTo>
                    <a:lnTo>
                      <a:pt x="930518" y="1679974"/>
                    </a:lnTo>
                    <a:lnTo>
                      <a:pt x="923662" y="1684622"/>
                    </a:lnTo>
                    <a:lnTo>
                      <a:pt x="920235" y="1686956"/>
                    </a:lnTo>
                    <a:cubicBezTo>
                      <a:pt x="919657" y="1687175"/>
                      <a:pt x="919119" y="1688113"/>
                      <a:pt x="918581" y="1688891"/>
                    </a:cubicBezTo>
                    <a:lnTo>
                      <a:pt x="916967" y="1691265"/>
                    </a:lnTo>
                    <a:lnTo>
                      <a:pt x="910530" y="1700739"/>
                    </a:lnTo>
                    <a:lnTo>
                      <a:pt x="904093" y="1710234"/>
                    </a:lnTo>
                    <a:lnTo>
                      <a:pt x="898035" y="1720527"/>
                    </a:lnTo>
                    <a:cubicBezTo>
                      <a:pt x="890303" y="1734988"/>
                      <a:pt x="881057" y="1746119"/>
                      <a:pt x="872069" y="1758007"/>
                    </a:cubicBezTo>
                    <a:lnTo>
                      <a:pt x="865274" y="1765647"/>
                    </a:lnTo>
                    <a:lnTo>
                      <a:pt x="859076" y="1772070"/>
                    </a:lnTo>
                    <a:cubicBezTo>
                      <a:pt x="857063" y="1774244"/>
                      <a:pt x="854792" y="1776199"/>
                      <a:pt x="852659" y="1778293"/>
                    </a:cubicBezTo>
                    <a:cubicBezTo>
                      <a:pt x="850547" y="1780388"/>
                      <a:pt x="848275" y="1782342"/>
                      <a:pt x="846023" y="1784317"/>
                    </a:cubicBezTo>
                    <a:cubicBezTo>
                      <a:pt x="833887" y="1794989"/>
                      <a:pt x="820715" y="1804703"/>
                      <a:pt x="806606" y="1813300"/>
                    </a:cubicBezTo>
                    <a:cubicBezTo>
                      <a:pt x="792497" y="1821857"/>
                      <a:pt x="777531" y="1829377"/>
                      <a:pt x="761928" y="1835820"/>
                    </a:cubicBezTo>
                    <a:cubicBezTo>
                      <a:pt x="730701" y="1848706"/>
                      <a:pt x="696963" y="1857323"/>
                      <a:pt x="662208" y="1861991"/>
                    </a:cubicBezTo>
                    <a:cubicBezTo>
                      <a:pt x="644831" y="1864324"/>
                      <a:pt x="627175" y="1865701"/>
                      <a:pt x="609419" y="1866160"/>
                    </a:cubicBezTo>
                    <a:lnTo>
                      <a:pt x="596068" y="1866339"/>
                    </a:lnTo>
                    <a:lnTo>
                      <a:pt x="583234" y="1866040"/>
                    </a:lnTo>
                    <a:cubicBezTo>
                      <a:pt x="581102" y="1865960"/>
                      <a:pt x="578950" y="1866000"/>
                      <a:pt x="576837" y="1865860"/>
                    </a:cubicBezTo>
                    <a:lnTo>
                      <a:pt x="570460" y="1865402"/>
                    </a:lnTo>
                    <a:lnTo>
                      <a:pt x="564083" y="1864963"/>
                    </a:lnTo>
                    <a:cubicBezTo>
                      <a:pt x="561951" y="1864823"/>
                      <a:pt x="559819" y="1864684"/>
                      <a:pt x="557726" y="1864384"/>
                    </a:cubicBezTo>
                    <a:lnTo>
                      <a:pt x="545032" y="1862888"/>
                    </a:lnTo>
                    <a:cubicBezTo>
                      <a:pt x="540808" y="1862390"/>
                      <a:pt x="536643" y="1861512"/>
                      <a:pt x="532438" y="1860874"/>
                    </a:cubicBezTo>
                    <a:lnTo>
                      <a:pt x="526141" y="1859836"/>
                    </a:lnTo>
                    <a:lnTo>
                      <a:pt x="519903" y="1858480"/>
                    </a:lnTo>
                    <a:cubicBezTo>
                      <a:pt x="515758" y="1857543"/>
                      <a:pt x="511573" y="1856805"/>
                      <a:pt x="507468" y="1855707"/>
                    </a:cubicBezTo>
                    <a:cubicBezTo>
                      <a:pt x="490968" y="1851678"/>
                      <a:pt x="474846" y="1846272"/>
                      <a:pt x="459083" y="1840069"/>
                    </a:cubicBezTo>
                    <a:cubicBezTo>
                      <a:pt x="427717" y="1827303"/>
                      <a:pt x="398104" y="1810248"/>
                      <a:pt x="371939" y="1789084"/>
                    </a:cubicBezTo>
                    <a:lnTo>
                      <a:pt x="367036" y="1785115"/>
                    </a:lnTo>
                    <a:lnTo>
                      <a:pt x="364585" y="1783140"/>
                    </a:lnTo>
                    <a:lnTo>
                      <a:pt x="362234" y="1781046"/>
                    </a:lnTo>
                    <a:lnTo>
                      <a:pt x="352828" y="1772668"/>
                    </a:lnTo>
                    <a:lnTo>
                      <a:pt x="343860" y="1763852"/>
                    </a:lnTo>
                    <a:lnTo>
                      <a:pt x="341608" y="1761657"/>
                    </a:lnTo>
                    <a:lnTo>
                      <a:pt x="339476" y="1759344"/>
                    </a:lnTo>
                    <a:lnTo>
                      <a:pt x="335212" y="1754736"/>
                    </a:lnTo>
                    <a:lnTo>
                      <a:pt x="330947" y="1750148"/>
                    </a:lnTo>
                    <a:lnTo>
                      <a:pt x="326922" y="1745341"/>
                    </a:lnTo>
                    <a:lnTo>
                      <a:pt x="322876" y="1740553"/>
                    </a:lnTo>
                    <a:lnTo>
                      <a:pt x="320863" y="1738160"/>
                    </a:lnTo>
                    <a:lnTo>
                      <a:pt x="318970" y="1735666"/>
                    </a:lnTo>
                    <a:lnTo>
                      <a:pt x="311398" y="1725713"/>
                    </a:lnTo>
                    <a:lnTo>
                      <a:pt x="304343" y="1715420"/>
                    </a:lnTo>
                    <a:cubicBezTo>
                      <a:pt x="296571" y="1703392"/>
                      <a:pt x="289198" y="1691085"/>
                      <a:pt x="283260" y="1678139"/>
                    </a:cubicBezTo>
                    <a:lnTo>
                      <a:pt x="280908" y="1673332"/>
                    </a:lnTo>
                    <a:cubicBezTo>
                      <a:pt x="280151" y="1671716"/>
                      <a:pt x="279513" y="1670061"/>
                      <a:pt x="278816" y="1668425"/>
                    </a:cubicBezTo>
                    <a:lnTo>
                      <a:pt x="274651" y="1658591"/>
                    </a:lnTo>
                    <a:lnTo>
                      <a:pt x="271024" y="1648578"/>
                    </a:lnTo>
                    <a:cubicBezTo>
                      <a:pt x="270426" y="1646902"/>
                      <a:pt x="269768" y="1645247"/>
                      <a:pt x="269230" y="1643571"/>
                    </a:cubicBezTo>
                    <a:lnTo>
                      <a:pt x="267696" y="1638485"/>
                    </a:lnTo>
                    <a:cubicBezTo>
                      <a:pt x="263252" y="1625001"/>
                      <a:pt x="260442" y="1611058"/>
                      <a:pt x="258011" y="1597115"/>
                    </a:cubicBezTo>
                    <a:cubicBezTo>
                      <a:pt x="257114" y="1590073"/>
                      <a:pt x="255938" y="1583092"/>
                      <a:pt x="255560" y="1575991"/>
                    </a:cubicBezTo>
                    <a:lnTo>
                      <a:pt x="255121" y="1570685"/>
                    </a:lnTo>
                    <a:lnTo>
                      <a:pt x="254902" y="1568032"/>
                    </a:lnTo>
                    <a:lnTo>
                      <a:pt x="254902" y="1567693"/>
                    </a:lnTo>
                    <a:cubicBezTo>
                      <a:pt x="254902" y="1567693"/>
                      <a:pt x="254862" y="1567234"/>
                      <a:pt x="254862" y="1567035"/>
                    </a:cubicBezTo>
                    <a:lnTo>
                      <a:pt x="254862" y="1562507"/>
                    </a:lnTo>
                    <a:lnTo>
                      <a:pt x="254723" y="1538331"/>
                    </a:lnTo>
                    <a:lnTo>
                      <a:pt x="254663" y="1534202"/>
                    </a:lnTo>
                    <a:lnTo>
                      <a:pt x="254623" y="1532147"/>
                    </a:lnTo>
                    <a:cubicBezTo>
                      <a:pt x="254583" y="1531469"/>
                      <a:pt x="254683" y="1530711"/>
                      <a:pt x="254424" y="1530213"/>
                    </a:cubicBezTo>
                    <a:lnTo>
                      <a:pt x="252252" y="1523431"/>
                    </a:lnTo>
                    <a:lnTo>
                      <a:pt x="247888" y="1509887"/>
                    </a:lnTo>
                    <a:lnTo>
                      <a:pt x="246791" y="1506496"/>
                    </a:lnTo>
                    <a:lnTo>
                      <a:pt x="246253" y="1504800"/>
                    </a:lnTo>
                    <a:cubicBezTo>
                      <a:pt x="246154" y="1504521"/>
                      <a:pt x="246094" y="1504222"/>
                      <a:pt x="245955" y="1503982"/>
                    </a:cubicBezTo>
                    <a:cubicBezTo>
                      <a:pt x="245775" y="1503723"/>
                      <a:pt x="245656" y="1503444"/>
                      <a:pt x="245456" y="1503244"/>
                    </a:cubicBezTo>
                    <a:lnTo>
                      <a:pt x="240733" y="1498098"/>
                    </a:lnTo>
                    <a:lnTo>
                      <a:pt x="231288" y="1487805"/>
                    </a:lnTo>
                    <a:cubicBezTo>
                      <a:pt x="230730" y="1486948"/>
                      <a:pt x="229434" y="1486469"/>
                      <a:pt x="228398" y="1485870"/>
                    </a:cubicBezTo>
                    <a:lnTo>
                      <a:pt x="225130" y="1484115"/>
                    </a:lnTo>
                    <a:lnTo>
                      <a:pt x="218594" y="1480624"/>
                    </a:lnTo>
                    <a:cubicBezTo>
                      <a:pt x="214229" y="1478311"/>
                      <a:pt x="209925" y="1475937"/>
                      <a:pt x="205501" y="1473663"/>
                    </a:cubicBezTo>
                    <a:cubicBezTo>
                      <a:pt x="203309" y="1472506"/>
                      <a:pt x="201017" y="1471409"/>
                      <a:pt x="198905" y="1470232"/>
                    </a:cubicBezTo>
                    <a:lnTo>
                      <a:pt x="193225" y="1467060"/>
                    </a:lnTo>
                    <a:cubicBezTo>
                      <a:pt x="191392" y="1466063"/>
                      <a:pt x="189579" y="1465046"/>
                      <a:pt x="187825" y="1463929"/>
                    </a:cubicBezTo>
                    <a:cubicBezTo>
                      <a:pt x="184278" y="1461755"/>
                      <a:pt x="180651" y="1459660"/>
                      <a:pt x="177223" y="1457326"/>
                    </a:cubicBezTo>
                    <a:lnTo>
                      <a:pt x="171982" y="1453915"/>
                    </a:lnTo>
                    <a:lnTo>
                      <a:pt x="166881" y="1450325"/>
                    </a:lnTo>
                    <a:cubicBezTo>
                      <a:pt x="153290" y="1440730"/>
                      <a:pt x="140416" y="1430119"/>
                      <a:pt x="128599" y="1418470"/>
                    </a:cubicBezTo>
                    <a:cubicBezTo>
                      <a:pt x="116762" y="1406860"/>
                      <a:pt x="105881" y="1394334"/>
                      <a:pt x="96097" y="1381049"/>
                    </a:cubicBezTo>
                    <a:cubicBezTo>
                      <a:pt x="86352" y="1367744"/>
                      <a:pt x="77783" y="1353642"/>
                      <a:pt x="70410" y="1338981"/>
                    </a:cubicBezTo>
                    <a:cubicBezTo>
                      <a:pt x="68477" y="1335370"/>
                      <a:pt x="66882" y="1331581"/>
                      <a:pt x="65129" y="1327890"/>
                    </a:cubicBezTo>
                    <a:cubicBezTo>
                      <a:pt x="63415" y="1324160"/>
                      <a:pt x="61940" y="1320350"/>
                      <a:pt x="60326" y="1316600"/>
                    </a:cubicBezTo>
                    <a:cubicBezTo>
                      <a:pt x="58931" y="1312751"/>
                      <a:pt x="57377" y="1308961"/>
                      <a:pt x="56082" y="1305091"/>
                    </a:cubicBezTo>
                    <a:cubicBezTo>
                      <a:pt x="54846" y="1301201"/>
                      <a:pt x="53391" y="1297371"/>
                      <a:pt x="52315" y="1293422"/>
                    </a:cubicBezTo>
                    <a:cubicBezTo>
                      <a:pt x="47632" y="1277764"/>
                      <a:pt x="44304" y="1261746"/>
                      <a:pt x="42351" y="1245529"/>
                    </a:cubicBezTo>
                    <a:cubicBezTo>
                      <a:pt x="40418" y="1229312"/>
                      <a:pt x="40060" y="1212856"/>
                      <a:pt x="40896" y="1196520"/>
                    </a:cubicBezTo>
                    <a:cubicBezTo>
                      <a:pt x="41733" y="1180183"/>
                      <a:pt x="44125" y="1163966"/>
                      <a:pt x="47871" y="1148068"/>
                    </a:cubicBezTo>
                    <a:cubicBezTo>
                      <a:pt x="48389" y="1145356"/>
                      <a:pt x="49186" y="1142703"/>
                      <a:pt x="49904" y="1140050"/>
                    </a:cubicBezTo>
                    <a:lnTo>
                      <a:pt x="52076" y="1132051"/>
                    </a:lnTo>
                    <a:lnTo>
                      <a:pt x="54627" y="1124172"/>
                    </a:lnTo>
                    <a:lnTo>
                      <a:pt x="55882" y="1120222"/>
                    </a:lnTo>
                    <a:cubicBezTo>
                      <a:pt x="56341" y="1118926"/>
                      <a:pt x="56859" y="1117629"/>
                      <a:pt x="57337" y="1116333"/>
                    </a:cubicBezTo>
                    <a:lnTo>
                      <a:pt x="60227" y="1108553"/>
                    </a:lnTo>
                    <a:cubicBezTo>
                      <a:pt x="61223" y="1105980"/>
                      <a:pt x="62399" y="1103467"/>
                      <a:pt x="63455" y="1100914"/>
                    </a:cubicBezTo>
                    <a:cubicBezTo>
                      <a:pt x="65507" y="1095767"/>
                      <a:pt x="68038" y="1090841"/>
                      <a:pt x="70430" y="1085834"/>
                    </a:cubicBezTo>
                    <a:cubicBezTo>
                      <a:pt x="71566" y="1083301"/>
                      <a:pt x="73000" y="1080927"/>
                      <a:pt x="74296" y="1078453"/>
                    </a:cubicBezTo>
                    <a:cubicBezTo>
                      <a:pt x="75631" y="1076020"/>
                      <a:pt x="76886" y="1073546"/>
                      <a:pt x="78281" y="1071153"/>
                    </a:cubicBezTo>
                    <a:lnTo>
                      <a:pt x="82586" y="1064012"/>
                    </a:lnTo>
                    <a:cubicBezTo>
                      <a:pt x="83303" y="1062815"/>
                      <a:pt x="84001" y="1061618"/>
                      <a:pt x="84738" y="1060441"/>
                    </a:cubicBezTo>
                    <a:lnTo>
                      <a:pt x="87049" y="1056970"/>
                    </a:lnTo>
                    <a:lnTo>
                      <a:pt x="91653" y="1050009"/>
                    </a:lnTo>
                    <a:lnTo>
                      <a:pt x="96575" y="1043247"/>
                    </a:lnTo>
                    <a:lnTo>
                      <a:pt x="99026" y="1039856"/>
                    </a:lnTo>
                    <a:lnTo>
                      <a:pt x="99325" y="1039437"/>
                    </a:lnTo>
                    <a:lnTo>
                      <a:pt x="99484" y="1039218"/>
                    </a:lnTo>
                    <a:cubicBezTo>
                      <a:pt x="99484" y="1039218"/>
                      <a:pt x="99564" y="1039098"/>
                      <a:pt x="99724" y="1038918"/>
                    </a:cubicBezTo>
                    <a:lnTo>
                      <a:pt x="101258" y="1037083"/>
                    </a:lnTo>
                    <a:lnTo>
                      <a:pt x="104327" y="1033413"/>
                    </a:lnTo>
                    <a:lnTo>
                      <a:pt x="116583" y="1018752"/>
                    </a:lnTo>
                    <a:lnTo>
                      <a:pt x="118177" y="1016897"/>
                    </a:lnTo>
                    <a:cubicBezTo>
                      <a:pt x="118715" y="1016279"/>
                      <a:pt x="119293" y="1015660"/>
                      <a:pt x="119512" y="1015002"/>
                    </a:cubicBezTo>
                    <a:lnTo>
                      <a:pt x="121345" y="1011092"/>
                    </a:lnTo>
                    <a:lnTo>
                      <a:pt x="124992" y="1003253"/>
                    </a:lnTo>
                    <a:lnTo>
                      <a:pt x="128639" y="995414"/>
                    </a:lnTo>
                    <a:lnTo>
                      <a:pt x="130472" y="991505"/>
                    </a:lnTo>
                    <a:cubicBezTo>
                      <a:pt x="130731" y="990846"/>
                      <a:pt x="131170" y="990228"/>
                      <a:pt x="131289" y="989510"/>
                    </a:cubicBezTo>
                    <a:cubicBezTo>
                      <a:pt x="131429" y="988812"/>
                      <a:pt x="131429" y="988153"/>
                      <a:pt x="131509" y="987455"/>
                    </a:cubicBezTo>
                    <a:lnTo>
                      <a:pt x="132226" y="979317"/>
                    </a:lnTo>
                    <a:lnTo>
                      <a:pt x="132405" y="977282"/>
                    </a:lnTo>
                    <a:cubicBezTo>
                      <a:pt x="132366" y="976564"/>
                      <a:pt x="132226" y="975786"/>
                      <a:pt x="132146" y="975048"/>
                    </a:cubicBezTo>
                    <a:lnTo>
                      <a:pt x="131588" y="970560"/>
                    </a:lnTo>
                    <a:lnTo>
                      <a:pt x="131030" y="966072"/>
                    </a:lnTo>
                    <a:cubicBezTo>
                      <a:pt x="130931" y="965314"/>
                      <a:pt x="130871" y="964576"/>
                      <a:pt x="130731" y="963818"/>
                    </a:cubicBezTo>
                    <a:lnTo>
                      <a:pt x="129974" y="961504"/>
                    </a:lnTo>
                    <a:lnTo>
                      <a:pt x="126925" y="952289"/>
                    </a:lnTo>
                    <a:cubicBezTo>
                      <a:pt x="125889" y="949217"/>
                      <a:pt x="124972" y="946125"/>
                      <a:pt x="123976" y="943053"/>
                    </a:cubicBezTo>
                    <a:lnTo>
                      <a:pt x="122521" y="938446"/>
                    </a:lnTo>
                    <a:lnTo>
                      <a:pt x="121804" y="936132"/>
                    </a:lnTo>
                    <a:lnTo>
                      <a:pt x="121465" y="934975"/>
                    </a:lnTo>
                    <a:lnTo>
                      <a:pt x="121066" y="933479"/>
                    </a:lnTo>
                    <a:cubicBezTo>
                      <a:pt x="120389" y="930965"/>
                      <a:pt x="119711" y="928432"/>
                      <a:pt x="119133" y="925899"/>
                    </a:cubicBezTo>
                    <a:cubicBezTo>
                      <a:pt x="117878" y="920832"/>
                      <a:pt x="116842" y="915706"/>
                      <a:pt x="115925" y="910580"/>
                    </a:cubicBezTo>
                    <a:cubicBezTo>
                      <a:pt x="113115" y="894722"/>
                      <a:pt x="111680" y="878565"/>
                      <a:pt x="111900" y="862368"/>
                    </a:cubicBezTo>
                    <a:cubicBezTo>
                      <a:pt x="112318" y="854289"/>
                      <a:pt x="112139" y="846171"/>
                      <a:pt x="113295" y="838172"/>
                    </a:cubicBezTo>
                    <a:lnTo>
                      <a:pt x="113912" y="832148"/>
                    </a:lnTo>
                    <a:cubicBezTo>
                      <a:pt x="114132" y="830153"/>
                      <a:pt x="114211" y="828119"/>
                      <a:pt x="114650" y="826144"/>
                    </a:cubicBezTo>
                    <a:lnTo>
                      <a:pt x="116722" y="814236"/>
                    </a:lnTo>
                    <a:cubicBezTo>
                      <a:pt x="117240" y="810226"/>
                      <a:pt x="118436" y="806377"/>
                      <a:pt x="119333" y="802447"/>
                    </a:cubicBezTo>
                    <a:lnTo>
                      <a:pt x="120748" y="796583"/>
                    </a:lnTo>
                    <a:lnTo>
                      <a:pt x="121445" y="793650"/>
                    </a:lnTo>
                    <a:cubicBezTo>
                      <a:pt x="121704" y="792673"/>
                      <a:pt x="122063" y="791736"/>
                      <a:pt x="122342" y="790758"/>
                    </a:cubicBezTo>
                    <a:lnTo>
                      <a:pt x="125989" y="779229"/>
                    </a:lnTo>
                    <a:cubicBezTo>
                      <a:pt x="126307" y="778271"/>
                      <a:pt x="126567" y="777294"/>
                      <a:pt x="126905" y="776356"/>
                    </a:cubicBezTo>
                    <a:lnTo>
                      <a:pt x="128021" y="773544"/>
                    </a:lnTo>
                    <a:lnTo>
                      <a:pt x="130233" y="767919"/>
                    </a:lnTo>
                    <a:cubicBezTo>
                      <a:pt x="132904" y="760299"/>
                      <a:pt x="136710" y="753138"/>
                      <a:pt x="140018" y="745778"/>
                    </a:cubicBezTo>
                    <a:cubicBezTo>
                      <a:pt x="141831" y="742167"/>
                      <a:pt x="143924" y="738697"/>
                      <a:pt x="145837" y="735126"/>
                    </a:cubicBezTo>
                    <a:lnTo>
                      <a:pt x="148746" y="729800"/>
                    </a:lnTo>
                    <a:cubicBezTo>
                      <a:pt x="149802" y="728085"/>
                      <a:pt x="150938" y="726389"/>
                      <a:pt x="152014" y="724694"/>
                    </a:cubicBezTo>
                    <a:lnTo>
                      <a:pt x="155940" y="718550"/>
                    </a:lnTo>
                    <a:lnTo>
                      <a:pt x="157893" y="715478"/>
                    </a:lnTo>
                    <a:cubicBezTo>
                      <a:pt x="158531" y="714441"/>
                      <a:pt x="159328" y="713503"/>
                      <a:pt x="160025" y="712526"/>
                    </a:cubicBezTo>
                    <a:lnTo>
                      <a:pt x="168674" y="700757"/>
                    </a:lnTo>
                    <a:lnTo>
                      <a:pt x="178080" y="689547"/>
                    </a:lnTo>
                    <a:cubicBezTo>
                      <a:pt x="179575" y="687612"/>
                      <a:pt x="181328" y="685917"/>
                      <a:pt x="183022" y="684142"/>
                    </a:cubicBezTo>
                    <a:lnTo>
                      <a:pt x="188064" y="678836"/>
                    </a:lnTo>
                    <a:cubicBezTo>
                      <a:pt x="191312" y="675185"/>
                      <a:pt x="195019" y="671974"/>
                      <a:pt x="198586" y="668643"/>
                    </a:cubicBezTo>
                    <a:lnTo>
                      <a:pt x="203947" y="663636"/>
                    </a:lnTo>
                    <a:cubicBezTo>
                      <a:pt x="205780" y="662020"/>
                      <a:pt x="207733" y="660544"/>
                      <a:pt x="209606" y="658988"/>
                    </a:cubicBezTo>
                    <a:lnTo>
                      <a:pt x="215285" y="654341"/>
                    </a:lnTo>
                    <a:lnTo>
                      <a:pt x="218115" y="652007"/>
                    </a:lnTo>
                    <a:lnTo>
                      <a:pt x="221104" y="649893"/>
                    </a:lnTo>
                    <a:lnTo>
                      <a:pt x="232005" y="642053"/>
                    </a:lnTo>
                    <a:lnTo>
                      <a:pt x="247330" y="632439"/>
                    </a:lnTo>
                    <a:lnTo>
                      <a:pt x="261518" y="616900"/>
                    </a:lnTo>
                    <a:lnTo>
                      <a:pt x="268613" y="609121"/>
                    </a:lnTo>
                    <a:lnTo>
                      <a:pt x="270386" y="607186"/>
                    </a:lnTo>
                    <a:lnTo>
                      <a:pt x="271283" y="606209"/>
                    </a:lnTo>
                    <a:lnTo>
                      <a:pt x="271721" y="605730"/>
                    </a:lnTo>
                    <a:lnTo>
                      <a:pt x="272000" y="605132"/>
                    </a:lnTo>
                    <a:lnTo>
                      <a:pt x="273734" y="600803"/>
                    </a:lnTo>
                    <a:cubicBezTo>
                      <a:pt x="275886" y="594839"/>
                      <a:pt x="277301" y="587877"/>
                      <a:pt x="277341" y="580258"/>
                    </a:cubicBezTo>
                    <a:cubicBezTo>
                      <a:pt x="277560" y="572638"/>
                      <a:pt x="275328" y="564400"/>
                      <a:pt x="274412" y="556541"/>
                    </a:cubicBezTo>
                    <a:cubicBezTo>
                      <a:pt x="274093" y="554546"/>
                      <a:pt x="273933" y="552591"/>
                      <a:pt x="273694" y="550596"/>
                    </a:cubicBezTo>
                    <a:lnTo>
                      <a:pt x="273375" y="547664"/>
                    </a:lnTo>
                    <a:lnTo>
                      <a:pt x="273136" y="544932"/>
                    </a:lnTo>
                    <a:lnTo>
                      <a:pt x="272797" y="540743"/>
                    </a:lnTo>
                    <a:lnTo>
                      <a:pt x="272658" y="538369"/>
                    </a:lnTo>
                    <a:cubicBezTo>
                      <a:pt x="272479" y="535217"/>
                      <a:pt x="272359" y="532046"/>
                      <a:pt x="272319" y="528874"/>
                    </a:cubicBezTo>
                    <a:cubicBezTo>
                      <a:pt x="272239" y="525703"/>
                      <a:pt x="272359" y="522531"/>
                      <a:pt x="272419" y="519360"/>
                    </a:cubicBezTo>
                    <a:lnTo>
                      <a:pt x="272518" y="514592"/>
                    </a:lnTo>
                    <a:lnTo>
                      <a:pt x="272837" y="509845"/>
                    </a:lnTo>
                    <a:cubicBezTo>
                      <a:pt x="273834" y="494047"/>
                      <a:pt x="276384" y="478388"/>
                      <a:pt x="280450" y="463109"/>
                    </a:cubicBezTo>
                    <a:cubicBezTo>
                      <a:pt x="284615" y="447870"/>
                      <a:pt x="290294" y="433009"/>
                      <a:pt x="297349" y="418767"/>
                    </a:cubicBezTo>
                    <a:cubicBezTo>
                      <a:pt x="304363" y="404505"/>
                      <a:pt x="312932" y="390941"/>
                      <a:pt x="322717" y="378235"/>
                    </a:cubicBezTo>
                    <a:cubicBezTo>
                      <a:pt x="332501" y="365528"/>
                      <a:pt x="343422" y="353620"/>
                      <a:pt x="355478" y="342849"/>
                    </a:cubicBezTo>
                    <a:cubicBezTo>
                      <a:pt x="369567" y="330362"/>
                      <a:pt x="384892" y="319112"/>
                      <a:pt x="401392" y="309777"/>
                    </a:cubicBezTo>
                    <a:cubicBezTo>
                      <a:pt x="409563" y="304989"/>
                      <a:pt x="418112" y="300820"/>
                      <a:pt x="426740" y="296911"/>
                    </a:cubicBezTo>
                    <a:lnTo>
                      <a:pt x="433297" y="294118"/>
                    </a:lnTo>
                    <a:lnTo>
                      <a:pt x="434931" y="293420"/>
                    </a:lnTo>
                    <a:lnTo>
                      <a:pt x="436704" y="292742"/>
                    </a:lnTo>
                    <a:lnTo>
                      <a:pt x="440291" y="291385"/>
                    </a:lnTo>
                    <a:lnTo>
                      <a:pt x="443878" y="290029"/>
                    </a:lnTo>
                    <a:lnTo>
                      <a:pt x="445672" y="289351"/>
                    </a:lnTo>
                    <a:cubicBezTo>
                      <a:pt x="445791" y="289291"/>
                      <a:pt x="446748" y="288992"/>
                      <a:pt x="447366" y="288792"/>
                    </a:cubicBezTo>
                    <a:lnTo>
                      <a:pt x="449438" y="288134"/>
                    </a:lnTo>
                    <a:lnTo>
                      <a:pt x="466038" y="282888"/>
                    </a:lnTo>
                    <a:lnTo>
                      <a:pt x="469007" y="281931"/>
                    </a:lnTo>
                    <a:lnTo>
                      <a:pt x="470482" y="281452"/>
                    </a:lnTo>
                    <a:cubicBezTo>
                      <a:pt x="471000" y="281312"/>
                      <a:pt x="471479" y="281133"/>
                      <a:pt x="471837" y="280853"/>
                    </a:cubicBezTo>
                    <a:lnTo>
                      <a:pt x="476620" y="277841"/>
                    </a:lnTo>
                    <a:lnTo>
                      <a:pt x="486165" y="271837"/>
                    </a:lnTo>
                    <a:lnTo>
                      <a:pt x="490948" y="268825"/>
                    </a:lnTo>
                    <a:cubicBezTo>
                      <a:pt x="491327" y="268546"/>
                      <a:pt x="491785" y="268387"/>
                      <a:pt x="492104" y="268028"/>
                    </a:cubicBezTo>
                    <a:cubicBezTo>
                      <a:pt x="492483" y="267728"/>
                      <a:pt x="492662" y="267270"/>
                      <a:pt x="492941" y="266891"/>
                    </a:cubicBezTo>
                    <a:lnTo>
                      <a:pt x="494495" y="264517"/>
                    </a:lnTo>
                    <a:lnTo>
                      <a:pt x="500733" y="255022"/>
                    </a:lnTo>
                    <a:lnTo>
                      <a:pt x="503841" y="250275"/>
                    </a:lnTo>
                    <a:lnTo>
                      <a:pt x="505396" y="247901"/>
                    </a:lnTo>
                    <a:cubicBezTo>
                      <a:pt x="505874" y="247083"/>
                      <a:pt x="506532" y="246425"/>
                      <a:pt x="506791" y="245368"/>
                    </a:cubicBezTo>
                    <a:lnTo>
                      <a:pt x="510916" y="233719"/>
                    </a:lnTo>
                    <a:lnTo>
                      <a:pt x="515041" y="222070"/>
                    </a:lnTo>
                    <a:lnTo>
                      <a:pt x="515559" y="220614"/>
                    </a:lnTo>
                    <a:lnTo>
                      <a:pt x="515798" y="219975"/>
                    </a:lnTo>
                    <a:lnTo>
                      <a:pt x="515918" y="219656"/>
                    </a:lnTo>
                    <a:lnTo>
                      <a:pt x="516436" y="218419"/>
                    </a:lnTo>
                    <a:lnTo>
                      <a:pt x="517452" y="215926"/>
                    </a:lnTo>
                    <a:cubicBezTo>
                      <a:pt x="522813" y="202601"/>
                      <a:pt x="528851" y="189636"/>
                      <a:pt x="535567" y="177149"/>
                    </a:cubicBezTo>
                    <a:cubicBezTo>
                      <a:pt x="543677" y="162209"/>
                      <a:pt x="552764" y="147987"/>
                      <a:pt x="562748" y="134702"/>
                    </a:cubicBezTo>
                    <a:cubicBezTo>
                      <a:pt x="572732" y="121417"/>
                      <a:pt x="583633" y="109050"/>
                      <a:pt x="595430" y="98079"/>
                    </a:cubicBezTo>
                    <a:cubicBezTo>
                      <a:pt x="618905" y="75998"/>
                      <a:pt x="645728" y="59123"/>
                      <a:pt x="674026" y="49748"/>
                    </a:cubicBezTo>
                    <a:cubicBezTo>
                      <a:pt x="681080" y="47254"/>
                      <a:pt x="688274" y="45579"/>
                      <a:pt x="695468" y="43963"/>
                    </a:cubicBezTo>
                    <a:lnTo>
                      <a:pt x="700908" y="43026"/>
                    </a:lnTo>
                    <a:lnTo>
                      <a:pt x="703619" y="42527"/>
                    </a:lnTo>
                    <a:lnTo>
                      <a:pt x="706349" y="42188"/>
                    </a:lnTo>
                    <a:lnTo>
                      <a:pt x="711809" y="41490"/>
                    </a:lnTo>
                    <a:lnTo>
                      <a:pt x="717309" y="41071"/>
                    </a:lnTo>
                    <a:cubicBezTo>
                      <a:pt x="720956" y="40672"/>
                      <a:pt x="724643" y="40772"/>
                      <a:pt x="728329" y="40612"/>
                    </a:cubicBezTo>
                    <a:cubicBezTo>
                      <a:pt x="729206" y="40552"/>
                      <a:pt x="730242" y="40612"/>
                      <a:pt x="731278" y="40612"/>
                    </a:cubicBezTo>
                    <a:lnTo>
                      <a:pt x="734347" y="40692"/>
                    </a:lnTo>
                    <a:lnTo>
                      <a:pt x="740505" y="40831"/>
                    </a:lnTo>
                    <a:lnTo>
                      <a:pt x="743574" y="40891"/>
                    </a:lnTo>
                    <a:lnTo>
                      <a:pt x="746603" y="41131"/>
                    </a:lnTo>
                    <a:lnTo>
                      <a:pt x="752661" y="41589"/>
                    </a:lnTo>
                    <a:cubicBezTo>
                      <a:pt x="754674" y="41769"/>
                      <a:pt x="756726" y="41809"/>
                      <a:pt x="758699" y="42088"/>
                    </a:cubicBezTo>
                    <a:lnTo>
                      <a:pt x="764638" y="42866"/>
                    </a:lnTo>
                    <a:cubicBezTo>
                      <a:pt x="780441" y="44941"/>
                      <a:pt x="795666" y="48451"/>
                      <a:pt x="810034" y="53518"/>
                    </a:cubicBezTo>
                    <a:cubicBezTo>
                      <a:pt x="824422" y="58524"/>
                      <a:pt x="837813" y="65366"/>
                      <a:pt x="850288" y="73545"/>
                    </a:cubicBezTo>
                    <a:cubicBezTo>
                      <a:pt x="857821" y="78412"/>
                      <a:pt x="864915" y="83997"/>
                      <a:pt x="871750" y="89961"/>
                    </a:cubicBezTo>
                    <a:cubicBezTo>
                      <a:pt x="872607" y="90719"/>
                      <a:pt x="873524" y="91377"/>
                      <a:pt x="874321" y="92195"/>
                    </a:cubicBezTo>
                    <a:lnTo>
                      <a:pt x="876752" y="94609"/>
                    </a:lnTo>
                    <a:lnTo>
                      <a:pt x="881515" y="99276"/>
                    </a:lnTo>
                    <a:cubicBezTo>
                      <a:pt x="883567" y="101091"/>
                      <a:pt x="885560" y="103525"/>
                      <a:pt x="887573" y="105739"/>
                    </a:cubicBezTo>
                    <a:lnTo>
                      <a:pt x="890582" y="109130"/>
                    </a:lnTo>
                    <a:lnTo>
                      <a:pt x="892097" y="110825"/>
                    </a:lnTo>
                    <a:lnTo>
                      <a:pt x="893511" y="112740"/>
                    </a:lnTo>
                    <a:lnTo>
                      <a:pt x="899131" y="120380"/>
                    </a:lnTo>
                    <a:lnTo>
                      <a:pt x="910370" y="135659"/>
                    </a:lnTo>
                    <a:lnTo>
                      <a:pt x="913738" y="140267"/>
                    </a:lnTo>
                    <a:lnTo>
                      <a:pt x="914575" y="141424"/>
                    </a:lnTo>
                    <a:cubicBezTo>
                      <a:pt x="914854" y="141843"/>
                      <a:pt x="915153" y="141943"/>
                      <a:pt x="915452" y="142202"/>
                    </a:cubicBezTo>
                    <a:lnTo>
                      <a:pt x="917206" y="143558"/>
                    </a:lnTo>
                    <a:cubicBezTo>
                      <a:pt x="919557" y="145354"/>
                      <a:pt x="921909" y="147129"/>
                      <a:pt x="924300" y="148844"/>
                    </a:cubicBezTo>
                    <a:cubicBezTo>
                      <a:pt x="929043" y="152295"/>
                      <a:pt x="933846" y="155606"/>
                      <a:pt x="938648" y="158758"/>
                    </a:cubicBezTo>
                    <a:lnTo>
                      <a:pt x="939545" y="159356"/>
                    </a:lnTo>
                    <a:cubicBezTo>
                      <a:pt x="939844" y="159556"/>
                      <a:pt x="940163" y="159775"/>
                      <a:pt x="940362" y="159755"/>
                    </a:cubicBezTo>
                    <a:lnTo>
                      <a:pt x="941777" y="160015"/>
                    </a:lnTo>
                    <a:lnTo>
                      <a:pt x="944607" y="160533"/>
                    </a:lnTo>
                    <a:lnTo>
                      <a:pt x="950266" y="161590"/>
                    </a:lnTo>
                    <a:lnTo>
                      <a:pt x="955926" y="162648"/>
                    </a:lnTo>
                    <a:lnTo>
                      <a:pt x="958755" y="163166"/>
                    </a:lnTo>
                    <a:lnTo>
                      <a:pt x="960170" y="163426"/>
                    </a:lnTo>
                    <a:cubicBezTo>
                      <a:pt x="960409" y="163466"/>
                      <a:pt x="960649" y="163525"/>
                      <a:pt x="960868" y="163545"/>
                    </a:cubicBezTo>
                    <a:lnTo>
                      <a:pt x="961804" y="163545"/>
                    </a:lnTo>
                    <a:lnTo>
                      <a:pt x="973123" y="161451"/>
                    </a:lnTo>
                    <a:lnTo>
                      <a:pt x="978783" y="160394"/>
                    </a:lnTo>
                    <a:cubicBezTo>
                      <a:pt x="980736" y="159895"/>
                      <a:pt x="982330" y="160254"/>
                      <a:pt x="984961" y="158120"/>
                    </a:cubicBezTo>
                    <a:cubicBezTo>
                      <a:pt x="989763" y="154948"/>
                      <a:pt x="994546" y="151617"/>
                      <a:pt x="999289" y="148146"/>
                    </a:cubicBezTo>
                    <a:cubicBezTo>
                      <a:pt x="1001660" y="146411"/>
                      <a:pt x="1004012" y="144636"/>
                      <a:pt x="1006363" y="142820"/>
                    </a:cubicBezTo>
                    <a:cubicBezTo>
                      <a:pt x="1006941" y="142322"/>
                      <a:pt x="1007539" y="142022"/>
                      <a:pt x="1008097" y="141344"/>
                    </a:cubicBezTo>
                    <a:lnTo>
                      <a:pt x="1009751" y="139110"/>
                    </a:lnTo>
                    <a:lnTo>
                      <a:pt x="1013039" y="134642"/>
                    </a:lnTo>
                    <a:lnTo>
                      <a:pt x="1026191" y="116750"/>
                    </a:lnTo>
                    <a:cubicBezTo>
                      <a:pt x="1028403" y="113798"/>
                      <a:pt x="1030516" y="110626"/>
                      <a:pt x="1032927" y="108153"/>
                    </a:cubicBezTo>
                    <a:lnTo>
                      <a:pt x="1036434" y="104223"/>
                    </a:lnTo>
                    <a:lnTo>
                      <a:pt x="1038188" y="102248"/>
                    </a:lnTo>
                    <a:cubicBezTo>
                      <a:pt x="1038766" y="101570"/>
                      <a:pt x="1039364" y="100932"/>
                      <a:pt x="1039962" y="100413"/>
                    </a:cubicBezTo>
                    <a:lnTo>
                      <a:pt x="1043509" y="96982"/>
                    </a:lnTo>
                    <a:lnTo>
                      <a:pt x="1045820" y="94688"/>
                    </a:lnTo>
                    <a:lnTo>
                      <a:pt x="1048650" y="91876"/>
                    </a:lnTo>
                    <a:lnTo>
                      <a:pt x="1054668" y="86769"/>
                    </a:lnTo>
                    <a:cubicBezTo>
                      <a:pt x="1058554" y="83159"/>
                      <a:pt x="1062919" y="80287"/>
                      <a:pt x="1067083" y="77095"/>
                    </a:cubicBezTo>
                    <a:cubicBezTo>
                      <a:pt x="1069116" y="75420"/>
                      <a:pt x="1071428" y="74203"/>
                      <a:pt x="1073600" y="72747"/>
                    </a:cubicBezTo>
                    <a:cubicBezTo>
                      <a:pt x="1075812" y="71370"/>
                      <a:pt x="1077964" y="69854"/>
                      <a:pt x="1080216" y="68558"/>
                    </a:cubicBezTo>
                    <a:cubicBezTo>
                      <a:pt x="1105963" y="53438"/>
                      <a:pt x="1135835" y="44741"/>
                      <a:pt x="1167919" y="41749"/>
                    </a:cubicBezTo>
                    <a:cubicBezTo>
                      <a:pt x="1171964" y="41490"/>
                      <a:pt x="1175970" y="41071"/>
                      <a:pt x="1180035" y="40891"/>
                    </a:cubicBezTo>
                    <a:lnTo>
                      <a:pt x="1192330" y="40592"/>
                    </a:lnTo>
                    <a:cubicBezTo>
                      <a:pt x="1194343" y="40552"/>
                      <a:pt x="1196057" y="40692"/>
                      <a:pt x="1197930" y="40712"/>
                    </a:cubicBezTo>
                    <a:cubicBezTo>
                      <a:pt x="1199763" y="40792"/>
                      <a:pt x="1201617" y="40712"/>
                      <a:pt x="1203430" y="40931"/>
                    </a:cubicBezTo>
                    <a:cubicBezTo>
                      <a:pt x="1207097" y="41230"/>
                      <a:pt x="1210764" y="41390"/>
                      <a:pt x="1214390" y="41968"/>
                    </a:cubicBezTo>
                    <a:cubicBezTo>
                      <a:pt x="1221704" y="42746"/>
                      <a:pt x="1228898" y="44342"/>
                      <a:pt x="1236092" y="46018"/>
                    </a:cubicBezTo>
                    <a:lnTo>
                      <a:pt x="1241453" y="47514"/>
                    </a:lnTo>
                    <a:lnTo>
                      <a:pt x="1244123" y="48252"/>
                    </a:lnTo>
                    <a:lnTo>
                      <a:pt x="1246773" y="49149"/>
                    </a:lnTo>
                    <a:lnTo>
                      <a:pt x="1252094" y="50885"/>
                    </a:lnTo>
                    <a:lnTo>
                      <a:pt x="1257335" y="52919"/>
                    </a:lnTo>
                    <a:cubicBezTo>
                      <a:pt x="1285314" y="63810"/>
                      <a:pt x="1311599" y="82002"/>
                      <a:pt x="1334376" y="105121"/>
                    </a:cubicBezTo>
                    <a:cubicBezTo>
                      <a:pt x="1345835" y="116630"/>
                      <a:pt x="1356357" y="129436"/>
                      <a:pt x="1365942" y="143120"/>
                    </a:cubicBezTo>
                    <a:cubicBezTo>
                      <a:pt x="1375547" y="156803"/>
                      <a:pt x="1384216" y="171365"/>
                      <a:pt x="1391908" y="186584"/>
                    </a:cubicBezTo>
                    <a:cubicBezTo>
                      <a:pt x="1393662" y="190075"/>
                      <a:pt x="1395316" y="193645"/>
                      <a:pt x="1397030" y="197176"/>
                    </a:cubicBezTo>
                    <a:cubicBezTo>
                      <a:pt x="1398684" y="200746"/>
                      <a:pt x="1400218" y="204377"/>
                      <a:pt x="1401832" y="207967"/>
                    </a:cubicBezTo>
                    <a:cubicBezTo>
                      <a:pt x="1403387" y="211598"/>
                      <a:pt x="1404821" y="215288"/>
                      <a:pt x="1406336" y="218938"/>
                    </a:cubicBezTo>
                    <a:lnTo>
                      <a:pt x="1406615" y="219616"/>
                    </a:lnTo>
                    <a:lnTo>
                      <a:pt x="1406754" y="219955"/>
                    </a:lnTo>
                    <a:lnTo>
                      <a:pt x="1407014" y="220653"/>
                    </a:lnTo>
                    <a:lnTo>
                      <a:pt x="1408149" y="223845"/>
                    </a:lnTo>
                    <a:lnTo>
                      <a:pt x="1410421" y="230248"/>
                    </a:lnTo>
                    <a:lnTo>
                      <a:pt x="1414965" y="243054"/>
                    </a:lnTo>
                    <a:lnTo>
                      <a:pt x="1415921" y="245767"/>
                    </a:lnTo>
                    <a:cubicBezTo>
                      <a:pt x="1416240" y="246664"/>
                      <a:pt x="1416838" y="247283"/>
                      <a:pt x="1417276" y="248041"/>
                    </a:cubicBezTo>
                    <a:lnTo>
                      <a:pt x="1420146" y="252429"/>
                    </a:lnTo>
                    <a:lnTo>
                      <a:pt x="1425905" y="261186"/>
                    </a:lnTo>
                    <a:lnTo>
                      <a:pt x="1428775" y="265574"/>
                    </a:lnTo>
                    <a:lnTo>
                      <a:pt x="1430210" y="267768"/>
                    </a:lnTo>
                    <a:lnTo>
                      <a:pt x="1430688" y="268227"/>
                    </a:lnTo>
                    <a:lnTo>
                      <a:pt x="1431246" y="268566"/>
                    </a:lnTo>
                    <a:lnTo>
                      <a:pt x="1432342" y="269264"/>
                    </a:lnTo>
                    <a:lnTo>
                      <a:pt x="1441170" y="274810"/>
                    </a:lnTo>
                    <a:lnTo>
                      <a:pt x="1449998" y="280355"/>
                    </a:lnTo>
                    <a:lnTo>
                      <a:pt x="1451094" y="281053"/>
                    </a:lnTo>
                    <a:cubicBezTo>
                      <a:pt x="1451473" y="281272"/>
                      <a:pt x="1451991" y="281352"/>
                      <a:pt x="1452429" y="281532"/>
                    </a:cubicBezTo>
                    <a:lnTo>
                      <a:pt x="1455179" y="282409"/>
                    </a:lnTo>
                    <a:lnTo>
                      <a:pt x="1460659" y="284145"/>
                    </a:lnTo>
                    <a:lnTo>
                      <a:pt x="1471620" y="287635"/>
                    </a:lnTo>
                    <a:lnTo>
                      <a:pt x="1476821" y="289311"/>
                    </a:lnTo>
                    <a:lnTo>
                      <a:pt x="1479192" y="290209"/>
                    </a:lnTo>
                    <a:cubicBezTo>
                      <a:pt x="1482301" y="291425"/>
                      <a:pt x="1485609" y="292582"/>
                      <a:pt x="1488558" y="293819"/>
                    </a:cubicBezTo>
                    <a:lnTo>
                      <a:pt x="1497207" y="297509"/>
                    </a:lnTo>
                    <a:lnTo>
                      <a:pt x="1505716" y="301538"/>
                    </a:lnTo>
                    <a:cubicBezTo>
                      <a:pt x="1508546" y="302875"/>
                      <a:pt x="1511276" y="304431"/>
                      <a:pt x="1514066" y="305847"/>
                    </a:cubicBezTo>
                    <a:cubicBezTo>
                      <a:pt x="1536126" y="317696"/>
                      <a:pt x="1556632" y="332416"/>
                      <a:pt x="1574468" y="349750"/>
                    </a:cubicBezTo>
                    <a:cubicBezTo>
                      <a:pt x="1586106" y="360941"/>
                      <a:pt x="1596528" y="373268"/>
                      <a:pt x="1605794" y="386313"/>
                    </a:cubicBezTo>
                    <a:cubicBezTo>
                      <a:pt x="1615041" y="399378"/>
                      <a:pt x="1623052" y="413242"/>
                      <a:pt x="1629469" y="427763"/>
                    </a:cubicBezTo>
                    <a:cubicBezTo>
                      <a:pt x="1635925" y="442264"/>
                      <a:pt x="1640967" y="457324"/>
                      <a:pt x="1644494" y="472723"/>
                    </a:cubicBezTo>
                    <a:cubicBezTo>
                      <a:pt x="1647962" y="488142"/>
                      <a:pt x="1649815" y="503901"/>
                      <a:pt x="1650174" y="519758"/>
                    </a:cubicBezTo>
                    <a:cubicBezTo>
                      <a:pt x="1650393" y="525264"/>
                      <a:pt x="1650293" y="530789"/>
                      <a:pt x="1650034" y="536275"/>
                    </a:cubicBezTo>
                    <a:lnTo>
                      <a:pt x="1649795" y="540384"/>
                    </a:lnTo>
                    <a:lnTo>
                      <a:pt x="1649735" y="541421"/>
                    </a:lnTo>
                    <a:lnTo>
                      <a:pt x="1649576" y="543396"/>
                    </a:lnTo>
                    <a:lnTo>
                      <a:pt x="1649177" y="548143"/>
                    </a:lnTo>
                    <a:cubicBezTo>
                      <a:pt x="1648480" y="555005"/>
                      <a:pt x="1647503" y="561886"/>
                      <a:pt x="1646228" y="568848"/>
                    </a:cubicBezTo>
                    <a:cubicBezTo>
                      <a:pt x="1644713" y="577146"/>
                      <a:pt x="1645052" y="585145"/>
                      <a:pt x="1646467" y="592126"/>
                    </a:cubicBezTo>
                    <a:cubicBezTo>
                      <a:pt x="1646646" y="593004"/>
                      <a:pt x="1646786" y="593901"/>
                      <a:pt x="1647005" y="594759"/>
                    </a:cubicBezTo>
                    <a:lnTo>
                      <a:pt x="1647723" y="597213"/>
                    </a:lnTo>
                    <a:lnTo>
                      <a:pt x="1648440" y="599666"/>
                    </a:lnTo>
                    <a:cubicBezTo>
                      <a:pt x="1648699" y="600464"/>
                      <a:pt x="1649018" y="601162"/>
                      <a:pt x="1649297" y="601920"/>
                    </a:cubicBezTo>
                    <a:lnTo>
                      <a:pt x="1650194" y="604154"/>
                    </a:lnTo>
                    <a:cubicBezTo>
                      <a:pt x="1650473" y="604852"/>
                      <a:pt x="1650752" y="605770"/>
                      <a:pt x="1651489" y="606368"/>
                    </a:cubicBezTo>
                    <a:lnTo>
                      <a:pt x="1655235" y="610358"/>
                    </a:lnTo>
                    <a:lnTo>
                      <a:pt x="1670201" y="626275"/>
                    </a:lnTo>
                    <a:lnTo>
                      <a:pt x="1673948" y="630265"/>
                    </a:lnTo>
                    <a:lnTo>
                      <a:pt x="1675821" y="632259"/>
                    </a:lnTo>
                    <a:cubicBezTo>
                      <a:pt x="1676439" y="632918"/>
                      <a:pt x="1676997" y="633616"/>
                      <a:pt x="1677973" y="634134"/>
                    </a:cubicBezTo>
                    <a:lnTo>
                      <a:pt x="1688575" y="640737"/>
                    </a:lnTo>
                    <a:cubicBezTo>
                      <a:pt x="1690428" y="641814"/>
                      <a:pt x="1691903" y="642991"/>
                      <a:pt x="1693517" y="644128"/>
                    </a:cubicBezTo>
                    <a:lnTo>
                      <a:pt x="1698280" y="647559"/>
                    </a:lnTo>
                    <a:lnTo>
                      <a:pt x="1702983" y="650910"/>
                    </a:lnTo>
                    <a:cubicBezTo>
                      <a:pt x="1704397" y="651847"/>
                      <a:pt x="1705673" y="652944"/>
                      <a:pt x="1706968" y="654002"/>
                    </a:cubicBezTo>
                    <a:lnTo>
                      <a:pt x="1710874" y="657213"/>
                    </a:lnTo>
                    <a:cubicBezTo>
                      <a:pt x="1713465" y="659367"/>
                      <a:pt x="1716135" y="661422"/>
                      <a:pt x="1718686" y="663616"/>
                    </a:cubicBezTo>
                    <a:lnTo>
                      <a:pt x="1726079" y="670498"/>
                    </a:lnTo>
                    <a:cubicBezTo>
                      <a:pt x="1731181" y="674906"/>
                      <a:pt x="1735585" y="680012"/>
                      <a:pt x="1740288" y="684820"/>
                    </a:cubicBezTo>
                    <a:cubicBezTo>
                      <a:pt x="1742699" y="687173"/>
                      <a:pt x="1744791" y="689806"/>
                      <a:pt x="1746943" y="692380"/>
                    </a:cubicBezTo>
                    <a:lnTo>
                      <a:pt x="1753420" y="700079"/>
                    </a:lnTo>
                    <a:cubicBezTo>
                      <a:pt x="1755513" y="702692"/>
                      <a:pt x="1757386" y="705485"/>
                      <a:pt x="1759418" y="708158"/>
                    </a:cubicBezTo>
                    <a:lnTo>
                      <a:pt x="1762408" y="712207"/>
                    </a:lnTo>
                    <a:cubicBezTo>
                      <a:pt x="1763384" y="713563"/>
                      <a:pt x="1764460" y="714860"/>
                      <a:pt x="1765297" y="716316"/>
                    </a:cubicBezTo>
                    <a:lnTo>
                      <a:pt x="1770698" y="724773"/>
                    </a:lnTo>
                    <a:lnTo>
                      <a:pt x="1773428" y="728982"/>
                    </a:lnTo>
                    <a:cubicBezTo>
                      <a:pt x="1774305" y="730399"/>
                      <a:pt x="1775042" y="731915"/>
                      <a:pt x="1775879" y="733371"/>
                    </a:cubicBezTo>
                    <a:lnTo>
                      <a:pt x="1781758" y="743982"/>
                    </a:lnTo>
                    <a:cubicBezTo>
                      <a:pt x="1783571" y="747593"/>
                      <a:pt x="1785185" y="751303"/>
                      <a:pt x="1786939" y="754933"/>
                    </a:cubicBezTo>
                    <a:lnTo>
                      <a:pt x="1789549" y="760399"/>
                    </a:lnTo>
                    <a:lnTo>
                      <a:pt x="1791722" y="766044"/>
                    </a:lnTo>
                    <a:cubicBezTo>
                      <a:pt x="1793156" y="769814"/>
                      <a:pt x="1794711" y="773544"/>
                      <a:pt x="1796106" y="777314"/>
                    </a:cubicBezTo>
                    <a:lnTo>
                      <a:pt x="1799733" y="788843"/>
                    </a:lnTo>
                    <a:cubicBezTo>
                      <a:pt x="1800291" y="790778"/>
                      <a:pt x="1801068" y="792653"/>
                      <a:pt x="1801486" y="794628"/>
                    </a:cubicBezTo>
                    <a:lnTo>
                      <a:pt x="1802901" y="800512"/>
                    </a:lnTo>
                    <a:lnTo>
                      <a:pt x="1804336" y="806377"/>
                    </a:lnTo>
                    <a:cubicBezTo>
                      <a:pt x="1804794" y="808331"/>
                      <a:pt x="1805412" y="810266"/>
                      <a:pt x="1805651" y="812261"/>
                    </a:cubicBezTo>
                    <a:lnTo>
                      <a:pt x="1807704" y="824169"/>
                    </a:lnTo>
                    <a:cubicBezTo>
                      <a:pt x="1808561" y="828119"/>
                      <a:pt x="1808740" y="832168"/>
                      <a:pt x="1809198" y="836177"/>
                    </a:cubicBezTo>
                    <a:lnTo>
                      <a:pt x="1809836" y="842201"/>
                    </a:lnTo>
                    <a:cubicBezTo>
                      <a:pt x="1810055" y="844216"/>
                      <a:pt x="1810314" y="846211"/>
                      <a:pt x="1810314" y="848245"/>
                    </a:cubicBezTo>
                    <a:cubicBezTo>
                      <a:pt x="1810474" y="856324"/>
                      <a:pt x="1811111" y="864402"/>
                      <a:pt x="1810733" y="872501"/>
                    </a:cubicBezTo>
                    <a:cubicBezTo>
                      <a:pt x="1810235" y="888678"/>
                      <a:pt x="1808262" y="904735"/>
                      <a:pt x="1804814" y="920473"/>
                    </a:cubicBezTo>
                    <a:cubicBezTo>
                      <a:pt x="1804416" y="922348"/>
                      <a:pt x="1803997" y="924223"/>
                      <a:pt x="1803519" y="926098"/>
                    </a:cubicBezTo>
                    <a:cubicBezTo>
                      <a:pt x="1803080" y="927973"/>
                      <a:pt x="1802622" y="929828"/>
                      <a:pt x="1802104" y="931684"/>
                    </a:cubicBezTo>
                    <a:lnTo>
                      <a:pt x="1801725" y="933080"/>
                    </a:lnTo>
                    <a:lnTo>
                      <a:pt x="1801367" y="934476"/>
                    </a:lnTo>
                    <a:lnTo>
                      <a:pt x="1800849" y="936231"/>
                    </a:lnTo>
                    <a:lnTo>
                      <a:pt x="1798716" y="943033"/>
                    </a:lnTo>
                    <a:lnTo>
                      <a:pt x="1796564" y="949835"/>
                    </a:lnTo>
                    <a:lnTo>
                      <a:pt x="1794153" y="956617"/>
                    </a:lnTo>
                    <a:lnTo>
                      <a:pt x="1792240" y="962901"/>
                    </a:lnTo>
                    <a:cubicBezTo>
                      <a:pt x="1791841" y="963958"/>
                      <a:pt x="1791821" y="964955"/>
                      <a:pt x="1791682" y="965972"/>
                    </a:cubicBezTo>
                    <a:lnTo>
                      <a:pt x="1791303" y="969024"/>
                    </a:lnTo>
                    <a:cubicBezTo>
                      <a:pt x="1790885" y="973054"/>
                      <a:pt x="1789928" y="977322"/>
                      <a:pt x="1790626" y="980853"/>
                    </a:cubicBezTo>
                    <a:lnTo>
                      <a:pt x="1791104" y="986378"/>
                    </a:lnTo>
                    <a:lnTo>
                      <a:pt x="1791343" y="989151"/>
                    </a:lnTo>
                    <a:lnTo>
                      <a:pt x="1791482" y="989869"/>
                    </a:lnTo>
                    <a:lnTo>
                      <a:pt x="1791781" y="990527"/>
                    </a:lnTo>
                    <a:lnTo>
                      <a:pt x="1792399" y="991864"/>
                    </a:lnTo>
                    <a:lnTo>
                      <a:pt x="1797361" y="1002515"/>
                    </a:lnTo>
                    <a:lnTo>
                      <a:pt x="1802323" y="1013167"/>
                    </a:lnTo>
                    <a:cubicBezTo>
                      <a:pt x="1802742" y="1014045"/>
                      <a:pt x="1803140" y="1014942"/>
                      <a:pt x="1803579" y="1015820"/>
                    </a:cubicBezTo>
                    <a:lnTo>
                      <a:pt x="1805591" y="1018233"/>
                    </a:lnTo>
                    <a:lnTo>
                      <a:pt x="1809617" y="1023041"/>
                    </a:lnTo>
                    <a:lnTo>
                      <a:pt x="1817668" y="1032655"/>
                    </a:lnTo>
                    <a:cubicBezTo>
                      <a:pt x="1820159" y="1035647"/>
                      <a:pt x="1823785" y="1039856"/>
                      <a:pt x="1824124" y="1040554"/>
                    </a:cubicBezTo>
                    <a:cubicBezTo>
                      <a:pt x="1832952" y="1052123"/>
                      <a:pt x="1840664" y="1064431"/>
                      <a:pt x="1847619" y="1077097"/>
                    </a:cubicBezTo>
                    <a:cubicBezTo>
                      <a:pt x="1861609" y="1102430"/>
                      <a:pt x="1871214" y="1129897"/>
                      <a:pt x="1876953" y="1158042"/>
                    </a:cubicBezTo>
                    <a:cubicBezTo>
                      <a:pt x="1880062" y="1174079"/>
                      <a:pt x="1881756" y="1190376"/>
                      <a:pt x="1882055" y="1206752"/>
                    </a:cubicBezTo>
                    <a:cubicBezTo>
                      <a:pt x="1882433" y="1223129"/>
                      <a:pt x="1881337" y="1239525"/>
                      <a:pt x="1878906" y="1255662"/>
                    </a:cubicBezTo>
                    <a:cubicBezTo>
                      <a:pt x="1876375" y="1271799"/>
                      <a:pt x="1872449" y="1287697"/>
                      <a:pt x="1867188" y="1303176"/>
                    </a:cubicBezTo>
                    <a:cubicBezTo>
                      <a:pt x="1864618" y="1310935"/>
                      <a:pt x="1861529" y="1318515"/>
                      <a:pt x="1858340" y="1326055"/>
                    </a:cubicBezTo>
                    <a:cubicBezTo>
                      <a:pt x="1856587" y="1329765"/>
                      <a:pt x="1854953" y="1333515"/>
                      <a:pt x="1853139" y="1337186"/>
                    </a:cubicBezTo>
                    <a:cubicBezTo>
                      <a:pt x="1851226" y="1340816"/>
                      <a:pt x="1849532" y="1344546"/>
                      <a:pt x="1847460" y="1348097"/>
                    </a:cubicBezTo>
                    <a:cubicBezTo>
                      <a:pt x="1839568" y="1362498"/>
                      <a:pt x="1830501" y="1376302"/>
                      <a:pt x="1820298" y="1389287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44" name="Freeform 12">
                <a:extLst>
                  <a:ext uri="{FF2B5EF4-FFF2-40B4-BE49-F238E27FC236}">
                    <a16:creationId xmlns:a16="http://schemas.microsoft.com/office/drawing/2014/main" id="{31C0C781-AD18-E960-5591-662C4B6EFBDF}"/>
                  </a:ext>
                </a:extLst>
              </p:cNvPr>
              <p:cNvSpPr/>
              <p:nvPr/>
            </p:nvSpPr>
            <p:spPr>
              <a:xfrm>
                <a:off x="3582884" y="2951523"/>
                <a:ext cx="342660" cy="341292"/>
              </a:xfrm>
              <a:custGeom>
                <a:avLst/>
                <a:gdLst>
                  <a:gd name="connsiteX0" fmla="*/ 44878 w 342660"/>
                  <a:gd name="connsiteY0" fmla="*/ 126623 h 341292"/>
                  <a:gd name="connsiteX1" fmla="*/ 44878 w 342660"/>
                  <a:gd name="connsiteY1" fmla="*/ 256279 h 341292"/>
                  <a:gd name="connsiteX2" fmla="*/ 103685 w 342660"/>
                  <a:gd name="connsiteY2" fmla="*/ 315142 h 341292"/>
                  <a:gd name="connsiteX3" fmla="*/ 225863 w 342660"/>
                  <a:gd name="connsiteY3" fmla="*/ 315142 h 341292"/>
                  <a:gd name="connsiteX4" fmla="*/ 277835 w 342660"/>
                  <a:gd name="connsiteY4" fmla="*/ 341293 h 341292"/>
                  <a:gd name="connsiteX5" fmla="*/ 342660 w 342660"/>
                  <a:gd name="connsiteY5" fmla="*/ 276405 h 341292"/>
                  <a:gd name="connsiteX6" fmla="*/ 277835 w 342660"/>
                  <a:gd name="connsiteY6" fmla="*/ 211518 h 341292"/>
                  <a:gd name="connsiteX7" fmla="*/ 213049 w 342660"/>
                  <a:gd name="connsiteY7" fmla="*/ 275248 h 341292"/>
                  <a:gd name="connsiteX8" fmla="*/ 103705 w 342660"/>
                  <a:gd name="connsiteY8" fmla="*/ 275248 h 341292"/>
                  <a:gd name="connsiteX9" fmla="*/ 84753 w 342660"/>
                  <a:gd name="connsiteY9" fmla="*/ 256279 h 341292"/>
                  <a:gd name="connsiteX10" fmla="*/ 84753 w 342660"/>
                  <a:gd name="connsiteY10" fmla="*/ 126623 h 341292"/>
                  <a:gd name="connsiteX11" fmla="*/ 129651 w 342660"/>
                  <a:gd name="connsiteY11" fmla="*/ 64888 h 341292"/>
                  <a:gd name="connsiteX12" fmla="*/ 64826 w 342660"/>
                  <a:gd name="connsiteY12" fmla="*/ 0 h 341292"/>
                  <a:gd name="connsiteX13" fmla="*/ 0 w 342660"/>
                  <a:gd name="connsiteY13" fmla="*/ 64888 h 341292"/>
                  <a:gd name="connsiteX14" fmla="*/ 44898 w 342660"/>
                  <a:gd name="connsiteY14" fmla="*/ 126623 h 341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2660" h="341292">
                    <a:moveTo>
                      <a:pt x="44878" y="126623"/>
                    </a:moveTo>
                    <a:lnTo>
                      <a:pt x="44878" y="256279"/>
                    </a:lnTo>
                    <a:cubicBezTo>
                      <a:pt x="44878" y="288733"/>
                      <a:pt x="71262" y="315142"/>
                      <a:pt x="103685" y="315142"/>
                    </a:cubicBezTo>
                    <a:lnTo>
                      <a:pt x="225863" y="315142"/>
                    </a:lnTo>
                    <a:cubicBezTo>
                      <a:pt x="237700" y="331000"/>
                      <a:pt x="256592" y="341293"/>
                      <a:pt x="277835" y="341293"/>
                    </a:cubicBezTo>
                    <a:cubicBezTo>
                      <a:pt x="313585" y="341293"/>
                      <a:pt x="342660" y="312190"/>
                      <a:pt x="342660" y="276405"/>
                    </a:cubicBezTo>
                    <a:cubicBezTo>
                      <a:pt x="342660" y="240620"/>
                      <a:pt x="313585" y="211518"/>
                      <a:pt x="277835" y="211518"/>
                    </a:cubicBezTo>
                    <a:cubicBezTo>
                      <a:pt x="242084" y="211518"/>
                      <a:pt x="213667" y="240002"/>
                      <a:pt x="213049" y="275248"/>
                    </a:cubicBezTo>
                    <a:lnTo>
                      <a:pt x="103705" y="275248"/>
                    </a:lnTo>
                    <a:cubicBezTo>
                      <a:pt x="93243" y="275248"/>
                      <a:pt x="84753" y="266731"/>
                      <a:pt x="84753" y="256279"/>
                    </a:cubicBezTo>
                    <a:lnTo>
                      <a:pt x="84753" y="126623"/>
                    </a:lnTo>
                    <a:cubicBezTo>
                      <a:pt x="110779" y="118186"/>
                      <a:pt x="129651" y="93711"/>
                      <a:pt x="129651" y="64888"/>
                    </a:cubicBezTo>
                    <a:cubicBezTo>
                      <a:pt x="129651" y="29103"/>
                      <a:pt x="100576" y="0"/>
                      <a:pt x="64826" y="0"/>
                    </a:cubicBezTo>
                    <a:cubicBezTo>
                      <a:pt x="29075" y="0"/>
                      <a:pt x="0" y="29103"/>
                      <a:pt x="0" y="64888"/>
                    </a:cubicBezTo>
                    <a:cubicBezTo>
                      <a:pt x="0" y="93711"/>
                      <a:pt x="18872" y="118186"/>
                      <a:pt x="44898" y="126623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45" name="Freeform 13">
                <a:extLst>
                  <a:ext uri="{FF2B5EF4-FFF2-40B4-BE49-F238E27FC236}">
                    <a16:creationId xmlns:a16="http://schemas.microsoft.com/office/drawing/2014/main" id="{B8B59569-2C6C-ABB3-A1D3-B4214F3092BD}"/>
                  </a:ext>
                </a:extLst>
              </p:cNvPr>
              <p:cNvSpPr/>
              <p:nvPr/>
            </p:nvSpPr>
            <p:spPr>
              <a:xfrm>
                <a:off x="3626487" y="3781576"/>
                <a:ext cx="479285" cy="406579"/>
              </a:xfrm>
              <a:custGeom>
                <a:avLst/>
                <a:gdLst>
                  <a:gd name="connsiteX0" fmla="*/ 434388 w 479285"/>
                  <a:gd name="connsiteY0" fmla="*/ 279956 h 406579"/>
                  <a:gd name="connsiteX1" fmla="*/ 434388 w 479285"/>
                  <a:gd name="connsiteY1" fmla="*/ 250175 h 406579"/>
                  <a:gd name="connsiteX2" fmla="*/ 414281 w 479285"/>
                  <a:gd name="connsiteY2" fmla="*/ 199550 h 406579"/>
                  <a:gd name="connsiteX3" fmla="*/ 363704 w 479285"/>
                  <a:gd name="connsiteY3" fmla="*/ 145912 h 406579"/>
                  <a:gd name="connsiteX4" fmla="*/ 314582 w 479285"/>
                  <a:gd name="connsiteY4" fmla="*/ 124709 h 406579"/>
                  <a:gd name="connsiteX5" fmla="*/ 195891 w 479285"/>
                  <a:gd name="connsiteY5" fmla="*/ 124709 h 406579"/>
                  <a:gd name="connsiteX6" fmla="*/ 195891 w 479285"/>
                  <a:gd name="connsiteY6" fmla="*/ 0 h 406579"/>
                  <a:gd name="connsiteX7" fmla="*/ 156035 w 479285"/>
                  <a:gd name="connsiteY7" fmla="*/ 0 h 406579"/>
                  <a:gd name="connsiteX8" fmla="*/ 156035 w 479285"/>
                  <a:gd name="connsiteY8" fmla="*/ 221571 h 406579"/>
                  <a:gd name="connsiteX9" fmla="*/ 137084 w 479285"/>
                  <a:gd name="connsiteY9" fmla="*/ 240541 h 406579"/>
                  <a:gd name="connsiteX10" fmla="*/ 0 w 479285"/>
                  <a:gd name="connsiteY10" fmla="*/ 240541 h 406579"/>
                  <a:gd name="connsiteX11" fmla="*/ 0 w 479285"/>
                  <a:gd name="connsiteY11" fmla="*/ 280435 h 406579"/>
                  <a:gd name="connsiteX12" fmla="*/ 137084 w 479285"/>
                  <a:gd name="connsiteY12" fmla="*/ 280435 h 406579"/>
                  <a:gd name="connsiteX13" fmla="*/ 195891 w 479285"/>
                  <a:gd name="connsiteY13" fmla="*/ 221571 h 406579"/>
                  <a:gd name="connsiteX14" fmla="*/ 195891 w 479285"/>
                  <a:gd name="connsiteY14" fmla="*/ 164603 h 406579"/>
                  <a:gd name="connsiteX15" fmla="*/ 314582 w 479285"/>
                  <a:gd name="connsiteY15" fmla="*/ 164603 h 406579"/>
                  <a:gd name="connsiteX16" fmla="*/ 334729 w 479285"/>
                  <a:gd name="connsiteY16" fmla="*/ 173299 h 406579"/>
                  <a:gd name="connsiteX17" fmla="*/ 385306 w 479285"/>
                  <a:gd name="connsiteY17" fmla="*/ 226937 h 406579"/>
                  <a:gd name="connsiteX18" fmla="*/ 394532 w 479285"/>
                  <a:gd name="connsiteY18" fmla="*/ 250175 h 406579"/>
                  <a:gd name="connsiteX19" fmla="*/ 394532 w 479285"/>
                  <a:gd name="connsiteY19" fmla="*/ 279956 h 406579"/>
                  <a:gd name="connsiteX20" fmla="*/ 349635 w 479285"/>
                  <a:gd name="connsiteY20" fmla="*/ 341692 h 406579"/>
                  <a:gd name="connsiteX21" fmla="*/ 414460 w 479285"/>
                  <a:gd name="connsiteY21" fmla="*/ 406579 h 406579"/>
                  <a:gd name="connsiteX22" fmla="*/ 479286 w 479285"/>
                  <a:gd name="connsiteY22" fmla="*/ 341692 h 406579"/>
                  <a:gd name="connsiteX23" fmla="*/ 434388 w 479285"/>
                  <a:gd name="connsiteY23" fmla="*/ 279956 h 406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479285" h="406579">
                    <a:moveTo>
                      <a:pt x="434388" y="279956"/>
                    </a:moveTo>
                    <a:lnTo>
                      <a:pt x="434388" y="250175"/>
                    </a:lnTo>
                    <a:cubicBezTo>
                      <a:pt x="434388" y="231285"/>
                      <a:pt x="427254" y="213293"/>
                      <a:pt x="414281" y="199550"/>
                    </a:cubicBezTo>
                    <a:lnTo>
                      <a:pt x="363704" y="145912"/>
                    </a:lnTo>
                    <a:cubicBezTo>
                      <a:pt x="350990" y="132428"/>
                      <a:pt x="333095" y="124709"/>
                      <a:pt x="314582" y="124709"/>
                    </a:cubicBezTo>
                    <a:lnTo>
                      <a:pt x="195891" y="124709"/>
                    </a:lnTo>
                    <a:lnTo>
                      <a:pt x="195891" y="0"/>
                    </a:lnTo>
                    <a:lnTo>
                      <a:pt x="156035" y="0"/>
                    </a:lnTo>
                    <a:lnTo>
                      <a:pt x="156035" y="221571"/>
                    </a:lnTo>
                    <a:cubicBezTo>
                      <a:pt x="156035" y="232043"/>
                      <a:pt x="147526" y="240541"/>
                      <a:pt x="137084" y="240541"/>
                    </a:cubicBezTo>
                    <a:lnTo>
                      <a:pt x="0" y="240541"/>
                    </a:lnTo>
                    <a:lnTo>
                      <a:pt x="0" y="280435"/>
                    </a:lnTo>
                    <a:lnTo>
                      <a:pt x="137084" y="280435"/>
                    </a:lnTo>
                    <a:cubicBezTo>
                      <a:pt x="169507" y="280435"/>
                      <a:pt x="195891" y="254025"/>
                      <a:pt x="195891" y="221571"/>
                    </a:cubicBezTo>
                    <a:lnTo>
                      <a:pt x="195891" y="164603"/>
                    </a:lnTo>
                    <a:lnTo>
                      <a:pt x="314582" y="164603"/>
                    </a:lnTo>
                    <a:cubicBezTo>
                      <a:pt x="322174" y="164603"/>
                      <a:pt x="329508" y="167774"/>
                      <a:pt x="334729" y="173299"/>
                    </a:cubicBezTo>
                    <a:lnTo>
                      <a:pt x="385306" y="226937"/>
                    </a:lnTo>
                    <a:cubicBezTo>
                      <a:pt x="391264" y="233240"/>
                      <a:pt x="394532" y="241498"/>
                      <a:pt x="394532" y="250175"/>
                    </a:cubicBezTo>
                    <a:lnTo>
                      <a:pt x="394532" y="279956"/>
                    </a:lnTo>
                    <a:cubicBezTo>
                      <a:pt x="368507" y="288393"/>
                      <a:pt x="349635" y="312868"/>
                      <a:pt x="349635" y="341692"/>
                    </a:cubicBezTo>
                    <a:cubicBezTo>
                      <a:pt x="349635" y="377477"/>
                      <a:pt x="378710" y="406579"/>
                      <a:pt x="414460" y="406579"/>
                    </a:cubicBezTo>
                    <a:cubicBezTo>
                      <a:pt x="450211" y="406579"/>
                      <a:pt x="479286" y="377477"/>
                      <a:pt x="479286" y="341692"/>
                    </a:cubicBezTo>
                    <a:cubicBezTo>
                      <a:pt x="479286" y="312868"/>
                      <a:pt x="460414" y="288393"/>
                      <a:pt x="434388" y="279956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46" name="Freeform 14">
                <a:extLst>
                  <a:ext uri="{FF2B5EF4-FFF2-40B4-BE49-F238E27FC236}">
                    <a16:creationId xmlns:a16="http://schemas.microsoft.com/office/drawing/2014/main" id="{B4BC3DB8-F7E6-658F-CD46-C0AB7B3FC8E9}"/>
                  </a:ext>
                </a:extLst>
              </p:cNvPr>
              <p:cNvSpPr/>
              <p:nvPr/>
            </p:nvSpPr>
            <p:spPr>
              <a:xfrm>
                <a:off x="2570826" y="3474951"/>
                <a:ext cx="378669" cy="270760"/>
              </a:xfrm>
              <a:custGeom>
                <a:avLst/>
                <a:gdLst>
                  <a:gd name="connsiteX0" fmla="*/ 64806 w 378669"/>
                  <a:gd name="connsiteY0" fmla="*/ 270760 h 270760"/>
                  <a:gd name="connsiteX1" fmla="*/ 129631 w 378669"/>
                  <a:gd name="connsiteY1" fmla="*/ 205873 h 270760"/>
                  <a:gd name="connsiteX2" fmla="*/ 84733 w 378669"/>
                  <a:gd name="connsiteY2" fmla="*/ 144137 h 270760"/>
                  <a:gd name="connsiteX3" fmla="*/ 84733 w 378669"/>
                  <a:gd name="connsiteY3" fmla="*/ 81224 h 270760"/>
                  <a:gd name="connsiteX4" fmla="*/ 126004 w 378669"/>
                  <a:gd name="connsiteY4" fmla="*/ 39914 h 270760"/>
                  <a:gd name="connsiteX5" fmla="*/ 213747 w 378669"/>
                  <a:gd name="connsiteY5" fmla="*/ 39914 h 270760"/>
                  <a:gd name="connsiteX6" fmla="*/ 238457 w 378669"/>
                  <a:gd name="connsiteY6" fmla="*/ 50945 h 270760"/>
                  <a:gd name="connsiteX7" fmla="*/ 348997 w 378669"/>
                  <a:gd name="connsiteY7" fmla="*/ 174257 h 270760"/>
                  <a:gd name="connsiteX8" fmla="*/ 378670 w 378669"/>
                  <a:gd name="connsiteY8" fmla="*/ 147608 h 270760"/>
                  <a:gd name="connsiteX9" fmla="*/ 268130 w 378669"/>
                  <a:gd name="connsiteY9" fmla="*/ 24295 h 270760"/>
                  <a:gd name="connsiteX10" fmla="*/ 213767 w 378669"/>
                  <a:gd name="connsiteY10" fmla="*/ 0 h 270760"/>
                  <a:gd name="connsiteX11" fmla="*/ 126024 w 378669"/>
                  <a:gd name="connsiteY11" fmla="*/ 0 h 270760"/>
                  <a:gd name="connsiteX12" fmla="*/ 44898 w 378669"/>
                  <a:gd name="connsiteY12" fmla="*/ 81204 h 270760"/>
                  <a:gd name="connsiteX13" fmla="*/ 44898 w 378669"/>
                  <a:gd name="connsiteY13" fmla="*/ 144117 h 270760"/>
                  <a:gd name="connsiteX14" fmla="*/ 0 w 378669"/>
                  <a:gd name="connsiteY14" fmla="*/ 205853 h 270760"/>
                  <a:gd name="connsiteX15" fmla="*/ 64825 w 378669"/>
                  <a:gd name="connsiteY15" fmla="*/ 270740 h 270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78669" h="270760">
                    <a:moveTo>
                      <a:pt x="64806" y="270760"/>
                    </a:moveTo>
                    <a:cubicBezTo>
                      <a:pt x="100556" y="270760"/>
                      <a:pt x="129631" y="241658"/>
                      <a:pt x="129631" y="205873"/>
                    </a:cubicBezTo>
                    <a:cubicBezTo>
                      <a:pt x="129631" y="177049"/>
                      <a:pt x="110759" y="152574"/>
                      <a:pt x="84733" y="144137"/>
                    </a:cubicBezTo>
                    <a:lnTo>
                      <a:pt x="84733" y="81224"/>
                    </a:lnTo>
                    <a:cubicBezTo>
                      <a:pt x="84733" y="58445"/>
                      <a:pt x="103246" y="39914"/>
                      <a:pt x="126004" y="39914"/>
                    </a:cubicBezTo>
                    <a:lnTo>
                      <a:pt x="213747" y="39914"/>
                    </a:lnTo>
                    <a:cubicBezTo>
                      <a:pt x="223153" y="39914"/>
                      <a:pt x="232160" y="43943"/>
                      <a:pt x="238457" y="50945"/>
                    </a:cubicBezTo>
                    <a:lnTo>
                      <a:pt x="348997" y="174257"/>
                    </a:lnTo>
                    <a:lnTo>
                      <a:pt x="378670" y="147608"/>
                    </a:lnTo>
                    <a:lnTo>
                      <a:pt x="268130" y="24295"/>
                    </a:lnTo>
                    <a:cubicBezTo>
                      <a:pt x="254300" y="8856"/>
                      <a:pt x="234472" y="0"/>
                      <a:pt x="213767" y="0"/>
                    </a:cubicBezTo>
                    <a:lnTo>
                      <a:pt x="126024" y="0"/>
                    </a:lnTo>
                    <a:cubicBezTo>
                      <a:pt x="81286" y="0"/>
                      <a:pt x="44898" y="36423"/>
                      <a:pt x="44898" y="81204"/>
                    </a:cubicBezTo>
                    <a:lnTo>
                      <a:pt x="44898" y="144117"/>
                    </a:lnTo>
                    <a:cubicBezTo>
                      <a:pt x="18872" y="152555"/>
                      <a:pt x="0" y="177029"/>
                      <a:pt x="0" y="205853"/>
                    </a:cubicBezTo>
                    <a:cubicBezTo>
                      <a:pt x="0" y="241638"/>
                      <a:pt x="29075" y="270740"/>
                      <a:pt x="64825" y="27074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47" name="Freeform 15">
                <a:extLst>
                  <a:ext uri="{FF2B5EF4-FFF2-40B4-BE49-F238E27FC236}">
                    <a16:creationId xmlns:a16="http://schemas.microsoft.com/office/drawing/2014/main" id="{6A072D27-457D-D8A3-863C-76AA8E0B8936}"/>
                  </a:ext>
                </a:extLst>
              </p:cNvPr>
              <p:cNvSpPr/>
              <p:nvPr/>
            </p:nvSpPr>
            <p:spPr>
              <a:xfrm>
                <a:off x="2896747" y="4152969"/>
                <a:ext cx="213846" cy="423893"/>
              </a:xfrm>
              <a:custGeom>
                <a:avLst/>
                <a:gdLst>
                  <a:gd name="connsiteX0" fmla="*/ 81565 w 213846"/>
                  <a:gd name="connsiteY0" fmla="*/ 107793 h 423893"/>
                  <a:gd name="connsiteX1" fmla="*/ 44898 w 213846"/>
                  <a:gd name="connsiteY1" fmla="*/ 198891 h 423893"/>
                  <a:gd name="connsiteX2" fmla="*/ 44898 w 213846"/>
                  <a:gd name="connsiteY2" fmla="*/ 297270 h 423893"/>
                  <a:gd name="connsiteX3" fmla="*/ 0 w 213846"/>
                  <a:gd name="connsiteY3" fmla="*/ 359006 h 423893"/>
                  <a:gd name="connsiteX4" fmla="*/ 64825 w 213846"/>
                  <a:gd name="connsiteY4" fmla="*/ 423893 h 423893"/>
                  <a:gd name="connsiteX5" fmla="*/ 129651 w 213846"/>
                  <a:gd name="connsiteY5" fmla="*/ 359006 h 423893"/>
                  <a:gd name="connsiteX6" fmla="*/ 84753 w 213846"/>
                  <a:gd name="connsiteY6" fmla="*/ 297270 h 423893"/>
                  <a:gd name="connsiteX7" fmla="*/ 84753 w 213846"/>
                  <a:gd name="connsiteY7" fmla="*/ 198891 h 423893"/>
                  <a:gd name="connsiteX8" fmla="*/ 110281 w 213846"/>
                  <a:gd name="connsiteY8" fmla="*/ 135440 h 423893"/>
                  <a:gd name="connsiteX9" fmla="*/ 213846 w 213846"/>
                  <a:gd name="connsiteY9" fmla="*/ 27646 h 423893"/>
                  <a:gd name="connsiteX10" fmla="*/ 185110 w 213846"/>
                  <a:gd name="connsiteY10" fmla="*/ 0 h 423893"/>
                  <a:gd name="connsiteX11" fmla="*/ 81545 w 213846"/>
                  <a:gd name="connsiteY11" fmla="*/ 107793 h 423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3846" h="423893">
                    <a:moveTo>
                      <a:pt x="81565" y="107793"/>
                    </a:moveTo>
                    <a:cubicBezTo>
                      <a:pt x="57930" y="132408"/>
                      <a:pt x="44898" y="164762"/>
                      <a:pt x="44898" y="198891"/>
                    </a:cubicBezTo>
                    <a:lnTo>
                      <a:pt x="44898" y="297270"/>
                    </a:lnTo>
                    <a:cubicBezTo>
                      <a:pt x="18872" y="305707"/>
                      <a:pt x="0" y="330182"/>
                      <a:pt x="0" y="359006"/>
                    </a:cubicBezTo>
                    <a:cubicBezTo>
                      <a:pt x="0" y="394791"/>
                      <a:pt x="29075" y="423893"/>
                      <a:pt x="64825" y="423893"/>
                    </a:cubicBezTo>
                    <a:cubicBezTo>
                      <a:pt x="100576" y="423893"/>
                      <a:pt x="129651" y="394791"/>
                      <a:pt x="129651" y="359006"/>
                    </a:cubicBezTo>
                    <a:cubicBezTo>
                      <a:pt x="129651" y="330182"/>
                      <a:pt x="110779" y="305707"/>
                      <a:pt x="84753" y="297270"/>
                    </a:cubicBezTo>
                    <a:lnTo>
                      <a:pt x="84753" y="198891"/>
                    </a:lnTo>
                    <a:cubicBezTo>
                      <a:pt x="84753" y="175114"/>
                      <a:pt x="93821" y="152574"/>
                      <a:pt x="110281" y="135440"/>
                    </a:cubicBezTo>
                    <a:lnTo>
                      <a:pt x="213846" y="27646"/>
                    </a:lnTo>
                    <a:lnTo>
                      <a:pt x="185110" y="0"/>
                    </a:lnTo>
                    <a:lnTo>
                      <a:pt x="81545" y="107793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48" name="Freeform 16">
                <a:extLst>
                  <a:ext uri="{FF2B5EF4-FFF2-40B4-BE49-F238E27FC236}">
                    <a16:creationId xmlns:a16="http://schemas.microsoft.com/office/drawing/2014/main" id="{C4E97690-F732-4D02-ABC1-36B8D490D74F}"/>
                  </a:ext>
                </a:extLst>
              </p:cNvPr>
              <p:cNvSpPr/>
              <p:nvPr/>
            </p:nvSpPr>
            <p:spPr>
              <a:xfrm>
                <a:off x="3565427" y="4152969"/>
                <a:ext cx="213846" cy="423893"/>
              </a:xfrm>
              <a:custGeom>
                <a:avLst/>
                <a:gdLst>
                  <a:gd name="connsiteX0" fmla="*/ 168969 w 213846"/>
                  <a:gd name="connsiteY0" fmla="*/ 297270 h 423893"/>
                  <a:gd name="connsiteX1" fmla="*/ 168969 w 213846"/>
                  <a:gd name="connsiteY1" fmla="*/ 192528 h 423893"/>
                  <a:gd name="connsiteX2" fmla="*/ 136705 w 213846"/>
                  <a:gd name="connsiteY2" fmla="*/ 112381 h 423893"/>
                  <a:gd name="connsiteX3" fmla="*/ 28736 w 213846"/>
                  <a:gd name="connsiteY3" fmla="*/ 0 h 423893"/>
                  <a:gd name="connsiteX4" fmla="*/ 0 w 213846"/>
                  <a:gd name="connsiteY4" fmla="*/ 27646 h 423893"/>
                  <a:gd name="connsiteX5" fmla="*/ 107969 w 213846"/>
                  <a:gd name="connsiteY5" fmla="*/ 140028 h 423893"/>
                  <a:gd name="connsiteX6" fmla="*/ 129093 w 213846"/>
                  <a:gd name="connsiteY6" fmla="*/ 192528 h 423893"/>
                  <a:gd name="connsiteX7" fmla="*/ 129093 w 213846"/>
                  <a:gd name="connsiteY7" fmla="*/ 297270 h 423893"/>
                  <a:gd name="connsiteX8" fmla="*/ 84195 w 213846"/>
                  <a:gd name="connsiteY8" fmla="*/ 359006 h 423893"/>
                  <a:gd name="connsiteX9" fmla="*/ 149021 w 213846"/>
                  <a:gd name="connsiteY9" fmla="*/ 423893 h 423893"/>
                  <a:gd name="connsiteX10" fmla="*/ 213846 w 213846"/>
                  <a:gd name="connsiteY10" fmla="*/ 359006 h 423893"/>
                  <a:gd name="connsiteX11" fmla="*/ 168949 w 213846"/>
                  <a:gd name="connsiteY11" fmla="*/ 297270 h 423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3846" h="423893">
                    <a:moveTo>
                      <a:pt x="168969" y="297270"/>
                    </a:moveTo>
                    <a:lnTo>
                      <a:pt x="168969" y="192528"/>
                    </a:lnTo>
                    <a:cubicBezTo>
                      <a:pt x="168969" y="162488"/>
                      <a:pt x="157510" y="134024"/>
                      <a:pt x="136705" y="112381"/>
                    </a:cubicBezTo>
                    <a:lnTo>
                      <a:pt x="28736" y="0"/>
                    </a:lnTo>
                    <a:lnTo>
                      <a:pt x="0" y="27646"/>
                    </a:lnTo>
                    <a:lnTo>
                      <a:pt x="107969" y="140028"/>
                    </a:lnTo>
                    <a:cubicBezTo>
                      <a:pt x="121600" y="154210"/>
                      <a:pt x="129093" y="172860"/>
                      <a:pt x="129093" y="192528"/>
                    </a:cubicBezTo>
                    <a:lnTo>
                      <a:pt x="129093" y="297270"/>
                    </a:lnTo>
                    <a:cubicBezTo>
                      <a:pt x="103067" y="305707"/>
                      <a:pt x="84195" y="330182"/>
                      <a:pt x="84195" y="359006"/>
                    </a:cubicBezTo>
                    <a:cubicBezTo>
                      <a:pt x="84195" y="394791"/>
                      <a:pt x="113270" y="423893"/>
                      <a:pt x="149021" y="423893"/>
                    </a:cubicBezTo>
                    <a:cubicBezTo>
                      <a:pt x="184772" y="423893"/>
                      <a:pt x="213846" y="394791"/>
                      <a:pt x="213846" y="359006"/>
                    </a:cubicBezTo>
                    <a:cubicBezTo>
                      <a:pt x="213846" y="330182"/>
                      <a:pt x="194975" y="305707"/>
                      <a:pt x="168949" y="29727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49" name="Freeform 19">
                <a:extLst>
                  <a:ext uri="{FF2B5EF4-FFF2-40B4-BE49-F238E27FC236}">
                    <a16:creationId xmlns:a16="http://schemas.microsoft.com/office/drawing/2014/main" id="{1630FBE1-6366-54BC-091A-2BB971A639AC}"/>
                  </a:ext>
                </a:extLst>
              </p:cNvPr>
              <p:cNvSpPr/>
              <p:nvPr/>
            </p:nvSpPr>
            <p:spPr>
              <a:xfrm>
                <a:off x="3706816" y="3474991"/>
                <a:ext cx="378669" cy="270740"/>
              </a:xfrm>
              <a:custGeom>
                <a:avLst/>
                <a:gdLst>
                  <a:gd name="connsiteX0" fmla="*/ 118192 w 378669"/>
                  <a:gd name="connsiteY0" fmla="*/ 15738 h 270740"/>
                  <a:gd name="connsiteX1" fmla="*/ 0 w 378669"/>
                  <a:gd name="connsiteY1" fmla="*/ 147588 h 270740"/>
                  <a:gd name="connsiteX2" fmla="*/ 29653 w 378669"/>
                  <a:gd name="connsiteY2" fmla="*/ 174237 h 270740"/>
                  <a:gd name="connsiteX3" fmla="*/ 147845 w 378669"/>
                  <a:gd name="connsiteY3" fmla="*/ 42387 h 270740"/>
                  <a:gd name="connsiteX4" fmla="*/ 153445 w 378669"/>
                  <a:gd name="connsiteY4" fmla="*/ 39894 h 270740"/>
                  <a:gd name="connsiteX5" fmla="*/ 286404 w 378669"/>
                  <a:gd name="connsiteY5" fmla="*/ 39894 h 270740"/>
                  <a:gd name="connsiteX6" fmla="*/ 293917 w 378669"/>
                  <a:gd name="connsiteY6" fmla="*/ 47414 h 270740"/>
                  <a:gd name="connsiteX7" fmla="*/ 293917 w 378669"/>
                  <a:gd name="connsiteY7" fmla="*/ 144117 h 270740"/>
                  <a:gd name="connsiteX8" fmla="*/ 249019 w 378669"/>
                  <a:gd name="connsiteY8" fmla="*/ 205853 h 270740"/>
                  <a:gd name="connsiteX9" fmla="*/ 313844 w 378669"/>
                  <a:gd name="connsiteY9" fmla="*/ 270740 h 270740"/>
                  <a:gd name="connsiteX10" fmla="*/ 378670 w 378669"/>
                  <a:gd name="connsiteY10" fmla="*/ 205853 h 270740"/>
                  <a:gd name="connsiteX11" fmla="*/ 333772 w 378669"/>
                  <a:gd name="connsiteY11" fmla="*/ 144117 h 270740"/>
                  <a:gd name="connsiteX12" fmla="*/ 333772 w 378669"/>
                  <a:gd name="connsiteY12" fmla="*/ 47414 h 270740"/>
                  <a:gd name="connsiteX13" fmla="*/ 286404 w 378669"/>
                  <a:gd name="connsiteY13" fmla="*/ 0 h 270740"/>
                  <a:gd name="connsiteX14" fmla="*/ 153445 w 378669"/>
                  <a:gd name="connsiteY14" fmla="*/ 0 h 270740"/>
                  <a:gd name="connsiteX15" fmla="*/ 118192 w 378669"/>
                  <a:gd name="connsiteY15" fmla="*/ 15758 h 270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78669" h="270740">
                    <a:moveTo>
                      <a:pt x="118192" y="15738"/>
                    </a:moveTo>
                    <a:lnTo>
                      <a:pt x="0" y="147588"/>
                    </a:lnTo>
                    <a:lnTo>
                      <a:pt x="29653" y="174237"/>
                    </a:lnTo>
                    <a:lnTo>
                      <a:pt x="147845" y="42387"/>
                    </a:lnTo>
                    <a:cubicBezTo>
                      <a:pt x="149260" y="40792"/>
                      <a:pt x="151312" y="39894"/>
                      <a:pt x="153445" y="39894"/>
                    </a:cubicBezTo>
                    <a:lnTo>
                      <a:pt x="286404" y="39894"/>
                    </a:lnTo>
                    <a:cubicBezTo>
                      <a:pt x="290549" y="39894"/>
                      <a:pt x="293917" y="43265"/>
                      <a:pt x="293917" y="47414"/>
                    </a:cubicBezTo>
                    <a:lnTo>
                      <a:pt x="293917" y="144117"/>
                    </a:lnTo>
                    <a:cubicBezTo>
                      <a:pt x="267891" y="152554"/>
                      <a:pt x="249019" y="177029"/>
                      <a:pt x="249019" y="205853"/>
                    </a:cubicBezTo>
                    <a:cubicBezTo>
                      <a:pt x="249019" y="241638"/>
                      <a:pt x="278094" y="270740"/>
                      <a:pt x="313844" y="270740"/>
                    </a:cubicBezTo>
                    <a:cubicBezTo>
                      <a:pt x="349595" y="270740"/>
                      <a:pt x="378670" y="241638"/>
                      <a:pt x="378670" y="205853"/>
                    </a:cubicBezTo>
                    <a:cubicBezTo>
                      <a:pt x="378670" y="177029"/>
                      <a:pt x="359798" y="152554"/>
                      <a:pt x="333772" y="144117"/>
                    </a:cubicBezTo>
                    <a:lnTo>
                      <a:pt x="333772" y="47414"/>
                    </a:lnTo>
                    <a:cubicBezTo>
                      <a:pt x="333772" y="21263"/>
                      <a:pt x="312509" y="0"/>
                      <a:pt x="286404" y="0"/>
                    </a:cubicBezTo>
                    <a:lnTo>
                      <a:pt x="153445" y="0"/>
                    </a:lnTo>
                    <a:cubicBezTo>
                      <a:pt x="140013" y="0"/>
                      <a:pt x="127160" y="5745"/>
                      <a:pt x="118192" y="15758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50" name="Freeform 20">
                <a:extLst>
                  <a:ext uri="{FF2B5EF4-FFF2-40B4-BE49-F238E27FC236}">
                    <a16:creationId xmlns:a16="http://schemas.microsoft.com/office/drawing/2014/main" id="{5C810485-5966-12EA-AC79-F77967B6DE4E}"/>
                  </a:ext>
                </a:extLst>
              </p:cNvPr>
              <p:cNvSpPr/>
              <p:nvPr/>
            </p:nvSpPr>
            <p:spPr>
              <a:xfrm>
                <a:off x="2570826" y="3781596"/>
                <a:ext cx="486121" cy="406579"/>
              </a:xfrm>
              <a:custGeom>
                <a:avLst/>
                <a:gdLst>
                  <a:gd name="connsiteX0" fmla="*/ 486121 w 486121"/>
                  <a:gd name="connsiteY0" fmla="*/ 280435 h 406579"/>
                  <a:gd name="connsiteX1" fmla="*/ 486121 w 486121"/>
                  <a:gd name="connsiteY1" fmla="*/ 240541 h 406579"/>
                  <a:gd name="connsiteX2" fmla="*/ 349037 w 486121"/>
                  <a:gd name="connsiteY2" fmla="*/ 240541 h 406579"/>
                  <a:gd name="connsiteX3" fmla="*/ 330086 w 486121"/>
                  <a:gd name="connsiteY3" fmla="*/ 221571 h 406579"/>
                  <a:gd name="connsiteX4" fmla="*/ 330086 w 486121"/>
                  <a:gd name="connsiteY4" fmla="*/ 0 h 406579"/>
                  <a:gd name="connsiteX5" fmla="*/ 290230 w 486121"/>
                  <a:gd name="connsiteY5" fmla="*/ 0 h 406579"/>
                  <a:gd name="connsiteX6" fmla="*/ 290230 w 486121"/>
                  <a:gd name="connsiteY6" fmla="*/ 124709 h 406579"/>
                  <a:gd name="connsiteX7" fmla="*/ 162532 w 486121"/>
                  <a:gd name="connsiteY7" fmla="*/ 124709 h 406579"/>
                  <a:gd name="connsiteX8" fmla="*/ 117056 w 486121"/>
                  <a:gd name="connsiteY8" fmla="*/ 144336 h 406579"/>
                  <a:gd name="connsiteX9" fmla="*/ 65802 w 486121"/>
                  <a:gd name="connsiteY9" fmla="*/ 198692 h 406579"/>
                  <a:gd name="connsiteX10" fmla="*/ 44898 w 486121"/>
                  <a:gd name="connsiteY10" fmla="*/ 251352 h 406579"/>
                  <a:gd name="connsiteX11" fmla="*/ 44898 w 486121"/>
                  <a:gd name="connsiteY11" fmla="*/ 279956 h 406579"/>
                  <a:gd name="connsiteX12" fmla="*/ 0 w 486121"/>
                  <a:gd name="connsiteY12" fmla="*/ 341692 h 406579"/>
                  <a:gd name="connsiteX13" fmla="*/ 64825 w 486121"/>
                  <a:gd name="connsiteY13" fmla="*/ 406579 h 406579"/>
                  <a:gd name="connsiteX14" fmla="*/ 129651 w 486121"/>
                  <a:gd name="connsiteY14" fmla="*/ 341692 h 406579"/>
                  <a:gd name="connsiteX15" fmla="*/ 84753 w 486121"/>
                  <a:gd name="connsiteY15" fmla="*/ 279956 h 406579"/>
                  <a:gd name="connsiteX16" fmla="*/ 84753 w 486121"/>
                  <a:gd name="connsiteY16" fmla="*/ 251352 h 406579"/>
                  <a:gd name="connsiteX17" fmla="*/ 94797 w 486121"/>
                  <a:gd name="connsiteY17" fmla="*/ 226079 h 406579"/>
                  <a:gd name="connsiteX18" fmla="*/ 146052 w 486121"/>
                  <a:gd name="connsiteY18" fmla="*/ 171723 h 406579"/>
                  <a:gd name="connsiteX19" fmla="*/ 162532 w 486121"/>
                  <a:gd name="connsiteY19" fmla="*/ 164603 h 406579"/>
                  <a:gd name="connsiteX20" fmla="*/ 290230 w 486121"/>
                  <a:gd name="connsiteY20" fmla="*/ 164603 h 406579"/>
                  <a:gd name="connsiteX21" fmla="*/ 290230 w 486121"/>
                  <a:gd name="connsiteY21" fmla="*/ 221571 h 406579"/>
                  <a:gd name="connsiteX22" fmla="*/ 349037 w 486121"/>
                  <a:gd name="connsiteY22" fmla="*/ 280435 h 406579"/>
                  <a:gd name="connsiteX23" fmla="*/ 486121 w 486121"/>
                  <a:gd name="connsiteY23" fmla="*/ 280435 h 406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486121" h="406579">
                    <a:moveTo>
                      <a:pt x="486121" y="280435"/>
                    </a:moveTo>
                    <a:lnTo>
                      <a:pt x="486121" y="240541"/>
                    </a:lnTo>
                    <a:lnTo>
                      <a:pt x="349037" y="240541"/>
                    </a:lnTo>
                    <a:cubicBezTo>
                      <a:pt x="338575" y="240541"/>
                      <a:pt x="330086" y="232023"/>
                      <a:pt x="330086" y="221571"/>
                    </a:cubicBezTo>
                    <a:lnTo>
                      <a:pt x="330086" y="0"/>
                    </a:lnTo>
                    <a:lnTo>
                      <a:pt x="290230" y="0"/>
                    </a:lnTo>
                    <a:lnTo>
                      <a:pt x="290230" y="124709"/>
                    </a:lnTo>
                    <a:lnTo>
                      <a:pt x="162532" y="124709"/>
                    </a:lnTo>
                    <a:cubicBezTo>
                      <a:pt x="145394" y="124709"/>
                      <a:pt x="128814" y="131869"/>
                      <a:pt x="117056" y="144336"/>
                    </a:cubicBezTo>
                    <a:lnTo>
                      <a:pt x="65802" y="198692"/>
                    </a:lnTo>
                    <a:cubicBezTo>
                      <a:pt x="52311" y="212994"/>
                      <a:pt x="44898" y="231684"/>
                      <a:pt x="44898" y="251352"/>
                    </a:cubicBezTo>
                    <a:lnTo>
                      <a:pt x="44898" y="279956"/>
                    </a:lnTo>
                    <a:cubicBezTo>
                      <a:pt x="18872" y="288393"/>
                      <a:pt x="0" y="312868"/>
                      <a:pt x="0" y="341692"/>
                    </a:cubicBezTo>
                    <a:cubicBezTo>
                      <a:pt x="0" y="377477"/>
                      <a:pt x="29075" y="406579"/>
                      <a:pt x="64825" y="406579"/>
                    </a:cubicBezTo>
                    <a:cubicBezTo>
                      <a:pt x="100576" y="406579"/>
                      <a:pt x="129651" y="377477"/>
                      <a:pt x="129651" y="341692"/>
                    </a:cubicBezTo>
                    <a:cubicBezTo>
                      <a:pt x="129651" y="312868"/>
                      <a:pt x="110779" y="288393"/>
                      <a:pt x="84753" y="279956"/>
                    </a:cubicBezTo>
                    <a:lnTo>
                      <a:pt x="84753" y="251352"/>
                    </a:lnTo>
                    <a:cubicBezTo>
                      <a:pt x="84753" y="241917"/>
                      <a:pt x="88320" y="232941"/>
                      <a:pt x="94797" y="226079"/>
                    </a:cubicBezTo>
                    <a:lnTo>
                      <a:pt x="146052" y="171723"/>
                    </a:lnTo>
                    <a:cubicBezTo>
                      <a:pt x="150316" y="167196"/>
                      <a:pt x="156334" y="164603"/>
                      <a:pt x="162532" y="164603"/>
                    </a:cubicBezTo>
                    <a:lnTo>
                      <a:pt x="290230" y="164603"/>
                    </a:lnTo>
                    <a:lnTo>
                      <a:pt x="290230" y="221571"/>
                    </a:lnTo>
                    <a:cubicBezTo>
                      <a:pt x="290230" y="254025"/>
                      <a:pt x="316614" y="280435"/>
                      <a:pt x="349037" y="280435"/>
                    </a:cubicBezTo>
                    <a:lnTo>
                      <a:pt x="486121" y="280435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</p:grpSp>
        <p:grpSp>
          <p:nvGrpSpPr>
            <p:cNvPr id="520" name="Group 519">
              <a:extLst>
                <a:ext uri="{FF2B5EF4-FFF2-40B4-BE49-F238E27FC236}">
                  <a16:creationId xmlns:a16="http://schemas.microsoft.com/office/drawing/2014/main" id="{E63640AA-9D2A-41FD-C6E7-9107E932E436}"/>
                </a:ext>
              </a:extLst>
            </p:cNvPr>
            <p:cNvGrpSpPr/>
            <p:nvPr/>
          </p:nvGrpSpPr>
          <p:grpSpPr>
            <a:xfrm>
              <a:off x="3161775" y="4609858"/>
              <a:ext cx="158172" cy="156986"/>
              <a:chOff x="2296249" y="2698787"/>
              <a:chExt cx="2082217" cy="2066613"/>
            </a:xfrm>
            <a:solidFill>
              <a:schemeClr val="accent5"/>
            </a:solidFill>
          </p:grpSpPr>
          <p:sp>
            <p:nvSpPr>
              <p:cNvPr id="521" name="Freeform 4">
                <a:extLst>
                  <a:ext uri="{FF2B5EF4-FFF2-40B4-BE49-F238E27FC236}">
                    <a16:creationId xmlns:a16="http://schemas.microsoft.com/office/drawing/2014/main" id="{8FEB0EED-FC17-43FD-AC2A-849166FBDCEE}"/>
                  </a:ext>
                </a:extLst>
              </p:cNvPr>
              <p:cNvSpPr/>
              <p:nvPr/>
            </p:nvSpPr>
            <p:spPr>
              <a:xfrm>
                <a:off x="3046266" y="3083552"/>
                <a:ext cx="582312" cy="1179604"/>
              </a:xfrm>
              <a:custGeom>
                <a:avLst/>
                <a:gdLst>
                  <a:gd name="connsiteX0" fmla="*/ 582293 w 582312"/>
                  <a:gd name="connsiteY0" fmla="*/ 752141 h 1179604"/>
                  <a:gd name="connsiteX1" fmla="*/ 582293 w 582312"/>
                  <a:gd name="connsiteY1" fmla="*/ 316738 h 1179604"/>
                  <a:gd name="connsiteX2" fmla="*/ 508640 w 582312"/>
                  <a:gd name="connsiteY2" fmla="*/ 243014 h 1179604"/>
                  <a:gd name="connsiteX3" fmla="*/ 311074 w 582312"/>
                  <a:gd name="connsiteY3" fmla="*/ 243014 h 1179604"/>
                  <a:gd name="connsiteX4" fmla="*/ 311074 w 582312"/>
                  <a:gd name="connsiteY4" fmla="*/ 127142 h 1179604"/>
                  <a:gd name="connsiteX5" fmla="*/ 357686 w 582312"/>
                  <a:gd name="connsiteY5" fmla="*/ 64888 h 1179604"/>
                  <a:gd name="connsiteX6" fmla="*/ 292860 w 582312"/>
                  <a:gd name="connsiteY6" fmla="*/ 0 h 1179604"/>
                  <a:gd name="connsiteX7" fmla="*/ 228035 w 582312"/>
                  <a:gd name="connsiteY7" fmla="*/ 64888 h 1179604"/>
                  <a:gd name="connsiteX8" fmla="*/ 271219 w 582312"/>
                  <a:gd name="connsiteY8" fmla="*/ 126045 h 1179604"/>
                  <a:gd name="connsiteX9" fmla="*/ 271219 w 582312"/>
                  <a:gd name="connsiteY9" fmla="*/ 243014 h 1179604"/>
                  <a:gd name="connsiteX10" fmla="*/ 73654 w 582312"/>
                  <a:gd name="connsiteY10" fmla="*/ 243014 h 1179604"/>
                  <a:gd name="connsiteX11" fmla="*/ 0 w 582312"/>
                  <a:gd name="connsiteY11" fmla="*/ 316738 h 1179604"/>
                  <a:gd name="connsiteX12" fmla="*/ 0 w 582312"/>
                  <a:gd name="connsiteY12" fmla="*/ 752141 h 1179604"/>
                  <a:gd name="connsiteX13" fmla="*/ 73654 w 582312"/>
                  <a:gd name="connsiteY13" fmla="*/ 825865 h 1179604"/>
                  <a:gd name="connsiteX14" fmla="*/ 271219 w 582312"/>
                  <a:gd name="connsiteY14" fmla="*/ 825865 h 1179604"/>
                  <a:gd name="connsiteX15" fmla="*/ 271219 w 582312"/>
                  <a:gd name="connsiteY15" fmla="*/ 1053021 h 1179604"/>
                  <a:gd name="connsiteX16" fmla="*/ 226421 w 582312"/>
                  <a:gd name="connsiteY16" fmla="*/ 1114717 h 1179604"/>
                  <a:gd name="connsiteX17" fmla="*/ 291246 w 582312"/>
                  <a:gd name="connsiteY17" fmla="*/ 1179605 h 1179604"/>
                  <a:gd name="connsiteX18" fmla="*/ 356072 w 582312"/>
                  <a:gd name="connsiteY18" fmla="*/ 1114717 h 1179604"/>
                  <a:gd name="connsiteX19" fmla="*/ 311094 w 582312"/>
                  <a:gd name="connsiteY19" fmla="*/ 1052961 h 1179604"/>
                  <a:gd name="connsiteX20" fmla="*/ 311094 w 582312"/>
                  <a:gd name="connsiteY20" fmla="*/ 825865 h 1179604"/>
                  <a:gd name="connsiteX21" fmla="*/ 508660 w 582312"/>
                  <a:gd name="connsiteY21" fmla="*/ 825865 h 1179604"/>
                  <a:gd name="connsiteX22" fmla="*/ 582313 w 582312"/>
                  <a:gd name="connsiteY22" fmla="*/ 752141 h 1179604"/>
                  <a:gd name="connsiteX23" fmla="*/ 542437 w 582312"/>
                  <a:gd name="connsiteY23" fmla="*/ 752141 h 1179604"/>
                  <a:gd name="connsiteX24" fmla="*/ 508640 w 582312"/>
                  <a:gd name="connsiteY24" fmla="*/ 785971 h 1179604"/>
                  <a:gd name="connsiteX25" fmla="*/ 73654 w 582312"/>
                  <a:gd name="connsiteY25" fmla="*/ 785971 h 1179604"/>
                  <a:gd name="connsiteX26" fmla="*/ 39856 w 582312"/>
                  <a:gd name="connsiteY26" fmla="*/ 752141 h 1179604"/>
                  <a:gd name="connsiteX27" fmla="*/ 39856 w 582312"/>
                  <a:gd name="connsiteY27" fmla="*/ 316738 h 1179604"/>
                  <a:gd name="connsiteX28" fmla="*/ 73654 w 582312"/>
                  <a:gd name="connsiteY28" fmla="*/ 282908 h 1179604"/>
                  <a:gd name="connsiteX29" fmla="*/ 508640 w 582312"/>
                  <a:gd name="connsiteY29" fmla="*/ 282908 h 1179604"/>
                  <a:gd name="connsiteX30" fmla="*/ 542437 w 582312"/>
                  <a:gd name="connsiteY30" fmla="*/ 316738 h 1179604"/>
                  <a:gd name="connsiteX31" fmla="*/ 542437 w 582312"/>
                  <a:gd name="connsiteY31" fmla="*/ 752141 h 1179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82312" h="1179604">
                    <a:moveTo>
                      <a:pt x="582293" y="752141"/>
                    </a:moveTo>
                    <a:lnTo>
                      <a:pt x="582293" y="316738"/>
                    </a:lnTo>
                    <a:cubicBezTo>
                      <a:pt x="582293" y="276086"/>
                      <a:pt x="549253" y="243014"/>
                      <a:pt x="508640" y="243014"/>
                    </a:cubicBezTo>
                    <a:lnTo>
                      <a:pt x="311074" y="243014"/>
                    </a:lnTo>
                    <a:lnTo>
                      <a:pt x="311074" y="127142"/>
                    </a:lnTo>
                    <a:cubicBezTo>
                      <a:pt x="337977" y="119243"/>
                      <a:pt x="357686" y="94329"/>
                      <a:pt x="357686" y="64888"/>
                    </a:cubicBezTo>
                    <a:cubicBezTo>
                      <a:pt x="357686" y="29103"/>
                      <a:pt x="328611" y="0"/>
                      <a:pt x="292860" y="0"/>
                    </a:cubicBezTo>
                    <a:cubicBezTo>
                      <a:pt x="257110" y="0"/>
                      <a:pt x="228035" y="29103"/>
                      <a:pt x="228035" y="64888"/>
                    </a:cubicBezTo>
                    <a:cubicBezTo>
                      <a:pt x="228035" y="93073"/>
                      <a:pt x="246090" y="117109"/>
                      <a:pt x="271219" y="126045"/>
                    </a:cubicBezTo>
                    <a:lnTo>
                      <a:pt x="271219" y="243014"/>
                    </a:lnTo>
                    <a:lnTo>
                      <a:pt x="73654" y="243014"/>
                    </a:lnTo>
                    <a:cubicBezTo>
                      <a:pt x="33040" y="243014"/>
                      <a:pt x="0" y="276086"/>
                      <a:pt x="0" y="316738"/>
                    </a:cubicBezTo>
                    <a:lnTo>
                      <a:pt x="0" y="752141"/>
                    </a:lnTo>
                    <a:cubicBezTo>
                      <a:pt x="0" y="792793"/>
                      <a:pt x="33040" y="825865"/>
                      <a:pt x="73654" y="825865"/>
                    </a:cubicBezTo>
                    <a:lnTo>
                      <a:pt x="271219" y="825865"/>
                    </a:lnTo>
                    <a:lnTo>
                      <a:pt x="271219" y="1053021"/>
                    </a:lnTo>
                    <a:cubicBezTo>
                      <a:pt x="245253" y="1061479"/>
                      <a:pt x="226421" y="1085934"/>
                      <a:pt x="226421" y="1114717"/>
                    </a:cubicBezTo>
                    <a:cubicBezTo>
                      <a:pt x="226421" y="1150502"/>
                      <a:pt x="255496" y="1179605"/>
                      <a:pt x="291246" y="1179605"/>
                    </a:cubicBezTo>
                    <a:cubicBezTo>
                      <a:pt x="326997" y="1179605"/>
                      <a:pt x="356072" y="1150502"/>
                      <a:pt x="356072" y="1114717"/>
                    </a:cubicBezTo>
                    <a:cubicBezTo>
                      <a:pt x="356072" y="1085874"/>
                      <a:pt x="337160" y="1061359"/>
                      <a:pt x="311094" y="1052961"/>
                    </a:cubicBezTo>
                    <a:lnTo>
                      <a:pt x="311094" y="825865"/>
                    </a:lnTo>
                    <a:lnTo>
                      <a:pt x="508660" y="825865"/>
                    </a:lnTo>
                    <a:cubicBezTo>
                      <a:pt x="549273" y="825865"/>
                      <a:pt x="582313" y="792793"/>
                      <a:pt x="582313" y="752141"/>
                    </a:cubicBezTo>
                    <a:close/>
                    <a:moveTo>
                      <a:pt x="542437" y="752141"/>
                    </a:moveTo>
                    <a:cubicBezTo>
                      <a:pt x="542437" y="770791"/>
                      <a:pt x="527272" y="785971"/>
                      <a:pt x="508640" y="785971"/>
                    </a:cubicBezTo>
                    <a:lnTo>
                      <a:pt x="73654" y="785971"/>
                    </a:lnTo>
                    <a:cubicBezTo>
                      <a:pt x="55021" y="785971"/>
                      <a:pt x="39856" y="770791"/>
                      <a:pt x="39856" y="752141"/>
                    </a:cubicBezTo>
                    <a:lnTo>
                      <a:pt x="39856" y="316738"/>
                    </a:lnTo>
                    <a:cubicBezTo>
                      <a:pt x="39856" y="298088"/>
                      <a:pt x="55021" y="282908"/>
                      <a:pt x="73654" y="282908"/>
                    </a:cubicBezTo>
                    <a:lnTo>
                      <a:pt x="508640" y="282908"/>
                    </a:lnTo>
                    <a:cubicBezTo>
                      <a:pt x="527272" y="282908"/>
                      <a:pt x="542437" y="298088"/>
                      <a:pt x="542437" y="316738"/>
                    </a:cubicBezTo>
                    <a:lnTo>
                      <a:pt x="542437" y="752141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22" name="Freeform 5">
                <a:extLst>
                  <a:ext uri="{FF2B5EF4-FFF2-40B4-BE49-F238E27FC236}">
                    <a16:creationId xmlns:a16="http://schemas.microsoft.com/office/drawing/2014/main" id="{F4A17929-7CC4-FFCF-1130-533D3B710268}"/>
                  </a:ext>
                </a:extLst>
              </p:cNvPr>
              <p:cNvSpPr/>
              <p:nvPr/>
            </p:nvSpPr>
            <p:spPr>
              <a:xfrm>
                <a:off x="3309852" y="3745053"/>
                <a:ext cx="76244" cy="76317"/>
              </a:xfrm>
              <a:custGeom>
                <a:avLst/>
                <a:gdLst>
                  <a:gd name="connsiteX0" fmla="*/ 38122 w 76244"/>
                  <a:gd name="connsiteY0" fmla="*/ 0 h 76317"/>
                  <a:gd name="connsiteX1" fmla="*/ 0 w 76244"/>
                  <a:gd name="connsiteY1" fmla="*/ 38159 h 76317"/>
                  <a:gd name="connsiteX2" fmla="*/ 38122 w 76244"/>
                  <a:gd name="connsiteY2" fmla="*/ 76317 h 76317"/>
                  <a:gd name="connsiteX3" fmla="*/ 76244 w 76244"/>
                  <a:gd name="connsiteY3" fmla="*/ 38159 h 76317"/>
                  <a:gd name="connsiteX4" fmla="*/ 38122 w 76244"/>
                  <a:gd name="connsiteY4" fmla="*/ 0 h 76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244" h="76317">
                    <a:moveTo>
                      <a:pt x="38122" y="0"/>
                    </a:moveTo>
                    <a:cubicBezTo>
                      <a:pt x="17098" y="0"/>
                      <a:pt x="0" y="17115"/>
                      <a:pt x="0" y="38159"/>
                    </a:cubicBezTo>
                    <a:cubicBezTo>
                      <a:pt x="0" y="59203"/>
                      <a:pt x="17098" y="76317"/>
                      <a:pt x="38122" y="76317"/>
                    </a:cubicBezTo>
                    <a:cubicBezTo>
                      <a:pt x="59146" y="76317"/>
                      <a:pt x="76244" y="59203"/>
                      <a:pt x="76244" y="38159"/>
                    </a:cubicBezTo>
                    <a:cubicBezTo>
                      <a:pt x="76244" y="17115"/>
                      <a:pt x="59146" y="0"/>
                      <a:pt x="38122" y="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23" name="Freeform 6">
                <a:extLst>
                  <a:ext uri="{FF2B5EF4-FFF2-40B4-BE49-F238E27FC236}">
                    <a16:creationId xmlns:a16="http://schemas.microsoft.com/office/drawing/2014/main" id="{0EB7F8DD-AF78-F948-F035-8DCAE9C7F8C9}"/>
                  </a:ext>
                </a:extLst>
              </p:cNvPr>
              <p:cNvSpPr/>
              <p:nvPr/>
            </p:nvSpPr>
            <p:spPr>
              <a:xfrm>
                <a:off x="3365371" y="3417843"/>
                <a:ext cx="184651" cy="403527"/>
              </a:xfrm>
              <a:custGeom>
                <a:avLst/>
                <a:gdLst>
                  <a:gd name="connsiteX0" fmla="*/ 166458 w 184651"/>
                  <a:gd name="connsiteY0" fmla="*/ 332895 h 403527"/>
                  <a:gd name="connsiteX1" fmla="*/ 166458 w 184651"/>
                  <a:gd name="connsiteY1" fmla="*/ 98119 h 403527"/>
                  <a:gd name="connsiteX2" fmla="*/ 86627 w 184651"/>
                  <a:gd name="connsiteY2" fmla="*/ 18212 h 403527"/>
                  <a:gd name="connsiteX3" fmla="*/ 70565 w 184651"/>
                  <a:gd name="connsiteY3" fmla="*/ 18212 h 403527"/>
                  <a:gd name="connsiteX4" fmla="*/ 38122 w 184651"/>
                  <a:gd name="connsiteY4" fmla="*/ 0 h 403527"/>
                  <a:gd name="connsiteX5" fmla="*/ 0 w 184651"/>
                  <a:gd name="connsiteY5" fmla="*/ 38159 h 403527"/>
                  <a:gd name="connsiteX6" fmla="*/ 38122 w 184651"/>
                  <a:gd name="connsiteY6" fmla="*/ 76317 h 403527"/>
                  <a:gd name="connsiteX7" fmla="*/ 70565 w 184651"/>
                  <a:gd name="connsiteY7" fmla="*/ 58106 h 403527"/>
                  <a:gd name="connsiteX8" fmla="*/ 86627 w 184651"/>
                  <a:gd name="connsiteY8" fmla="*/ 58106 h 403527"/>
                  <a:gd name="connsiteX9" fmla="*/ 126602 w 184651"/>
                  <a:gd name="connsiteY9" fmla="*/ 98119 h 403527"/>
                  <a:gd name="connsiteX10" fmla="*/ 126602 w 184651"/>
                  <a:gd name="connsiteY10" fmla="*/ 332895 h 403527"/>
                  <a:gd name="connsiteX11" fmla="*/ 108408 w 184651"/>
                  <a:gd name="connsiteY11" fmla="*/ 365369 h 403527"/>
                  <a:gd name="connsiteX12" fmla="*/ 146530 w 184651"/>
                  <a:gd name="connsiteY12" fmla="*/ 403527 h 403527"/>
                  <a:gd name="connsiteX13" fmla="*/ 184652 w 184651"/>
                  <a:gd name="connsiteY13" fmla="*/ 365369 h 403527"/>
                  <a:gd name="connsiteX14" fmla="*/ 166458 w 184651"/>
                  <a:gd name="connsiteY14" fmla="*/ 332895 h 403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84651" h="403527">
                    <a:moveTo>
                      <a:pt x="166458" y="332895"/>
                    </a:moveTo>
                    <a:lnTo>
                      <a:pt x="166458" y="98119"/>
                    </a:lnTo>
                    <a:cubicBezTo>
                      <a:pt x="166458" y="54056"/>
                      <a:pt x="130647" y="18212"/>
                      <a:pt x="86627" y="18212"/>
                    </a:cubicBezTo>
                    <a:lnTo>
                      <a:pt x="70565" y="18212"/>
                    </a:lnTo>
                    <a:cubicBezTo>
                      <a:pt x="63849" y="7301"/>
                      <a:pt x="51832" y="0"/>
                      <a:pt x="38122" y="0"/>
                    </a:cubicBezTo>
                    <a:cubicBezTo>
                      <a:pt x="17098" y="0"/>
                      <a:pt x="0" y="17115"/>
                      <a:pt x="0" y="38159"/>
                    </a:cubicBezTo>
                    <a:cubicBezTo>
                      <a:pt x="0" y="59203"/>
                      <a:pt x="17098" y="76317"/>
                      <a:pt x="38122" y="76317"/>
                    </a:cubicBezTo>
                    <a:cubicBezTo>
                      <a:pt x="51832" y="76317"/>
                      <a:pt x="63849" y="69017"/>
                      <a:pt x="70565" y="58106"/>
                    </a:cubicBezTo>
                    <a:lnTo>
                      <a:pt x="86627" y="58106"/>
                    </a:lnTo>
                    <a:cubicBezTo>
                      <a:pt x="108667" y="58106"/>
                      <a:pt x="126602" y="76058"/>
                      <a:pt x="126602" y="98119"/>
                    </a:cubicBezTo>
                    <a:lnTo>
                      <a:pt x="126602" y="332895"/>
                    </a:lnTo>
                    <a:cubicBezTo>
                      <a:pt x="115701" y="339617"/>
                      <a:pt x="108408" y="351645"/>
                      <a:pt x="108408" y="365369"/>
                    </a:cubicBezTo>
                    <a:cubicBezTo>
                      <a:pt x="108408" y="386413"/>
                      <a:pt x="125506" y="403527"/>
                      <a:pt x="146530" y="403527"/>
                    </a:cubicBezTo>
                    <a:cubicBezTo>
                      <a:pt x="167554" y="403527"/>
                      <a:pt x="184652" y="386413"/>
                      <a:pt x="184652" y="365369"/>
                    </a:cubicBezTo>
                    <a:cubicBezTo>
                      <a:pt x="184652" y="351645"/>
                      <a:pt x="177358" y="339617"/>
                      <a:pt x="166458" y="332895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24" name="Freeform 7">
                <a:extLst>
                  <a:ext uri="{FF2B5EF4-FFF2-40B4-BE49-F238E27FC236}">
                    <a16:creationId xmlns:a16="http://schemas.microsoft.com/office/drawing/2014/main" id="{579E95DD-8FDA-E958-005B-C8D2AAC9ECDE}"/>
                  </a:ext>
                </a:extLst>
              </p:cNvPr>
              <p:cNvSpPr/>
              <p:nvPr/>
            </p:nvSpPr>
            <p:spPr>
              <a:xfrm>
                <a:off x="3145547" y="3745053"/>
                <a:ext cx="76244" cy="76317"/>
              </a:xfrm>
              <a:custGeom>
                <a:avLst/>
                <a:gdLst>
                  <a:gd name="connsiteX0" fmla="*/ 38122 w 76244"/>
                  <a:gd name="connsiteY0" fmla="*/ 0 h 76317"/>
                  <a:gd name="connsiteX1" fmla="*/ 0 w 76244"/>
                  <a:gd name="connsiteY1" fmla="*/ 38159 h 76317"/>
                  <a:gd name="connsiteX2" fmla="*/ 38122 w 76244"/>
                  <a:gd name="connsiteY2" fmla="*/ 76317 h 76317"/>
                  <a:gd name="connsiteX3" fmla="*/ 76244 w 76244"/>
                  <a:gd name="connsiteY3" fmla="*/ 38159 h 76317"/>
                  <a:gd name="connsiteX4" fmla="*/ 38122 w 76244"/>
                  <a:gd name="connsiteY4" fmla="*/ 0 h 76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244" h="76317">
                    <a:moveTo>
                      <a:pt x="38122" y="0"/>
                    </a:moveTo>
                    <a:cubicBezTo>
                      <a:pt x="17098" y="0"/>
                      <a:pt x="0" y="17115"/>
                      <a:pt x="0" y="38159"/>
                    </a:cubicBezTo>
                    <a:cubicBezTo>
                      <a:pt x="0" y="59203"/>
                      <a:pt x="17098" y="76317"/>
                      <a:pt x="38122" y="76317"/>
                    </a:cubicBezTo>
                    <a:cubicBezTo>
                      <a:pt x="59146" y="76317"/>
                      <a:pt x="76244" y="59203"/>
                      <a:pt x="76244" y="38159"/>
                    </a:cubicBezTo>
                    <a:cubicBezTo>
                      <a:pt x="76244" y="17115"/>
                      <a:pt x="59146" y="0"/>
                      <a:pt x="38122" y="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25" name="Freeform 8">
                <a:extLst>
                  <a:ext uri="{FF2B5EF4-FFF2-40B4-BE49-F238E27FC236}">
                    <a16:creationId xmlns:a16="http://schemas.microsoft.com/office/drawing/2014/main" id="{3C8375D5-FEAA-6C99-7A18-89701FB18B28}"/>
                  </a:ext>
                </a:extLst>
              </p:cNvPr>
              <p:cNvSpPr/>
              <p:nvPr/>
            </p:nvSpPr>
            <p:spPr>
              <a:xfrm>
                <a:off x="2743482" y="2951523"/>
                <a:ext cx="342660" cy="341292"/>
              </a:xfrm>
              <a:custGeom>
                <a:avLst/>
                <a:gdLst>
                  <a:gd name="connsiteX0" fmla="*/ 64806 w 342660"/>
                  <a:gd name="connsiteY0" fmla="*/ 341293 h 341292"/>
                  <a:gd name="connsiteX1" fmla="*/ 116777 w 342660"/>
                  <a:gd name="connsiteY1" fmla="*/ 315142 h 341292"/>
                  <a:gd name="connsiteX2" fmla="*/ 240291 w 342660"/>
                  <a:gd name="connsiteY2" fmla="*/ 315142 h 341292"/>
                  <a:gd name="connsiteX3" fmla="*/ 299098 w 342660"/>
                  <a:gd name="connsiteY3" fmla="*/ 256279 h 341292"/>
                  <a:gd name="connsiteX4" fmla="*/ 299098 w 342660"/>
                  <a:gd name="connsiteY4" fmla="*/ 126165 h 341292"/>
                  <a:gd name="connsiteX5" fmla="*/ 342660 w 342660"/>
                  <a:gd name="connsiteY5" fmla="*/ 64888 h 341292"/>
                  <a:gd name="connsiteX6" fmla="*/ 277835 w 342660"/>
                  <a:gd name="connsiteY6" fmla="*/ 0 h 341292"/>
                  <a:gd name="connsiteX7" fmla="*/ 213009 w 342660"/>
                  <a:gd name="connsiteY7" fmla="*/ 64888 h 341292"/>
                  <a:gd name="connsiteX8" fmla="*/ 259242 w 342660"/>
                  <a:gd name="connsiteY8" fmla="*/ 127042 h 341292"/>
                  <a:gd name="connsiteX9" fmla="*/ 259242 w 342660"/>
                  <a:gd name="connsiteY9" fmla="*/ 256279 h 341292"/>
                  <a:gd name="connsiteX10" fmla="*/ 240291 w 342660"/>
                  <a:gd name="connsiteY10" fmla="*/ 275248 h 341292"/>
                  <a:gd name="connsiteX11" fmla="*/ 129611 w 342660"/>
                  <a:gd name="connsiteY11" fmla="*/ 275248 h 341292"/>
                  <a:gd name="connsiteX12" fmla="*/ 64825 w 342660"/>
                  <a:gd name="connsiteY12" fmla="*/ 211518 h 341292"/>
                  <a:gd name="connsiteX13" fmla="*/ 0 w 342660"/>
                  <a:gd name="connsiteY13" fmla="*/ 276405 h 341292"/>
                  <a:gd name="connsiteX14" fmla="*/ 64825 w 342660"/>
                  <a:gd name="connsiteY14" fmla="*/ 341293 h 341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2660" h="341292">
                    <a:moveTo>
                      <a:pt x="64806" y="341293"/>
                    </a:moveTo>
                    <a:cubicBezTo>
                      <a:pt x="86049" y="341293"/>
                      <a:pt x="104940" y="331000"/>
                      <a:pt x="116777" y="315142"/>
                    </a:cubicBezTo>
                    <a:lnTo>
                      <a:pt x="240291" y="315142"/>
                    </a:lnTo>
                    <a:cubicBezTo>
                      <a:pt x="272713" y="315142"/>
                      <a:pt x="299098" y="288733"/>
                      <a:pt x="299098" y="256279"/>
                    </a:cubicBezTo>
                    <a:lnTo>
                      <a:pt x="299098" y="126165"/>
                    </a:lnTo>
                    <a:cubicBezTo>
                      <a:pt x="324426" y="117328"/>
                      <a:pt x="342660" y="93212"/>
                      <a:pt x="342660" y="64888"/>
                    </a:cubicBezTo>
                    <a:cubicBezTo>
                      <a:pt x="342660" y="29103"/>
                      <a:pt x="313585" y="0"/>
                      <a:pt x="277835" y="0"/>
                    </a:cubicBezTo>
                    <a:cubicBezTo>
                      <a:pt x="242084" y="0"/>
                      <a:pt x="213009" y="29103"/>
                      <a:pt x="213009" y="64888"/>
                    </a:cubicBezTo>
                    <a:cubicBezTo>
                      <a:pt x="213009" y="94190"/>
                      <a:pt x="232539" y="119024"/>
                      <a:pt x="259242" y="127042"/>
                    </a:cubicBezTo>
                    <a:lnTo>
                      <a:pt x="259242" y="256279"/>
                    </a:lnTo>
                    <a:cubicBezTo>
                      <a:pt x="259242" y="266751"/>
                      <a:pt x="250733" y="275248"/>
                      <a:pt x="240291" y="275248"/>
                    </a:cubicBezTo>
                    <a:lnTo>
                      <a:pt x="129611" y="275248"/>
                    </a:lnTo>
                    <a:cubicBezTo>
                      <a:pt x="128993" y="240002"/>
                      <a:pt x="100178" y="211518"/>
                      <a:pt x="64825" y="211518"/>
                    </a:cubicBezTo>
                    <a:cubicBezTo>
                      <a:pt x="29473" y="211518"/>
                      <a:pt x="0" y="240620"/>
                      <a:pt x="0" y="276405"/>
                    </a:cubicBezTo>
                    <a:cubicBezTo>
                      <a:pt x="0" y="312190"/>
                      <a:pt x="29075" y="341293"/>
                      <a:pt x="64825" y="341293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26" name="Freeform 9">
                <a:extLst>
                  <a:ext uri="{FF2B5EF4-FFF2-40B4-BE49-F238E27FC236}">
                    <a16:creationId xmlns:a16="http://schemas.microsoft.com/office/drawing/2014/main" id="{47F58D9E-C289-E7B2-D120-AFC305DE2523}"/>
                  </a:ext>
                </a:extLst>
              </p:cNvPr>
              <p:cNvSpPr/>
              <p:nvPr/>
            </p:nvSpPr>
            <p:spPr>
              <a:xfrm>
                <a:off x="3145567" y="3417863"/>
                <a:ext cx="298838" cy="305567"/>
              </a:xfrm>
              <a:custGeom>
                <a:avLst/>
                <a:gdLst>
                  <a:gd name="connsiteX0" fmla="*/ 256472 w 298838"/>
                  <a:gd name="connsiteY0" fmla="*/ 115214 h 305567"/>
                  <a:gd name="connsiteX1" fmla="*/ 146789 w 298838"/>
                  <a:gd name="connsiteY1" fmla="*/ 115214 h 305567"/>
                  <a:gd name="connsiteX2" fmla="*/ 104422 w 298838"/>
                  <a:gd name="connsiteY2" fmla="*/ 157621 h 305567"/>
                  <a:gd name="connsiteX3" fmla="*/ 104422 w 298838"/>
                  <a:gd name="connsiteY3" fmla="*/ 198093 h 305567"/>
                  <a:gd name="connsiteX4" fmla="*/ 89735 w 298838"/>
                  <a:gd name="connsiteY4" fmla="*/ 198093 h 305567"/>
                  <a:gd name="connsiteX5" fmla="*/ 58050 w 298838"/>
                  <a:gd name="connsiteY5" fmla="*/ 166378 h 305567"/>
                  <a:gd name="connsiteX6" fmla="*/ 58050 w 298838"/>
                  <a:gd name="connsiteY6" fmla="*/ 70632 h 305567"/>
                  <a:gd name="connsiteX7" fmla="*/ 76244 w 298838"/>
                  <a:gd name="connsiteY7" fmla="*/ 38159 h 305567"/>
                  <a:gd name="connsiteX8" fmla="*/ 38122 w 298838"/>
                  <a:gd name="connsiteY8" fmla="*/ 0 h 305567"/>
                  <a:gd name="connsiteX9" fmla="*/ 0 w 298838"/>
                  <a:gd name="connsiteY9" fmla="*/ 38159 h 305567"/>
                  <a:gd name="connsiteX10" fmla="*/ 18194 w 298838"/>
                  <a:gd name="connsiteY10" fmla="*/ 70632 h 305567"/>
                  <a:gd name="connsiteX11" fmla="*/ 18194 w 298838"/>
                  <a:gd name="connsiteY11" fmla="*/ 166378 h 305567"/>
                  <a:gd name="connsiteX12" fmla="*/ 89735 w 298838"/>
                  <a:gd name="connsiteY12" fmla="*/ 237987 h 305567"/>
                  <a:gd name="connsiteX13" fmla="*/ 104422 w 298838"/>
                  <a:gd name="connsiteY13" fmla="*/ 237987 h 305567"/>
                  <a:gd name="connsiteX14" fmla="*/ 104422 w 298838"/>
                  <a:gd name="connsiteY14" fmla="*/ 263160 h 305567"/>
                  <a:gd name="connsiteX15" fmla="*/ 146789 w 298838"/>
                  <a:gd name="connsiteY15" fmla="*/ 305568 h 305567"/>
                  <a:gd name="connsiteX16" fmla="*/ 256472 w 298838"/>
                  <a:gd name="connsiteY16" fmla="*/ 305568 h 305567"/>
                  <a:gd name="connsiteX17" fmla="*/ 298839 w 298838"/>
                  <a:gd name="connsiteY17" fmla="*/ 263160 h 305567"/>
                  <a:gd name="connsiteX18" fmla="*/ 298839 w 298838"/>
                  <a:gd name="connsiteY18" fmla="*/ 157621 h 305567"/>
                  <a:gd name="connsiteX19" fmla="*/ 256472 w 298838"/>
                  <a:gd name="connsiteY19" fmla="*/ 115214 h 305567"/>
                  <a:gd name="connsiteX20" fmla="*/ 258983 w 298838"/>
                  <a:gd name="connsiteY20" fmla="*/ 263160 h 305567"/>
                  <a:gd name="connsiteX21" fmla="*/ 256472 w 298838"/>
                  <a:gd name="connsiteY21" fmla="*/ 265674 h 305567"/>
                  <a:gd name="connsiteX22" fmla="*/ 146789 w 298838"/>
                  <a:gd name="connsiteY22" fmla="*/ 265674 h 305567"/>
                  <a:gd name="connsiteX23" fmla="*/ 144278 w 298838"/>
                  <a:gd name="connsiteY23" fmla="*/ 263160 h 305567"/>
                  <a:gd name="connsiteX24" fmla="*/ 144278 w 298838"/>
                  <a:gd name="connsiteY24" fmla="*/ 157621 h 305567"/>
                  <a:gd name="connsiteX25" fmla="*/ 146789 w 298838"/>
                  <a:gd name="connsiteY25" fmla="*/ 155108 h 305567"/>
                  <a:gd name="connsiteX26" fmla="*/ 256472 w 298838"/>
                  <a:gd name="connsiteY26" fmla="*/ 155108 h 305567"/>
                  <a:gd name="connsiteX27" fmla="*/ 258983 w 298838"/>
                  <a:gd name="connsiteY27" fmla="*/ 157621 h 305567"/>
                  <a:gd name="connsiteX28" fmla="*/ 258983 w 298838"/>
                  <a:gd name="connsiteY28" fmla="*/ 263160 h 305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98838" h="305567">
                    <a:moveTo>
                      <a:pt x="256472" y="115214"/>
                    </a:moveTo>
                    <a:lnTo>
                      <a:pt x="146789" y="115214"/>
                    </a:lnTo>
                    <a:cubicBezTo>
                      <a:pt x="123433" y="115214"/>
                      <a:pt x="104422" y="134243"/>
                      <a:pt x="104422" y="157621"/>
                    </a:cubicBezTo>
                    <a:lnTo>
                      <a:pt x="104422" y="198093"/>
                    </a:lnTo>
                    <a:lnTo>
                      <a:pt x="89735" y="198093"/>
                    </a:lnTo>
                    <a:cubicBezTo>
                      <a:pt x="72259" y="198093"/>
                      <a:pt x="58050" y="183871"/>
                      <a:pt x="58050" y="166378"/>
                    </a:cubicBezTo>
                    <a:lnTo>
                      <a:pt x="58050" y="70632"/>
                    </a:lnTo>
                    <a:cubicBezTo>
                      <a:pt x="68951" y="63910"/>
                      <a:pt x="76244" y="51882"/>
                      <a:pt x="76244" y="38159"/>
                    </a:cubicBezTo>
                    <a:cubicBezTo>
                      <a:pt x="76244" y="17114"/>
                      <a:pt x="59146" y="0"/>
                      <a:pt x="38122" y="0"/>
                    </a:cubicBezTo>
                    <a:cubicBezTo>
                      <a:pt x="17098" y="0"/>
                      <a:pt x="0" y="17114"/>
                      <a:pt x="0" y="38159"/>
                    </a:cubicBezTo>
                    <a:cubicBezTo>
                      <a:pt x="0" y="51882"/>
                      <a:pt x="7294" y="63910"/>
                      <a:pt x="18194" y="70632"/>
                    </a:cubicBezTo>
                    <a:lnTo>
                      <a:pt x="18194" y="166378"/>
                    </a:lnTo>
                    <a:cubicBezTo>
                      <a:pt x="18194" y="205873"/>
                      <a:pt x="50298" y="237987"/>
                      <a:pt x="89735" y="237987"/>
                    </a:cubicBezTo>
                    <a:lnTo>
                      <a:pt x="104422" y="237987"/>
                    </a:lnTo>
                    <a:lnTo>
                      <a:pt x="104422" y="263160"/>
                    </a:lnTo>
                    <a:cubicBezTo>
                      <a:pt x="104422" y="286538"/>
                      <a:pt x="123433" y="305568"/>
                      <a:pt x="146789" y="305568"/>
                    </a:cubicBezTo>
                    <a:lnTo>
                      <a:pt x="256472" y="305568"/>
                    </a:lnTo>
                    <a:cubicBezTo>
                      <a:pt x="279828" y="305568"/>
                      <a:pt x="298839" y="286538"/>
                      <a:pt x="298839" y="263160"/>
                    </a:cubicBezTo>
                    <a:lnTo>
                      <a:pt x="298839" y="157621"/>
                    </a:lnTo>
                    <a:cubicBezTo>
                      <a:pt x="298839" y="134243"/>
                      <a:pt x="279828" y="115214"/>
                      <a:pt x="256472" y="115214"/>
                    </a:cubicBezTo>
                    <a:close/>
                    <a:moveTo>
                      <a:pt x="258983" y="263160"/>
                    </a:moveTo>
                    <a:cubicBezTo>
                      <a:pt x="258983" y="264557"/>
                      <a:pt x="257847" y="265674"/>
                      <a:pt x="256472" y="265674"/>
                    </a:cubicBezTo>
                    <a:lnTo>
                      <a:pt x="146789" y="265674"/>
                    </a:lnTo>
                    <a:cubicBezTo>
                      <a:pt x="145394" y="265674"/>
                      <a:pt x="144278" y="264537"/>
                      <a:pt x="144278" y="263160"/>
                    </a:cubicBezTo>
                    <a:lnTo>
                      <a:pt x="144278" y="157621"/>
                    </a:lnTo>
                    <a:cubicBezTo>
                      <a:pt x="144278" y="156225"/>
                      <a:pt x="145414" y="155108"/>
                      <a:pt x="146789" y="155108"/>
                    </a:cubicBezTo>
                    <a:lnTo>
                      <a:pt x="256472" y="155108"/>
                    </a:lnTo>
                    <a:cubicBezTo>
                      <a:pt x="257867" y="155108"/>
                      <a:pt x="258983" y="156245"/>
                      <a:pt x="258983" y="157621"/>
                    </a:cubicBezTo>
                    <a:lnTo>
                      <a:pt x="258983" y="263160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27" name="Freeform 10">
                <a:extLst>
                  <a:ext uri="{FF2B5EF4-FFF2-40B4-BE49-F238E27FC236}">
                    <a16:creationId xmlns:a16="http://schemas.microsoft.com/office/drawing/2014/main" id="{74C55292-BCD4-DC0C-2BDB-BFFDD4F10468}"/>
                  </a:ext>
                </a:extLst>
              </p:cNvPr>
              <p:cNvSpPr/>
              <p:nvPr/>
            </p:nvSpPr>
            <p:spPr>
              <a:xfrm>
                <a:off x="2296249" y="2698787"/>
                <a:ext cx="2082217" cy="2066613"/>
              </a:xfrm>
              <a:custGeom>
                <a:avLst/>
                <a:gdLst>
                  <a:gd name="connsiteX0" fmla="*/ 2082217 w 2082217"/>
                  <a:gd name="connsiteY0" fmla="*/ 1284054 h 2066613"/>
                  <a:gd name="connsiteX1" fmla="*/ 2074884 w 2082217"/>
                  <a:gd name="connsiteY1" fmla="*/ 1214579 h 2066613"/>
                  <a:gd name="connsiteX2" fmla="*/ 2033175 w 2082217"/>
                  <a:gd name="connsiteY2" fmla="*/ 1099245 h 2066613"/>
                  <a:gd name="connsiteX3" fmla="*/ 2000074 w 2082217"/>
                  <a:gd name="connsiteY3" fmla="*/ 1047762 h 2066613"/>
                  <a:gd name="connsiteX4" fmla="*/ 1998321 w 2082217"/>
                  <a:gd name="connsiteY4" fmla="*/ 1045388 h 2066613"/>
                  <a:gd name="connsiteX5" fmla="*/ 1997922 w 2082217"/>
                  <a:gd name="connsiteY5" fmla="*/ 1044910 h 2066613"/>
                  <a:gd name="connsiteX6" fmla="*/ 1997623 w 2082217"/>
                  <a:gd name="connsiteY6" fmla="*/ 1044551 h 2066613"/>
                  <a:gd name="connsiteX7" fmla="*/ 1997703 w 2082217"/>
                  <a:gd name="connsiteY7" fmla="*/ 1044271 h 2066613"/>
                  <a:gd name="connsiteX8" fmla="*/ 1998241 w 2082217"/>
                  <a:gd name="connsiteY8" fmla="*/ 1042237 h 2066613"/>
                  <a:gd name="connsiteX9" fmla="*/ 2000313 w 2082217"/>
                  <a:gd name="connsiteY9" fmla="*/ 1034058 h 2066613"/>
                  <a:gd name="connsiteX10" fmla="*/ 2002207 w 2082217"/>
                  <a:gd name="connsiteY10" fmla="*/ 1025840 h 2066613"/>
                  <a:gd name="connsiteX11" fmla="*/ 2010835 w 2082217"/>
                  <a:gd name="connsiteY11" fmla="*/ 955886 h 2066613"/>
                  <a:gd name="connsiteX12" fmla="*/ 2010257 w 2082217"/>
                  <a:gd name="connsiteY12" fmla="*/ 920680 h 2066613"/>
                  <a:gd name="connsiteX13" fmla="*/ 2009580 w 2082217"/>
                  <a:gd name="connsiteY13" fmla="*/ 911883 h 2066613"/>
                  <a:gd name="connsiteX14" fmla="*/ 2008683 w 2082217"/>
                  <a:gd name="connsiteY14" fmla="*/ 903107 h 2066613"/>
                  <a:gd name="connsiteX15" fmla="*/ 2006471 w 2082217"/>
                  <a:gd name="connsiteY15" fmla="*/ 885613 h 2066613"/>
                  <a:gd name="connsiteX16" fmla="*/ 2003442 w 2082217"/>
                  <a:gd name="connsiteY16" fmla="*/ 868219 h 2066613"/>
                  <a:gd name="connsiteX17" fmla="*/ 2001529 w 2082217"/>
                  <a:gd name="connsiteY17" fmla="*/ 859602 h 2066613"/>
                  <a:gd name="connsiteX18" fmla="*/ 1999437 w 2082217"/>
                  <a:gd name="connsiteY18" fmla="*/ 851025 h 2066613"/>
                  <a:gd name="connsiteX19" fmla="*/ 1997324 w 2082217"/>
                  <a:gd name="connsiteY19" fmla="*/ 842448 h 2066613"/>
                  <a:gd name="connsiteX20" fmla="*/ 1994793 w 2082217"/>
                  <a:gd name="connsiteY20" fmla="*/ 833990 h 2066613"/>
                  <a:gd name="connsiteX21" fmla="*/ 1989453 w 2082217"/>
                  <a:gd name="connsiteY21" fmla="*/ 817155 h 2066613"/>
                  <a:gd name="connsiteX22" fmla="*/ 1983116 w 2082217"/>
                  <a:gd name="connsiteY22" fmla="*/ 800699 h 2066613"/>
                  <a:gd name="connsiteX23" fmla="*/ 1979867 w 2082217"/>
                  <a:gd name="connsiteY23" fmla="*/ 792501 h 2066613"/>
                  <a:gd name="connsiteX24" fmla="*/ 1976141 w 2082217"/>
                  <a:gd name="connsiteY24" fmla="*/ 784502 h 2066613"/>
                  <a:gd name="connsiteX25" fmla="*/ 1968548 w 2082217"/>
                  <a:gd name="connsiteY25" fmla="*/ 768584 h 2066613"/>
                  <a:gd name="connsiteX26" fmla="*/ 1960059 w 2082217"/>
                  <a:gd name="connsiteY26" fmla="*/ 753165 h 2066613"/>
                  <a:gd name="connsiteX27" fmla="*/ 1956472 w 2082217"/>
                  <a:gd name="connsiteY27" fmla="*/ 746842 h 2066613"/>
                  <a:gd name="connsiteX28" fmla="*/ 1952566 w 2082217"/>
                  <a:gd name="connsiteY28" fmla="*/ 740718 h 2066613"/>
                  <a:gd name="connsiteX29" fmla="*/ 1944715 w 2082217"/>
                  <a:gd name="connsiteY29" fmla="*/ 728491 h 2066613"/>
                  <a:gd name="connsiteX30" fmla="*/ 1940550 w 2082217"/>
                  <a:gd name="connsiteY30" fmla="*/ 722546 h 2066613"/>
                  <a:gd name="connsiteX31" fmla="*/ 1936265 w 2082217"/>
                  <a:gd name="connsiteY31" fmla="*/ 716682 h 2066613"/>
                  <a:gd name="connsiteX32" fmla="*/ 1927577 w 2082217"/>
                  <a:gd name="connsiteY32" fmla="*/ 705053 h 2066613"/>
                  <a:gd name="connsiteX33" fmla="*/ 1918290 w 2082217"/>
                  <a:gd name="connsiteY33" fmla="*/ 693923 h 2066613"/>
                  <a:gd name="connsiteX34" fmla="*/ 1908705 w 2082217"/>
                  <a:gd name="connsiteY34" fmla="*/ 683051 h 2066613"/>
                  <a:gd name="connsiteX35" fmla="*/ 1888319 w 2082217"/>
                  <a:gd name="connsiteY35" fmla="*/ 662486 h 2066613"/>
                  <a:gd name="connsiteX36" fmla="*/ 1877677 w 2082217"/>
                  <a:gd name="connsiteY36" fmla="*/ 652672 h 2066613"/>
                  <a:gd name="connsiteX37" fmla="*/ 1866518 w 2082217"/>
                  <a:gd name="connsiteY37" fmla="*/ 643457 h 2066613"/>
                  <a:gd name="connsiteX38" fmla="*/ 1860898 w 2082217"/>
                  <a:gd name="connsiteY38" fmla="*/ 638889 h 2066613"/>
                  <a:gd name="connsiteX39" fmla="*/ 1855179 w 2082217"/>
                  <a:gd name="connsiteY39" fmla="*/ 634461 h 2066613"/>
                  <a:gd name="connsiteX40" fmla="*/ 1849878 w 2082217"/>
                  <a:gd name="connsiteY40" fmla="*/ 630651 h 2066613"/>
                  <a:gd name="connsiteX41" fmla="*/ 1849499 w 2082217"/>
                  <a:gd name="connsiteY41" fmla="*/ 630411 h 2066613"/>
                  <a:gd name="connsiteX42" fmla="*/ 1849539 w 2082217"/>
                  <a:gd name="connsiteY42" fmla="*/ 630012 h 2066613"/>
                  <a:gd name="connsiteX43" fmla="*/ 1849539 w 2082217"/>
                  <a:gd name="connsiteY43" fmla="*/ 629913 h 2066613"/>
                  <a:gd name="connsiteX44" fmla="*/ 1849539 w 2082217"/>
                  <a:gd name="connsiteY44" fmla="*/ 629813 h 2066613"/>
                  <a:gd name="connsiteX45" fmla="*/ 1849539 w 2082217"/>
                  <a:gd name="connsiteY45" fmla="*/ 629434 h 2066613"/>
                  <a:gd name="connsiteX46" fmla="*/ 1849659 w 2082217"/>
                  <a:gd name="connsiteY46" fmla="*/ 627878 h 2066613"/>
                  <a:gd name="connsiteX47" fmla="*/ 1850017 w 2082217"/>
                  <a:gd name="connsiteY47" fmla="*/ 621675 h 2066613"/>
                  <a:gd name="connsiteX48" fmla="*/ 1850256 w 2082217"/>
                  <a:gd name="connsiteY48" fmla="*/ 596881 h 2066613"/>
                  <a:gd name="connsiteX49" fmla="*/ 1841668 w 2082217"/>
                  <a:gd name="connsiteY49" fmla="*/ 525989 h 2066613"/>
                  <a:gd name="connsiteX50" fmla="*/ 1819069 w 2082217"/>
                  <a:gd name="connsiteY50" fmla="*/ 458289 h 2066613"/>
                  <a:gd name="connsiteX51" fmla="*/ 1783857 w 2082217"/>
                  <a:gd name="connsiteY51" fmla="*/ 396593 h 2066613"/>
                  <a:gd name="connsiteX52" fmla="*/ 1737903 w 2082217"/>
                  <a:gd name="connsiteY52" fmla="*/ 342955 h 2066613"/>
                  <a:gd name="connsiteX53" fmla="*/ 1650579 w 2082217"/>
                  <a:gd name="connsiteY53" fmla="*/ 279424 h 2066613"/>
                  <a:gd name="connsiteX54" fmla="*/ 1638562 w 2082217"/>
                  <a:gd name="connsiteY54" fmla="*/ 273241 h 2066613"/>
                  <a:gd name="connsiteX55" fmla="*/ 1626367 w 2082217"/>
                  <a:gd name="connsiteY55" fmla="*/ 267476 h 2066613"/>
                  <a:gd name="connsiteX56" fmla="*/ 1613971 w 2082217"/>
                  <a:gd name="connsiteY56" fmla="*/ 262170 h 2066613"/>
                  <a:gd name="connsiteX57" fmla="*/ 1601975 w 2082217"/>
                  <a:gd name="connsiteY57" fmla="*/ 257523 h 2066613"/>
                  <a:gd name="connsiteX58" fmla="*/ 1598726 w 2082217"/>
                  <a:gd name="connsiteY58" fmla="*/ 256286 h 2066613"/>
                  <a:gd name="connsiteX59" fmla="*/ 1598069 w 2082217"/>
                  <a:gd name="connsiteY59" fmla="*/ 254630 h 2066613"/>
                  <a:gd name="connsiteX60" fmla="*/ 1592210 w 2082217"/>
                  <a:gd name="connsiteY60" fmla="*/ 240328 h 2066613"/>
                  <a:gd name="connsiteX61" fmla="*/ 1585893 w 2082217"/>
                  <a:gd name="connsiteY61" fmla="*/ 226166 h 2066613"/>
                  <a:gd name="connsiteX62" fmla="*/ 1579118 w 2082217"/>
                  <a:gd name="connsiteY62" fmla="*/ 212183 h 2066613"/>
                  <a:gd name="connsiteX63" fmla="*/ 1544124 w 2082217"/>
                  <a:gd name="connsiteY63" fmla="*/ 153619 h 2066613"/>
                  <a:gd name="connsiteX64" fmla="*/ 1499725 w 2082217"/>
                  <a:gd name="connsiteY64" fmla="*/ 100261 h 2066613"/>
                  <a:gd name="connsiteX65" fmla="*/ 1493507 w 2082217"/>
                  <a:gd name="connsiteY65" fmla="*/ 94057 h 2066613"/>
                  <a:gd name="connsiteX66" fmla="*/ 1487071 w 2082217"/>
                  <a:gd name="connsiteY66" fmla="*/ 88033 h 2066613"/>
                  <a:gd name="connsiteX67" fmla="*/ 1473799 w 2082217"/>
                  <a:gd name="connsiteY67" fmla="*/ 76304 h 2066613"/>
                  <a:gd name="connsiteX68" fmla="*/ 1459909 w 2082217"/>
                  <a:gd name="connsiteY68" fmla="*/ 65154 h 2066613"/>
                  <a:gd name="connsiteX69" fmla="*/ 1452655 w 2082217"/>
                  <a:gd name="connsiteY69" fmla="*/ 59868 h 2066613"/>
                  <a:gd name="connsiteX70" fmla="*/ 1445302 w 2082217"/>
                  <a:gd name="connsiteY70" fmla="*/ 54702 h 2066613"/>
                  <a:gd name="connsiteX71" fmla="*/ 1380974 w 2082217"/>
                  <a:gd name="connsiteY71" fmla="*/ 20592 h 2066613"/>
                  <a:gd name="connsiteX72" fmla="*/ 1372346 w 2082217"/>
                  <a:gd name="connsiteY72" fmla="*/ 17301 h 2066613"/>
                  <a:gd name="connsiteX73" fmla="*/ 1363558 w 2082217"/>
                  <a:gd name="connsiteY73" fmla="*/ 14369 h 2066613"/>
                  <a:gd name="connsiteX74" fmla="*/ 1359153 w 2082217"/>
                  <a:gd name="connsiteY74" fmla="*/ 12933 h 2066613"/>
                  <a:gd name="connsiteX75" fmla="*/ 1354690 w 2082217"/>
                  <a:gd name="connsiteY75" fmla="*/ 11656 h 2066613"/>
                  <a:gd name="connsiteX76" fmla="*/ 1345722 w 2082217"/>
                  <a:gd name="connsiteY76" fmla="*/ 9163 h 2066613"/>
                  <a:gd name="connsiteX77" fmla="*/ 1309035 w 2082217"/>
                  <a:gd name="connsiteY77" fmla="*/ 2281 h 2066613"/>
                  <a:gd name="connsiteX78" fmla="*/ 1290422 w 2082217"/>
                  <a:gd name="connsiteY78" fmla="*/ 546 h 2066613"/>
                  <a:gd name="connsiteX79" fmla="*/ 1281076 w 2082217"/>
                  <a:gd name="connsiteY79" fmla="*/ 167 h 2066613"/>
                  <a:gd name="connsiteX80" fmla="*/ 1271829 w 2082217"/>
                  <a:gd name="connsiteY80" fmla="*/ 7 h 2066613"/>
                  <a:gd name="connsiteX81" fmla="*/ 1254412 w 2082217"/>
                  <a:gd name="connsiteY81" fmla="*/ 426 h 2066613"/>
                  <a:gd name="connsiteX82" fmla="*/ 1236896 w 2082217"/>
                  <a:gd name="connsiteY82" fmla="*/ 1663 h 2066613"/>
                  <a:gd name="connsiteX83" fmla="*/ 1166610 w 2082217"/>
                  <a:gd name="connsiteY83" fmla="*/ 15227 h 2066613"/>
                  <a:gd name="connsiteX84" fmla="*/ 1099274 w 2082217"/>
                  <a:gd name="connsiteY84" fmla="*/ 44509 h 2066613"/>
                  <a:gd name="connsiteX85" fmla="*/ 1088293 w 2082217"/>
                  <a:gd name="connsiteY85" fmla="*/ 51390 h 2066613"/>
                  <a:gd name="connsiteX86" fmla="*/ 1077532 w 2082217"/>
                  <a:gd name="connsiteY86" fmla="*/ 58591 h 2066613"/>
                  <a:gd name="connsiteX87" fmla="*/ 1057126 w 2082217"/>
                  <a:gd name="connsiteY87" fmla="*/ 74429 h 2066613"/>
                  <a:gd name="connsiteX88" fmla="*/ 1047342 w 2082217"/>
                  <a:gd name="connsiteY88" fmla="*/ 82827 h 2066613"/>
                  <a:gd name="connsiteX89" fmla="*/ 1042738 w 2082217"/>
                  <a:gd name="connsiteY89" fmla="*/ 87295 h 2066613"/>
                  <a:gd name="connsiteX90" fmla="*/ 1041582 w 2082217"/>
                  <a:gd name="connsiteY90" fmla="*/ 88412 h 2066613"/>
                  <a:gd name="connsiteX91" fmla="*/ 1041383 w 2082217"/>
                  <a:gd name="connsiteY91" fmla="*/ 88592 h 2066613"/>
                  <a:gd name="connsiteX92" fmla="*/ 1041323 w 2082217"/>
                  <a:gd name="connsiteY92" fmla="*/ 88631 h 2066613"/>
                  <a:gd name="connsiteX93" fmla="*/ 1041144 w 2082217"/>
                  <a:gd name="connsiteY93" fmla="*/ 88851 h 2066613"/>
                  <a:gd name="connsiteX94" fmla="*/ 1041104 w 2082217"/>
                  <a:gd name="connsiteY94" fmla="*/ 88911 h 2066613"/>
                  <a:gd name="connsiteX95" fmla="*/ 1041024 w 2082217"/>
                  <a:gd name="connsiteY95" fmla="*/ 88771 h 2066613"/>
                  <a:gd name="connsiteX96" fmla="*/ 1040865 w 2082217"/>
                  <a:gd name="connsiteY96" fmla="*/ 88612 h 2066613"/>
                  <a:gd name="connsiteX97" fmla="*/ 1040825 w 2082217"/>
                  <a:gd name="connsiteY97" fmla="*/ 88572 h 2066613"/>
                  <a:gd name="connsiteX98" fmla="*/ 1040387 w 2082217"/>
                  <a:gd name="connsiteY98" fmla="*/ 88153 h 2066613"/>
                  <a:gd name="connsiteX99" fmla="*/ 1039410 w 2082217"/>
                  <a:gd name="connsiteY99" fmla="*/ 87195 h 2066613"/>
                  <a:gd name="connsiteX100" fmla="*/ 1035465 w 2082217"/>
                  <a:gd name="connsiteY100" fmla="*/ 83365 h 2066613"/>
                  <a:gd name="connsiteX101" fmla="*/ 1031320 w 2082217"/>
                  <a:gd name="connsiteY101" fmla="*/ 79715 h 2066613"/>
                  <a:gd name="connsiteX102" fmla="*/ 996067 w 2082217"/>
                  <a:gd name="connsiteY102" fmla="*/ 52727 h 2066613"/>
                  <a:gd name="connsiteX103" fmla="*/ 930126 w 2082217"/>
                  <a:gd name="connsiteY103" fmla="*/ 19914 h 2066613"/>
                  <a:gd name="connsiteX104" fmla="*/ 860039 w 2082217"/>
                  <a:gd name="connsiteY104" fmla="*/ 3318 h 2066613"/>
                  <a:gd name="connsiteX105" fmla="*/ 851231 w 2082217"/>
                  <a:gd name="connsiteY105" fmla="*/ 2201 h 2066613"/>
                  <a:gd name="connsiteX106" fmla="*/ 842463 w 2082217"/>
                  <a:gd name="connsiteY106" fmla="*/ 1443 h 2066613"/>
                  <a:gd name="connsiteX107" fmla="*/ 833695 w 2082217"/>
                  <a:gd name="connsiteY107" fmla="*/ 785 h 2066613"/>
                  <a:gd name="connsiteX108" fmla="*/ 829311 w 2082217"/>
                  <a:gd name="connsiteY108" fmla="*/ 486 h 2066613"/>
                  <a:gd name="connsiteX109" fmla="*/ 824966 w 2082217"/>
                  <a:gd name="connsiteY109" fmla="*/ 366 h 2066613"/>
                  <a:gd name="connsiteX110" fmla="*/ 816258 w 2082217"/>
                  <a:gd name="connsiteY110" fmla="*/ 147 h 2066613"/>
                  <a:gd name="connsiteX111" fmla="*/ 811913 w 2082217"/>
                  <a:gd name="connsiteY111" fmla="*/ 47 h 2066613"/>
                  <a:gd name="connsiteX112" fmla="*/ 807430 w 2082217"/>
                  <a:gd name="connsiteY112" fmla="*/ 47 h 2066613"/>
                  <a:gd name="connsiteX113" fmla="*/ 788757 w 2082217"/>
                  <a:gd name="connsiteY113" fmla="*/ 805 h 2066613"/>
                  <a:gd name="connsiteX114" fmla="*/ 779431 w 2082217"/>
                  <a:gd name="connsiteY114" fmla="*/ 1543 h 2066613"/>
                  <a:gd name="connsiteX115" fmla="*/ 770145 w 2082217"/>
                  <a:gd name="connsiteY115" fmla="*/ 2700 h 2066613"/>
                  <a:gd name="connsiteX116" fmla="*/ 765501 w 2082217"/>
                  <a:gd name="connsiteY116" fmla="*/ 3298 h 2066613"/>
                  <a:gd name="connsiteX117" fmla="*/ 760898 w 2082217"/>
                  <a:gd name="connsiteY117" fmla="*/ 4096 h 2066613"/>
                  <a:gd name="connsiteX118" fmla="*/ 751691 w 2082217"/>
                  <a:gd name="connsiteY118" fmla="*/ 5732 h 2066613"/>
                  <a:gd name="connsiteX119" fmla="*/ 715761 w 2082217"/>
                  <a:gd name="connsiteY119" fmla="*/ 15366 h 2066613"/>
                  <a:gd name="connsiteX120" fmla="*/ 649561 w 2082217"/>
                  <a:gd name="connsiteY120" fmla="*/ 46523 h 2066613"/>
                  <a:gd name="connsiteX121" fmla="*/ 593006 w 2082217"/>
                  <a:gd name="connsiteY121" fmla="*/ 90048 h 2066613"/>
                  <a:gd name="connsiteX122" fmla="*/ 546554 w 2082217"/>
                  <a:gd name="connsiteY122" fmla="*/ 142030 h 2066613"/>
                  <a:gd name="connsiteX123" fmla="*/ 509627 w 2082217"/>
                  <a:gd name="connsiteY123" fmla="*/ 199656 h 2066613"/>
                  <a:gd name="connsiteX124" fmla="*/ 485734 w 2082217"/>
                  <a:gd name="connsiteY124" fmla="*/ 250721 h 2066613"/>
                  <a:gd name="connsiteX125" fmla="*/ 483482 w 2082217"/>
                  <a:gd name="connsiteY125" fmla="*/ 256306 h 2066613"/>
                  <a:gd name="connsiteX126" fmla="*/ 476348 w 2082217"/>
                  <a:gd name="connsiteY126" fmla="*/ 259019 h 2066613"/>
                  <a:gd name="connsiteX127" fmla="*/ 471824 w 2082217"/>
                  <a:gd name="connsiteY127" fmla="*/ 260754 h 2066613"/>
                  <a:gd name="connsiteX128" fmla="*/ 469552 w 2082217"/>
                  <a:gd name="connsiteY128" fmla="*/ 261632 h 2066613"/>
                  <a:gd name="connsiteX129" fmla="*/ 467201 w 2082217"/>
                  <a:gd name="connsiteY129" fmla="*/ 262629 h 2066613"/>
                  <a:gd name="connsiteX130" fmla="*/ 457815 w 2082217"/>
                  <a:gd name="connsiteY130" fmla="*/ 266638 h 2066613"/>
                  <a:gd name="connsiteX131" fmla="*/ 421386 w 2082217"/>
                  <a:gd name="connsiteY131" fmla="*/ 285109 h 2066613"/>
                  <a:gd name="connsiteX132" fmla="*/ 355027 w 2082217"/>
                  <a:gd name="connsiteY132" fmla="*/ 332942 h 2066613"/>
                  <a:gd name="connsiteX133" fmla="*/ 307080 w 2082217"/>
                  <a:gd name="connsiteY133" fmla="*/ 384704 h 2066613"/>
                  <a:gd name="connsiteX134" fmla="*/ 269476 w 2082217"/>
                  <a:gd name="connsiteY134" fmla="*/ 444865 h 2066613"/>
                  <a:gd name="connsiteX135" fmla="*/ 244108 w 2082217"/>
                  <a:gd name="connsiteY135" fmla="*/ 511527 h 2066613"/>
                  <a:gd name="connsiteX136" fmla="*/ 232570 w 2082217"/>
                  <a:gd name="connsiteY136" fmla="*/ 582040 h 2066613"/>
                  <a:gd name="connsiteX137" fmla="*/ 232131 w 2082217"/>
                  <a:gd name="connsiteY137" fmla="*/ 589181 h 2066613"/>
                  <a:gd name="connsiteX138" fmla="*/ 231952 w 2082217"/>
                  <a:gd name="connsiteY138" fmla="*/ 596322 h 2066613"/>
                  <a:gd name="connsiteX139" fmla="*/ 231832 w 2082217"/>
                  <a:gd name="connsiteY139" fmla="*/ 610604 h 2066613"/>
                  <a:gd name="connsiteX140" fmla="*/ 232350 w 2082217"/>
                  <a:gd name="connsiteY140" fmla="*/ 624886 h 2066613"/>
                  <a:gd name="connsiteX141" fmla="*/ 232570 w 2082217"/>
                  <a:gd name="connsiteY141" fmla="*/ 628457 h 2066613"/>
                  <a:gd name="connsiteX142" fmla="*/ 232669 w 2082217"/>
                  <a:gd name="connsiteY142" fmla="*/ 629973 h 2066613"/>
                  <a:gd name="connsiteX143" fmla="*/ 232669 w 2082217"/>
                  <a:gd name="connsiteY143" fmla="*/ 630212 h 2066613"/>
                  <a:gd name="connsiteX144" fmla="*/ 232709 w 2082217"/>
                  <a:gd name="connsiteY144" fmla="*/ 630491 h 2066613"/>
                  <a:gd name="connsiteX145" fmla="*/ 232709 w 2082217"/>
                  <a:gd name="connsiteY145" fmla="*/ 630491 h 2066613"/>
                  <a:gd name="connsiteX146" fmla="*/ 232390 w 2082217"/>
                  <a:gd name="connsiteY146" fmla="*/ 630711 h 2066613"/>
                  <a:gd name="connsiteX147" fmla="*/ 232311 w 2082217"/>
                  <a:gd name="connsiteY147" fmla="*/ 630770 h 2066613"/>
                  <a:gd name="connsiteX148" fmla="*/ 231254 w 2082217"/>
                  <a:gd name="connsiteY148" fmla="*/ 631528 h 2066613"/>
                  <a:gd name="connsiteX149" fmla="*/ 229122 w 2082217"/>
                  <a:gd name="connsiteY149" fmla="*/ 633064 h 2066613"/>
                  <a:gd name="connsiteX150" fmla="*/ 224858 w 2082217"/>
                  <a:gd name="connsiteY150" fmla="*/ 636136 h 2066613"/>
                  <a:gd name="connsiteX151" fmla="*/ 220772 w 2082217"/>
                  <a:gd name="connsiteY151" fmla="*/ 639427 h 2066613"/>
                  <a:gd name="connsiteX152" fmla="*/ 212622 w 2082217"/>
                  <a:gd name="connsiteY152" fmla="*/ 646070 h 2066613"/>
                  <a:gd name="connsiteX153" fmla="*/ 204551 w 2082217"/>
                  <a:gd name="connsiteY153" fmla="*/ 652772 h 2066613"/>
                  <a:gd name="connsiteX154" fmla="*/ 196819 w 2082217"/>
                  <a:gd name="connsiteY154" fmla="*/ 659893 h 2066613"/>
                  <a:gd name="connsiteX155" fmla="*/ 181734 w 2082217"/>
                  <a:gd name="connsiteY155" fmla="*/ 674534 h 2066613"/>
                  <a:gd name="connsiteX156" fmla="*/ 174480 w 2082217"/>
                  <a:gd name="connsiteY156" fmla="*/ 682154 h 2066613"/>
                  <a:gd name="connsiteX157" fmla="*/ 167405 w 2082217"/>
                  <a:gd name="connsiteY157" fmla="*/ 689933 h 2066613"/>
                  <a:gd name="connsiteX158" fmla="*/ 153894 w 2082217"/>
                  <a:gd name="connsiteY158" fmla="*/ 706090 h 2066613"/>
                  <a:gd name="connsiteX159" fmla="*/ 141380 w 2082217"/>
                  <a:gd name="connsiteY159" fmla="*/ 723065 h 2066613"/>
                  <a:gd name="connsiteX160" fmla="*/ 138331 w 2082217"/>
                  <a:gd name="connsiteY160" fmla="*/ 727354 h 2066613"/>
                  <a:gd name="connsiteX161" fmla="*/ 135461 w 2082217"/>
                  <a:gd name="connsiteY161" fmla="*/ 731782 h 2066613"/>
                  <a:gd name="connsiteX162" fmla="*/ 129762 w 2082217"/>
                  <a:gd name="connsiteY162" fmla="*/ 740678 h 2066613"/>
                  <a:gd name="connsiteX163" fmla="*/ 125079 w 2082217"/>
                  <a:gd name="connsiteY163" fmla="*/ 748119 h 2066613"/>
                  <a:gd name="connsiteX164" fmla="*/ 120794 w 2082217"/>
                  <a:gd name="connsiteY164" fmla="*/ 755818 h 2066613"/>
                  <a:gd name="connsiteX165" fmla="*/ 112404 w 2082217"/>
                  <a:gd name="connsiteY165" fmla="*/ 771297 h 2066613"/>
                  <a:gd name="connsiteX166" fmla="*/ 98096 w 2082217"/>
                  <a:gd name="connsiteY166" fmla="*/ 803511 h 2066613"/>
                  <a:gd name="connsiteX167" fmla="*/ 94888 w 2082217"/>
                  <a:gd name="connsiteY167" fmla="*/ 811729 h 2066613"/>
                  <a:gd name="connsiteX168" fmla="*/ 93294 w 2082217"/>
                  <a:gd name="connsiteY168" fmla="*/ 815839 h 2066613"/>
                  <a:gd name="connsiteX169" fmla="*/ 91919 w 2082217"/>
                  <a:gd name="connsiteY169" fmla="*/ 820027 h 2066613"/>
                  <a:gd name="connsiteX170" fmla="*/ 86598 w 2082217"/>
                  <a:gd name="connsiteY170" fmla="*/ 836863 h 2066613"/>
                  <a:gd name="connsiteX171" fmla="*/ 85303 w 2082217"/>
                  <a:gd name="connsiteY171" fmla="*/ 841091 h 2066613"/>
                  <a:gd name="connsiteX172" fmla="*/ 84246 w 2082217"/>
                  <a:gd name="connsiteY172" fmla="*/ 845380 h 2066613"/>
                  <a:gd name="connsiteX173" fmla="*/ 82134 w 2082217"/>
                  <a:gd name="connsiteY173" fmla="*/ 853957 h 2066613"/>
                  <a:gd name="connsiteX174" fmla="*/ 78328 w 2082217"/>
                  <a:gd name="connsiteY174" fmla="*/ 871191 h 2066613"/>
                  <a:gd name="connsiteX175" fmla="*/ 75319 w 2082217"/>
                  <a:gd name="connsiteY175" fmla="*/ 888605 h 2066613"/>
                  <a:gd name="connsiteX176" fmla="*/ 74223 w 2082217"/>
                  <a:gd name="connsiteY176" fmla="*/ 897362 h 2066613"/>
                  <a:gd name="connsiteX177" fmla="*/ 73306 w 2082217"/>
                  <a:gd name="connsiteY177" fmla="*/ 906138 h 2066613"/>
                  <a:gd name="connsiteX178" fmla="*/ 71333 w 2082217"/>
                  <a:gd name="connsiteY178" fmla="*/ 941325 h 2066613"/>
                  <a:gd name="connsiteX179" fmla="*/ 77212 w 2082217"/>
                  <a:gd name="connsiteY179" fmla="*/ 1011518 h 2066613"/>
                  <a:gd name="connsiteX180" fmla="*/ 81915 w 2082217"/>
                  <a:gd name="connsiteY180" fmla="*/ 1033919 h 2066613"/>
                  <a:gd name="connsiteX181" fmla="*/ 84665 w 2082217"/>
                  <a:gd name="connsiteY181" fmla="*/ 1044670 h 2066613"/>
                  <a:gd name="connsiteX182" fmla="*/ 83987 w 2082217"/>
                  <a:gd name="connsiteY182" fmla="*/ 1045528 h 2066613"/>
                  <a:gd name="connsiteX183" fmla="*/ 83808 w 2082217"/>
                  <a:gd name="connsiteY183" fmla="*/ 1045747 h 2066613"/>
                  <a:gd name="connsiteX184" fmla="*/ 83728 w 2082217"/>
                  <a:gd name="connsiteY184" fmla="*/ 1045847 h 2066613"/>
                  <a:gd name="connsiteX185" fmla="*/ 82931 w 2082217"/>
                  <a:gd name="connsiteY185" fmla="*/ 1046924 h 2066613"/>
                  <a:gd name="connsiteX186" fmla="*/ 79464 w 2082217"/>
                  <a:gd name="connsiteY186" fmla="*/ 1051672 h 2066613"/>
                  <a:gd name="connsiteX187" fmla="*/ 72569 w 2082217"/>
                  <a:gd name="connsiteY187" fmla="*/ 1061186 h 2066613"/>
                  <a:gd name="connsiteX188" fmla="*/ 66072 w 2082217"/>
                  <a:gd name="connsiteY188" fmla="*/ 1070980 h 2066613"/>
                  <a:gd name="connsiteX189" fmla="*/ 62844 w 2082217"/>
                  <a:gd name="connsiteY189" fmla="*/ 1075887 h 2066613"/>
                  <a:gd name="connsiteX190" fmla="*/ 59795 w 2082217"/>
                  <a:gd name="connsiteY190" fmla="*/ 1080914 h 2066613"/>
                  <a:gd name="connsiteX191" fmla="*/ 53757 w 2082217"/>
                  <a:gd name="connsiteY191" fmla="*/ 1091007 h 2066613"/>
                  <a:gd name="connsiteX192" fmla="*/ 48097 w 2082217"/>
                  <a:gd name="connsiteY192" fmla="*/ 1101340 h 2066613"/>
                  <a:gd name="connsiteX193" fmla="*/ 42637 w 2082217"/>
                  <a:gd name="connsiteY193" fmla="*/ 1111792 h 2066613"/>
                  <a:gd name="connsiteX194" fmla="*/ 32733 w 2082217"/>
                  <a:gd name="connsiteY194" fmla="*/ 1133195 h 2066613"/>
                  <a:gd name="connsiteX195" fmla="*/ 28169 w 2082217"/>
                  <a:gd name="connsiteY195" fmla="*/ 1144086 h 2066613"/>
                  <a:gd name="connsiteX196" fmla="*/ 24024 w 2082217"/>
                  <a:gd name="connsiteY196" fmla="*/ 1155157 h 2066613"/>
                  <a:gd name="connsiteX197" fmla="*/ 21992 w 2082217"/>
                  <a:gd name="connsiteY197" fmla="*/ 1160702 h 2066613"/>
                  <a:gd name="connsiteX198" fmla="*/ 20178 w 2082217"/>
                  <a:gd name="connsiteY198" fmla="*/ 1166327 h 2066613"/>
                  <a:gd name="connsiteX199" fmla="*/ 16571 w 2082217"/>
                  <a:gd name="connsiteY199" fmla="*/ 1177597 h 2066613"/>
                  <a:gd name="connsiteX200" fmla="*/ 13443 w 2082217"/>
                  <a:gd name="connsiteY200" fmla="*/ 1189007 h 2066613"/>
                  <a:gd name="connsiteX201" fmla="*/ 10553 w 2082217"/>
                  <a:gd name="connsiteY201" fmla="*/ 1200476 h 2066613"/>
                  <a:gd name="connsiteX202" fmla="*/ 609 w 2082217"/>
                  <a:gd name="connsiteY202" fmla="*/ 1269672 h 2066613"/>
                  <a:gd name="connsiteX203" fmla="*/ 2701 w 2082217"/>
                  <a:gd name="connsiteY203" fmla="*/ 1339447 h 2066613"/>
                  <a:gd name="connsiteX204" fmla="*/ 42677 w 2082217"/>
                  <a:gd name="connsiteY204" fmla="*/ 1472772 h 2066613"/>
                  <a:gd name="connsiteX205" fmla="*/ 78906 w 2082217"/>
                  <a:gd name="connsiteY205" fmla="*/ 1532115 h 2066613"/>
                  <a:gd name="connsiteX206" fmla="*/ 124301 w 2082217"/>
                  <a:gd name="connsiteY206" fmla="*/ 1584396 h 2066613"/>
                  <a:gd name="connsiteX207" fmla="*/ 177330 w 2082217"/>
                  <a:gd name="connsiteY207" fmla="*/ 1628538 h 2066613"/>
                  <a:gd name="connsiteX208" fmla="*/ 184384 w 2082217"/>
                  <a:gd name="connsiteY208" fmla="*/ 1633485 h 2066613"/>
                  <a:gd name="connsiteX209" fmla="*/ 191598 w 2082217"/>
                  <a:gd name="connsiteY209" fmla="*/ 1638193 h 2066613"/>
                  <a:gd name="connsiteX210" fmla="*/ 206225 w 2082217"/>
                  <a:gd name="connsiteY210" fmla="*/ 1647288 h 2066613"/>
                  <a:gd name="connsiteX211" fmla="*/ 213678 w 2082217"/>
                  <a:gd name="connsiteY211" fmla="*/ 1651597 h 2066613"/>
                  <a:gd name="connsiteX212" fmla="*/ 214356 w 2082217"/>
                  <a:gd name="connsiteY212" fmla="*/ 1651996 h 2066613"/>
                  <a:gd name="connsiteX213" fmla="*/ 214475 w 2082217"/>
                  <a:gd name="connsiteY213" fmla="*/ 1652056 h 2066613"/>
                  <a:gd name="connsiteX214" fmla="*/ 214515 w 2082217"/>
                  <a:gd name="connsiteY214" fmla="*/ 1652056 h 2066613"/>
                  <a:gd name="connsiteX215" fmla="*/ 214555 w 2082217"/>
                  <a:gd name="connsiteY215" fmla="*/ 1653691 h 2066613"/>
                  <a:gd name="connsiteX216" fmla="*/ 214555 w 2082217"/>
                  <a:gd name="connsiteY216" fmla="*/ 1653891 h 2066613"/>
                  <a:gd name="connsiteX217" fmla="*/ 214615 w 2082217"/>
                  <a:gd name="connsiteY217" fmla="*/ 1654609 h 2066613"/>
                  <a:gd name="connsiteX218" fmla="*/ 214914 w 2082217"/>
                  <a:gd name="connsiteY218" fmla="*/ 1658359 h 2066613"/>
                  <a:gd name="connsiteX219" fmla="*/ 215511 w 2082217"/>
                  <a:gd name="connsiteY219" fmla="*/ 1665839 h 2066613"/>
                  <a:gd name="connsiteX220" fmla="*/ 219019 w 2082217"/>
                  <a:gd name="connsiteY220" fmla="*/ 1695680 h 2066613"/>
                  <a:gd name="connsiteX221" fmla="*/ 232689 w 2082217"/>
                  <a:gd name="connsiteY221" fmla="*/ 1754144 h 2066613"/>
                  <a:gd name="connsiteX222" fmla="*/ 234881 w 2082217"/>
                  <a:gd name="connsiteY222" fmla="*/ 1761325 h 2066613"/>
                  <a:gd name="connsiteX223" fmla="*/ 237392 w 2082217"/>
                  <a:gd name="connsiteY223" fmla="*/ 1768387 h 2066613"/>
                  <a:gd name="connsiteX224" fmla="*/ 242514 w 2082217"/>
                  <a:gd name="connsiteY224" fmla="*/ 1782489 h 2066613"/>
                  <a:gd name="connsiteX225" fmla="*/ 248333 w 2082217"/>
                  <a:gd name="connsiteY225" fmla="*/ 1796292 h 2066613"/>
                  <a:gd name="connsiteX226" fmla="*/ 251302 w 2082217"/>
                  <a:gd name="connsiteY226" fmla="*/ 1803174 h 2066613"/>
                  <a:gd name="connsiteX227" fmla="*/ 254550 w 2082217"/>
                  <a:gd name="connsiteY227" fmla="*/ 1809916 h 2066613"/>
                  <a:gd name="connsiteX228" fmla="*/ 283944 w 2082217"/>
                  <a:gd name="connsiteY228" fmla="*/ 1861858 h 2066613"/>
                  <a:gd name="connsiteX229" fmla="*/ 293728 w 2082217"/>
                  <a:gd name="connsiteY229" fmla="*/ 1876100 h 2066613"/>
                  <a:gd name="connsiteX230" fmla="*/ 304151 w 2082217"/>
                  <a:gd name="connsiteY230" fmla="*/ 1889844 h 2066613"/>
                  <a:gd name="connsiteX231" fmla="*/ 306761 w 2082217"/>
                  <a:gd name="connsiteY231" fmla="*/ 1893275 h 2066613"/>
                  <a:gd name="connsiteX232" fmla="*/ 309511 w 2082217"/>
                  <a:gd name="connsiteY232" fmla="*/ 1896586 h 2066613"/>
                  <a:gd name="connsiteX233" fmla="*/ 315051 w 2082217"/>
                  <a:gd name="connsiteY233" fmla="*/ 1903168 h 2066613"/>
                  <a:gd name="connsiteX234" fmla="*/ 320611 w 2082217"/>
                  <a:gd name="connsiteY234" fmla="*/ 1909751 h 2066613"/>
                  <a:gd name="connsiteX235" fmla="*/ 326430 w 2082217"/>
                  <a:gd name="connsiteY235" fmla="*/ 1916074 h 2066613"/>
                  <a:gd name="connsiteX236" fmla="*/ 332269 w 2082217"/>
                  <a:gd name="connsiteY236" fmla="*/ 1922377 h 2066613"/>
                  <a:gd name="connsiteX237" fmla="*/ 335198 w 2082217"/>
                  <a:gd name="connsiteY237" fmla="*/ 1925529 h 2066613"/>
                  <a:gd name="connsiteX238" fmla="*/ 338247 w 2082217"/>
                  <a:gd name="connsiteY238" fmla="*/ 1928541 h 2066613"/>
                  <a:gd name="connsiteX239" fmla="*/ 350503 w 2082217"/>
                  <a:gd name="connsiteY239" fmla="*/ 1940549 h 2066613"/>
                  <a:gd name="connsiteX240" fmla="*/ 363297 w 2082217"/>
                  <a:gd name="connsiteY240" fmla="*/ 1951959 h 2066613"/>
                  <a:gd name="connsiteX241" fmla="*/ 366505 w 2082217"/>
                  <a:gd name="connsiteY241" fmla="*/ 1954791 h 2066613"/>
                  <a:gd name="connsiteX242" fmla="*/ 369813 w 2082217"/>
                  <a:gd name="connsiteY242" fmla="*/ 1957504 h 2066613"/>
                  <a:gd name="connsiteX243" fmla="*/ 376469 w 2082217"/>
                  <a:gd name="connsiteY243" fmla="*/ 1962890 h 2066613"/>
                  <a:gd name="connsiteX244" fmla="*/ 493844 w 2082217"/>
                  <a:gd name="connsiteY244" fmla="*/ 2031587 h 2066613"/>
                  <a:gd name="connsiteX245" fmla="*/ 558490 w 2082217"/>
                  <a:gd name="connsiteY245" fmla="*/ 2052491 h 2066613"/>
                  <a:gd name="connsiteX246" fmla="*/ 575050 w 2082217"/>
                  <a:gd name="connsiteY246" fmla="*/ 2056202 h 2066613"/>
                  <a:gd name="connsiteX247" fmla="*/ 583341 w 2082217"/>
                  <a:gd name="connsiteY247" fmla="*/ 2057977 h 2066613"/>
                  <a:gd name="connsiteX248" fmla="*/ 591710 w 2082217"/>
                  <a:gd name="connsiteY248" fmla="*/ 2059393 h 2066613"/>
                  <a:gd name="connsiteX249" fmla="*/ 608450 w 2082217"/>
                  <a:gd name="connsiteY249" fmla="*/ 2062046 h 2066613"/>
                  <a:gd name="connsiteX250" fmla="*/ 625269 w 2082217"/>
                  <a:gd name="connsiteY250" fmla="*/ 2064041 h 2066613"/>
                  <a:gd name="connsiteX251" fmla="*/ 633698 w 2082217"/>
                  <a:gd name="connsiteY251" fmla="*/ 2064799 h 2066613"/>
                  <a:gd name="connsiteX252" fmla="*/ 642148 w 2082217"/>
                  <a:gd name="connsiteY252" fmla="*/ 2065397 h 2066613"/>
                  <a:gd name="connsiteX253" fmla="*/ 650597 w 2082217"/>
                  <a:gd name="connsiteY253" fmla="*/ 2065976 h 2066613"/>
                  <a:gd name="connsiteX254" fmla="*/ 659047 w 2082217"/>
                  <a:gd name="connsiteY254" fmla="*/ 2066255 h 2066613"/>
                  <a:gd name="connsiteX255" fmla="*/ 675925 w 2082217"/>
                  <a:gd name="connsiteY255" fmla="*/ 2066614 h 2066613"/>
                  <a:gd name="connsiteX256" fmla="*/ 692286 w 2082217"/>
                  <a:gd name="connsiteY256" fmla="*/ 2066394 h 2066613"/>
                  <a:gd name="connsiteX257" fmla="*/ 757949 w 2082217"/>
                  <a:gd name="connsiteY257" fmla="*/ 2061208 h 2066613"/>
                  <a:gd name="connsiteX258" fmla="*/ 887540 w 2082217"/>
                  <a:gd name="connsiteY258" fmla="*/ 2027019 h 2066613"/>
                  <a:gd name="connsiteX259" fmla="*/ 948918 w 2082217"/>
                  <a:gd name="connsiteY259" fmla="*/ 1996041 h 2066613"/>
                  <a:gd name="connsiteX260" fmla="*/ 1005194 w 2082217"/>
                  <a:gd name="connsiteY260" fmla="*/ 1954652 h 2066613"/>
                  <a:gd name="connsiteX261" fmla="*/ 1014839 w 2082217"/>
                  <a:gd name="connsiteY261" fmla="*/ 1945875 h 2066613"/>
                  <a:gd name="connsiteX262" fmla="*/ 1024205 w 2082217"/>
                  <a:gd name="connsiteY262" fmla="*/ 1936759 h 2066613"/>
                  <a:gd name="connsiteX263" fmla="*/ 1033272 w 2082217"/>
                  <a:gd name="connsiteY263" fmla="*/ 1927324 h 2066613"/>
                  <a:gd name="connsiteX264" fmla="*/ 1041084 w 2082217"/>
                  <a:gd name="connsiteY264" fmla="*/ 1918527 h 2066613"/>
                  <a:gd name="connsiteX265" fmla="*/ 1053121 w 2082217"/>
                  <a:gd name="connsiteY265" fmla="*/ 1931732 h 2066613"/>
                  <a:gd name="connsiteX266" fmla="*/ 1059518 w 2082217"/>
                  <a:gd name="connsiteY266" fmla="*/ 1938335 h 2066613"/>
                  <a:gd name="connsiteX267" fmla="*/ 1066134 w 2082217"/>
                  <a:gd name="connsiteY267" fmla="*/ 1944698 h 2066613"/>
                  <a:gd name="connsiteX268" fmla="*/ 1121015 w 2082217"/>
                  <a:gd name="connsiteY268" fmla="*/ 1988242 h 2066613"/>
                  <a:gd name="connsiteX269" fmla="*/ 1181536 w 2082217"/>
                  <a:gd name="connsiteY269" fmla="*/ 2021354 h 2066613"/>
                  <a:gd name="connsiteX270" fmla="*/ 1310529 w 2082217"/>
                  <a:gd name="connsiteY270" fmla="*/ 2059174 h 2066613"/>
                  <a:gd name="connsiteX271" fmla="*/ 1376212 w 2082217"/>
                  <a:gd name="connsiteY271" fmla="*/ 2065856 h 2066613"/>
                  <a:gd name="connsiteX272" fmla="*/ 1392612 w 2082217"/>
                  <a:gd name="connsiteY272" fmla="*/ 2066414 h 2066613"/>
                  <a:gd name="connsiteX273" fmla="*/ 1409053 w 2082217"/>
                  <a:gd name="connsiteY273" fmla="*/ 2066554 h 2066613"/>
                  <a:gd name="connsiteX274" fmla="*/ 1425952 w 2082217"/>
                  <a:gd name="connsiteY274" fmla="*/ 2066155 h 2066613"/>
                  <a:gd name="connsiteX275" fmla="*/ 1430176 w 2082217"/>
                  <a:gd name="connsiteY275" fmla="*/ 2066035 h 2066613"/>
                  <a:gd name="connsiteX276" fmla="*/ 1434401 w 2082217"/>
                  <a:gd name="connsiteY276" fmla="*/ 2065756 h 2066613"/>
                  <a:gd name="connsiteX277" fmla="*/ 1442851 w 2082217"/>
                  <a:gd name="connsiteY277" fmla="*/ 2065158 h 2066613"/>
                  <a:gd name="connsiteX278" fmla="*/ 1476529 w 2082217"/>
                  <a:gd name="connsiteY278" fmla="*/ 2061647 h 2066613"/>
                  <a:gd name="connsiteX279" fmla="*/ 1509908 w 2082217"/>
                  <a:gd name="connsiteY279" fmla="*/ 2055563 h 2066613"/>
                  <a:gd name="connsiteX280" fmla="*/ 1542849 w 2082217"/>
                  <a:gd name="connsiteY280" fmla="*/ 2047365 h 2066613"/>
                  <a:gd name="connsiteX281" fmla="*/ 1575112 w 2082217"/>
                  <a:gd name="connsiteY281" fmla="*/ 2036614 h 2066613"/>
                  <a:gd name="connsiteX282" fmla="*/ 1590975 w 2082217"/>
                  <a:gd name="connsiteY282" fmla="*/ 2030450 h 2066613"/>
                  <a:gd name="connsiteX283" fmla="*/ 1606618 w 2082217"/>
                  <a:gd name="connsiteY283" fmla="*/ 2023768 h 2066613"/>
                  <a:gd name="connsiteX284" fmla="*/ 1621982 w 2082217"/>
                  <a:gd name="connsiteY284" fmla="*/ 2016427 h 2066613"/>
                  <a:gd name="connsiteX285" fmla="*/ 1629575 w 2082217"/>
                  <a:gd name="connsiteY285" fmla="*/ 2012558 h 2066613"/>
                  <a:gd name="connsiteX286" fmla="*/ 1637088 w 2082217"/>
                  <a:gd name="connsiteY286" fmla="*/ 2008528 h 2066613"/>
                  <a:gd name="connsiteX287" fmla="*/ 1694480 w 2082217"/>
                  <a:gd name="connsiteY287" fmla="*/ 1971646 h 2066613"/>
                  <a:gd name="connsiteX288" fmla="*/ 1745974 w 2082217"/>
                  <a:gd name="connsiteY288" fmla="*/ 1926526 h 2066613"/>
                  <a:gd name="connsiteX289" fmla="*/ 1790114 w 2082217"/>
                  <a:gd name="connsiteY289" fmla="*/ 1873766 h 2066613"/>
                  <a:gd name="connsiteX290" fmla="*/ 1799042 w 2082217"/>
                  <a:gd name="connsiteY290" fmla="*/ 1860741 h 2066613"/>
                  <a:gd name="connsiteX291" fmla="*/ 1807431 w 2082217"/>
                  <a:gd name="connsiteY291" fmla="*/ 1847337 h 2066613"/>
                  <a:gd name="connsiteX292" fmla="*/ 1811557 w 2082217"/>
                  <a:gd name="connsiteY292" fmla="*/ 1840595 h 2066613"/>
                  <a:gd name="connsiteX293" fmla="*/ 1815383 w 2082217"/>
                  <a:gd name="connsiteY293" fmla="*/ 1833653 h 2066613"/>
                  <a:gd name="connsiteX294" fmla="*/ 1822895 w 2082217"/>
                  <a:gd name="connsiteY294" fmla="*/ 1819690 h 2066613"/>
                  <a:gd name="connsiteX295" fmla="*/ 1847367 w 2082217"/>
                  <a:gd name="connsiteY295" fmla="*/ 1761086 h 2066613"/>
                  <a:gd name="connsiteX296" fmla="*/ 1862612 w 2082217"/>
                  <a:gd name="connsiteY296" fmla="*/ 1699270 h 2066613"/>
                  <a:gd name="connsiteX297" fmla="*/ 1864824 w 2082217"/>
                  <a:gd name="connsiteY297" fmla="*/ 1683492 h 2066613"/>
                  <a:gd name="connsiteX298" fmla="*/ 1865840 w 2082217"/>
                  <a:gd name="connsiteY298" fmla="*/ 1675593 h 2066613"/>
                  <a:gd name="connsiteX299" fmla="*/ 1866498 w 2082217"/>
                  <a:gd name="connsiteY299" fmla="*/ 1667654 h 2066613"/>
                  <a:gd name="connsiteX300" fmla="*/ 1867594 w 2082217"/>
                  <a:gd name="connsiteY300" fmla="*/ 1653811 h 2066613"/>
                  <a:gd name="connsiteX301" fmla="*/ 1867634 w 2082217"/>
                  <a:gd name="connsiteY301" fmla="*/ 1652096 h 2066613"/>
                  <a:gd name="connsiteX302" fmla="*/ 1867833 w 2082217"/>
                  <a:gd name="connsiteY302" fmla="*/ 1652016 h 2066613"/>
                  <a:gd name="connsiteX303" fmla="*/ 1867853 w 2082217"/>
                  <a:gd name="connsiteY303" fmla="*/ 1652016 h 2066613"/>
                  <a:gd name="connsiteX304" fmla="*/ 1867913 w 2082217"/>
                  <a:gd name="connsiteY304" fmla="*/ 1651956 h 2066613"/>
                  <a:gd name="connsiteX305" fmla="*/ 1868152 w 2082217"/>
                  <a:gd name="connsiteY305" fmla="*/ 1651816 h 2066613"/>
                  <a:gd name="connsiteX306" fmla="*/ 1869088 w 2082217"/>
                  <a:gd name="connsiteY306" fmla="*/ 1651298 h 2066613"/>
                  <a:gd name="connsiteX307" fmla="*/ 1870962 w 2082217"/>
                  <a:gd name="connsiteY307" fmla="*/ 1650241 h 2066613"/>
                  <a:gd name="connsiteX308" fmla="*/ 1878375 w 2082217"/>
                  <a:gd name="connsiteY308" fmla="*/ 1645852 h 2066613"/>
                  <a:gd name="connsiteX309" fmla="*/ 1885728 w 2082217"/>
                  <a:gd name="connsiteY309" fmla="*/ 1641384 h 2066613"/>
                  <a:gd name="connsiteX310" fmla="*/ 1892942 w 2082217"/>
                  <a:gd name="connsiteY310" fmla="*/ 1636677 h 2066613"/>
                  <a:gd name="connsiteX311" fmla="*/ 1947385 w 2082217"/>
                  <a:gd name="connsiteY311" fmla="*/ 1594349 h 2066613"/>
                  <a:gd name="connsiteX312" fmla="*/ 1994515 w 2082217"/>
                  <a:gd name="connsiteY312" fmla="*/ 1543684 h 2066613"/>
                  <a:gd name="connsiteX313" fmla="*/ 2032776 w 2082217"/>
                  <a:gd name="connsiteY313" fmla="*/ 1485678 h 2066613"/>
                  <a:gd name="connsiteX314" fmla="*/ 2077534 w 2082217"/>
                  <a:gd name="connsiteY314" fmla="*/ 1353928 h 2066613"/>
                  <a:gd name="connsiteX315" fmla="*/ 2082078 w 2082217"/>
                  <a:gd name="connsiteY315" fmla="*/ 1284253 h 2066613"/>
                  <a:gd name="connsiteX316" fmla="*/ 1997623 w 2082217"/>
                  <a:gd name="connsiteY316" fmla="*/ 1044531 h 2066613"/>
                  <a:gd name="connsiteX317" fmla="*/ 1997623 w 2082217"/>
                  <a:gd name="connsiteY317" fmla="*/ 1044531 h 2066613"/>
                  <a:gd name="connsiteX318" fmla="*/ 1997623 w 2082217"/>
                  <a:gd name="connsiteY318" fmla="*/ 1044531 h 2066613"/>
                  <a:gd name="connsiteX319" fmla="*/ 2037619 w 2082217"/>
                  <a:gd name="connsiteY319" fmla="*/ 1347525 h 2066613"/>
                  <a:gd name="connsiteX320" fmla="*/ 1997344 w 2082217"/>
                  <a:gd name="connsiteY320" fmla="*/ 1466010 h 2066613"/>
                  <a:gd name="connsiteX321" fmla="*/ 1962829 w 2082217"/>
                  <a:gd name="connsiteY321" fmla="*/ 1518351 h 2066613"/>
                  <a:gd name="connsiteX322" fmla="*/ 1920203 w 2082217"/>
                  <a:gd name="connsiteY322" fmla="*/ 1564189 h 2066613"/>
                  <a:gd name="connsiteX323" fmla="*/ 1870862 w 2082217"/>
                  <a:gd name="connsiteY323" fmla="*/ 1602567 h 2066613"/>
                  <a:gd name="connsiteX324" fmla="*/ 1864306 w 2082217"/>
                  <a:gd name="connsiteY324" fmla="*/ 1606836 h 2066613"/>
                  <a:gd name="connsiteX325" fmla="*/ 1857630 w 2082217"/>
                  <a:gd name="connsiteY325" fmla="*/ 1610885 h 2066613"/>
                  <a:gd name="connsiteX326" fmla="*/ 1850914 w 2082217"/>
                  <a:gd name="connsiteY326" fmla="*/ 1614875 h 2066613"/>
                  <a:gd name="connsiteX327" fmla="*/ 1845454 w 2082217"/>
                  <a:gd name="connsiteY327" fmla="*/ 1617927 h 2066613"/>
                  <a:gd name="connsiteX328" fmla="*/ 1836586 w 2082217"/>
                  <a:gd name="connsiteY328" fmla="*/ 1622594 h 2066613"/>
                  <a:gd name="connsiteX329" fmla="*/ 1827539 w 2082217"/>
                  <a:gd name="connsiteY329" fmla="*/ 1626923 h 2066613"/>
                  <a:gd name="connsiteX330" fmla="*/ 1827559 w 2082217"/>
                  <a:gd name="connsiteY330" fmla="*/ 1640546 h 2066613"/>
                  <a:gd name="connsiteX331" fmla="*/ 1827299 w 2082217"/>
                  <a:gd name="connsiteY331" fmla="*/ 1650281 h 2066613"/>
                  <a:gd name="connsiteX332" fmla="*/ 1827260 w 2082217"/>
                  <a:gd name="connsiteY332" fmla="*/ 1651497 h 2066613"/>
                  <a:gd name="connsiteX333" fmla="*/ 1827140 w 2082217"/>
                  <a:gd name="connsiteY333" fmla="*/ 1653213 h 2066613"/>
                  <a:gd name="connsiteX334" fmla="*/ 1826861 w 2082217"/>
                  <a:gd name="connsiteY334" fmla="*/ 1656783 h 2066613"/>
                  <a:gd name="connsiteX335" fmla="*/ 1826283 w 2082217"/>
                  <a:gd name="connsiteY335" fmla="*/ 1663944 h 2066613"/>
                  <a:gd name="connsiteX336" fmla="*/ 1825685 w 2082217"/>
                  <a:gd name="connsiteY336" fmla="*/ 1671105 h 2066613"/>
                  <a:gd name="connsiteX337" fmla="*/ 1824769 w 2082217"/>
                  <a:gd name="connsiteY337" fmla="*/ 1678226 h 2066613"/>
                  <a:gd name="connsiteX338" fmla="*/ 1822776 w 2082217"/>
                  <a:gd name="connsiteY338" fmla="*/ 1692448 h 2066613"/>
                  <a:gd name="connsiteX339" fmla="*/ 1809026 w 2082217"/>
                  <a:gd name="connsiteY339" fmla="*/ 1748180 h 2066613"/>
                  <a:gd name="connsiteX340" fmla="*/ 1786926 w 2082217"/>
                  <a:gd name="connsiteY340" fmla="*/ 1801100 h 2066613"/>
                  <a:gd name="connsiteX341" fmla="*/ 1780130 w 2082217"/>
                  <a:gd name="connsiteY341" fmla="*/ 1813726 h 2066613"/>
                  <a:gd name="connsiteX342" fmla="*/ 1776683 w 2082217"/>
                  <a:gd name="connsiteY342" fmla="*/ 1820009 h 2066613"/>
                  <a:gd name="connsiteX343" fmla="*/ 1772936 w 2082217"/>
                  <a:gd name="connsiteY343" fmla="*/ 1826113 h 2066613"/>
                  <a:gd name="connsiteX344" fmla="*/ 1765344 w 2082217"/>
                  <a:gd name="connsiteY344" fmla="*/ 1838261 h 2066613"/>
                  <a:gd name="connsiteX345" fmla="*/ 1757253 w 2082217"/>
                  <a:gd name="connsiteY345" fmla="*/ 1850070 h 2066613"/>
                  <a:gd name="connsiteX346" fmla="*/ 1717178 w 2082217"/>
                  <a:gd name="connsiteY346" fmla="*/ 1897982 h 2066613"/>
                  <a:gd name="connsiteX347" fmla="*/ 1670268 w 2082217"/>
                  <a:gd name="connsiteY347" fmla="*/ 1939073 h 2066613"/>
                  <a:gd name="connsiteX348" fmla="*/ 1617877 w 2082217"/>
                  <a:gd name="connsiteY348" fmla="*/ 1972743 h 2066613"/>
                  <a:gd name="connsiteX349" fmla="*/ 1611022 w 2082217"/>
                  <a:gd name="connsiteY349" fmla="*/ 1976434 h 2066613"/>
                  <a:gd name="connsiteX350" fmla="*/ 1604087 w 2082217"/>
                  <a:gd name="connsiteY350" fmla="*/ 1979984 h 2066613"/>
                  <a:gd name="connsiteX351" fmla="*/ 1590038 w 2082217"/>
                  <a:gd name="connsiteY351" fmla="*/ 1986706 h 2066613"/>
                  <a:gd name="connsiteX352" fmla="*/ 1575730 w 2082217"/>
                  <a:gd name="connsiteY352" fmla="*/ 1992810 h 2066613"/>
                  <a:gd name="connsiteX353" fmla="*/ 1561222 w 2082217"/>
                  <a:gd name="connsiteY353" fmla="*/ 1998435 h 2066613"/>
                  <a:gd name="connsiteX354" fmla="*/ 1531709 w 2082217"/>
                  <a:gd name="connsiteY354" fmla="*/ 2008269 h 2066613"/>
                  <a:gd name="connsiteX355" fmla="*/ 1501538 w 2082217"/>
                  <a:gd name="connsiteY355" fmla="*/ 2015769 h 2066613"/>
                  <a:gd name="connsiteX356" fmla="*/ 1470969 w 2082217"/>
                  <a:gd name="connsiteY356" fmla="*/ 2021354 h 2066613"/>
                  <a:gd name="connsiteX357" fmla="*/ 1440061 w 2082217"/>
                  <a:gd name="connsiteY357" fmla="*/ 2024566 h 2066613"/>
                  <a:gd name="connsiteX358" fmla="*/ 1432309 w 2082217"/>
                  <a:gd name="connsiteY358" fmla="*/ 2025104 h 2066613"/>
                  <a:gd name="connsiteX359" fmla="*/ 1428443 w 2082217"/>
                  <a:gd name="connsiteY359" fmla="*/ 2025363 h 2066613"/>
                  <a:gd name="connsiteX360" fmla="*/ 1424557 w 2082217"/>
                  <a:gd name="connsiteY360" fmla="*/ 2025463 h 2066613"/>
                  <a:gd name="connsiteX361" fmla="*/ 1409033 w 2082217"/>
                  <a:gd name="connsiteY361" fmla="*/ 2025822 h 2066613"/>
                  <a:gd name="connsiteX362" fmla="*/ 1393649 w 2082217"/>
                  <a:gd name="connsiteY362" fmla="*/ 2025703 h 2066613"/>
                  <a:gd name="connsiteX363" fmla="*/ 1378304 w 2082217"/>
                  <a:gd name="connsiteY363" fmla="*/ 2025164 h 2066613"/>
                  <a:gd name="connsiteX364" fmla="*/ 1317046 w 2082217"/>
                  <a:gd name="connsiteY364" fmla="*/ 2018941 h 2066613"/>
                  <a:gd name="connsiteX365" fmla="*/ 1198315 w 2082217"/>
                  <a:gd name="connsiteY365" fmla="*/ 1984193 h 2066613"/>
                  <a:gd name="connsiteX366" fmla="*/ 1143454 w 2082217"/>
                  <a:gd name="connsiteY366" fmla="*/ 1954193 h 2066613"/>
                  <a:gd name="connsiteX367" fmla="*/ 1094212 w 2082217"/>
                  <a:gd name="connsiteY367" fmla="*/ 1915137 h 2066613"/>
                  <a:gd name="connsiteX368" fmla="*/ 1088293 w 2082217"/>
                  <a:gd name="connsiteY368" fmla="*/ 1909452 h 2066613"/>
                  <a:gd name="connsiteX369" fmla="*/ 1082594 w 2082217"/>
                  <a:gd name="connsiteY369" fmla="*/ 1903547 h 2066613"/>
                  <a:gd name="connsiteX370" fmla="*/ 1071534 w 2082217"/>
                  <a:gd name="connsiteY370" fmla="*/ 1891400 h 2066613"/>
                  <a:gd name="connsiteX371" fmla="*/ 1070777 w 2082217"/>
                  <a:gd name="connsiteY371" fmla="*/ 1890562 h 2066613"/>
                  <a:gd name="connsiteX372" fmla="*/ 1069940 w 2082217"/>
                  <a:gd name="connsiteY372" fmla="*/ 1889565 h 2066613"/>
                  <a:gd name="connsiteX373" fmla="*/ 1068286 w 2082217"/>
                  <a:gd name="connsiteY373" fmla="*/ 1887550 h 2066613"/>
                  <a:gd name="connsiteX374" fmla="*/ 1064998 w 2082217"/>
                  <a:gd name="connsiteY374" fmla="*/ 1883501 h 2066613"/>
                  <a:gd name="connsiteX375" fmla="*/ 1058800 w 2082217"/>
                  <a:gd name="connsiteY375" fmla="*/ 1875123 h 2066613"/>
                  <a:gd name="connsiteX376" fmla="*/ 1043476 w 2082217"/>
                  <a:gd name="connsiteY376" fmla="*/ 1849750 h 2066613"/>
                  <a:gd name="connsiteX377" fmla="*/ 1041782 w 2082217"/>
                  <a:gd name="connsiteY377" fmla="*/ 1846459 h 2066613"/>
                  <a:gd name="connsiteX378" fmla="*/ 1041563 w 2082217"/>
                  <a:gd name="connsiteY378" fmla="*/ 1846040 h 2066613"/>
                  <a:gd name="connsiteX379" fmla="*/ 1041244 w 2082217"/>
                  <a:gd name="connsiteY379" fmla="*/ 1845741 h 2066613"/>
                  <a:gd name="connsiteX380" fmla="*/ 1040945 w 2082217"/>
                  <a:gd name="connsiteY380" fmla="*/ 1846040 h 2066613"/>
                  <a:gd name="connsiteX381" fmla="*/ 1040726 w 2082217"/>
                  <a:gd name="connsiteY381" fmla="*/ 1846459 h 2066613"/>
                  <a:gd name="connsiteX382" fmla="*/ 1039869 w 2082217"/>
                  <a:gd name="connsiteY382" fmla="*/ 1848115 h 2066613"/>
                  <a:gd name="connsiteX383" fmla="*/ 1036441 w 2082217"/>
                  <a:gd name="connsiteY383" fmla="*/ 1854697 h 2066613"/>
                  <a:gd name="connsiteX384" fmla="*/ 1032774 w 2082217"/>
                  <a:gd name="connsiteY384" fmla="*/ 1861140 h 2066613"/>
                  <a:gd name="connsiteX385" fmla="*/ 1028868 w 2082217"/>
                  <a:gd name="connsiteY385" fmla="*/ 1867443 h 2066613"/>
                  <a:gd name="connsiteX386" fmla="*/ 1011153 w 2082217"/>
                  <a:gd name="connsiteY386" fmla="*/ 1891220 h 2066613"/>
                  <a:gd name="connsiteX387" fmla="*/ 1003680 w 2082217"/>
                  <a:gd name="connsiteY387" fmla="*/ 1899618 h 2066613"/>
                  <a:gd name="connsiteX388" fmla="*/ 995589 w 2082217"/>
                  <a:gd name="connsiteY388" fmla="*/ 1908035 h 2066613"/>
                  <a:gd name="connsiteX389" fmla="*/ 987219 w 2082217"/>
                  <a:gd name="connsiteY389" fmla="*/ 1916174 h 2066613"/>
                  <a:gd name="connsiteX390" fmla="*/ 978590 w 2082217"/>
                  <a:gd name="connsiteY390" fmla="*/ 1924013 h 2066613"/>
                  <a:gd name="connsiteX391" fmla="*/ 927993 w 2082217"/>
                  <a:gd name="connsiteY391" fmla="*/ 1961214 h 2066613"/>
                  <a:gd name="connsiteX392" fmla="*/ 872255 w 2082217"/>
                  <a:gd name="connsiteY392" fmla="*/ 1989339 h 2066613"/>
                  <a:gd name="connsiteX393" fmla="*/ 752728 w 2082217"/>
                  <a:gd name="connsiteY393" fmla="*/ 2020836 h 2066613"/>
                  <a:gd name="connsiteX394" fmla="*/ 691390 w 2082217"/>
                  <a:gd name="connsiteY394" fmla="*/ 2025683 h 2066613"/>
                  <a:gd name="connsiteX395" fmla="*/ 676045 w 2082217"/>
                  <a:gd name="connsiteY395" fmla="*/ 2025882 h 2066613"/>
                  <a:gd name="connsiteX396" fmla="*/ 660521 w 2082217"/>
                  <a:gd name="connsiteY396" fmla="*/ 2025543 h 2066613"/>
                  <a:gd name="connsiteX397" fmla="*/ 652769 w 2082217"/>
                  <a:gd name="connsiteY397" fmla="*/ 2025304 h 2066613"/>
                  <a:gd name="connsiteX398" fmla="*/ 645017 w 2082217"/>
                  <a:gd name="connsiteY398" fmla="*/ 2024765 h 2066613"/>
                  <a:gd name="connsiteX399" fmla="*/ 637265 w 2082217"/>
                  <a:gd name="connsiteY399" fmla="*/ 2024207 h 2066613"/>
                  <a:gd name="connsiteX400" fmla="*/ 629533 w 2082217"/>
                  <a:gd name="connsiteY400" fmla="*/ 2023508 h 2066613"/>
                  <a:gd name="connsiteX401" fmla="*/ 614109 w 2082217"/>
                  <a:gd name="connsiteY401" fmla="*/ 2021673 h 2066613"/>
                  <a:gd name="connsiteX402" fmla="*/ 598765 w 2082217"/>
                  <a:gd name="connsiteY402" fmla="*/ 2019240 h 2066613"/>
                  <a:gd name="connsiteX403" fmla="*/ 591092 w 2082217"/>
                  <a:gd name="connsiteY403" fmla="*/ 2017963 h 2066613"/>
                  <a:gd name="connsiteX404" fmla="*/ 583500 w 2082217"/>
                  <a:gd name="connsiteY404" fmla="*/ 2016328 h 2066613"/>
                  <a:gd name="connsiteX405" fmla="*/ 568335 w 2082217"/>
                  <a:gd name="connsiteY405" fmla="*/ 2012937 h 2066613"/>
                  <a:gd name="connsiteX406" fmla="*/ 509169 w 2082217"/>
                  <a:gd name="connsiteY406" fmla="*/ 1993807 h 2066613"/>
                  <a:gd name="connsiteX407" fmla="*/ 401997 w 2082217"/>
                  <a:gd name="connsiteY407" fmla="*/ 1931074 h 2066613"/>
                  <a:gd name="connsiteX408" fmla="*/ 395939 w 2082217"/>
                  <a:gd name="connsiteY408" fmla="*/ 1926167 h 2066613"/>
                  <a:gd name="connsiteX409" fmla="*/ 392910 w 2082217"/>
                  <a:gd name="connsiteY409" fmla="*/ 1923714 h 2066613"/>
                  <a:gd name="connsiteX410" fmla="*/ 390000 w 2082217"/>
                  <a:gd name="connsiteY410" fmla="*/ 1921121 h 2066613"/>
                  <a:gd name="connsiteX411" fmla="*/ 378342 w 2082217"/>
                  <a:gd name="connsiteY411" fmla="*/ 1910728 h 2066613"/>
                  <a:gd name="connsiteX412" fmla="*/ 367183 w 2082217"/>
                  <a:gd name="connsiteY412" fmla="*/ 1899797 h 2066613"/>
                  <a:gd name="connsiteX413" fmla="*/ 364393 w 2082217"/>
                  <a:gd name="connsiteY413" fmla="*/ 1897065 h 2066613"/>
                  <a:gd name="connsiteX414" fmla="*/ 361742 w 2082217"/>
                  <a:gd name="connsiteY414" fmla="*/ 1894212 h 2066613"/>
                  <a:gd name="connsiteX415" fmla="*/ 356422 w 2082217"/>
                  <a:gd name="connsiteY415" fmla="*/ 1888487 h 2066613"/>
                  <a:gd name="connsiteX416" fmla="*/ 351121 w 2082217"/>
                  <a:gd name="connsiteY416" fmla="*/ 1882743 h 2066613"/>
                  <a:gd name="connsiteX417" fmla="*/ 346079 w 2082217"/>
                  <a:gd name="connsiteY417" fmla="*/ 1876758 h 2066613"/>
                  <a:gd name="connsiteX418" fmla="*/ 341057 w 2082217"/>
                  <a:gd name="connsiteY418" fmla="*/ 1870774 h 2066613"/>
                  <a:gd name="connsiteX419" fmla="*/ 338546 w 2082217"/>
                  <a:gd name="connsiteY419" fmla="*/ 1867782 h 2066613"/>
                  <a:gd name="connsiteX420" fmla="*/ 336175 w 2082217"/>
                  <a:gd name="connsiteY420" fmla="*/ 1864671 h 2066613"/>
                  <a:gd name="connsiteX421" fmla="*/ 326709 w 2082217"/>
                  <a:gd name="connsiteY421" fmla="*/ 1852204 h 2066613"/>
                  <a:gd name="connsiteX422" fmla="*/ 317841 w 2082217"/>
                  <a:gd name="connsiteY422" fmla="*/ 1839298 h 2066613"/>
                  <a:gd name="connsiteX423" fmla="*/ 291237 w 2082217"/>
                  <a:gd name="connsiteY423" fmla="*/ 1792283 h 2066613"/>
                  <a:gd name="connsiteX424" fmla="*/ 288288 w 2082217"/>
                  <a:gd name="connsiteY424" fmla="*/ 1786199 h 2066613"/>
                  <a:gd name="connsiteX425" fmla="*/ 285618 w 2082217"/>
                  <a:gd name="connsiteY425" fmla="*/ 1779996 h 2066613"/>
                  <a:gd name="connsiteX426" fmla="*/ 280357 w 2082217"/>
                  <a:gd name="connsiteY426" fmla="*/ 1767529 h 2066613"/>
                  <a:gd name="connsiteX427" fmla="*/ 275734 w 2082217"/>
                  <a:gd name="connsiteY427" fmla="*/ 1754803 h 2066613"/>
                  <a:gd name="connsiteX428" fmla="*/ 273462 w 2082217"/>
                  <a:gd name="connsiteY428" fmla="*/ 1748420 h 2066613"/>
                  <a:gd name="connsiteX429" fmla="*/ 271489 w 2082217"/>
                  <a:gd name="connsiteY429" fmla="*/ 1741937 h 2066613"/>
                  <a:gd name="connsiteX430" fmla="*/ 259153 w 2082217"/>
                  <a:gd name="connsiteY430" fmla="*/ 1689237 h 2066613"/>
                  <a:gd name="connsiteX431" fmla="*/ 256005 w 2082217"/>
                  <a:gd name="connsiteY431" fmla="*/ 1662328 h 2066613"/>
                  <a:gd name="connsiteX432" fmla="*/ 255467 w 2082217"/>
                  <a:gd name="connsiteY432" fmla="*/ 1655586 h 2066613"/>
                  <a:gd name="connsiteX433" fmla="*/ 255188 w 2082217"/>
                  <a:gd name="connsiteY433" fmla="*/ 1652215 h 2066613"/>
                  <a:gd name="connsiteX434" fmla="*/ 255128 w 2082217"/>
                  <a:gd name="connsiteY434" fmla="*/ 1650899 h 2066613"/>
                  <a:gd name="connsiteX435" fmla="*/ 255088 w 2082217"/>
                  <a:gd name="connsiteY435" fmla="*/ 1649762 h 2066613"/>
                  <a:gd name="connsiteX436" fmla="*/ 254849 w 2082217"/>
                  <a:gd name="connsiteY436" fmla="*/ 1640586 h 2066613"/>
                  <a:gd name="connsiteX437" fmla="*/ 254849 w 2082217"/>
                  <a:gd name="connsiteY437" fmla="*/ 1635081 h 2066613"/>
                  <a:gd name="connsiteX438" fmla="*/ 254969 w 2082217"/>
                  <a:gd name="connsiteY438" fmla="*/ 1629576 h 2066613"/>
                  <a:gd name="connsiteX439" fmla="*/ 255008 w 2082217"/>
                  <a:gd name="connsiteY439" fmla="*/ 1628199 h 2066613"/>
                  <a:gd name="connsiteX440" fmla="*/ 255008 w 2082217"/>
                  <a:gd name="connsiteY440" fmla="*/ 1627501 h 2066613"/>
                  <a:gd name="connsiteX441" fmla="*/ 254789 w 2082217"/>
                  <a:gd name="connsiteY441" fmla="*/ 1626923 h 2066613"/>
                  <a:gd name="connsiteX442" fmla="*/ 252298 w 2082217"/>
                  <a:gd name="connsiteY442" fmla="*/ 1625746 h 2066613"/>
                  <a:gd name="connsiteX443" fmla="*/ 247316 w 2082217"/>
                  <a:gd name="connsiteY443" fmla="*/ 1623392 h 2066613"/>
                  <a:gd name="connsiteX444" fmla="*/ 238409 w 2082217"/>
                  <a:gd name="connsiteY444" fmla="*/ 1618784 h 2066613"/>
                  <a:gd name="connsiteX445" fmla="*/ 233765 w 2082217"/>
                  <a:gd name="connsiteY445" fmla="*/ 1616191 h 2066613"/>
                  <a:gd name="connsiteX446" fmla="*/ 227010 w 2082217"/>
                  <a:gd name="connsiteY446" fmla="*/ 1612282 h 2066613"/>
                  <a:gd name="connsiteX447" fmla="*/ 213738 w 2082217"/>
                  <a:gd name="connsiteY447" fmla="*/ 1604023 h 2066613"/>
                  <a:gd name="connsiteX448" fmla="*/ 207201 w 2082217"/>
                  <a:gd name="connsiteY448" fmla="*/ 1599755 h 2066613"/>
                  <a:gd name="connsiteX449" fmla="*/ 200805 w 2082217"/>
                  <a:gd name="connsiteY449" fmla="*/ 1595267 h 2066613"/>
                  <a:gd name="connsiteX450" fmla="*/ 152739 w 2082217"/>
                  <a:gd name="connsiteY450" fmla="*/ 1555273 h 2066613"/>
                  <a:gd name="connsiteX451" fmla="*/ 111687 w 2082217"/>
                  <a:gd name="connsiteY451" fmla="*/ 1507999 h 2066613"/>
                  <a:gd name="connsiteX452" fmla="*/ 79005 w 2082217"/>
                  <a:gd name="connsiteY452" fmla="*/ 1454481 h 2066613"/>
                  <a:gd name="connsiteX453" fmla="*/ 72250 w 2082217"/>
                  <a:gd name="connsiteY453" fmla="*/ 1440299 h 2066613"/>
                  <a:gd name="connsiteX454" fmla="*/ 66112 w 2082217"/>
                  <a:gd name="connsiteY454" fmla="*/ 1425837 h 2066613"/>
                  <a:gd name="connsiteX455" fmla="*/ 60652 w 2082217"/>
                  <a:gd name="connsiteY455" fmla="*/ 1411096 h 2066613"/>
                  <a:gd name="connsiteX456" fmla="*/ 55829 w 2082217"/>
                  <a:gd name="connsiteY456" fmla="*/ 1396136 h 2066613"/>
                  <a:gd name="connsiteX457" fmla="*/ 43055 w 2082217"/>
                  <a:gd name="connsiteY457" fmla="*/ 1334620 h 2066613"/>
                  <a:gd name="connsiteX458" fmla="*/ 41182 w 2082217"/>
                  <a:gd name="connsiteY458" fmla="*/ 1271846 h 2066613"/>
                  <a:gd name="connsiteX459" fmla="*/ 50130 w 2082217"/>
                  <a:gd name="connsiteY459" fmla="*/ 1209652 h 2066613"/>
                  <a:gd name="connsiteX460" fmla="*/ 52740 w 2082217"/>
                  <a:gd name="connsiteY460" fmla="*/ 1199339 h 2066613"/>
                  <a:gd name="connsiteX461" fmla="*/ 55550 w 2082217"/>
                  <a:gd name="connsiteY461" fmla="*/ 1189086 h 2066613"/>
                  <a:gd name="connsiteX462" fmla="*/ 58798 w 2082217"/>
                  <a:gd name="connsiteY462" fmla="*/ 1178953 h 2066613"/>
                  <a:gd name="connsiteX463" fmla="*/ 60433 w 2082217"/>
                  <a:gd name="connsiteY463" fmla="*/ 1173887 h 2066613"/>
                  <a:gd name="connsiteX464" fmla="*/ 62266 w 2082217"/>
                  <a:gd name="connsiteY464" fmla="*/ 1168900 h 2066613"/>
                  <a:gd name="connsiteX465" fmla="*/ 65992 w 2082217"/>
                  <a:gd name="connsiteY465" fmla="*/ 1158947 h 2066613"/>
                  <a:gd name="connsiteX466" fmla="*/ 70098 w 2082217"/>
                  <a:gd name="connsiteY466" fmla="*/ 1149153 h 2066613"/>
                  <a:gd name="connsiteX467" fmla="*/ 79025 w 2082217"/>
                  <a:gd name="connsiteY467" fmla="*/ 1129884 h 2066613"/>
                  <a:gd name="connsiteX468" fmla="*/ 83947 w 2082217"/>
                  <a:gd name="connsiteY468" fmla="*/ 1120469 h 2066613"/>
                  <a:gd name="connsiteX469" fmla="*/ 89049 w 2082217"/>
                  <a:gd name="connsiteY469" fmla="*/ 1111154 h 2066613"/>
                  <a:gd name="connsiteX470" fmla="*/ 94509 w 2082217"/>
                  <a:gd name="connsiteY470" fmla="*/ 1102058 h 2066613"/>
                  <a:gd name="connsiteX471" fmla="*/ 97259 w 2082217"/>
                  <a:gd name="connsiteY471" fmla="*/ 1097530 h 2066613"/>
                  <a:gd name="connsiteX472" fmla="*/ 100189 w 2082217"/>
                  <a:gd name="connsiteY472" fmla="*/ 1093102 h 2066613"/>
                  <a:gd name="connsiteX473" fmla="*/ 106047 w 2082217"/>
                  <a:gd name="connsiteY473" fmla="*/ 1084265 h 2066613"/>
                  <a:gd name="connsiteX474" fmla="*/ 112265 w 2082217"/>
                  <a:gd name="connsiteY474" fmla="*/ 1075688 h 2066613"/>
                  <a:gd name="connsiteX475" fmla="*/ 115394 w 2082217"/>
                  <a:gd name="connsiteY475" fmla="*/ 1071399 h 2066613"/>
                  <a:gd name="connsiteX476" fmla="*/ 116151 w 2082217"/>
                  <a:gd name="connsiteY476" fmla="*/ 1070362 h 2066613"/>
                  <a:gd name="connsiteX477" fmla="*/ 116709 w 2082217"/>
                  <a:gd name="connsiteY477" fmla="*/ 1069664 h 2066613"/>
                  <a:gd name="connsiteX478" fmla="*/ 117825 w 2082217"/>
                  <a:gd name="connsiteY478" fmla="*/ 1068268 h 2066613"/>
                  <a:gd name="connsiteX479" fmla="*/ 122269 w 2082217"/>
                  <a:gd name="connsiteY479" fmla="*/ 1062702 h 2066613"/>
                  <a:gd name="connsiteX480" fmla="*/ 126493 w 2082217"/>
                  <a:gd name="connsiteY480" fmla="*/ 1057775 h 2066613"/>
                  <a:gd name="connsiteX481" fmla="*/ 128626 w 2082217"/>
                  <a:gd name="connsiteY481" fmla="*/ 1055322 h 2066613"/>
                  <a:gd name="connsiteX482" fmla="*/ 129702 w 2082217"/>
                  <a:gd name="connsiteY482" fmla="*/ 1054105 h 2066613"/>
                  <a:gd name="connsiteX483" fmla="*/ 130200 w 2082217"/>
                  <a:gd name="connsiteY483" fmla="*/ 1053467 h 2066613"/>
                  <a:gd name="connsiteX484" fmla="*/ 129961 w 2082217"/>
                  <a:gd name="connsiteY484" fmla="*/ 1052689 h 2066613"/>
                  <a:gd name="connsiteX485" fmla="*/ 125796 w 2082217"/>
                  <a:gd name="connsiteY485" fmla="*/ 1040382 h 2066613"/>
                  <a:gd name="connsiteX486" fmla="*/ 124022 w 2082217"/>
                  <a:gd name="connsiteY486" fmla="*/ 1034258 h 2066613"/>
                  <a:gd name="connsiteX487" fmla="*/ 121492 w 2082217"/>
                  <a:gd name="connsiteY487" fmla="*/ 1024344 h 2066613"/>
                  <a:gd name="connsiteX488" fmla="*/ 117287 w 2082217"/>
                  <a:gd name="connsiteY488" fmla="*/ 1004337 h 2066613"/>
                  <a:gd name="connsiteX489" fmla="*/ 112026 w 2082217"/>
                  <a:gd name="connsiteY489" fmla="*/ 941544 h 2066613"/>
                  <a:gd name="connsiteX490" fmla="*/ 113799 w 2082217"/>
                  <a:gd name="connsiteY490" fmla="*/ 910068 h 2066613"/>
                  <a:gd name="connsiteX491" fmla="*/ 114616 w 2082217"/>
                  <a:gd name="connsiteY491" fmla="*/ 902229 h 2066613"/>
                  <a:gd name="connsiteX492" fmla="*/ 115593 w 2082217"/>
                  <a:gd name="connsiteY492" fmla="*/ 894410 h 2066613"/>
                  <a:gd name="connsiteX493" fmla="*/ 118283 w 2082217"/>
                  <a:gd name="connsiteY493" fmla="*/ 878851 h 2066613"/>
                  <a:gd name="connsiteX494" fmla="*/ 121691 w 2082217"/>
                  <a:gd name="connsiteY494" fmla="*/ 863452 h 2066613"/>
                  <a:gd name="connsiteX495" fmla="*/ 123564 w 2082217"/>
                  <a:gd name="connsiteY495" fmla="*/ 855792 h 2066613"/>
                  <a:gd name="connsiteX496" fmla="*/ 124501 w 2082217"/>
                  <a:gd name="connsiteY496" fmla="*/ 851962 h 2066613"/>
                  <a:gd name="connsiteX497" fmla="*/ 125657 w 2082217"/>
                  <a:gd name="connsiteY497" fmla="*/ 848193 h 2066613"/>
                  <a:gd name="connsiteX498" fmla="*/ 130419 w 2082217"/>
                  <a:gd name="connsiteY498" fmla="*/ 833152 h 2066613"/>
                  <a:gd name="connsiteX499" fmla="*/ 131635 w 2082217"/>
                  <a:gd name="connsiteY499" fmla="*/ 829402 h 2066613"/>
                  <a:gd name="connsiteX500" fmla="*/ 133070 w 2082217"/>
                  <a:gd name="connsiteY500" fmla="*/ 825732 h 2066613"/>
                  <a:gd name="connsiteX501" fmla="*/ 135939 w 2082217"/>
                  <a:gd name="connsiteY501" fmla="*/ 818392 h 2066613"/>
                  <a:gd name="connsiteX502" fmla="*/ 148733 w 2082217"/>
                  <a:gd name="connsiteY502" fmla="*/ 789568 h 2066613"/>
                  <a:gd name="connsiteX503" fmla="*/ 156266 w 2082217"/>
                  <a:gd name="connsiteY503" fmla="*/ 775725 h 2066613"/>
                  <a:gd name="connsiteX504" fmla="*/ 160092 w 2082217"/>
                  <a:gd name="connsiteY504" fmla="*/ 768823 h 2066613"/>
                  <a:gd name="connsiteX505" fmla="*/ 164317 w 2082217"/>
                  <a:gd name="connsiteY505" fmla="*/ 762161 h 2066613"/>
                  <a:gd name="connsiteX506" fmla="*/ 169418 w 2082217"/>
                  <a:gd name="connsiteY506" fmla="*/ 754202 h 2066613"/>
                  <a:gd name="connsiteX507" fmla="*/ 171969 w 2082217"/>
                  <a:gd name="connsiteY507" fmla="*/ 750233 h 2066613"/>
                  <a:gd name="connsiteX508" fmla="*/ 174719 w 2082217"/>
                  <a:gd name="connsiteY508" fmla="*/ 746383 h 2066613"/>
                  <a:gd name="connsiteX509" fmla="*/ 185918 w 2082217"/>
                  <a:gd name="connsiteY509" fmla="*/ 731164 h 2066613"/>
                  <a:gd name="connsiteX510" fmla="*/ 198055 w 2082217"/>
                  <a:gd name="connsiteY510" fmla="*/ 716682 h 2066613"/>
                  <a:gd name="connsiteX511" fmla="*/ 204412 w 2082217"/>
                  <a:gd name="connsiteY511" fmla="*/ 709701 h 2066613"/>
                  <a:gd name="connsiteX512" fmla="*/ 210928 w 2082217"/>
                  <a:gd name="connsiteY512" fmla="*/ 702859 h 2066613"/>
                  <a:gd name="connsiteX513" fmla="*/ 224479 w 2082217"/>
                  <a:gd name="connsiteY513" fmla="*/ 689714 h 2066613"/>
                  <a:gd name="connsiteX514" fmla="*/ 231414 w 2082217"/>
                  <a:gd name="connsiteY514" fmla="*/ 683311 h 2066613"/>
                  <a:gd name="connsiteX515" fmla="*/ 238688 w 2082217"/>
                  <a:gd name="connsiteY515" fmla="*/ 677287 h 2066613"/>
                  <a:gd name="connsiteX516" fmla="*/ 246001 w 2082217"/>
                  <a:gd name="connsiteY516" fmla="*/ 671323 h 2066613"/>
                  <a:gd name="connsiteX517" fmla="*/ 249668 w 2082217"/>
                  <a:gd name="connsiteY517" fmla="*/ 668351 h 2066613"/>
                  <a:gd name="connsiteX518" fmla="*/ 253494 w 2082217"/>
                  <a:gd name="connsiteY518" fmla="*/ 665598 h 2066613"/>
                  <a:gd name="connsiteX519" fmla="*/ 259552 w 2082217"/>
                  <a:gd name="connsiteY519" fmla="*/ 661269 h 2066613"/>
                  <a:gd name="connsiteX520" fmla="*/ 264474 w 2082217"/>
                  <a:gd name="connsiteY520" fmla="*/ 657799 h 2066613"/>
                  <a:gd name="connsiteX521" fmla="*/ 271270 w 2082217"/>
                  <a:gd name="connsiteY521" fmla="*/ 653550 h 2066613"/>
                  <a:gd name="connsiteX522" fmla="*/ 274677 w 2082217"/>
                  <a:gd name="connsiteY522" fmla="*/ 651436 h 2066613"/>
                  <a:gd name="connsiteX523" fmla="*/ 276291 w 2082217"/>
                  <a:gd name="connsiteY523" fmla="*/ 650299 h 2066613"/>
                  <a:gd name="connsiteX524" fmla="*/ 275933 w 2082217"/>
                  <a:gd name="connsiteY524" fmla="*/ 648324 h 2066613"/>
                  <a:gd name="connsiteX525" fmla="*/ 273761 w 2082217"/>
                  <a:gd name="connsiteY525" fmla="*/ 632426 h 2066613"/>
                  <a:gd name="connsiteX526" fmla="*/ 273402 w 2082217"/>
                  <a:gd name="connsiteY526" fmla="*/ 628337 h 2066613"/>
                  <a:gd name="connsiteX527" fmla="*/ 273043 w 2082217"/>
                  <a:gd name="connsiteY527" fmla="*/ 622592 h 2066613"/>
                  <a:gd name="connsiteX528" fmla="*/ 272585 w 2082217"/>
                  <a:gd name="connsiteY528" fmla="*/ 609926 h 2066613"/>
                  <a:gd name="connsiteX529" fmla="*/ 272704 w 2082217"/>
                  <a:gd name="connsiteY529" fmla="*/ 597260 h 2066613"/>
                  <a:gd name="connsiteX530" fmla="*/ 272844 w 2082217"/>
                  <a:gd name="connsiteY530" fmla="*/ 590916 h 2066613"/>
                  <a:gd name="connsiteX531" fmla="*/ 273243 w 2082217"/>
                  <a:gd name="connsiteY531" fmla="*/ 584593 h 2066613"/>
                  <a:gd name="connsiteX532" fmla="*/ 283466 w 2082217"/>
                  <a:gd name="connsiteY532" fmla="*/ 522099 h 2066613"/>
                  <a:gd name="connsiteX533" fmla="*/ 305984 w 2082217"/>
                  <a:gd name="connsiteY533" fmla="*/ 462957 h 2066613"/>
                  <a:gd name="connsiteX534" fmla="*/ 339463 w 2082217"/>
                  <a:gd name="connsiteY534" fmla="*/ 409419 h 2066613"/>
                  <a:gd name="connsiteX535" fmla="*/ 382288 w 2082217"/>
                  <a:gd name="connsiteY535" fmla="*/ 363182 h 2066613"/>
                  <a:gd name="connsiteX536" fmla="*/ 441753 w 2082217"/>
                  <a:gd name="connsiteY536" fmla="*/ 320316 h 2066613"/>
                  <a:gd name="connsiteX537" fmla="*/ 474454 w 2082217"/>
                  <a:gd name="connsiteY537" fmla="*/ 303720 h 2066613"/>
                  <a:gd name="connsiteX538" fmla="*/ 491294 w 2082217"/>
                  <a:gd name="connsiteY538" fmla="*/ 296798 h 2066613"/>
                  <a:gd name="connsiteX539" fmla="*/ 495498 w 2082217"/>
                  <a:gd name="connsiteY539" fmla="*/ 295202 h 2066613"/>
                  <a:gd name="connsiteX540" fmla="*/ 497591 w 2082217"/>
                  <a:gd name="connsiteY540" fmla="*/ 294405 h 2066613"/>
                  <a:gd name="connsiteX541" fmla="*/ 498388 w 2082217"/>
                  <a:gd name="connsiteY541" fmla="*/ 294125 h 2066613"/>
                  <a:gd name="connsiteX542" fmla="*/ 499085 w 2082217"/>
                  <a:gd name="connsiteY542" fmla="*/ 293886 h 2066613"/>
                  <a:gd name="connsiteX543" fmla="*/ 504625 w 2082217"/>
                  <a:gd name="connsiteY543" fmla="*/ 292011 h 2066613"/>
                  <a:gd name="connsiteX544" fmla="*/ 512616 w 2082217"/>
                  <a:gd name="connsiteY544" fmla="*/ 289577 h 2066613"/>
                  <a:gd name="connsiteX545" fmla="*/ 514629 w 2082217"/>
                  <a:gd name="connsiteY545" fmla="*/ 288979 h 2066613"/>
                  <a:gd name="connsiteX546" fmla="*/ 515127 w 2082217"/>
                  <a:gd name="connsiteY546" fmla="*/ 288799 h 2066613"/>
                  <a:gd name="connsiteX547" fmla="*/ 515327 w 2082217"/>
                  <a:gd name="connsiteY547" fmla="*/ 288321 h 2066613"/>
                  <a:gd name="connsiteX548" fmla="*/ 515665 w 2082217"/>
                  <a:gd name="connsiteY548" fmla="*/ 287323 h 2066613"/>
                  <a:gd name="connsiteX549" fmla="*/ 517001 w 2082217"/>
                  <a:gd name="connsiteY549" fmla="*/ 283354 h 2066613"/>
                  <a:gd name="connsiteX550" fmla="*/ 519830 w 2082217"/>
                  <a:gd name="connsiteY550" fmla="*/ 275455 h 2066613"/>
                  <a:gd name="connsiteX551" fmla="*/ 521305 w 2082217"/>
                  <a:gd name="connsiteY551" fmla="*/ 271505 h 2066613"/>
                  <a:gd name="connsiteX552" fmla="*/ 522361 w 2082217"/>
                  <a:gd name="connsiteY552" fmla="*/ 268872 h 2066613"/>
                  <a:gd name="connsiteX553" fmla="*/ 523577 w 2082217"/>
                  <a:gd name="connsiteY553" fmla="*/ 265880 h 2066613"/>
                  <a:gd name="connsiteX554" fmla="*/ 545517 w 2082217"/>
                  <a:gd name="connsiteY554" fmla="*/ 218945 h 2066613"/>
                  <a:gd name="connsiteX555" fmla="*/ 579156 w 2082217"/>
                  <a:gd name="connsiteY555" fmla="*/ 166425 h 2066613"/>
                  <a:gd name="connsiteX556" fmla="*/ 620964 w 2082217"/>
                  <a:gd name="connsiteY556" fmla="*/ 119629 h 2066613"/>
                  <a:gd name="connsiteX557" fmla="*/ 671103 w 2082217"/>
                  <a:gd name="connsiteY557" fmla="*/ 81032 h 2066613"/>
                  <a:gd name="connsiteX558" fmla="*/ 728834 w 2082217"/>
                  <a:gd name="connsiteY558" fmla="*/ 53824 h 2066613"/>
                  <a:gd name="connsiteX559" fmla="*/ 759882 w 2082217"/>
                  <a:gd name="connsiteY559" fmla="*/ 45486 h 2066613"/>
                  <a:gd name="connsiteX560" fmla="*/ 767813 w 2082217"/>
                  <a:gd name="connsiteY560" fmla="*/ 44090 h 2066613"/>
                  <a:gd name="connsiteX561" fmla="*/ 771779 w 2082217"/>
                  <a:gd name="connsiteY561" fmla="*/ 43392 h 2066613"/>
                  <a:gd name="connsiteX562" fmla="*/ 775784 w 2082217"/>
                  <a:gd name="connsiteY562" fmla="*/ 42873 h 2066613"/>
                  <a:gd name="connsiteX563" fmla="*/ 783775 w 2082217"/>
                  <a:gd name="connsiteY563" fmla="*/ 41876 h 2066613"/>
                  <a:gd name="connsiteX564" fmla="*/ 791806 w 2082217"/>
                  <a:gd name="connsiteY564" fmla="*/ 41237 h 2066613"/>
                  <a:gd name="connsiteX565" fmla="*/ 807908 w 2082217"/>
                  <a:gd name="connsiteY565" fmla="*/ 40579 h 2066613"/>
                  <a:gd name="connsiteX566" fmla="*/ 823631 w 2082217"/>
                  <a:gd name="connsiteY566" fmla="*/ 40878 h 2066613"/>
                  <a:gd name="connsiteX567" fmla="*/ 827557 w 2082217"/>
                  <a:gd name="connsiteY567" fmla="*/ 40978 h 2066613"/>
                  <a:gd name="connsiteX568" fmla="*/ 831483 w 2082217"/>
                  <a:gd name="connsiteY568" fmla="*/ 41257 h 2066613"/>
                  <a:gd name="connsiteX569" fmla="*/ 839334 w 2082217"/>
                  <a:gd name="connsiteY569" fmla="*/ 41856 h 2066613"/>
                  <a:gd name="connsiteX570" fmla="*/ 847186 w 2082217"/>
                  <a:gd name="connsiteY570" fmla="*/ 42534 h 2066613"/>
                  <a:gd name="connsiteX571" fmla="*/ 855017 w 2082217"/>
                  <a:gd name="connsiteY571" fmla="*/ 43551 h 2066613"/>
                  <a:gd name="connsiteX572" fmla="*/ 916794 w 2082217"/>
                  <a:gd name="connsiteY572" fmla="*/ 58133 h 2066613"/>
                  <a:gd name="connsiteX573" fmla="*/ 974067 w 2082217"/>
                  <a:gd name="connsiteY573" fmla="*/ 86637 h 2066613"/>
                  <a:gd name="connsiteX574" fmla="*/ 1004656 w 2082217"/>
                  <a:gd name="connsiteY574" fmla="*/ 110055 h 2066613"/>
                  <a:gd name="connsiteX575" fmla="*/ 1008283 w 2082217"/>
                  <a:gd name="connsiteY575" fmla="*/ 113226 h 2066613"/>
                  <a:gd name="connsiteX576" fmla="*/ 1011730 w 2082217"/>
                  <a:gd name="connsiteY576" fmla="*/ 116577 h 2066613"/>
                  <a:gd name="connsiteX577" fmla="*/ 1016593 w 2082217"/>
                  <a:gd name="connsiteY577" fmla="*/ 121345 h 2066613"/>
                  <a:gd name="connsiteX578" fmla="*/ 1020718 w 2082217"/>
                  <a:gd name="connsiteY578" fmla="*/ 125733 h 2066613"/>
                  <a:gd name="connsiteX579" fmla="*/ 1024723 w 2082217"/>
                  <a:gd name="connsiteY579" fmla="*/ 130221 h 2066613"/>
                  <a:gd name="connsiteX580" fmla="*/ 1029147 w 2082217"/>
                  <a:gd name="connsiteY580" fmla="*/ 135647 h 2066613"/>
                  <a:gd name="connsiteX581" fmla="*/ 1033472 w 2082217"/>
                  <a:gd name="connsiteY581" fmla="*/ 141172 h 2066613"/>
                  <a:gd name="connsiteX582" fmla="*/ 1037457 w 2082217"/>
                  <a:gd name="connsiteY582" fmla="*/ 146937 h 2066613"/>
                  <a:gd name="connsiteX583" fmla="*/ 1039430 w 2082217"/>
                  <a:gd name="connsiteY583" fmla="*/ 149829 h 2066613"/>
                  <a:gd name="connsiteX584" fmla="*/ 1040427 w 2082217"/>
                  <a:gd name="connsiteY584" fmla="*/ 151285 h 2066613"/>
                  <a:gd name="connsiteX585" fmla="*/ 1040925 w 2082217"/>
                  <a:gd name="connsiteY585" fmla="*/ 152003 h 2066613"/>
                  <a:gd name="connsiteX586" fmla="*/ 1041184 w 2082217"/>
                  <a:gd name="connsiteY586" fmla="*/ 152362 h 2066613"/>
                  <a:gd name="connsiteX587" fmla="*/ 1041563 w 2082217"/>
                  <a:gd name="connsiteY587" fmla="*/ 152342 h 2066613"/>
                  <a:gd name="connsiteX588" fmla="*/ 1049534 w 2082217"/>
                  <a:gd name="connsiteY588" fmla="*/ 140813 h 2066613"/>
                  <a:gd name="connsiteX589" fmla="*/ 1053858 w 2082217"/>
                  <a:gd name="connsiteY589" fmla="*/ 135287 h 2066613"/>
                  <a:gd name="connsiteX590" fmla="*/ 1058322 w 2082217"/>
                  <a:gd name="connsiteY590" fmla="*/ 129882 h 2066613"/>
                  <a:gd name="connsiteX591" fmla="*/ 1067907 w 2082217"/>
                  <a:gd name="connsiteY591" fmla="*/ 119629 h 2066613"/>
                  <a:gd name="connsiteX592" fmla="*/ 1074922 w 2082217"/>
                  <a:gd name="connsiteY592" fmla="*/ 112767 h 2066613"/>
                  <a:gd name="connsiteX593" fmla="*/ 1083431 w 2082217"/>
                  <a:gd name="connsiteY593" fmla="*/ 105467 h 2066613"/>
                  <a:gd name="connsiteX594" fmla="*/ 1101147 w 2082217"/>
                  <a:gd name="connsiteY594" fmla="*/ 91703 h 2066613"/>
                  <a:gd name="connsiteX595" fmla="*/ 1110473 w 2082217"/>
                  <a:gd name="connsiteY595" fmla="*/ 85460 h 2066613"/>
                  <a:gd name="connsiteX596" fmla="*/ 1119979 w 2082217"/>
                  <a:gd name="connsiteY596" fmla="*/ 79476 h 2066613"/>
                  <a:gd name="connsiteX597" fmla="*/ 1178587 w 2082217"/>
                  <a:gd name="connsiteY597" fmla="*/ 54023 h 2066613"/>
                  <a:gd name="connsiteX598" fmla="*/ 1240762 w 2082217"/>
                  <a:gd name="connsiteY598" fmla="*/ 42055 h 2066613"/>
                  <a:gd name="connsiteX599" fmla="*/ 1256465 w 2082217"/>
                  <a:gd name="connsiteY599" fmla="*/ 40938 h 2066613"/>
                  <a:gd name="connsiteX600" fmla="*/ 1272148 w 2082217"/>
                  <a:gd name="connsiteY600" fmla="*/ 40559 h 2066613"/>
                  <a:gd name="connsiteX601" fmla="*/ 1304252 w 2082217"/>
                  <a:gd name="connsiteY601" fmla="*/ 42514 h 2066613"/>
                  <a:gd name="connsiteX602" fmla="*/ 1335878 w 2082217"/>
                  <a:gd name="connsiteY602" fmla="*/ 48438 h 2066613"/>
                  <a:gd name="connsiteX603" fmla="*/ 1343630 w 2082217"/>
                  <a:gd name="connsiteY603" fmla="*/ 50593 h 2066613"/>
                  <a:gd name="connsiteX604" fmla="*/ 1347496 w 2082217"/>
                  <a:gd name="connsiteY604" fmla="*/ 51690 h 2066613"/>
                  <a:gd name="connsiteX605" fmla="*/ 1351302 w 2082217"/>
                  <a:gd name="connsiteY605" fmla="*/ 52946 h 2066613"/>
                  <a:gd name="connsiteX606" fmla="*/ 1358914 w 2082217"/>
                  <a:gd name="connsiteY606" fmla="*/ 55480 h 2066613"/>
                  <a:gd name="connsiteX607" fmla="*/ 1366407 w 2082217"/>
                  <a:gd name="connsiteY607" fmla="*/ 58352 h 2066613"/>
                  <a:gd name="connsiteX608" fmla="*/ 1471108 w 2082217"/>
                  <a:gd name="connsiteY608" fmla="*/ 128765 h 2066613"/>
                  <a:gd name="connsiteX609" fmla="*/ 1511183 w 2082217"/>
                  <a:gd name="connsiteY609" fmla="*/ 176937 h 2066613"/>
                  <a:gd name="connsiteX610" fmla="*/ 1543148 w 2082217"/>
                  <a:gd name="connsiteY610" fmla="*/ 230415 h 2066613"/>
                  <a:gd name="connsiteX611" fmla="*/ 1549365 w 2082217"/>
                  <a:gd name="connsiteY611" fmla="*/ 243260 h 2066613"/>
                  <a:gd name="connsiteX612" fmla="*/ 1555184 w 2082217"/>
                  <a:gd name="connsiteY612" fmla="*/ 256286 h 2066613"/>
                  <a:gd name="connsiteX613" fmla="*/ 1560585 w 2082217"/>
                  <a:gd name="connsiteY613" fmla="*/ 269471 h 2066613"/>
                  <a:gd name="connsiteX614" fmla="*/ 1561202 w 2082217"/>
                  <a:gd name="connsiteY614" fmla="*/ 271007 h 2066613"/>
                  <a:gd name="connsiteX615" fmla="*/ 1561601 w 2082217"/>
                  <a:gd name="connsiteY615" fmla="*/ 272104 h 2066613"/>
                  <a:gd name="connsiteX616" fmla="*/ 1562418 w 2082217"/>
                  <a:gd name="connsiteY616" fmla="*/ 274278 h 2066613"/>
                  <a:gd name="connsiteX617" fmla="*/ 1564032 w 2082217"/>
                  <a:gd name="connsiteY617" fmla="*/ 278626 h 2066613"/>
                  <a:gd name="connsiteX618" fmla="*/ 1566543 w 2082217"/>
                  <a:gd name="connsiteY618" fmla="*/ 285927 h 2066613"/>
                  <a:gd name="connsiteX619" fmla="*/ 1567161 w 2082217"/>
                  <a:gd name="connsiteY619" fmla="*/ 287762 h 2066613"/>
                  <a:gd name="connsiteX620" fmla="*/ 1567480 w 2082217"/>
                  <a:gd name="connsiteY620" fmla="*/ 288680 h 2066613"/>
                  <a:gd name="connsiteX621" fmla="*/ 1568336 w 2082217"/>
                  <a:gd name="connsiteY621" fmla="*/ 289039 h 2066613"/>
                  <a:gd name="connsiteX622" fmla="*/ 1572043 w 2082217"/>
                  <a:gd name="connsiteY622" fmla="*/ 290136 h 2066613"/>
                  <a:gd name="connsiteX623" fmla="*/ 1579416 w 2082217"/>
                  <a:gd name="connsiteY623" fmla="*/ 292450 h 2066613"/>
                  <a:gd name="connsiteX624" fmla="*/ 1583063 w 2082217"/>
                  <a:gd name="connsiteY624" fmla="*/ 293686 h 2066613"/>
                  <a:gd name="connsiteX625" fmla="*/ 1584976 w 2082217"/>
                  <a:gd name="connsiteY625" fmla="*/ 294345 h 2066613"/>
                  <a:gd name="connsiteX626" fmla="*/ 1587746 w 2082217"/>
                  <a:gd name="connsiteY626" fmla="*/ 295402 h 2066613"/>
                  <a:gd name="connsiteX627" fmla="*/ 1598846 w 2082217"/>
                  <a:gd name="connsiteY627" fmla="*/ 299710 h 2066613"/>
                  <a:gd name="connsiteX628" fmla="*/ 1609986 w 2082217"/>
                  <a:gd name="connsiteY628" fmla="*/ 304478 h 2066613"/>
                  <a:gd name="connsiteX629" fmla="*/ 1620946 w 2082217"/>
                  <a:gd name="connsiteY629" fmla="*/ 309664 h 2066613"/>
                  <a:gd name="connsiteX630" fmla="*/ 1631727 w 2082217"/>
                  <a:gd name="connsiteY630" fmla="*/ 315209 h 2066613"/>
                  <a:gd name="connsiteX631" fmla="*/ 1709964 w 2082217"/>
                  <a:gd name="connsiteY631" fmla="*/ 372118 h 2066613"/>
                  <a:gd name="connsiteX632" fmla="*/ 1750976 w 2082217"/>
                  <a:gd name="connsiteY632" fmla="*/ 419991 h 2066613"/>
                  <a:gd name="connsiteX633" fmla="*/ 1782282 w 2082217"/>
                  <a:gd name="connsiteY633" fmla="*/ 474865 h 2066613"/>
                  <a:gd name="connsiteX634" fmla="*/ 1802330 w 2082217"/>
                  <a:gd name="connsiteY634" fmla="*/ 534905 h 2066613"/>
                  <a:gd name="connsiteX635" fmla="*/ 1809942 w 2082217"/>
                  <a:gd name="connsiteY635" fmla="*/ 597758 h 2066613"/>
                  <a:gd name="connsiteX636" fmla="*/ 1809743 w 2082217"/>
                  <a:gd name="connsiteY636" fmla="*/ 619760 h 2066613"/>
                  <a:gd name="connsiteX637" fmla="*/ 1809125 w 2082217"/>
                  <a:gd name="connsiteY637" fmla="*/ 629554 h 2066613"/>
                  <a:gd name="connsiteX638" fmla="*/ 1808428 w 2082217"/>
                  <a:gd name="connsiteY638" fmla="*/ 636475 h 2066613"/>
                  <a:gd name="connsiteX639" fmla="*/ 1807292 w 2082217"/>
                  <a:gd name="connsiteY639" fmla="*/ 644674 h 2066613"/>
                  <a:gd name="connsiteX640" fmla="*/ 1806594 w 2082217"/>
                  <a:gd name="connsiteY640" fmla="*/ 648763 h 2066613"/>
                  <a:gd name="connsiteX641" fmla="*/ 1806415 w 2082217"/>
                  <a:gd name="connsiteY641" fmla="*/ 649780 h 2066613"/>
                  <a:gd name="connsiteX642" fmla="*/ 1806355 w 2082217"/>
                  <a:gd name="connsiteY642" fmla="*/ 650299 h 2066613"/>
                  <a:gd name="connsiteX643" fmla="*/ 1806754 w 2082217"/>
                  <a:gd name="connsiteY643" fmla="*/ 650618 h 2066613"/>
                  <a:gd name="connsiteX644" fmla="*/ 1808507 w 2082217"/>
                  <a:gd name="connsiteY644" fmla="*/ 651715 h 2066613"/>
                  <a:gd name="connsiteX645" fmla="*/ 1815522 w 2082217"/>
                  <a:gd name="connsiteY645" fmla="*/ 656103 h 2066613"/>
                  <a:gd name="connsiteX646" fmla="*/ 1819029 w 2082217"/>
                  <a:gd name="connsiteY646" fmla="*/ 658317 h 2066613"/>
                  <a:gd name="connsiteX647" fmla="*/ 1822397 w 2082217"/>
                  <a:gd name="connsiteY647" fmla="*/ 660731 h 2066613"/>
                  <a:gd name="connsiteX648" fmla="*/ 1830986 w 2082217"/>
                  <a:gd name="connsiteY648" fmla="*/ 666874 h 2066613"/>
                  <a:gd name="connsiteX649" fmla="*/ 1836128 w 2082217"/>
                  <a:gd name="connsiteY649" fmla="*/ 670864 h 2066613"/>
                  <a:gd name="connsiteX650" fmla="*/ 1841169 w 2082217"/>
                  <a:gd name="connsiteY650" fmla="*/ 674973 h 2066613"/>
                  <a:gd name="connsiteX651" fmla="*/ 1851193 w 2082217"/>
                  <a:gd name="connsiteY651" fmla="*/ 683231 h 2066613"/>
                  <a:gd name="connsiteX652" fmla="*/ 1860739 w 2082217"/>
                  <a:gd name="connsiteY652" fmla="*/ 692067 h 2066613"/>
                  <a:gd name="connsiteX653" fmla="*/ 1879032 w 2082217"/>
                  <a:gd name="connsiteY653" fmla="*/ 710518 h 2066613"/>
                  <a:gd name="connsiteX654" fmla="*/ 1887621 w 2082217"/>
                  <a:gd name="connsiteY654" fmla="*/ 720273 h 2066613"/>
                  <a:gd name="connsiteX655" fmla="*/ 1895971 w 2082217"/>
                  <a:gd name="connsiteY655" fmla="*/ 730246 h 2066613"/>
                  <a:gd name="connsiteX656" fmla="*/ 1903743 w 2082217"/>
                  <a:gd name="connsiteY656" fmla="*/ 740678 h 2066613"/>
                  <a:gd name="connsiteX657" fmla="*/ 1907589 w 2082217"/>
                  <a:gd name="connsiteY657" fmla="*/ 745924 h 2066613"/>
                  <a:gd name="connsiteX658" fmla="*/ 1911335 w 2082217"/>
                  <a:gd name="connsiteY658" fmla="*/ 751250 h 2066613"/>
                  <a:gd name="connsiteX659" fmla="*/ 1918350 w 2082217"/>
                  <a:gd name="connsiteY659" fmla="*/ 762221 h 2066613"/>
                  <a:gd name="connsiteX660" fmla="*/ 1921857 w 2082217"/>
                  <a:gd name="connsiteY660" fmla="*/ 767706 h 2066613"/>
                  <a:gd name="connsiteX661" fmla="*/ 1925066 w 2082217"/>
                  <a:gd name="connsiteY661" fmla="*/ 773371 h 2066613"/>
                  <a:gd name="connsiteX662" fmla="*/ 1932678 w 2082217"/>
                  <a:gd name="connsiteY662" fmla="*/ 787175 h 2066613"/>
                  <a:gd name="connsiteX663" fmla="*/ 1939454 w 2082217"/>
                  <a:gd name="connsiteY663" fmla="*/ 801417 h 2066613"/>
                  <a:gd name="connsiteX664" fmla="*/ 1942802 w 2082217"/>
                  <a:gd name="connsiteY664" fmla="*/ 808558 h 2066613"/>
                  <a:gd name="connsiteX665" fmla="*/ 1945691 w 2082217"/>
                  <a:gd name="connsiteY665" fmla="*/ 815898 h 2066613"/>
                  <a:gd name="connsiteX666" fmla="*/ 1951371 w 2082217"/>
                  <a:gd name="connsiteY666" fmla="*/ 830619 h 2066613"/>
                  <a:gd name="connsiteX667" fmla="*/ 1956133 w 2082217"/>
                  <a:gd name="connsiteY667" fmla="*/ 845659 h 2066613"/>
                  <a:gd name="connsiteX668" fmla="*/ 1958405 w 2082217"/>
                  <a:gd name="connsiteY668" fmla="*/ 853219 h 2066613"/>
                  <a:gd name="connsiteX669" fmla="*/ 1960278 w 2082217"/>
                  <a:gd name="connsiteY669" fmla="*/ 860879 h 2066613"/>
                  <a:gd name="connsiteX670" fmla="*/ 1962152 w 2082217"/>
                  <a:gd name="connsiteY670" fmla="*/ 868538 h 2066613"/>
                  <a:gd name="connsiteX671" fmla="*/ 1963865 w 2082217"/>
                  <a:gd name="connsiteY671" fmla="*/ 876238 h 2066613"/>
                  <a:gd name="connsiteX672" fmla="*/ 1966556 w 2082217"/>
                  <a:gd name="connsiteY672" fmla="*/ 891797 h 2066613"/>
                  <a:gd name="connsiteX673" fmla="*/ 1968528 w 2082217"/>
                  <a:gd name="connsiteY673" fmla="*/ 907435 h 2066613"/>
                  <a:gd name="connsiteX674" fmla="*/ 1969326 w 2082217"/>
                  <a:gd name="connsiteY674" fmla="*/ 915274 h 2066613"/>
                  <a:gd name="connsiteX675" fmla="*/ 1969923 w 2082217"/>
                  <a:gd name="connsiteY675" fmla="*/ 923133 h 2066613"/>
                  <a:gd name="connsiteX676" fmla="*/ 1970442 w 2082217"/>
                  <a:gd name="connsiteY676" fmla="*/ 954650 h 2066613"/>
                  <a:gd name="connsiteX677" fmla="*/ 1962729 w 2082217"/>
                  <a:gd name="connsiteY677" fmla="*/ 1017203 h 2066613"/>
                  <a:gd name="connsiteX678" fmla="*/ 1961036 w 2082217"/>
                  <a:gd name="connsiteY678" fmla="*/ 1024544 h 2066613"/>
                  <a:gd name="connsiteX679" fmla="*/ 1959182 w 2082217"/>
                  <a:gd name="connsiteY679" fmla="*/ 1031844 h 2066613"/>
                  <a:gd name="connsiteX680" fmla="*/ 1958365 w 2082217"/>
                  <a:gd name="connsiteY680" fmla="*/ 1034916 h 2066613"/>
                  <a:gd name="connsiteX681" fmla="*/ 1957708 w 2082217"/>
                  <a:gd name="connsiteY681" fmla="*/ 1037210 h 2066613"/>
                  <a:gd name="connsiteX682" fmla="*/ 1956333 w 2082217"/>
                  <a:gd name="connsiteY682" fmla="*/ 1041798 h 2066613"/>
                  <a:gd name="connsiteX683" fmla="*/ 1953523 w 2082217"/>
                  <a:gd name="connsiteY683" fmla="*/ 1050176 h 2066613"/>
                  <a:gd name="connsiteX684" fmla="*/ 1952766 w 2082217"/>
                  <a:gd name="connsiteY684" fmla="*/ 1052250 h 2066613"/>
                  <a:gd name="connsiteX685" fmla="*/ 1952387 w 2082217"/>
                  <a:gd name="connsiteY685" fmla="*/ 1053287 h 2066613"/>
                  <a:gd name="connsiteX686" fmla="*/ 1952606 w 2082217"/>
                  <a:gd name="connsiteY686" fmla="*/ 1053746 h 2066613"/>
                  <a:gd name="connsiteX687" fmla="*/ 1952965 w 2082217"/>
                  <a:gd name="connsiteY687" fmla="*/ 1054165 h 2066613"/>
                  <a:gd name="connsiteX688" fmla="*/ 1955874 w 2082217"/>
                  <a:gd name="connsiteY688" fmla="*/ 1057496 h 2066613"/>
                  <a:gd name="connsiteX689" fmla="*/ 1961673 w 2082217"/>
                  <a:gd name="connsiteY689" fmla="*/ 1064358 h 2066613"/>
                  <a:gd name="connsiteX690" fmla="*/ 1964563 w 2082217"/>
                  <a:gd name="connsiteY690" fmla="*/ 1067968 h 2066613"/>
                  <a:gd name="connsiteX691" fmla="*/ 1967831 w 2082217"/>
                  <a:gd name="connsiteY691" fmla="*/ 1072237 h 2066613"/>
                  <a:gd name="connsiteX692" fmla="*/ 1997703 w 2082217"/>
                  <a:gd name="connsiteY692" fmla="*/ 1118694 h 2066613"/>
                  <a:gd name="connsiteX693" fmla="*/ 2035247 w 2082217"/>
                  <a:gd name="connsiteY693" fmla="*/ 1222438 h 2066613"/>
                  <a:gd name="connsiteX694" fmla="*/ 2041823 w 2082217"/>
                  <a:gd name="connsiteY694" fmla="*/ 1284912 h 2066613"/>
                  <a:gd name="connsiteX695" fmla="*/ 2037738 w 2082217"/>
                  <a:gd name="connsiteY695" fmla="*/ 1347585 h 2066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</a:cxnLst>
                <a:rect l="l" t="t" r="r" b="b"/>
                <a:pathLst>
                  <a:path w="2082217" h="2066613">
                    <a:moveTo>
                      <a:pt x="2082217" y="1284054"/>
                    </a:moveTo>
                    <a:cubicBezTo>
                      <a:pt x="2081779" y="1260776"/>
                      <a:pt x="2079348" y="1237478"/>
                      <a:pt x="2074884" y="1214579"/>
                    </a:cubicBezTo>
                    <a:cubicBezTo>
                      <a:pt x="2066773" y="1174286"/>
                      <a:pt x="2052903" y="1135110"/>
                      <a:pt x="2033175" y="1099245"/>
                    </a:cubicBezTo>
                    <a:cubicBezTo>
                      <a:pt x="2023350" y="1081313"/>
                      <a:pt x="2012410" y="1063979"/>
                      <a:pt x="2000074" y="1047762"/>
                    </a:cubicBezTo>
                    <a:cubicBezTo>
                      <a:pt x="1997962" y="1044870"/>
                      <a:pt x="1998620" y="1045787"/>
                      <a:pt x="1998321" y="1045388"/>
                    </a:cubicBezTo>
                    <a:lnTo>
                      <a:pt x="1997922" y="1044910"/>
                    </a:lnTo>
                    <a:lnTo>
                      <a:pt x="1997623" y="1044551"/>
                    </a:lnTo>
                    <a:lnTo>
                      <a:pt x="1997703" y="1044271"/>
                    </a:lnTo>
                    <a:lnTo>
                      <a:pt x="1998241" y="1042237"/>
                    </a:lnTo>
                    <a:cubicBezTo>
                      <a:pt x="1998978" y="1039524"/>
                      <a:pt x="1999676" y="1036791"/>
                      <a:pt x="2000313" y="1034058"/>
                    </a:cubicBezTo>
                    <a:cubicBezTo>
                      <a:pt x="2000991" y="1031326"/>
                      <a:pt x="2001629" y="1028593"/>
                      <a:pt x="2002207" y="1025840"/>
                    </a:cubicBezTo>
                    <a:cubicBezTo>
                      <a:pt x="2007229" y="1002841"/>
                      <a:pt x="2010118" y="979364"/>
                      <a:pt x="2010835" y="955886"/>
                    </a:cubicBezTo>
                    <a:cubicBezTo>
                      <a:pt x="2011334" y="944157"/>
                      <a:pt x="2010636" y="932409"/>
                      <a:pt x="2010257" y="920680"/>
                    </a:cubicBezTo>
                    <a:cubicBezTo>
                      <a:pt x="2010218" y="917748"/>
                      <a:pt x="2009879" y="914815"/>
                      <a:pt x="2009580" y="911883"/>
                    </a:cubicBezTo>
                    <a:lnTo>
                      <a:pt x="2008683" y="903107"/>
                    </a:lnTo>
                    <a:cubicBezTo>
                      <a:pt x="2008026" y="897262"/>
                      <a:pt x="2007607" y="891398"/>
                      <a:pt x="2006471" y="885613"/>
                    </a:cubicBezTo>
                    <a:lnTo>
                      <a:pt x="2003442" y="868219"/>
                    </a:lnTo>
                    <a:cubicBezTo>
                      <a:pt x="2003004" y="865307"/>
                      <a:pt x="2002187" y="862475"/>
                      <a:pt x="2001529" y="859602"/>
                    </a:cubicBezTo>
                    <a:lnTo>
                      <a:pt x="1999437" y="851025"/>
                    </a:lnTo>
                    <a:lnTo>
                      <a:pt x="1997324" y="842448"/>
                    </a:lnTo>
                    <a:cubicBezTo>
                      <a:pt x="1996667" y="839575"/>
                      <a:pt x="1995630" y="836803"/>
                      <a:pt x="1994793" y="833990"/>
                    </a:cubicBezTo>
                    <a:lnTo>
                      <a:pt x="1989453" y="817155"/>
                    </a:lnTo>
                    <a:cubicBezTo>
                      <a:pt x="1987440" y="811630"/>
                      <a:pt x="1985228" y="806164"/>
                      <a:pt x="1983116" y="800699"/>
                    </a:cubicBezTo>
                    <a:lnTo>
                      <a:pt x="1979867" y="792501"/>
                    </a:lnTo>
                    <a:lnTo>
                      <a:pt x="1976141" y="784502"/>
                    </a:lnTo>
                    <a:cubicBezTo>
                      <a:pt x="1973630" y="779196"/>
                      <a:pt x="1971199" y="773830"/>
                      <a:pt x="1968548" y="768584"/>
                    </a:cubicBezTo>
                    <a:lnTo>
                      <a:pt x="1960059" y="753165"/>
                    </a:lnTo>
                    <a:cubicBezTo>
                      <a:pt x="1958863" y="751051"/>
                      <a:pt x="1957748" y="748896"/>
                      <a:pt x="1956472" y="746842"/>
                    </a:cubicBezTo>
                    <a:lnTo>
                      <a:pt x="1952566" y="740718"/>
                    </a:lnTo>
                    <a:lnTo>
                      <a:pt x="1944715" y="728491"/>
                    </a:lnTo>
                    <a:cubicBezTo>
                      <a:pt x="1943439" y="726416"/>
                      <a:pt x="1941965" y="724501"/>
                      <a:pt x="1940550" y="722546"/>
                    </a:cubicBezTo>
                    <a:lnTo>
                      <a:pt x="1936265" y="716682"/>
                    </a:lnTo>
                    <a:cubicBezTo>
                      <a:pt x="1933376" y="712812"/>
                      <a:pt x="1930586" y="708843"/>
                      <a:pt x="1927577" y="705053"/>
                    </a:cubicBezTo>
                    <a:lnTo>
                      <a:pt x="1918290" y="693923"/>
                    </a:lnTo>
                    <a:cubicBezTo>
                      <a:pt x="1915182" y="690212"/>
                      <a:pt x="1912113" y="686482"/>
                      <a:pt x="1908705" y="683051"/>
                    </a:cubicBezTo>
                    <a:cubicBezTo>
                      <a:pt x="1902029" y="676090"/>
                      <a:pt x="1895553" y="668889"/>
                      <a:pt x="1888319" y="662486"/>
                    </a:cubicBezTo>
                    <a:lnTo>
                      <a:pt x="1877677" y="652672"/>
                    </a:lnTo>
                    <a:cubicBezTo>
                      <a:pt x="1874030" y="649521"/>
                      <a:pt x="1870244" y="646529"/>
                      <a:pt x="1866518" y="643457"/>
                    </a:cubicBezTo>
                    <a:lnTo>
                      <a:pt x="1860898" y="638889"/>
                    </a:lnTo>
                    <a:cubicBezTo>
                      <a:pt x="1859025" y="637373"/>
                      <a:pt x="1857171" y="635837"/>
                      <a:pt x="1855179" y="634461"/>
                    </a:cubicBezTo>
                    <a:lnTo>
                      <a:pt x="1849878" y="630651"/>
                    </a:lnTo>
                    <a:lnTo>
                      <a:pt x="1849499" y="630411"/>
                    </a:lnTo>
                    <a:cubicBezTo>
                      <a:pt x="1849519" y="630292"/>
                      <a:pt x="1849539" y="630132"/>
                      <a:pt x="1849539" y="630012"/>
                    </a:cubicBezTo>
                    <a:lnTo>
                      <a:pt x="1849539" y="629913"/>
                    </a:lnTo>
                    <a:cubicBezTo>
                      <a:pt x="1849539" y="629913"/>
                      <a:pt x="1849539" y="629913"/>
                      <a:pt x="1849539" y="629813"/>
                    </a:cubicBezTo>
                    <a:lnTo>
                      <a:pt x="1849539" y="629434"/>
                    </a:lnTo>
                    <a:lnTo>
                      <a:pt x="1849659" y="627878"/>
                    </a:lnTo>
                    <a:lnTo>
                      <a:pt x="1850017" y="621675"/>
                    </a:lnTo>
                    <a:cubicBezTo>
                      <a:pt x="1850396" y="613417"/>
                      <a:pt x="1850535" y="605139"/>
                      <a:pt x="1850256" y="596881"/>
                    </a:cubicBezTo>
                    <a:cubicBezTo>
                      <a:pt x="1849738" y="573084"/>
                      <a:pt x="1846909" y="549267"/>
                      <a:pt x="1841668" y="525989"/>
                    </a:cubicBezTo>
                    <a:cubicBezTo>
                      <a:pt x="1836367" y="502711"/>
                      <a:pt x="1828774" y="479991"/>
                      <a:pt x="1819069" y="458289"/>
                    </a:cubicBezTo>
                    <a:cubicBezTo>
                      <a:pt x="1809424" y="436547"/>
                      <a:pt x="1797507" y="415882"/>
                      <a:pt x="1783857" y="396593"/>
                    </a:cubicBezTo>
                    <a:cubicBezTo>
                      <a:pt x="1770186" y="377304"/>
                      <a:pt x="1754842" y="359272"/>
                      <a:pt x="1737903" y="342955"/>
                    </a:cubicBezTo>
                    <a:cubicBezTo>
                      <a:pt x="1711877" y="317723"/>
                      <a:pt x="1682304" y="296459"/>
                      <a:pt x="1650579" y="279424"/>
                    </a:cubicBezTo>
                    <a:cubicBezTo>
                      <a:pt x="1646573" y="277370"/>
                      <a:pt x="1642628" y="275196"/>
                      <a:pt x="1638562" y="273241"/>
                    </a:cubicBezTo>
                    <a:lnTo>
                      <a:pt x="1626367" y="267476"/>
                    </a:lnTo>
                    <a:lnTo>
                      <a:pt x="1613971" y="262170"/>
                    </a:lnTo>
                    <a:cubicBezTo>
                      <a:pt x="1609886" y="260475"/>
                      <a:pt x="1605980" y="259078"/>
                      <a:pt x="1601975" y="257523"/>
                    </a:cubicBezTo>
                    <a:lnTo>
                      <a:pt x="1598726" y="256286"/>
                    </a:lnTo>
                    <a:lnTo>
                      <a:pt x="1598069" y="254630"/>
                    </a:lnTo>
                    <a:cubicBezTo>
                      <a:pt x="1596116" y="249863"/>
                      <a:pt x="1594223" y="245076"/>
                      <a:pt x="1592210" y="240328"/>
                    </a:cubicBezTo>
                    <a:cubicBezTo>
                      <a:pt x="1590118" y="235601"/>
                      <a:pt x="1588065" y="230873"/>
                      <a:pt x="1585893" y="226166"/>
                    </a:cubicBezTo>
                    <a:cubicBezTo>
                      <a:pt x="1583641" y="221498"/>
                      <a:pt x="1581449" y="216811"/>
                      <a:pt x="1579118" y="212183"/>
                    </a:cubicBezTo>
                    <a:cubicBezTo>
                      <a:pt x="1568934" y="192017"/>
                      <a:pt x="1557296" y="172409"/>
                      <a:pt x="1544124" y="153619"/>
                    </a:cubicBezTo>
                    <a:cubicBezTo>
                      <a:pt x="1530952" y="134849"/>
                      <a:pt x="1516225" y="116896"/>
                      <a:pt x="1499725" y="100261"/>
                    </a:cubicBezTo>
                    <a:lnTo>
                      <a:pt x="1493507" y="94057"/>
                    </a:lnTo>
                    <a:cubicBezTo>
                      <a:pt x="1491415" y="92003"/>
                      <a:pt x="1489223" y="90028"/>
                      <a:pt x="1487071" y="88033"/>
                    </a:cubicBezTo>
                    <a:cubicBezTo>
                      <a:pt x="1482806" y="83984"/>
                      <a:pt x="1478282" y="80154"/>
                      <a:pt x="1473799" y="76304"/>
                    </a:cubicBezTo>
                    <a:cubicBezTo>
                      <a:pt x="1469315" y="72435"/>
                      <a:pt x="1464532" y="68844"/>
                      <a:pt x="1459909" y="65154"/>
                    </a:cubicBezTo>
                    <a:lnTo>
                      <a:pt x="1452655" y="59868"/>
                    </a:lnTo>
                    <a:cubicBezTo>
                      <a:pt x="1450244" y="58113"/>
                      <a:pt x="1447833" y="56337"/>
                      <a:pt x="1445302" y="54702"/>
                    </a:cubicBezTo>
                    <a:cubicBezTo>
                      <a:pt x="1425414" y="41257"/>
                      <a:pt x="1403971" y="29469"/>
                      <a:pt x="1380974" y="20592"/>
                    </a:cubicBezTo>
                    <a:lnTo>
                      <a:pt x="1372346" y="17301"/>
                    </a:lnTo>
                    <a:lnTo>
                      <a:pt x="1363558" y="14369"/>
                    </a:lnTo>
                    <a:lnTo>
                      <a:pt x="1359153" y="12933"/>
                    </a:lnTo>
                    <a:lnTo>
                      <a:pt x="1354690" y="11656"/>
                    </a:lnTo>
                    <a:lnTo>
                      <a:pt x="1345722" y="9163"/>
                    </a:lnTo>
                    <a:cubicBezTo>
                      <a:pt x="1333646" y="6231"/>
                      <a:pt x="1321450" y="3677"/>
                      <a:pt x="1309035" y="2281"/>
                    </a:cubicBezTo>
                    <a:cubicBezTo>
                      <a:pt x="1302857" y="1403"/>
                      <a:pt x="1296640" y="1004"/>
                      <a:pt x="1290422" y="546"/>
                    </a:cubicBezTo>
                    <a:cubicBezTo>
                      <a:pt x="1287313" y="266"/>
                      <a:pt x="1284205" y="286"/>
                      <a:pt x="1281076" y="167"/>
                    </a:cubicBezTo>
                    <a:cubicBezTo>
                      <a:pt x="1278007" y="107"/>
                      <a:pt x="1274759" y="-33"/>
                      <a:pt x="1271829" y="7"/>
                    </a:cubicBezTo>
                    <a:lnTo>
                      <a:pt x="1254412" y="426"/>
                    </a:lnTo>
                    <a:cubicBezTo>
                      <a:pt x="1248593" y="685"/>
                      <a:pt x="1242735" y="1244"/>
                      <a:pt x="1236896" y="1663"/>
                    </a:cubicBezTo>
                    <a:cubicBezTo>
                      <a:pt x="1213481" y="3837"/>
                      <a:pt x="1189846" y="8185"/>
                      <a:pt x="1166610" y="15227"/>
                    </a:cubicBezTo>
                    <a:cubicBezTo>
                      <a:pt x="1143394" y="22268"/>
                      <a:pt x="1120577" y="31942"/>
                      <a:pt x="1099274" y="44509"/>
                    </a:cubicBezTo>
                    <a:cubicBezTo>
                      <a:pt x="1095547" y="46683"/>
                      <a:pt x="1091960" y="49097"/>
                      <a:pt x="1088293" y="51390"/>
                    </a:cubicBezTo>
                    <a:cubicBezTo>
                      <a:pt x="1084687" y="53764"/>
                      <a:pt x="1080940" y="55958"/>
                      <a:pt x="1077532" y="58591"/>
                    </a:cubicBezTo>
                    <a:cubicBezTo>
                      <a:pt x="1070617" y="63738"/>
                      <a:pt x="1063523" y="68704"/>
                      <a:pt x="1057126" y="74429"/>
                    </a:cubicBezTo>
                    <a:lnTo>
                      <a:pt x="1047342" y="82827"/>
                    </a:lnTo>
                    <a:lnTo>
                      <a:pt x="1042738" y="87295"/>
                    </a:lnTo>
                    <a:lnTo>
                      <a:pt x="1041582" y="88412"/>
                    </a:lnTo>
                    <a:cubicBezTo>
                      <a:pt x="1041303" y="88691"/>
                      <a:pt x="1041443" y="88552"/>
                      <a:pt x="1041383" y="88592"/>
                    </a:cubicBezTo>
                    <a:lnTo>
                      <a:pt x="1041323" y="88631"/>
                    </a:lnTo>
                    <a:cubicBezTo>
                      <a:pt x="1041323" y="88631"/>
                      <a:pt x="1041204" y="88751"/>
                      <a:pt x="1041144" y="88851"/>
                    </a:cubicBezTo>
                    <a:lnTo>
                      <a:pt x="1041104" y="88911"/>
                    </a:lnTo>
                    <a:lnTo>
                      <a:pt x="1041024" y="88771"/>
                    </a:lnTo>
                    <a:cubicBezTo>
                      <a:pt x="1041024" y="88771"/>
                      <a:pt x="1040925" y="88651"/>
                      <a:pt x="1040865" y="88612"/>
                    </a:cubicBezTo>
                    <a:lnTo>
                      <a:pt x="1040825" y="88572"/>
                    </a:lnTo>
                    <a:lnTo>
                      <a:pt x="1040387" y="88153"/>
                    </a:lnTo>
                    <a:lnTo>
                      <a:pt x="1039410" y="87195"/>
                    </a:lnTo>
                    <a:lnTo>
                      <a:pt x="1035465" y="83365"/>
                    </a:lnTo>
                    <a:cubicBezTo>
                      <a:pt x="1034149" y="82089"/>
                      <a:pt x="1032695" y="80932"/>
                      <a:pt x="1031320" y="79715"/>
                    </a:cubicBezTo>
                    <a:cubicBezTo>
                      <a:pt x="1020260" y="69961"/>
                      <a:pt x="1008522" y="60825"/>
                      <a:pt x="996067" y="52727"/>
                    </a:cubicBezTo>
                    <a:cubicBezTo>
                      <a:pt x="975442" y="39163"/>
                      <a:pt x="953162" y="27993"/>
                      <a:pt x="930126" y="19914"/>
                    </a:cubicBezTo>
                    <a:cubicBezTo>
                      <a:pt x="907109" y="11776"/>
                      <a:pt x="883494" y="6390"/>
                      <a:pt x="860039" y="3318"/>
                    </a:cubicBezTo>
                    <a:lnTo>
                      <a:pt x="851231" y="2201"/>
                    </a:lnTo>
                    <a:cubicBezTo>
                      <a:pt x="848302" y="1822"/>
                      <a:pt x="845392" y="1703"/>
                      <a:pt x="842463" y="1443"/>
                    </a:cubicBezTo>
                    <a:lnTo>
                      <a:pt x="833695" y="785"/>
                    </a:lnTo>
                    <a:lnTo>
                      <a:pt x="829311" y="486"/>
                    </a:lnTo>
                    <a:lnTo>
                      <a:pt x="824966" y="366"/>
                    </a:lnTo>
                    <a:lnTo>
                      <a:pt x="816258" y="147"/>
                    </a:lnTo>
                    <a:lnTo>
                      <a:pt x="811913" y="47"/>
                    </a:lnTo>
                    <a:cubicBezTo>
                      <a:pt x="810459" y="7"/>
                      <a:pt x="809044" y="-33"/>
                      <a:pt x="807430" y="47"/>
                    </a:cubicBezTo>
                    <a:cubicBezTo>
                      <a:pt x="801212" y="226"/>
                      <a:pt x="794975" y="226"/>
                      <a:pt x="788757" y="805"/>
                    </a:cubicBezTo>
                    <a:cubicBezTo>
                      <a:pt x="785648" y="1044"/>
                      <a:pt x="782540" y="1264"/>
                      <a:pt x="779431" y="1543"/>
                    </a:cubicBezTo>
                    <a:lnTo>
                      <a:pt x="770145" y="2700"/>
                    </a:lnTo>
                    <a:lnTo>
                      <a:pt x="765501" y="3298"/>
                    </a:lnTo>
                    <a:lnTo>
                      <a:pt x="760898" y="4096"/>
                    </a:lnTo>
                    <a:lnTo>
                      <a:pt x="751691" y="5732"/>
                    </a:lnTo>
                    <a:cubicBezTo>
                      <a:pt x="739535" y="8345"/>
                      <a:pt x="727439" y="11317"/>
                      <a:pt x="715761" y="15366"/>
                    </a:cubicBezTo>
                    <a:cubicBezTo>
                      <a:pt x="692266" y="23106"/>
                      <a:pt x="670107" y="33857"/>
                      <a:pt x="649561" y="46523"/>
                    </a:cubicBezTo>
                    <a:cubicBezTo>
                      <a:pt x="628936" y="59150"/>
                      <a:pt x="610203" y="73990"/>
                      <a:pt x="593006" y="90048"/>
                    </a:cubicBezTo>
                    <a:cubicBezTo>
                      <a:pt x="575788" y="106105"/>
                      <a:pt x="560384" y="123618"/>
                      <a:pt x="546554" y="142030"/>
                    </a:cubicBezTo>
                    <a:cubicBezTo>
                      <a:pt x="532704" y="160421"/>
                      <a:pt x="520428" y="179729"/>
                      <a:pt x="509627" y="199656"/>
                    </a:cubicBezTo>
                    <a:cubicBezTo>
                      <a:pt x="500660" y="216292"/>
                      <a:pt x="492708" y="233367"/>
                      <a:pt x="485734" y="250721"/>
                    </a:cubicBezTo>
                    <a:lnTo>
                      <a:pt x="483482" y="256306"/>
                    </a:lnTo>
                    <a:lnTo>
                      <a:pt x="476348" y="259019"/>
                    </a:lnTo>
                    <a:lnTo>
                      <a:pt x="471824" y="260754"/>
                    </a:lnTo>
                    <a:lnTo>
                      <a:pt x="469552" y="261632"/>
                    </a:lnTo>
                    <a:lnTo>
                      <a:pt x="467201" y="262629"/>
                    </a:lnTo>
                    <a:lnTo>
                      <a:pt x="457815" y="266638"/>
                    </a:lnTo>
                    <a:cubicBezTo>
                      <a:pt x="445400" y="272223"/>
                      <a:pt x="433184" y="278247"/>
                      <a:pt x="421386" y="285109"/>
                    </a:cubicBezTo>
                    <a:cubicBezTo>
                      <a:pt x="397672" y="298593"/>
                      <a:pt x="375493" y="314750"/>
                      <a:pt x="355027" y="332942"/>
                    </a:cubicBezTo>
                    <a:cubicBezTo>
                      <a:pt x="337510" y="348600"/>
                      <a:pt x="321488" y="365974"/>
                      <a:pt x="307080" y="384704"/>
                    </a:cubicBezTo>
                    <a:cubicBezTo>
                      <a:pt x="292692" y="403415"/>
                      <a:pt x="279998" y="423561"/>
                      <a:pt x="269476" y="444865"/>
                    </a:cubicBezTo>
                    <a:cubicBezTo>
                      <a:pt x="258914" y="466148"/>
                      <a:pt x="250365" y="488509"/>
                      <a:pt x="244108" y="511527"/>
                    </a:cubicBezTo>
                    <a:cubicBezTo>
                      <a:pt x="237930" y="534566"/>
                      <a:pt x="234084" y="558263"/>
                      <a:pt x="232570" y="582040"/>
                    </a:cubicBezTo>
                    <a:lnTo>
                      <a:pt x="232131" y="589181"/>
                    </a:lnTo>
                    <a:lnTo>
                      <a:pt x="231952" y="596322"/>
                    </a:lnTo>
                    <a:cubicBezTo>
                      <a:pt x="231852" y="601089"/>
                      <a:pt x="231713" y="605837"/>
                      <a:pt x="231832" y="610604"/>
                    </a:cubicBezTo>
                    <a:cubicBezTo>
                      <a:pt x="231912" y="615371"/>
                      <a:pt x="232071" y="620119"/>
                      <a:pt x="232350" y="624886"/>
                    </a:cubicBezTo>
                    <a:lnTo>
                      <a:pt x="232570" y="628457"/>
                    </a:lnTo>
                    <a:lnTo>
                      <a:pt x="232669" y="629973"/>
                    </a:lnTo>
                    <a:lnTo>
                      <a:pt x="232669" y="630212"/>
                    </a:lnTo>
                    <a:lnTo>
                      <a:pt x="232709" y="630491"/>
                    </a:lnTo>
                    <a:lnTo>
                      <a:pt x="232709" y="630491"/>
                    </a:lnTo>
                    <a:lnTo>
                      <a:pt x="232390" y="630711"/>
                    </a:lnTo>
                    <a:lnTo>
                      <a:pt x="232311" y="630770"/>
                    </a:lnTo>
                    <a:lnTo>
                      <a:pt x="231254" y="631528"/>
                    </a:lnTo>
                    <a:lnTo>
                      <a:pt x="229122" y="633064"/>
                    </a:lnTo>
                    <a:lnTo>
                      <a:pt x="224858" y="636136"/>
                    </a:lnTo>
                    <a:lnTo>
                      <a:pt x="220772" y="639427"/>
                    </a:lnTo>
                    <a:lnTo>
                      <a:pt x="212622" y="646070"/>
                    </a:lnTo>
                    <a:cubicBezTo>
                      <a:pt x="209932" y="648304"/>
                      <a:pt x="207162" y="650458"/>
                      <a:pt x="204551" y="652772"/>
                    </a:cubicBezTo>
                    <a:lnTo>
                      <a:pt x="196819" y="659893"/>
                    </a:lnTo>
                    <a:cubicBezTo>
                      <a:pt x="191678" y="664660"/>
                      <a:pt x="186457" y="669348"/>
                      <a:pt x="181734" y="674534"/>
                    </a:cubicBezTo>
                    <a:lnTo>
                      <a:pt x="174480" y="682154"/>
                    </a:lnTo>
                    <a:cubicBezTo>
                      <a:pt x="172089" y="684707"/>
                      <a:pt x="169598" y="687200"/>
                      <a:pt x="167405" y="689933"/>
                    </a:cubicBezTo>
                    <a:lnTo>
                      <a:pt x="153894" y="706090"/>
                    </a:lnTo>
                    <a:cubicBezTo>
                      <a:pt x="149670" y="711715"/>
                      <a:pt x="145525" y="717380"/>
                      <a:pt x="141380" y="723065"/>
                    </a:cubicBezTo>
                    <a:cubicBezTo>
                      <a:pt x="140363" y="724501"/>
                      <a:pt x="139267" y="725878"/>
                      <a:pt x="138331" y="727354"/>
                    </a:cubicBezTo>
                    <a:lnTo>
                      <a:pt x="135461" y="731782"/>
                    </a:lnTo>
                    <a:lnTo>
                      <a:pt x="129762" y="740678"/>
                    </a:lnTo>
                    <a:cubicBezTo>
                      <a:pt x="128187" y="743152"/>
                      <a:pt x="126593" y="745605"/>
                      <a:pt x="125079" y="748119"/>
                    </a:cubicBezTo>
                    <a:lnTo>
                      <a:pt x="120794" y="755818"/>
                    </a:lnTo>
                    <a:cubicBezTo>
                      <a:pt x="117984" y="760964"/>
                      <a:pt x="115035" y="766051"/>
                      <a:pt x="112404" y="771297"/>
                    </a:cubicBezTo>
                    <a:cubicBezTo>
                      <a:pt x="107422" y="781949"/>
                      <a:pt x="102122" y="792441"/>
                      <a:pt x="98096" y="803511"/>
                    </a:cubicBezTo>
                    <a:lnTo>
                      <a:pt x="94888" y="811729"/>
                    </a:lnTo>
                    <a:lnTo>
                      <a:pt x="93294" y="815839"/>
                    </a:lnTo>
                    <a:cubicBezTo>
                      <a:pt x="92795" y="817215"/>
                      <a:pt x="92377" y="818631"/>
                      <a:pt x="91919" y="820027"/>
                    </a:cubicBezTo>
                    <a:lnTo>
                      <a:pt x="86598" y="836863"/>
                    </a:lnTo>
                    <a:cubicBezTo>
                      <a:pt x="86179" y="838279"/>
                      <a:pt x="85701" y="839655"/>
                      <a:pt x="85303" y="841091"/>
                    </a:cubicBezTo>
                    <a:lnTo>
                      <a:pt x="84246" y="845380"/>
                    </a:lnTo>
                    <a:lnTo>
                      <a:pt x="82134" y="853957"/>
                    </a:lnTo>
                    <a:cubicBezTo>
                      <a:pt x="80799" y="859682"/>
                      <a:pt x="79205" y="865367"/>
                      <a:pt x="78328" y="871191"/>
                    </a:cubicBezTo>
                    <a:lnTo>
                      <a:pt x="75319" y="888605"/>
                    </a:lnTo>
                    <a:cubicBezTo>
                      <a:pt x="74761" y="891497"/>
                      <a:pt x="74561" y="894430"/>
                      <a:pt x="74223" y="897362"/>
                    </a:cubicBezTo>
                    <a:lnTo>
                      <a:pt x="73306" y="906138"/>
                    </a:lnTo>
                    <a:cubicBezTo>
                      <a:pt x="71791" y="917827"/>
                      <a:pt x="71791" y="929576"/>
                      <a:pt x="71333" y="941325"/>
                    </a:cubicBezTo>
                    <a:cubicBezTo>
                      <a:pt x="71054" y="964783"/>
                      <a:pt x="73107" y="988340"/>
                      <a:pt x="77212" y="1011518"/>
                    </a:cubicBezTo>
                    <a:cubicBezTo>
                      <a:pt x="78567" y="1019018"/>
                      <a:pt x="80101" y="1026499"/>
                      <a:pt x="81915" y="1033919"/>
                    </a:cubicBezTo>
                    <a:cubicBezTo>
                      <a:pt x="82752" y="1037529"/>
                      <a:pt x="83708" y="1041100"/>
                      <a:pt x="84665" y="1044670"/>
                    </a:cubicBezTo>
                    <a:lnTo>
                      <a:pt x="83987" y="1045528"/>
                    </a:lnTo>
                    <a:lnTo>
                      <a:pt x="83808" y="1045747"/>
                    </a:lnTo>
                    <a:lnTo>
                      <a:pt x="83728" y="1045847"/>
                    </a:lnTo>
                    <a:lnTo>
                      <a:pt x="82931" y="1046924"/>
                    </a:lnTo>
                    <a:lnTo>
                      <a:pt x="79464" y="1051672"/>
                    </a:lnTo>
                    <a:lnTo>
                      <a:pt x="72569" y="1061186"/>
                    </a:lnTo>
                    <a:lnTo>
                      <a:pt x="66072" y="1070980"/>
                    </a:lnTo>
                    <a:lnTo>
                      <a:pt x="62844" y="1075887"/>
                    </a:lnTo>
                    <a:cubicBezTo>
                      <a:pt x="61788" y="1077543"/>
                      <a:pt x="60811" y="1079238"/>
                      <a:pt x="59795" y="1080914"/>
                    </a:cubicBezTo>
                    <a:lnTo>
                      <a:pt x="53757" y="1091007"/>
                    </a:lnTo>
                    <a:cubicBezTo>
                      <a:pt x="51784" y="1094398"/>
                      <a:pt x="49970" y="1097889"/>
                      <a:pt x="48097" y="1101340"/>
                    </a:cubicBezTo>
                    <a:cubicBezTo>
                      <a:pt x="46264" y="1104810"/>
                      <a:pt x="44291" y="1108221"/>
                      <a:pt x="42637" y="1111792"/>
                    </a:cubicBezTo>
                    <a:cubicBezTo>
                      <a:pt x="39209" y="1118873"/>
                      <a:pt x="35702" y="1125914"/>
                      <a:pt x="32733" y="1133195"/>
                    </a:cubicBezTo>
                    <a:cubicBezTo>
                      <a:pt x="31218" y="1136825"/>
                      <a:pt x="29584" y="1140416"/>
                      <a:pt x="28169" y="1144086"/>
                    </a:cubicBezTo>
                    <a:lnTo>
                      <a:pt x="24024" y="1155157"/>
                    </a:lnTo>
                    <a:cubicBezTo>
                      <a:pt x="23347" y="1157012"/>
                      <a:pt x="22629" y="1158847"/>
                      <a:pt x="21992" y="1160702"/>
                    </a:cubicBezTo>
                    <a:lnTo>
                      <a:pt x="20178" y="1166327"/>
                    </a:lnTo>
                    <a:lnTo>
                      <a:pt x="16571" y="1177597"/>
                    </a:lnTo>
                    <a:cubicBezTo>
                      <a:pt x="15475" y="1181387"/>
                      <a:pt x="14479" y="1185197"/>
                      <a:pt x="13443" y="1189007"/>
                    </a:cubicBezTo>
                    <a:cubicBezTo>
                      <a:pt x="12426" y="1192817"/>
                      <a:pt x="11330" y="1196606"/>
                      <a:pt x="10553" y="1200476"/>
                    </a:cubicBezTo>
                    <a:cubicBezTo>
                      <a:pt x="5212" y="1223196"/>
                      <a:pt x="1825" y="1246394"/>
                      <a:pt x="609" y="1269672"/>
                    </a:cubicBezTo>
                    <a:cubicBezTo>
                      <a:pt x="-607" y="1292930"/>
                      <a:pt x="-49" y="1316268"/>
                      <a:pt x="2701" y="1339447"/>
                    </a:cubicBezTo>
                    <a:cubicBezTo>
                      <a:pt x="8261" y="1385764"/>
                      <a:pt x="21713" y="1431243"/>
                      <a:pt x="42677" y="1472772"/>
                    </a:cubicBezTo>
                    <a:cubicBezTo>
                      <a:pt x="53119" y="1493557"/>
                      <a:pt x="65215" y="1513444"/>
                      <a:pt x="78906" y="1532115"/>
                    </a:cubicBezTo>
                    <a:cubicBezTo>
                      <a:pt x="92636" y="1550765"/>
                      <a:pt x="107841" y="1568259"/>
                      <a:pt x="124301" y="1584396"/>
                    </a:cubicBezTo>
                    <a:cubicBezTo>
                      <a:pt x="140742" y="1600573"/>
                      <a:pt x="158557" y="1615274"/>
                      <a:pt x="177330" y="1628538"/>
                    </a:cubicBezTo>
                    <a:lnTo>
                      <a:pt x="184384" y="1633485"/>
                    </a:lnTo>
                    <a:lnTo>
                      <a:pt x="191598" y="1638193"/>
                    </a:lnTo>
                    <a:cubicBezTo>
                      <a:pt x="196381" y="1641384"/>
                      <a:pt x="201323" y="1644316"/>
                      <a:pt x="206225" y="1647288"/>
                    </a:cubicBezTo>
                    <a:cubicBezTo>
                      <a:pt x="208676" y="1648804"/>
                      <a:pt x="211167" y="1650221"/>
                      <a:pt x="213678" y="1651597"/>
                    </a:cubicBezTo>
                    <a:cubicBezTo>
                      <a:pt x="214575" y="1652096"/>
                      <a:pt x="214216" y="1651916"/>
                      <a:pt x="214356" y="1651996"/>
                    </a:cubicBezTo>
                    <a:cubicBezTo>
                      <a:pt x="214395" y="1652016"/>
                      <a:pt x="214435" y="1652036"/>
                      <a:pt x="214475" y="1652056"/>
                    </a:cubicBezTo>
                    <a:lnTo>
                      <a:pt x="214515" y="1652056"/>
                    </a:lnTo>
                    <a:lnTo>
                      <a:pt x="214555" y="1653691"/>
                    </a:lnTo>
                    <a:lnTo>
                      <a:pt x="214555" y="1653891"/>
                    </a:lnTo>
                    <a:lnTo>
                      <a:pt x="214615" y="1654609"/>
                    </a:lnTo>
                    <a:lnTo>
                      <a:pt x="214914" y="1658359"/>
                    </a:lnTo>
                    <a:lnTo>
                      <a:pt x="215511" y="1665839"/>
                    </a:lnTo>
                    <a:cubicBezTo>
                      <a:pt x="216129" y="1675833"/>
                      <a:pt x="217664" y="1685746"/>
                      <a:pt x="219019" y="1695680"/>
                    </a:cubicBezTo>
                    <a:cubicBezTo>
                      <a:pt x="222347" y="1715427"/>
                      <a:pt x="226512" y="1735095"/>
                      <a:pt x="232689" y="1754144"/>
                    </a:cubicBezTo>
                    <a:lnTo>
                      <a:pt x="234881" y="1761325"/>
                    </a:lnTo>
                    <a:cubicBezTo>
                      <a:pt x="235659" y="1763699"/>
                      <a:pt x="236555" y="1766033"/>
                      <a:pt x="237392" y="1768387"/>
                    </a:cubicBezTo>
                    <a:lnTo>
                      <a:pt x="242514" y="1782489"/>
                    </a:lnTo>
                    <a:lnTo>
                      <a:pt x="248333" y="1796292"/>
                    </a:lnTo>
                    <a:cubicBezTo>
                      <a:pt x="249329" y="1798586"/>
                      <a:pt x="250246" y="1800920"/>
                      <a:pt x="251302" y="1803174"/>
                    </a:cubicBezTo>
                    <a:lnTo>
                      <a:pt x="254550" y="1809916"/>
                    </a:lnTo>
                    <a:cubicBezTo>
                      <a:pt x="262960" y="1828028"/>
                      <a:pt x="273123" y="1845222"/>
                      <a:pt x="283944" y="1861858"/>
                    </a:cubicBezTo>
                    <a:lnTo>
                      <a:pt x="293728" y="1876100"/>
                    </a:lnTo>
                    <a:lnTo>
                      <a:pt x="304151" y="1889844"/>
                    </a:lnTo>
                    <a:lnTo>
                      <a:pt x="306761" y="1893275"/>
                    </a:lnTo>
                    <a:lnTo>
                      <a:pt x="309511" y="1896586"/>
                    </a:lnTo>
                    <a:lnTo>
                      <a:pt x="315051" y="1903168"/>
                    </a:lnTo>
                    <a:lnTo>
                      <a:pt x="320611" y="1909751"/>
                    </a:lnTo>
                    <a:lnTo>
                      <a:pt x="326430" y="1916074"/>
                    </a:lnTo>
                    <a:lnTo>
                      <a:pt x="332269" y="1922377"/>
                    </a:lnTo>
                    <a:lnTo>
                      <a:pt x="335198" y="1925529"/>
                    </a:lnTo>
                    <a:lnTo>
                      <a:pt x="338247" y="1928541"/>
                    </a:lnTo>
                    <a:lnTo>
                      <a:pt x="350503" y="1940549"/>
                    </a:lnTo>
                    <a:lnTo>
                      <a:pt x="363297" y="1951959"/>
                    </a:lnTo>
                    <a:lnTo>
                      <a:pt x="366505" y="1954791"/>
                    </a:lnTo>
                    <a:lnTo>
                      <a:pt x="369813" y="1957504"/>
                    </a:lnTo>
                    <a:lnTo>
                      <a:pt x="376469" y="1962890"/>
                    </a:lnTo>
                    <a:cubicBezTo>
                      <a:pt x="412000" y="1991553"/>
                      <a:pt x="451816" y="2014512"/>
                      <a:pt x="493844" y="2031587"/>
                    </a:cubicBezTo>
                    <a:cubicBezTo>
                      <a:pt x="514928" y="2039945"/>
                      <a:pt x="536490" y="2047106"/>
                      <a:pt x="558490" y="2052491"/>
                    </a:cubicBezTo>
                    <a:cubicBezTo>
                      <a:pt x="563971" y="2053928"/>
                      <a:pt x="569530" y="2054965"/>
                      <a:pt x="575050" y="2056202"/>
                    </a:cubicBezTo>
                    <a:lnTo>
                      <a:pt x="583341" y="2057977"/>
                    </a:lnTo>
                    <a:lnTo>
                      <a:pt x="591710" y="2059393"/>
                    </a:lnTo>
                    <a:cubicBezTo>
                      <a:pt x="597290" y="2060271"/>
                      <a:pt x="602850" y="2061368"/>
                      <a:pt x="608450" y="2062046"/>
                    </a:cubicBezTo>
                    <a:lnTo>
                      <a:pt x="625269" y="2064041"/>
                    </a:lnTo>
                    <a:cubicBezTo>
                      <a:pt x="628079" y="2064420"/>
                      <a:pt x="630888" y="2064619"/>
                      <a:pt x="633698" y="2064799"/>
                    </a:cubicBezTo>
                    <a:lnTo>
                      <a:pt x="642148" y="2065397"/>
                    </a:lnTo>
                    <a:lnTo>
                      <a:pt x="650597" y="2065976"/>
                    </a:lnTo>
                    <a:cubicBezTo>
                      <a:pt x="653407" y="2066155"/>
                      <a:pt x="656237" y="2066155"/>
                      <a:pt x="659047" y="2066255"/>
                    </a:cubicBezTo>
                    <a:lnTo>
                      <a:pt x="675925" y="2066614"/>
                    </a:lnTo>
                    <a:lnTo>
                      <a:pt x="692286" y="2066394"/>
                    </a:lnTo>
                    <a:cubicBezTo>
                      <a:pt x="714127" y="2065836"/>
                      <a:pt x="736048" y="2064160"/>
                      <a:pt x="757949" y="2061208"/>
                    </a:cubicBezTo>
                    <a:cubicBezTo>
                      <a:pt x="801710" y="2055324"/>
                      <a:pt x="845472" y="2044373"/>
                      <a:pt x="887540" y="2027019"/>
                    </a:cubicBezTo>
                    <a:cubicBezTo>
                      <a:pt x="908564" y="2018342"/>
                      <a:pt x="929149" y="2008049"/>
                      <a:pt x="948918" y="1996041"/>
                    </a:cubicBezTo>
                    <a:cubicBezTo>
                      <a:pt x="968686" y="1984013"/>
                      <a:pt x="987558" y="1970150"/>
                      <a:pt x="1005194" y="1954652"/>
                    </a:cubicBezTo>
                    <a:cubicBezTo>
                      <a:pt x="1008462" y="1951799"/>
                      <a:pt x="1011730" y="1948927"/>
                      <a:pt x="1014839" y="1945875"/>
                    </a:cubicBezTo>
                    <a:cubicBezTo>
                      <a:pt x="1017968" y="1942843"/>
                      <a:pt x="1021196" y="1939931"/>
                      <a:pt x="1024205" y="1936759"/>
                    </a:cubicBezTo>
                    <a:lnTo>
                      <a:pt x="1033272" y="1927324"/>
                    </a:lnTo>
                    <a:lnTo>
                      <a:pt x="1041084" y="1918527"/>
                    </a:lnTo>
                    <a:cubicBezTo>
                      <a:pt x="1045050" y="1922976"/>
                      <a:pt x="1048936" y="1927524"/>
                      <a:pt x="1053121" y="1931732"/>
                    </a:cubicBezTo>
                    <a:lnTo>
                      <a:pt x="1059518" y="1938335"/>
                    </a:lnTo>
                    <a:cubicBezTo>
                      <a:pt x="1061690" y="1940489"/>
                      <a:pt x="1063922" y="1942583"/>
                      <a:pt x="1066134" y="1944698"/>
                    </a:cubicBezTo>
                    <a:cubicBezTo>
                      <a:pt x="1083192" y="1960895"/>
                      <a:pt x="1101585" y="1975536"/>
                      <a:pt x="1121015" y="1988242"/>
                    </a:cubicBezTo>
                    <a:cubicBezTo>
                      <a:pt x="1140425" y="2000988"/>
                      <a:pt x="1160731" y="2011999"/>
                      <a:pt x="1181536" y="2021354"/>
                    </a:cubicBezTo>
                    <a:cubicBezTo>
                      <a:pt x="1223205" y="2040084"/>
                      <a:pt x="1266807" y="2052272"/>
                      <a:pt x="1310529" y="2059174"/>
                    </a:cubicBezTo>
                    <a:cubicBezTo>
                      <a:pt x="1332410" y="2062644"/>
                      <a:pt x="1354331" y="2064819"/>
                      <a:pt x="1376212" y="2065856"/>
                    </a:cubicBezTo>
                    <a:cubicBezTo>
                      <a:pt x="1381672" y="2066035"/>
                      <a:pt x="1387152" y="2066334"/>
                      <a:pt x="1392612" y="2066414"/>
                    </a:cubicBezTo>
                    <a:cubicBezTo>
                      <a:pt x="1398092" y="2066454"/>
                      <a:pt x="1403453" y="2066634"/>
                      <a:pt x="1409053" y="2066554"/>
                    </a:cubicBezTo>
                    <a:lnTo>
                      <a:pt x="1425952" y="2066155"/>
                    </a:lnTo>
                    <a:lnTo>
                      <a:pt x="1430176" y="2066035"/>
                    </a:lnTo>
                    <a:lnTo>
                      <a:pt x="1434401" y="2065756"/>
                    </a:lnTo>
                    <a:lnTo>
                      <a:pt x="1442851" y="2065158"/>
                    </a:lnTo>
                    <a:cubicBezTo>
                      <a:pt x="1454130" y="2064559"/>
                      <a:pt x="1465309" y="2062944"/>
                      <a:pt x="1476529" y="2061647"/>
                    </a:cubicBezTo>
                    <a:cubicBezTo>
                      <a:pt x="1487668" y="2059772"/>
                      <a:pt x="1498868" y="2058156"/>
                      <a:pt x="1509908" y="2055563"/>
                    </a:cubicBezTo>
                    <a:cubicBezTo>
                      <a:pt x="1521008" y="2053389"/>
                      <a:pt x="1531908" y="2050257"/>
                      <a:pt x="1542849" y="2047365"/>
                    </a:cubicBezTo>
                    <a:cubicBezTo>
                      <a:pt x="1553650" y="2043934"/>
                      <a:pt x="1564530" y="2040743"/>
                      <a:pt x="1575112" y="2036614"/>
                    </a:cubicBezTo>
                    <a:cubicBezTo>
                      <a:pt x="1580433" y="2034659"/>
                      <a:pt x="1585773" y="2032744"/>
                      <a:pt x="1590975" y="2030450"/>
                    </a:cubicBezTo>
                    <a:cubicBezTo>
                      <a:pt x="1596196" y="2028236"/>
                      <a:pt x="1601457" y="2026082"/>
                      <a:pt x="1606618" y="2023768"/>
                    </a:cubicBezTo>
                    <a:lnTo>
                      <a:pt x="1621982" y="2016427"/>
                    </a:lnTo>
                    <a:cubicBezTo>
                      <a:pt x="1624553" y="2015230"/>
                      <a:pt x="1627064" y="2013894"/>
                      <a:pt x="1629575" y="2012558"/>
                    </a:cubicBezTo>
                    <a:lnTo>
                      <a:pt x="1637088" y="2008528"/>
                    </a:lnTo>
                    <a:cubicBezTo>
                      <a:pt x="1657016" y="1997597"/>
                      <a:pt x="1676366" y="1985509"/>
                      <a:pt x="1694480" y="1971646"/>
                    </a:cubicBezTo>
                    <a:cubicBezTo>
                      <a:pt x="1712634" y="1957863"/>
                      <a:pt x="1729952" y="1942863"/>
                      <a:pt x="1745974" y="1926526"/>
                    </a:cubicBezTo>
                    <a:cubicBezTo>
                      <a:pt x="1761916" y="1910090"/>
                      <a:pt x="1776703" y="1892457"/>
                      <a:pt x="1790114" y="1873766"/>
                    </a:cubicBezTo>
                    <a:lnTo>
                      <a:pt x="1799042" y="1860741"/>
                    </a:lnTo>
                    <a:cubicBezTo>
                      <a:pt x="1801991" y="1856373"/>
                      <a:pt x="1804641" y="1851805"/>
                      <a:pt x="1807431" y="1847337"/>
                    </a:cubicBezTo>
                    <a:lnTo>
                      <a:pt x="1811557" y="1840595"/>
                    </a:lnTo>
                    <a:lnTo>
                      <a:pt x="1815383" y="1833653"/>
                    </a:lnTo>
                    <a:cubicBezTo>
                      <a:pt x="1817894" y="1829005"/>
                      <a:pt x="1820544" y="1824438"/>
                      <a:pt x="1822895" y="1819690"/>
                    </a:cubicBezTo>
                    <a:cubicBezTo>
                      <a:pt x="1832501" y="1800840"/>
                      <a:pt x="1840532" y="1781173"/>
                      <a:pt x="1847367" y="1761086"/>
                    </a:cubicBezTo>
                    <a:cubicBezTo>
                      <a:pt x="1853923" y="1740880"/>
                      <a:pt x="1859005" y="1720215"/>
                      <a:pt x="1862612" y="1699270"/>
                    </a:cubicBezTo>
                    <a:cubicBezTo>
                      <a:pt x="1863429" y="1694024"/>
                      <a:pt x="1864106" y="1688758"/>
                      <a:pt x="1864824" y="1683492"/>
                    </a:cubicBezTo>
                    <a:cubicBezTo>
                      <a:pt x="1865162" y="1680859"/>
                      <a:pt x="1865561" y="1678226"/>
                      <a:pt x="1865840" y="1675593"/>
                    </a:cubicBezTo>
                    <a:lnTo>
                      <a:pt x="1866498" y="1667654"/>
                    </a:lnTo>
                    <a:lnTo>
                      <a:pt x="1867594" y="1653811"/>
                    </a:lnTo>
                    <a:lnTo>
                      <a:pt x="1867634" y="1652096"/>
                    </a:lnTo>
                    <a:cubicBezTo>
                      <a:pt x="1867634" y="1652096"/>
                      <a:pt x="1867793" y="1652056"/>
                      <a:pt x="1867833" y="1652016"/>
                    </a:cubicBezTo>
                    <a:lnTo>
                      <a:pt x="1867853" y="1652016"/>
                    </a:lnTo>
                    <a:cubicBezTo>
                      <a:pt x="1867853" y="1652016"/>
                      <a:pt x="1867833" y="1652016"/>
                      <a:pt x="1867913" y="1651956"/>
                    </a:cubicBezTo>
                    <a:lnTo>
                      <a:pt x="1868152" y="1651816"/>
                    </a:lnTo>
                    <a:lnTo>
                      <a:pt x="1869088" y="1651298"/>
                    </a:lnTo>
                    <a:lnTo>
                      <a:pt x="1870962" y="1650241"/>
                    </a:lnTo>
                    <a:cubicBezTo>
                      <a:pt x="1873472" y="1648864"/>
                      <a:pt x="1875904" y="1647308"/>
                      <a:pt x="1878375" y="1645852"/>
                    </a:cubicBezTo>
                    <a:lnTo>
                      <a:pt x="1885728" y="1641384"/>
                    </a:lnTo>
                    <a:lnTo>
                      <a:pt x="1892942" y="1636677"/>
                    </a:lnTo>
                    <a:cubicBezTo>
                      <a:pt x="1912152" y="1624050"/>
                      <a:pt x="1930426" y="1609948"/>
                      <a:pt x="1947385" y="1594349"/>
                    </a:cubicBezTo>
                    <a:cubicBezTo>
                      <a:pt x="1964364" y="1578771"/>
                      <a:pt x="1980166" y="1561836"/>
                      <a:pt x="1994515" y="1543684"/>
                    </a:cubicBezTo>
                    <a:cubicBezTo>
                      <a:pt x="2008823" y="1525492"/>
                      <a:pt x="2021616" y="1506064"/>
                      <a:pt x="2032776" y="1485678"/>
                    </a:cubicBezTo>
                    <a:cubicBezTo>
                      <a:pt x="2055175" y="1444966"/>
                      <a:pt x="2070280" y="1400026"/>
                      <a:pt x="2077534" y="1353928"/>
                    </a:cubicBezTo>
                    <a:cubicBezTo>
                      <a:pt x="2081041" y="1330850"/>
                      <a:pt x="2082596" y="1307512"/>
                      <a:pt x="2082078" y="1284253"/>
                    </a:cubicBezTo>
                    <a:close/>
                    <a:moveTo>
                      <a:pt x="1997623" y="1044531"/>
                    </a:moveTo>
                    <a:lnTo>
                      <a:pt x="1997623" y="1044531"/>
                    </a:lnTo>
                    <a:cubicBezTo>
                      <a:pt x="1997623" y="1044531"/>
                      <a:pt x="1997623" y="1044531"/>
                      <a:pt x="1997623" y="1044531"/>
                    </a:cubicBezTo>
                    <a:close/>
                    <a:moveTo>
                      <a:pt x="2037619" y="1347525"/>
                    </a:moveTo>
                    <a:cubicBezTo>
                      <a:pt x="2031082" y="1388955"/>
                      <a:pt x="2017531" y="1429328"/>
                      <a:pt x="1997344" y="1466010"/>
                    </a:cubicBezTo>
                    <a:cubicBezTo>
                      <a:pt x="1987301" y="1484382"/>
                      <a:pt x="1975742" y="1501915"/>
                      <a:pt x="1962829" y="1518351"/>
                    </a:cubicBezTo>
                    <a:cubicBezTo>
                      <a:pt x="1949856" y="1534748"/>
                      <a:pt x="1935588" y="1550067"/>
                      <a:pt x="1920203" y="1564189"/>
                    </a:cubicBezTo>
                    <a:cubicBezTo>
                      <a:pt x="1904839" y="1578332"/>
                      <a:pt x="1888279" y="1591118"/>
                      <a:pt x="1870862" y="1602567"/>
                    </a:cubicBezTo>
                    <a:lnTo>
                      <a:pt x="1864306" y="1606836"/>
                    </a:lnTo>
                    <a:lnTo>
                      <a:pt x="1857630" y="1610885"/>
                    </a:lnTo>
                    <a:cubicBezTo>
                      <a:pt x="1855378" y="1612202"/>
                      <a:pt x="1853206" y="1613638"/>
                      <a:pt x="1850914" y="1614875"/>
                    </a:cubicBezTo>
                    <a:lnTo>
                      <a:pt x="1845454" y="1617927"/>
                    </a:lnTo>
                    <a:cubicBezTo>
                      <a:pt x="1842564" y="1619602"/>
                      <a:pt x="1839535" y="1621038"/>
                      <a:pt x="1836586" y="1622594"/>
                    </a:cubicBezTo>
                    <a:cubicBezTo>
                      <a:pt x="1833597" y="1624090"/>
                      <a:pt x="1830568" y="1625466"/>
                      <a:pt x="1827539" y="1626923"/>
                    </a:cubicBezTo>
                    <a:cubicBezTo>
                      <a:pt x="1827280" y="1631371"/>
                      <a:pt x="1827778" y="1636018"/>
                      <a:pt x="1827559" y="1640546"/>
                    </a:cubicBezTo>
                    <a:lnTo>
                      <a:pt x="1827299" y="1650281"/>
                    </a:lnTo>
                    <a:lnTo>
                      <a:pt x="1827260" y="1651497"/>
                    </a:lnTo>
                    <a:lnTo>
                      <a:pt x="1827140" y="1653213"/>
                    </a:lnTo>
                    <a:lnTo>
                      <a:pt x="1826861" y="1656783"/>
                    </a:lnTo>
                    <a:lnTo>
                      <a:pt x="1826283" y="1663944"/>
                    </a:lnTo>
                    <a:lnTo>
                      <a:pt x="1825685" y="1671105"/>
                    </a:lnTo>
                    <a:cubicBezTo>
                      <a:pt x="1825426" y="1673479"/>
                      <a:pt x="1825068" y="1675853"/>
                      <a:pt x="1824769" y="1678226"/>
                    </a:cubicBezTo>
                    <a:cubicBezTo>
                      <a:pt x="1824111" y="1682974"/>
                      <a:pt x="1823513" y="1687721"/>
                      <a:pt x="1822776" y="1692448"/>
                    </a:cubicBezTo>
                    <a:cubicBezTo>
                      <a:pt x="1819508" y="1711318"/>
                      <a:pt x="1814924" y="1729949"/>
                      <a:pt x="1809026" y="1748180"/>
                    </a:cubicBezTo>
                    <a:cubicBezTo>
                      <a:pt x="1802828" y="1766292"/>
                      <a:pt x="1795594" y="1784045"/>
                      <a:pt x="1786926" y="1801100"/>
                    </a:cubicBezTo>
                    <a:cubicBezTo>
                      <a:pt x="1784793" y="1805388"/>
                      <a:pt x="1782382" y="1809517"/>
                      <a:pt x="1780130" y="1813726"/>
                    </a:cubicBezTo>
                    <a:lnTo>
                      <a:pt x="1776683" y="1820009"/>
                    </a:lnTo>
                    <a:lnTo>
                      <a:pt x="1772936" y="1826113"/>
                    </a:lnTo>
                    <a:cubicBezTo>
                      <a:pt x="1770405" y="1830162"/>
                      <a:pt x="1768014" y="1834311"/>
                      <a:pt x="1765344" y="1838261"/>
                    </a:cubicBezTo>
                    <a:lnTo>
                      <a:pt x="1757253" y="1850070"/>
                    </a:lnTo>
                    <a:cubicBezTo>
                      <a:pt x="1745097" y="1867024"/>
                      <a:pt x="1731666" y="1883022"/>
                      <a:pt x="1717178" y="1897982"/>
                    </a:cubicBezTo>
                    <a:cubicBezTo>
                      <a:pt x="1702591" y="1912863"/>
                      <a:pt x="1686828" y="1926506"/>
                      <a:pt x="1670268" y="1939073"/>
                    </a:cubicBezTo>
                    <a:cubicBezTo>
                      <a:pt x="1653748" y="1951719"/>
                      <a:pt x="1636071" y="1962750"/>
                      <a:pt x="1617877" y="1972743"/>
                    </a:cubicBezTo>
                    <a:lnTo>
                      <a:pt x="1611022" y="1976434"/>
                    </a:lnTo>
                    <a:cubicBezTo>
                      <a:pt x="1608750" y="1977670"/>
                      <a:pt x="1606459" y="1978907"/>
                      <a:pt x="1604087" y="1979984"/>
                    </a:cubicBezTo>
                    <a:lnTo>
                      <a:pt x="1590038" y="1986706"/>
                    </a:lnTo>
                    <a:cubicBezTo>
                      <a:pt x="1585295" y="1988821"/>
                      <a:pt x="1580493" y="1990775"/>
                      <a:pt x="1575730" y="1992810"/>
                    </a:cubicBezTo>
                    <a:cubicBezTo>
                      <a:pt x="1570987" y="1994924"/>
                      <a:pt x="1566085" y="1996660"/>
                      <a:pt x="1561222" y="1998435"/>
                    </a:cubicBezTo>
                    <a:cubicBezTo>
                      <a:pt x="1551557" y="2002205"/>
                      <a:pt x="1541593" y="2005117"/>
                      <a:pt x="1531709" y="2008269"/>
                    </a:cubicBezTo>
                    <a:cubicBezTo>
                      <a:pt x="1521685" y="2010902"/>
                      <a:pt x="1511701" y="2013794"/>
                      <a:pt x="1501538" y="2015769"/>
                    </a:cubicBezTo>
                    <a:cubicBezTo>
                      <a:pt x="1491435" y="2018163"/>
                      <a:pt x="1481172" y="2019599"/>
                      <a:pt x="1470969" y="2021354"/>
                    </a:cubicBezTo>
                    <a:cubicBezTo>
                      <a:pt x="1460686" y="2022531"/>
                      <a:pt x="1450423" y="2024047"/>
                      <a:pt x="1440061" y="2024566"/>
                    </a:cubicBezTo>
                    <a:lnTo>
                      <a:pt x="1432309" y="2025104"/>
                    </a:lnTo>
                    <a:lnTo>
                      <a:pt x="1428443" y="2025363"/>
                    </a:lnTo>
                    <a:lnTo>
                      <a:pt x="1424557" y="2025463"/>
                    </a:lnTo>
                    <a:lnTo>
                      <a:pt x="1409033" y="2025822"/>
                    </a:lnTo>
                    <a:cubicBezTo>
                      <a:pt x="1403872" y="2025902"/>
                      <a:pt x="1398790" y="2025742"/>
                      <a:pt x="1393649" y="2025703"/>
                    </a:cubicBezTo>
                    <a:cubicBezTo>
                      <a:pt x="1388527" y="2025623"/>
                      <a:pt x="1383406" y="2025344"/>
                      <a:pt x="1378304" y="2025164"/>
                    </a:cubicBezTo>
                    <a:cubicBezTo>
                      <a:pt x="1357838" y="2024187"/>
                      <a:pt x="1337372" y="2022152"/>
                      <a:pt x="1317046" y="2018941"/>
                    </a:cubicBezTo>
                    <a:cubicBezTo>
                      <a:pt x="1276413" y="2012538"/>
                      <a:pt x="1236258" y="2001268"/>
                      <a:pt x="1198315" y="1984193"/>
                    </a:cubicBezTo>
                    <a:cubicBezTo>
                      <a:pt x="1179344" y="1975656"/>
                      <a:pt x="1160951" y="1965682"/>
                      <a:pt x="1143454" y="1954193"/>
                    </a:cubicBezTo>
                    <a:cubicBezTo>
                      <a:pt x="1125937" y="1942743"/>
                      <a:pt x="1109457" y="1929598"/>
                      <a:pt x="1094212" y="1915137"/>
                    </a:cubicBezTo>
                    <a:cubicBezTo>
                      <a:pt x="1092239" y="1913242"/>
                      <a:pt x="1090246" y="1911367"/>
                      <a:pt x="1088293" y="1909452"/>
                    </a:cubicBezTo>
                    <a:lnTo>
                      <a:pt x="1082594" y="1903547"/>
                    </a:lnTo>
                    <a:cubicBezTo>
                      <a:pt x="1078728" y="1899678"/>
                      <a:pt x="1075201" y="1895469"/>
                      <a:pt x="1071534" y="1891400"/>
                    </a:cubicBezTo>
                    <a:lnTo>
                      <a:pt x="1070777" y="1890562"/>
                    </a:lnTo>
                    <a:lnTo>
                      <a:pt x="1069940" y="1889565"/>
                    </a:lnTo>
                    <a:lnTo>
                      <a:pt x="1068286" y="1887550"/>
                    </a:lnTo>
                    <a:lnTo>
                      <a:pt x="1064998" y="1883501"/>
                    </a:lnTo>
                    <a:cubicBezTo>
                      <a:pt x="1062945" y="1880708"/>
                      <a:pt x="1060773" y="1877975"/>
                      <a:pt x="1058800" y="1875123"/>
                    </a:cubicBezTo>
                    <a:cubicBezTo>
                      <a:pt x="1053041" y="1867084"/>
                      <a:pt x="1047999" y="1858547"/>
                      <a:pt x="1043476" y="1849750"/>
                    </a:cubicBezTo>
                    <a:lnTo>
                      <a:pt x="1041782" y="1846459"/>
                    </a:lnTo>
                    <a:lnTo>
                      <a:pt x="1041563" y="1846040"/>
                    </a:lnTo>
                    <a:cubicBezTo>
                      <a:pt x="1041503" y="1845901"/>
                      <a:pt x="1041423" y="1845721"/>
                      <a:pt x="1041244" y="1845741"/>
                    </a:cubicBezTo>
                    <a:cubicBezTo>
                      <a:pt x="1041064" y="1845741"/>
                      <a:pt x="1041004" y="1845921"/>
                      <a:pt x="1040945" y="1846040"/>
                    </a:cubicBezTo>
                    <a:lnTo>
                      <a:pt x="1040726" y="1846459"/>
                    </a:lnTo>
                    <a:lnTo>
                      <a:pt x="1039869" y="1848115"/>
                    </a:lnTo>
                    <a:cubicBezTo>
                      <a:pt x="1038713" y="1850309"/>
                      <a:pt x="1037637" y="1852523"/>
                      <a:pt x="1036441" y="1854697"/>
                    </a:cubicBezTo>
                    <a:lnTo>
                      <a:pt x="1032774" y="1861140"/>
                    </a:lnTo>
                    <a:cubicBezTo>
                      <a:pt x="1031519" y="1863274"/>
                      <a:pt x="1030164" y="1865329"/>
                      <a:pt x="1028868" y="1867443"/>
                    </a:cubicBezTo>
                    <a:cubicBezTo>
                      <a:pt x="1023508" y="1875761"/>
                      <a:pt x="1017589" y="1883700"/>
                      <a:pt x="1011153" y="1891220"/>
                    </a:cubicBezTo>
                    <a:lnTo>
                      <a:pt x="1003680" y="1899618"/>
                    </a:lnTo>
                    <a:lnTo>
                      <a:pt x="995589" y="1908035"/>
                    </a:lnTo>
                    <a:cubicBezTo>
                      <a:pt x="992919" y="1910868"/>
                      <a:pt x="990009" y="1913461"/>
                      <a:pt x="987219" y="1916174"/>
                    </a:cubicBezTo>
                    <a:cubicBezTo>
                      <a:pt x="984449" y="1918906"/>
                      <a:pt x="981520" y="1921460"/>
                      <a:pt x="978590" y="1924013"/>
                    </a:cubicBezTo>
                    <a:cubicBezTo>
                      <a:pt x="962807" y="1937896"/>
                      <a:pt x="945849" y="1950343"/>
                      <a:pt x="927993" y="1961214"/>
                    </a:cubicBezTo>
                    <a:cubicBezTo>
                      <a:pt x="910138" y="1972065"/>
                      <a:pt x="891446" y="1981420"/>
                      <a:pt x="872255" y="1989339"/>
                    </a:cubicBezTo>
                    <a:cubicBezTo>
                      <a:pt x="833834" y="2005197"/>
                      <a:pt x="793460" y="2015350"/>
                      <a:pt x="752728" y="2020836"/>
                    </a:cubicBezTo>
                    <a:cubicBezTo>
                      <a:pt x="732361" y="2023568"/>
                      <a:pt x="711875" y="2025144"/>
                      <a:pt x="691390" y="2025683"/>
                    </a:cubicBezTo>
                    <a:lnTo>
                      <a:pt x="676045" y="2025882"/>
                    </a:lnTo>
                    <a:lnTo>
                      <a:pt x="660521" y="2025543"/>
                    </a:lnTo>
                    <a:cubicBezTo>
                      <a:pt x="657931" y="2025463"/>
                      <a:pt x="655340" y="2025463"/>
                      <a:pt x="652769" y="2025304"/>
                    </a:cubicBezTo>
                    <a:lnTo>
                      <a:pt x="645017" y="2024765"/>
                    </a:lnTo>
                    <a:lnTo>
                      <a:pt x="637265" y="2024207"/>
                    </a:lnTo>
                    <a:cubicBezTo>
                      <a:pt x="634675" y="2024027"/>
                      <a:pt x="632104" y="2023848"/>
                      <a:pt x="629533" y="2023508"/>
                    </a:cubicBezTo>
                    <a:lnTo>
                      <a:pt x="614109" y="2021673"/>
                    </a:lnTo>
                    <a:cubicBezTo>
                      <a:pt x="608968" y="2021055"/>
                      <a:pt x="603886" y="2020038"/>
                      <a:pt x="598765" y="2019240"/>
                    </a:cubicBezTo>
                    <a:lnTo>
                      <a:pt x="591092" y="2017963"/>
                    </a:lnTo>
                    <a:lnTo>
                      <a:pt x="583500" y="2016328"/>
                    </a:lnTo>
                    <a:cubicBezTo>
                      <a:pt x="578438" y="2015191"/>
                      <a:pt x="573337" y="2014253"/>
                      <a:pt x="568335" y="2012937"/>
                    </a:cubicBezTo>
                    <a:cubicBezTo>
                      <a:pt x="548188" y="2008010"/>
                      <a:pt x="528459" y="2001447"/>
                      <a:pt x="509169" y="1993807"/>
                    </a:cubicBezTo>
                    <a:cubicBezTo>
                      <a:pt x="470728" y="1978169"/>
                      <a:pt x="434360" y="1957225"/>
                      <a:pt x="401997" y="1931074"/>
                    </a:cubicBezTo>
                    <a:lnTo>
                      <a:pt x="395939" y="1926167"/>
                    </a:lnTo>
                    <a:lnTo>
                      <a:pt x="392910" y="1923714"/>
                    </a:lnTo>
                    <a:lnTo>
                      <a:pt x="390000" y="1921121"/>
                    </a:lnTo>
                    <a:lnTo>
                      <a:pt x="378342" y="1910728"/>
                    </a:lnTo>
                    <a:lnTo>
                      <a:pt x="367183" y="1899797"/>
                    </a:lnTo>
                    <a:lnTo>
                      <a:pt x="364393" y="1897065"/>
                    </a:lnTo>
                    <a:lnTo>
                      <a:pt x="361742" y="1894212"/>
                    </a:lnTo>
                    <a:lnTo>
                      <a:pt x="356422" y="1888487"/>
                    </a:lnTo>
                    <a:lnTo>
                      <a:pt x="351121" y="1882743"/>
                    </a:lnTo>
                    <a:lnTo>
                      <a:pt x="346079" y="1876758"/>
                    </a:lnTo>
                    <a:lnTo>
                      <a:pt x="341057" y="1870774"/>
                    </a:lnTo>
                    <a:lnTo>
                      <a:pt x="338546" y="1867782"/>
                    </a:lnTo>
                    <a:lnTo>
                      <a:pt x="336175" y="1864671"/>
                    </a:lnTo>
                    <a:lnTo>
                      <a:pt x="326709" y="1852204"/>
                    </a:lnTo>
                    <a:lnTo>
                      <a:pt x="317841" y="1839298"/>
                    </a:lnTo>
                    <a:cubicBezTo>
                      <a:pt x="308037" y="1824198"/>
                      <a:pt x="298830" y="1808660"/>
                      <a:pt x="291237" y="1792283"/>
                    </a:cubicBezTo>
                    <a:lnTo>
                      <a:pt x="288288" y="1786199"/>
                    </a:lnTo>
                    <a:cubicBezTo>
                      <a:pt x="287332" y="1784165"/>
                      <a:pt x="286515" y="1782050"/>
                      <a:pt x="285618" y="1779996"/>
                    </a:cubicBezTo>
                    <a:lnTo>
                      <a:pt x="280357" y="1767529"/>
                    </a:lnTo>
                    <a:lnTo>
                      <a:pt x="275734" y="1754803"/>
                    </a:lnTo>
                    <a:cubicBezTo>
                      <a:pt x="274976" y="1752668"/>
                      <a:pt x="274179" y="1750574"/>
                      <a:pt x="273462" y="1748420"/>
                    </a:cubicBezTo>
                    <a:lnTo>
                      <a:pt x="271489" y="1741937"/>
                    </a:lnTo>
                    <a:cubicBezTo>
                      <a:pt x="265889" y="1724763"/>
                      <a:pt x="262183" y="1707030"/>
                      <a:pt x="259153" y="1689237"/>
                    </a:cubicBezTo>
                    <a:cubicBezTo>
                      <a:pt x="257958" y="1680281"/>
                      <a:pt x="256543" y="1671364"/>
                      <a:pt x="256005" y="1662328"/>
                    </a:cubicBezTo>
                    <a:lnTo>
                      <a:pt x="255467" y="1655586"/>
                    </a:lnTo>
                    <a:lnTo>
                      <a:pt x="255188" y="1652215"/>
                    </a:lnTo>
                    <a:cubicBezTo>
                      <a:pt x="255128" y="1651577"/>
                      <a:pt x="255148" y="1651318"/>
                      <a:pt x="255128" y="1650899"/>
                    </a:cubicBezTo>
                    <a:lnTo>
                      <a:pt x="255088" y="1649762"/>
                    </a:lnTo>
                    <a:lnTo>
                      <a:pt x="254849" y="1640586"/>
                    </a:lnTo>
                    <a:cubicBezTo>
                      <a:pt x="254769" y="1638751"/>
                      <a:pt x="254789" y="1636916"/>
                      <a:pt x="254849" y="1635081"/>
                    </a:cubicBezTo>
                    <a:lnTo>
                      <a:pt x="254969" y="1629576"/>
                    </a:lnTo>
                    <a:lnTo>
                      <a:pt x="255008" y="1628199"/>
                    </a:lnTo>
                    <a:lnTo>
                      <a:pt x="255008" y="1627501"/>
                    </a:lnTo>
                    <a:cubicBezTo>
                      <a:pt x="255028" y="1627282"/>
                      <a:pt x="255068" y="1626982"/>
                      <a:pt x="254789" y="1626923"/>
                    </a:cubicBezTo>
                    <a:lnTo>
                      <a:pt x="252298" y="1625746"/>
                    </a:lnTo>
                    <a:lnTo>
                      <a:pt x="247316" y="1623392"/>
                    </a:lnTo>
                    <a:cubicBezTo>
                      <a:pt x="244347" y="1621876"/>
                      <a:pt x="241358" y="1620360"/>
                      <a:pt x="238409" y="1618784"/>
                    </a:cubicBezTo>
                    <a:lnTo>
                      <a:pt x="233765" y="1616191"/>
                    </a:lnTo>
                    <a:cubicBezTo>
                      <a:pt x="231494" y="1614935"/>
                      <a:pt x="229222" y="1613658"/>
                      <a:pt x="227010" y="1612282"/>
                    </a:cubicBezTo>
                    <a:cubicBezTo>
                      <a:pt x="222546" y="1609569"/>
                      <a:pt x="218062" y="1606936"/>
                      <a:pt x="213738" y="1604023"/>
                    </a:cubicBezTo>
                    <a:lnTo>
                      <a:pt x="207201" y="1599755"/>
                    </a:lnTo>
                    <a:lnTo>
                      <a:pt x="200805" y="1595267"/>
                    </a:lnTo>
                    <a:cubicBezTo>
                      <a:pt x="183766" y="1583239"/>
                      <a:pt x="167625" y="1569914"/>
                      <a:pt x="152739" y="1555273"/>
                    </a:cubicBezTo>
                    <a:cubicBezTo>
                      <a:pt x="137832" y="1540652"/>
                      <a:pt x="124082" y="1524834"/>
                      <a:pt x="111687" y="1507999"/>
                    </a:cubicBezTo>
                    <a:cubicBezTo>
                      <a:pt x="99332" y="1491124"/>
                      <a:pt x="88411" y="1473191"/>
                      <a:pt x="79005" y="1454481"/>
                    </a:cubicBezTo>
                    <a:cubicBezTo>
                      <a:pt x="76554" y="1449853"/>
                      <a:pt x="74482" y="1445026"/>
                      <a:pt x="72250" y="1440299"/>
                    </a:cubicBezTo>
                    <a:cubicBezTo>
                      <a:pt x="70078" y="1435531"/>
                      <a:pt x="68145" y="1430664"/>
                      <a:pt x="66112" y="1425837"/>
                    </a:cubicBezTo>
                    <a:cubicBezTo>
                      <a:pt x="64299" y="1420930"/>
                      <a:pt x="62346" y="1416063"/>
                      <a:pt x="60652" y="1411096"/>
                    </a:cubicBezTo>
                    <a:cubicBezTo>
                      <a:pt x="59018" y="1406110"/>
                      <a:pt x="57224" y="1401183"/>
                      <a:pt x="55829" y="1396136"/>
                    </a:cubicBezTo>
                    <a:cubicBezTo>
                      <a:pt x="49811" y="1376049"/>
                      <a:pt x="45526" y="1355444"/>
                      <a:pt x="43055" y="1334620"/>
                    </a:cubicBezTo>
                    <a:cubicBezTo>
                      <a:pt x="40584" y="1313795"/>
                      <a:pt x="40086" y="1292771"/>
                      <a:pt x="41182" y="1271846"/>
                    </a:cubicBezTo>
                    <a:cubicBezTo>
                      <a:pt x="42258" y="1250902"/>
                      <a:pt x="45327" y="1230058"/>
                      <a:pt x="50130" y="1209652"/>
                    </a:cubicBezTo>
                    <a:cubicBezTo>
                      <a:pt x="50827" y="1206181"/>
                      <a:pt x="51824" y="1202770"/>
                      <a:pt x="52740" y="1199339"/>
                    </a:cubicBezTo>
                    <a:cubicBezTo>
                      <a:pt x="53677" y="1195928"/>
                      <a:pt x="54554" y="1192497"/>
                      <a:pt x="55550" y="1189086"/>
                    </a:cubicBezTo>
                    <a:lnTo>
                      <a:pt x="58798" y="1178953"/>
                    </a:lnTo>
                    <a:lnTo>
                      <a:pt x="60433" y="1173887"/>
                    </a:lnTo>
                    <a:cubicBezTo>
                      <a:pt x="61010" y="1172211"/>
                      <a:pt x="61668" y="1170556"/>
                      <a:pt x="62266" y="1168900"/>
                    </a:cubicBezTo>
                    <a:lnTo>
                      <a:pt x="65992" y="1158947"/>
                    </a:lnTo>
                    <a:cubicBezTo>
                      <a:pt x="67268" y="1155635"/>
                      <a:pt x="68742" y="1152424"/>
                      <a:pt x="70098" y="1149153"/>
                    </a:cubicBezTo>
                    <a:cubicBezTo>
                      <a:pt x="72768" y="1142590"/>
                      <a:pt x="75956" y="1136247"/>
                      <a:pt x="79025" y="1129884"/>
                    </a:cubicBezTo>
                    <a:cubicBezTo>
                      <a:pt x="80500" y="1126672"/>
                      <a:pt x="82293" y="1123601"/>
                      <a:pt x="83947" y="1120469"/>
                    </a:cubicBezTo>
                    <a:cubicBezTo>
                      <a:pt x="85641" y="1117377"/>
                      <a:pt x="87255" y="1114205"/>
                      <a:pt x="89049" y="1111154"/>
                    </a:cubicBezTo>
                    <a:lnTo>
                      <a:pt x="94509" y="1102058"/>
                    </a:lnTo>
                    <a:cubicBezTo>
                      <a:pt x="95426" y="1100542"/>
                      <a:pt x="96323" y="1099006"/>
                      <a:pt x="97259" y="1097530"/>
                    </a:cubicBezTo>
                    <a:lnTo>
                      <a:pt x="100189" y="1093102"/>
                    </a:lnTo>
                    <a:lnTo>
                      <a:pt x="106047" y="1084265"/>
                    </a:lnTo>
                    <a:lnTo>
                      <a:pt x="112265" y="1075688"/>
                    </a:lnTo>
                    <a:lnTo>
                      <a:pt x="115394" y="1071399"/>
                    </a:lnTo>
                    <a:lnTo>
                      <a:pt x="116151" y="1070362"/>
                    </a:lnTo>
                    <a:lnTo>
                      <a:pt x="116709" y="1069664"/>
                    </a:lnTo>
                    <a:lnTo>
                      <a:pt x="117825" y="1068268"/>
                    </a:lnTo>
                    <a:lnTo>
                      <a:pt x="122269" y="1062702"/>
                    </a:lnTo>
                    <a:cubicBezTo>
                      <a:pt x="123604" y="1061007"/>
                      <a:pt x="125099" y="1059411"/>
                      <a:pt x="126493" y="1057775"/>
                    </a:cubicBezTo>
                    <a:lnTo>
                      <a:pt x="128626" y="1055322"/>
                    </a:lnTo>
                    <a:lnTo>
                      <a:pt x="129702" y="1054105"/>
                    </a:lnTo>
                    <a:cubicBezTo>
                      <a:pt x="129861" y="1053886"/>
                      <a:pt x="130100" y="1053726"/>
                      <a:pt x="130200" y="1053467"/>
                    </a:cubicBezTo>
                    <a:cubicBezTo>
                      <a:pt x="130180" y="1053208"/>
                      <a:pt x="130041" y="1052948"/>
                      <a:pt x="129961" y="1052689"/>
                    </a:cubicBezTo>
                    <a:cubicBezTo>
                      <a:pt x="128446" y="1048620"/>
                      <a:pt x="127071" y="1044531"/>
                      <a:pt x="125796" y="1040382"/>
                    </a:cubicBezTo>
                    <a:cubicBezTo>
                      <a:pt x="125178" y="1038367"/>
                      <a:pt x="124541" y="1036113"/>
                      <a:pt x="124022" y="1034258"/>
                    </a:cubicBezTo>
                    <a:cubicBezTo>
                      <a:pt x="123146" y="1030967"/>
                      <a:pt x="122269" y="1027675"/>
                      <a:pt x="121492" y="1024344"/>
                    </a:cubicBezTo>
                    <a:cubicBezTo>
                      <a:pt x="119877" y="1017722"/>
                      <a:pt x="118502" y="1011040"/>
                      <a:pt x="117287" y="1004337"/>
                    </a:cubicBezTo>
                    <a:cubicBezTo>
                      <a:pt x="113620" y="983613"/>
                      <a:pt x="111787" y="962569"/>
                      <a:pt x="112026" y="941544"/>
                    </a:cubicBezTo>
                    <a:cubicBezTo>
                      <a:pt x="112464" y="931052"/>
                      <a:pt x="112404" y="920520"/>
                      <a:pt x="113799" y="910068"/>
                    </a:cubicBezTo>
                    <a:lnTo>
                      <a:pt x="114616" y="902229"/>
                    </a:lnTo>
                    <a:cubicBezTo>
                      <a:pt x="114915" y="899616"/>
                      <a:pt x="115075" y="896983"/>
                      <a:pt x="115593" y="894410"/>
                    </a:cubicBezTo>
                    <a:lnTo>
                      <a:pt x="118283" y="878851"/>
                    </a:lnTo>
                    <a:cubicBezTo>
                      <a:pt x="119040" y="873645"/>
                      <a:pt x="120495" y="868578"/>
                      <a:pt x="121691" y="863452"/>
                    </a:cubicBezTo>
                    <a:lnTo>
                      <a:pt x="123564" y="855792"/>
                    </a:lnTo>
                    <a:lnTo>
                      <a:pt x="124501" y="851962"/>
                    </a:lnTo>
                    <a:cubicBezTo>
                      <a:pt x="124839" y="850686"/>
                      <a:pt x="125278" y="849449"/>
                      <a:pt x="125657" y="848193"/>
                    </a:cubicBezTo>
                    <a:lnTo>
                      <a:pt x="130419" y="833152"/>
                    </a:lnTo>
                    <a:cubicBezTo>
                      <a:pt x="130838" y="831896"/>
                      <a:pt x="131196" y="830639"/>
                      <a:pt x="131635" y="829402"/>
                    </a:cubicBezTo>
                    <a:lnTo>
                      <a:pt x="133070" y="825732"/>
                    </a:lnTo>
                    <a:lnTo>
                      <a:pt x="135939" y="818392"/>
                    </a:lnTo>
                    <a:cubicBezTo>
                      <a:pt x="139506" y="808478"/>
                      <a:pt x="144309" y="799103"/>
                      <a:pt x="148733" y="789568"/>
                    </a:cubicBezTo>
                    <a:cubicBezTo>
                      <a:pt x="151085" y="784881"/>
                      <a:pt x="153755" y="780333"/>
                      <a:pt x="156266" y="775725"/>
                    </a:cubicBezTo>
                    <a:lnTo>
                      <a:pt x="160092" y="768823"/>
                    </a:lnTo>
                    <a:cubicBezTo>
                      <a:pt x="161447" y="766589"/>
                      <a:pt x="162902" y="764395"/>
                      <a:pt x="164317" y="762161"/>
                    </a:cubicBezTo>
                    <a:lnTo>
                      <a:pt x="169418" y="754202"/>
                    </a:lnTo>
                    <a:lnTo>
                      <a:pt x="171969" y="750233"/>
                    </a:lnTo>
                    <a:cubicBezTo>
                      <a:pt x="172806" y="748896"/>
                      <a:pt x="173802" y="747680"/>
                      <a:pt x="174719" y="746383"/>
                    </a:cubicBezTo>
                    <a:lnTo>
                      <a:pt x="185918" y="731164"/>
                    </a:lnTo>
                    <a:lnTo>
                      <a:pt x="198055" y="716682"/>
                    </a:lnTo>
                    <a:cubicBezTo>
                      <a:pt x="200027" y="714209"/>
                      <a:pt x="202259" y="711995"/>
                      <a:pt x="204412" y="709701"/>
                    </a:cubicBezTo>
                    <a:lnTo>
                      <a:pt x="210928" y="702859"/>
                    </a:lnTo>
                    <a:cubicBezTo>
                      <a:pt x="215153" y="698191"/>
                      <a:pt x="219876" y="694002"/>
                      <a:pt x="224479" y="689714"/>
                    </a:cubicBezTo>
                    <a:lnTo>
                      <a:pt x="231414" y="683311"/>
                    </a:lnTo>
                    <a:cubicBezTo>
                      <a:pt x="233765" y="681236"/>
                      <a:pt x="236256" y="679301"/>
                      <a:pt x="238688" y="677287"/>
                    </a:cubicBezTo>
                    <a:lnTo>
                      <a:pt x="246001" y="671323"/>
                    </a:lnTo>
                    <a:lnTo>
                      <a:pt x="249668" y="668351"/>
                    </a:lnTo>
                    <a:lnTo>
                      <a:pt x="253494" y="665598"/>
                    </a:lnTo>
                    <a:lnTo>
                      <a:pt x="259552" y="661269"/>
                    </a:lnTo>
                    <a:cubicBezTo>
                      <a:pt x="261206" y="660112"/>
                      <a:pt x="262800" y="658896"/>
                      <a:pt x="264474" y="657799"/>
                    </a:cubicBezTo>
                    <a:lnTo>
                      <a:pt x="271270" y="653550"/>
                    </a:lnTo>
                    <a:lnTo>
                      <a:pt x="274677" y="651436"/>
                    </a:lnTo>
                    <a:cubicBezTo>
                      <a:pt x="275215" y="651057"/>
                      <a:pt x="275893" y="650797"/>
                      <a:pt x="276291" y="650299"/>
                    </a:cubicBezTo>
                    <a:lnTo>
                      <a:pt x="275933" y="648324"/>
                    </a:lnTo>
                    <a:cubicBezTo>
                      <a:pt x="274996" y="643058"/>
                      <a:pt x="274259" y="637752"/>
                      <a:pt x="273761" y="632426"/>
                    </a:cubicBezTo>
                    <a:lnTo>
                      <a:pt x="273402" y="628337"/>
                    </a:lnTo>
                    <a:lnTo>
                      <a:pt x="273043" y="622592"/>
                    </a:lnTo>
                    <a:cubicBezTo>
                      <a:pt x="272804" y="618363"/>
                      <a:pt x="272665" y="614155"/>
                      <a:pt x="272585" y="609926"/>
                    </a:cubicBezTo>
                    <a:cubicBezTo>
                      <a:pt x="272485" y="605697"/>
                      <a:pt x="272585" y="601488"/>
                      <a:pt x="272704" y="597260"/>
                    </a:cubicBezTo>
                    <a:lnTo>
                      <a:pt x="272844" y="590916"/>
                    </a:lnTo>
                    <a:lnTo>
                      <a:pt x="273243" y="584593"/>
                    </a:lnTo>
                    <a:cubicBezTo>
                      <a:pt x="274578" y="563509"/>
                      <a:pt x="277985" y="542525"/>
                      <a:pt x="283466" y="522099"/>
                    </a:cubicBezTo>
                    <a:cubicBezTo>
                      <a:pt x="289025" y="501694"/>
                      <a:pt x="296598" y="481866"/>
                      <a:pt x="305984" y="462957"/>
                    </a:cubicBezTo>
                    <a:cubicBezTo>
                      <a:pt x="315330" y="444027"/>
                      <a:pt x="326629" y="426094"/>
                      <a:pt x="339463" y="409419"/>
                    </a:cubicBezTo>
                    <a:cubicBezTo>
                      <a:pt x="352296" y="392723"/>
                      <a:pt x="366605" y="377185"/>
                      <a:pt x="382288" y="363182"/>
                    </a:cubicBezTo>
                    <a:cubicBezTo>
                      <a:pt x="400602" y="346905"/>
                      <a:pt x="420470" y="332404"/>
                      <a:pt x="441753" y="320316"/>
                    </a:cubicBezTo>
                    <a:cubicBezTo>
                      <a:pt x="452315" y="314152"/>
                      <a:pt x="463315" y="308746"/>
                      <a:pt x="474454" y="303720"/>
                    </a:cubicBezTo>
                    <a:cubicBezTo>
                      <a:pt x="480074" y="301326"/>
                      <a:pt x="485694" y="298833"/>
                      <a:pt x="491294" y="296798"/>
                    </a:cubicBezTo>
                    <a:lnTo>
                      <a:pt x="495498" y="295202"/>
                    </a:lnTo>
                    <a:lnTo>
                      <a:pt x="497591" y="294405"/>
                    </a:lnTo>
                    <a:cubicBezTo>
                      <a:pt x="497989" y="294245"/>
                      <a:pt x="498149" y="294205"/>
                      <a:pt x="498388" y="294125"/>
                    </a:cubicBezTo>
                    <a:lnTo>
                      <a:pt x="499085" y="293886"/>
                    </a:lnTo>
                    <a:lnTo>
                      <a:pt x="504625" y="292011"/>
                    </a:lnTo>
                    <a:cubicBezTo>
                      <a:pt x="507256" y="291073"/>
                      <a:pt x="509966" y="290395"/>
                      <a:pt x="512616" y="289577"/>
                    </a:cubicBezTo>
                    <a:lnTo>
                      <a:pt x="514629" y="288979"/>
                    </a:lnTo>
                    <a:cubicBezTo>
                      <a:pt x="514789" y="288919"/>
                      <a:pt x="514968" y="288899"/>
                      <a:pt x="515127" y="288799"/>
                    </a:cubicBezTo>
                    <a:cubicBezTo>
                      <a:pt x="515247" y="288660"/>
                      <a:pt x="515247" y="288480"/>
                      <a:pt x="515327" y="288321"/>
                    </a:cubicBezTo>
                    <a:lnTo>
                      <a:pt x="515665" y="287323"/>
                    </a:lnTo>
                    <a:lnTo>
                      <a:pt x="517001" y="283354"/>
                    </a:lnTo>
                    <a:cubicBezTo>
                      <a:pt x="517857" y="280701"/>
                      <a:pt x="518814" y="278068"/>
                      <a:pt x="519830" y="275455"/>
                    </a:cubicBezTo>
                    <a:lnTo>
                      <a:pt x="521305" y="271505"/>
                    </a:lnTo>
                    <a:cubicBezTo>
                      <a:pt x="521484" y="270987"/>
                      <a:pt x="521963" y="269830"/>
                      <a:pt x="522361" y="268872"/>
                    </a:cubicBezTo>
                    <a:lnTo>
                      <a:pt x="523577" y="265880"/>
                    </a:lnTo>
                    <a:cubicBezTo>
                      <a:pt x="530013" y="249883"/>
                      <a:pt x="537307" y="234185"/>
                      <a:pt x="545517" y="218945"/>
                    </a:cubicBezTo>
                    <a:cubicBezTo>
                      <a:pt x="555422" y="200714"/>
                      <a:pt x="566621" y="183100"/>
                      <a:pt x="579156" y="166425"/>
                    </a:cubicBezTo>
                    <a:cubicBezTo>
                      <a:pt x="591690" y="149749"/>
                      <a:pt x="605580" y="133971"/>
                      <a:pt x="620964" y="119629"/>
                    </a:cubicBezTo>
                    <a:cubicBezTo>
                      <a:pt x="636329" y="105287"/>
                      <a:pt x="652969" y="92102"/>
                      <a:pt x="671103" y="81032"/>
                    </a:cubicBezTo>
                    <a:cubicBezTo>
                      <a:pt x="689178" y="69901"/>
                      <a:pt x="708488" y="60526"/>
                      <a:pt x="728834" y="53824"/>
                    </a:cubicBezTo>
                    <a:cubicBezTo>
                      <a:pt x="738937" y="50293"/>
                      <a:pt x="749400" y="47760"/>
                      <a:pt x="759882" y="45486"/>
                    </a:cubicBezTo>
                    <a:lnTo>
                      <a:pt x="767813" y="44090"/>
                    </a:lnTo>
                    <a:lnTo>
                      <a:pt x="771779" y="43392"/>
                    </a:lnTo>
                    <a:lnTo>
                      <a:pt x="775784" y="42873"/>
                    </a:lnTo>
                    <a:lnTo>
                      <a:pt x="783775" y="41876"/>
                    </a:lnTo>
                    <a:cubicBezTo>
                      <a:pt x="786446" y="41616"/>
                      <a:pt x="789136" y="41457"/>
                      <a:pt x="791806" y="41237"/>
                    </a:cubicBezTo>
                    <a:cubicBezTo>
                      <a:pt x="797167" y="40719"/>
                      <a:pt x="802527" y="40759"/>
                      <a:pt x="807908" y="40579"/>
                    </a:cubicBezTo>
                    <a:cubicBezTo>
                      <a:pt x="813209" y="40559"/>
                      <a:pt x="818390" y="40779"/>
                      <a:pt x="823631" y="40878"/>
                    </a:cubicBezTo>
                    <a:lnTo>
                      <a:pt x="827557" y="40978"/>
                    </a:lnTo>
                    <a:lnTo>
                      <a:pt x="831483" y="41257"/>
                    </a:lnTo>
                    <a:lnTo>
                      <a:pt x="839334" y="41856"/>
                    </a:lnTo>
                    <a:cubicBezTo>
                      <a:pt x="841945" y="42095"/>
                      <a:pt x="844575" y="42175"/>
                      <a:pt x="847186" y="42534"/>
                    </a:cubicBezTo>
                    <a:lnTo>
                      <a:pt x="855017" y="43551"/>
                    </a:lnTo>
                    <a:cubicBezTo>
                      <a:pt x="875902" y="46284"/>
                      <a:pt x="896687" y="51031"/>
                      <a:pt x="916794" y="58133"/>
                    </a:cubicBezTo>
                    <a:cubicBezTo>
                      <a:pt x="936921" y="65174"/>
                      <a:pt x="956191" y="74888"/>
                      <a:pt x="974067" y="86637"/>
                    </a:cubicBezTo>
                    <a:cubicBezTo>
                      <a:pt x="984848" y="93638"/>
                      <a:pt x="995031" y="101577"/>
                      <a:pt x="1004656" y="110055"/>
                    </a:cubicBezTo>
                    <a:cubicBezTo>
                      <a:pt x="1005852" y="111112"/>
                      <a:pt x="1007127" y="112109"/>
                      <a:pt x="1008283" y="113226"/>
                    </a:cubicBezTo>
                    <a:lnTo>
                      <a:pt x="1011730" y="116577"/>
                    </a:lnTo>
                    <a:lnTo>
                      <a:pt x="1016593" y="121345"/>
                    </a:lnTo>
                    <a:cubicBezTo>
                      <a:pt x="1018068" y="122701"/>
                      <a:pt x="1019383" y="124237"/>
                      <a:pt x="1020718" y="125733"/>
                    </a:cubicBezTo>
                    <a:lnTo>
                      <a:pt x="1024723" y="130221"/>
                    </a:lnTo>
                    <a:cubicBezTo>
                      <a:pt x="1026338" y="131916"/>
                      <a:pt x="1027693" y="133811"/>
                      <a:pt x="1029147" y="135647"/>
                    </a:cubicBezTo>
                    <a:lnTo>
                      <a:pt x="1033472" y="141172"/>
                    </a:lnTo>
                    <a:cubicBezTo>
                      <a:pt x="1034867" y="143047"/>
                      <a:pt x="1036122" y="145022"/>
                      <a:pt x="1037457" y="146937"/>
                    </a:cubicBezTo>
                    <a:lnTo>
                      <a:pt x="1039430" y="149829"/>
                    </a:lnTo>
                    <a:lnTo>
                      <a:pt x="1040427" y="151285"/>
                    </a:lnTo>
                    <a:lnTo>
                      <a:pt x="1040925" y="152003"/>
                    </a:lnTo>
                    <a:lnTo>
                      <a:pt x="1041184" y="152362"/>
                    </a:lnTo>
                    <a:cubicBezTo>
                      <a:pt x="1041284" y="152482"/>
                      <a:pt x="1041483" y="152462"/>
                      <a:pt x="1041563" y="152342"/>
                    </a:cubicBezTo>
                    <a:cubicBezTo>
                      <a:pt x="1044233" y="148512"/>
                      <a:pt x="1046784" y="144583"/>
                      <a:pt x="1049534" y="140813"/>
                    </a:cubicBezTo>
                    <a:lnTo>
                      <a:pt x="1053858" y="135287"/>
                    </a:lnTo>
                    <a:cubicBezTo>
                      <a:pt x="1055293" y="133432"/>
                      <a:pt x="1056708" y="131577"/>
                      <a:pt x="1058322" y="129882"/>
                    </a:cubicBezTo>
                    <a:cubicBezTo>
                      <a:pt x="1061471" y="126411"/>
                      <a:pt x="1064440" y="122841"/>
                      <a:pt x="1067907" y="119629"/>
                    </a:cubicBezTo>
                    <a:lnTo>
                      <a:pt x="1074922" y="112767"/>
                    </a:lnTo>
                    <a:lnTo>
                      <a:pt x="1083431" y="105467"/>
                    </a:lnTo>
                    <a:cubicBezTo>
                      <a:pt x="1088991" y="100460"/>
                      <a:pt x="1095149" y="96191"/>
                      <a:pt x="1101147" y="91703"/>
                    </a:cubicBezTo>
                    <a:cubicBezTo>
                      <a:pt x="1104096" y="89389"/>
                      <a:pt x="1107345" y="87514"/>
                      <a:pt x="1110473" y="85460"/>
                    </a:cubicBezTo>
                    <a:cubicBezTo>
                      <a:pt x="1113642" y="83465"/>
                      <a:pt x="1116750" y="81371"/>
                      <a:pt x="1119979" y="79476"/>
                    </a:cubicBezTo>
                    <a:cubicBezTo>
                      <a:pt x="1138432" y="68585"/>
                      <a:pt x="1158260" y="60187"/>
                      <a:pt x="1178587" y="54023"/>
                    </a:cubicBezTo>
                    <a:cubicBezTo>
                      <a:pt x="1198933" y="47860"/>
                      <a:pt x="1219838" y="43990"/>
                      <a:pt x="1240762" y="42055"/>
                    </a:cubicBezTo>
                    <a:cubicBezTo>
                      <a:pt x="1246003" y="41696"/>
                      <a:pt x="1251224" y="41198"/>
                      <a:pt x="1256465" y="40938"/>
                    </a:cubicBezTo>
                    <a:lnTo>
                      <a:pt x="1272148" y="40559"/>
                    </a:lnTo>
                    <a:cubicBezTo>
                      <a:pt x="1282830" y="40639"/>
                      <a:pt x="1293611" y="41098"/>
                      <a:pt x="1304252" y="42514"/>
                    </a:cubicBezTo>
                    <a:cubicBezTo>
                      <a:pt x="1314933" y="43711"/>
                      <a:pt x="1325455" y="45925"/>
                      <a:pt x="1335878" y="48438"/>
                    </a:cubicBezTo>
                    <a:lnTo>
                      <a:pt x="1343630" y="50593"/>
                    </a:lnTo>
                    <a:lnTo>
                      <a:pt x="1347496" y="51690"/>
                    </a:lnTo>
                    <a:lnTo>
                      <a:pt x="1351302" y="52946"/>
                    </a:lnTo>
                    <a:lnTo>
                      <a:pt x="1358914" y="55480"/>
                    </a:lnTo>
                    <a:lnTo>
                      <a:pt x="1366407" y="58352"/>
                    </a:lnTo>
                    <a:cubicBezTo>
                      <a:pt x="1406323" y="73931"/>
                      <a:pt x="1441675" y="98924"/>
                      <a:pt x="1471108" y="128765"/>
                    </a:cubicBezTo>
                    <a:cubicBezTo>
                      <a:pt x="1485915" y="143665"/>
                      <a:pt x="1499227" y="159882"/>
                      <a:pt x="1511183" y="176937"/>
                    </a:cubicBezTo>
                    <a:cubicBezTo>
                      <a:pt x="1523160" y="193991"/>
                      <a:pt x="1533802" y="211904"/>
                      <a:pt x="1543148" y="230415"/>
                    </a:cubicBezTo>
                    <a:cubicBezTo>
                      <a:pt x="1545280" y="234663"/>
                      <a:pt x="1547293" y="238972"/>
                      <a:pt x="1549365" y="243260"/>
                    </a:cubicBezTo>
                    <a:cubicBezTo>
                      <a:pt x="1551358" y="247569"/>
                      <a:pt x="1553231" y="251937"/>
                      <a:pt x="1555184" y="256286"/>
                    </a:cubicBezTo>
                    <a:cubicBezTo>
                      <a:pt x="1557037" y="260654"/>
                      <a:pt x="1558791" y="265063"/>
                      <a:pt x="1560585" y="269471"/>
                    </a:cubicBezTo>
                    <a:lnTo>
                      <a:pt x="1561202" y="271007"/>
                    </a:lnTo>
                    <a:lnTo>
                      <a:pt x="1561601" y="272104"/>
                    </a:lnTo>
                    <a:lnTo>
                      <a:pt x="1562418" y="274278"/>
                    </a:lnTo>
                    <a:lnTo>
                      <a:pt x="1564032" y="278626"/>
                    </a:lnTo>
                    <a:cubicBezTo>
                      <a:pt x="1564929" y="281040"/>
                      <a:pt x="1565706" y="283494"/>
                      <a:pt x="1566543" y="285927"/>
                    </a:cubicBezTo>
                    <a:lnTo>
                      <a:pt x="1567161" y="287762"/>
                    </a:lnTo>
                    <a:lnTo>
                      <a:pt x="1567480" y="288680"/>
                    </a:lnTo>
                    <a:cubicBezTo>
                      <a:pt x="1567659" y="288959"/>
                      <a:pt x="1568058" y="288919"/>
                      <a:pt x="1568336" y="289039"/>
                    </a:cubicBezTo>
                    <a:lnTo>
                      <a:pt x="1572043" y="290136"/>
                    </a:lnTo>
                    <a:cubicBezTo>
                      <a:pt x="1574514" y="290854"/>
                      <a:pt x="1576985" y="291592"/>
                      <a:pt x="1579416" y="292450"/>
                    </a:cubicBezTo>
                    <a:lnTo>
                      <a:pt x="1583063" y="293686"/>
                    </a:lnTo>
                    <a:lnTo>
                      <a:pt x="1584976" y="294345"/>
                    </a:lnTo>
                    <a:lnTo>
                      <a:pt x="1587746" y="295402"/>
                    </a:lnTo>
                    <a:cubicBezTo>
                      <a:pt x="1591453" y="296838"/>
                      <a:pt x="1595140" y="298175"/>
                      <a:pt x="1598846" y="299710"/>
                    </a:cubicBezTo>
                    <a:lnTo>
                      <a:pt x="1609986" y="304478"/>
                    </a:lnTo>
                    <a:lnTo>
                      <a:pt x="1620946" y="309664"/>
                    </a:lnTo>
                    <a:cubicBezTo>
                      <a:pt x="1624593" y="311399"/>
                      <a:pt x="1628120" y="313374"/>
                      <a:pt x="1631727" y="315209"/>
                    </a:cubicBezTo>
                    <a:cubicBezTo>
                      <a:pt x="1660204" y="330489"/>
                      <a:pt x="1686708" y="349558"/>
                      <a:pt x="1709964" y="372118"/>
                    </a:cubicBezTo>
                    <a:cubicBezTo>
                      <a:pt x="1725109" y="386699"/>
                      <a:pt x="1738800" y="402816"/>
                      <a:pt x="1750976" y="419991"/>
                    </a:cubicBezTo>
                    <a:cubicBezTo>
                      <a:pt x="1763152" y="437185"/>
                      <a:pt x="1773733" y="455556"/>
                      <a:pt x="1782282" y="474865"/>
                    </a:cubicBezTo>
                    <a:cubicBezTo>
                      <a:pt x="1790891" y="494154"/>
                      <a:pt x="1797627" y="514280"/>
                      <a:pt x="1802330" y="534905"/>
                    </a:cubicBezTo>
                    <a:cubicBezTo>
                      <a:pt x="1806973" y="555530"/>
                      <a:pt x="1809464" y="576634"/>
                      <a:pt x="1809942" y="597758"/>
                    </a:cubicBezTo>
                    <a:cubicBezTo>
                      <a:pt x="1810201" y="605099"/>
                      <a:pt x="1810082" y="612439"/>
                      <a:pt x="1809743" y="619760"/>
                    </a:cubicBezTo>
                    <a:cubicBezTo>
                      <a:pt x="1809564" y="623310"/>
                      <a:pt x="1809305" y="627579"/>
                      <a:pt x="1809125" y="629554"/>
                    </a:cubicBezTo>
                    <a:cubicBezTo>
                      <a:pt x="1808926" y="631868"/>
                      <a:pt x="1808707" y="634181"/>
                      <a:pt x="1808428" y="636475"/>
                    </a:cubicBezTo>
                    <a:cubicBezTo>
                      <a:pt x="1808109" y="639228"/>
                      <a:pt x="1807730" y="641961"/>
                      <a:pt x="1807292" y="644674"/>
                    </a:cubicBezTo>
                    <a:lnTo>
                      <a:pt x="1806594" y="648763"/>
                    </a:lnTo>
                    <a:lnTo>
                      <a:pt x="1806415" y="649780"/>
                    </a:lnTo>
                    <a:cubicBezTo>
                      <a:pt x="1806415" y="649959"/>
                      <a:pt x="1806315" y="650119"/>
                      <a:pt x="1806355" y="650299"/>
                    </a:cubicBezTo>
                    <a:cubicBezTo>
                      <a:pt x="1806435" y="650458"/>
                      <a:pt x="1806634" y="650498"/>
                      <a:pt x="1806754" y="650618"/>
                    </a:cubicBezTo>
                    <a:lnTo>
                      <a:pt x="1808507" y="651715"/>
                    </a:lnTo>
                    <a:lnTo>
                      <a:pt x="1815522" y="656103"/>
                    </a:lnTo>
                    <a:cubicBezTo>
                      <a:pt x="1816678" y="656841"/>
                      <a:pt x="1817874" y="657539"/>
                      <a:pt x="1819029" y="658317"/>
                    </a:cubicBezTo>
                    <a:lnTo>
                      <a:pt x="1822397" y="660731"/>
                    </a:lnTo>
                    <a:lnTo>
                      <a:pt x="1830986" y="666874"/>
                    </a:lnTo>
                    <a:cubicBezTo>
                      <a:pt x="1832780" y="668091"/>
                      <a:pt x="1834434" y="669488"/>
                      <a:pt x="1836128" y="670864"/>
                    </a:cubicBezTo>
                    <a:lnTo>
                      <a:pt x="1841169" y="674973"/>
                    </a:lnTo>
                    <a:cubicBezTo>
                      <a:pt x="1844517" y="677726"/>
                      <a:pt x="1847925" y="680418"/>
                      <a:pt x="1851193" y="683231"/>
                    </a:cubicBezTo>
                    <a:lnTo>
                      <a:pt x="1860739" y="692067"/>
                    </a:lnTo>
                    <a:cubicBezTo>
                      <a:pt x="1867255" y="697792"/>
                      <a:pt x="1873034" y="704275"/>
                      <a:pt x="1879032" y="710518"/>
                    </a:cubicBezTo>
                    <a:cubicBezTo>
                      <a:pt x="1882101" y="713590"/>
                      <a:pt x="1884831" y="716941"/>
                      <a:pt x="1887621" y="720273"/>
                    </a:cubicBezTo>
                    <a:lnTo>
                      <a:pt x="1895971" y="730246"/>
                    </a:lnTo>
                    <a:cubicBezTo>
                      <a:pt x="1898681" y="733637"/>
                      <a:pt x="1901152" y="737208"/>
                      <a:pt x="1903743" y="740678"/>
                    </a:cubicBezTo>
                    <a:lnTo>
                      <a:pt x="1907589" y="745924"/>
                    </a:lnTo>
                    <a:cubicBezTo>
                      <a:pt x="1908864" y="747680"/>
                      <a:pt x="1910200" y="749395"/>
                      <a:pt x="1911335" y="751250"/>
                    </a:cubicBezTo>
                    <a:lnTo>
                      <a:pt x="1918350" y="762221"/>
                    </a:lnTo>
                    <a:lnTo>
                      <a:pt x="1921857" y="767706"/>
                    </a:lnTo>
                    <a:cubicBezTo>
                      <a:pt x="1922993" y="769562"/>
                      <a:pt x="1923990" y="771496"/>
                      <a:pt x="1925066" y="773371"/>
                    </a:cubicBezTo>
                    <a:lnTo>
                      <a:pt x="1932678" y="787175"/>
                    </a:lnTo>
                    <a:cubicBezTo>
                      <a:pt x="1935050" y="791862"/>
                      <a:pt x="1937202" y="796669"/>
                      <a:pt x="1939454" y="801417"/>
                    </a:cubicBezTo>
                    <a:lnTo>
                      <a:pt x="1942802" y="808558"/>
                    </a:lnTo>
                    <a:lnTo>
                      <a:pt x="1945691" y="815898"/>
                    </a:lnTo>
                    <a:cubicBezTo>
                      <a:pt x="1947584" y="820805"/>
                      <a:pt x="1949577" y="825672"/>
                      <a:pt x="1951371" y="830619"/>
                    </a:cubicBezTo>
                    <a:lnTo>
                      <a:pt x="1956133" y="845659"/>
                    </a:lnTo>
                    <a:cubicBezTo>
                      <a:pt x="1956871" y="848173"/>
                      <a:pt x="1957827" y="850646"/>
                      <a:pt x="1958405" y="853219"/>
                    </a:cubicBezTo>
                    <a:lnTo>
                      <a:pt x="1960278" y="860879"/>
                    </a:lnTo>
                    <a:lnTo>
                      <a:pt x="1962152" y="868538"/>
                    </a:lnTo>
                    <a:cubicBezTo>
                      <a:pt x="1962729" y="871092"/>
                      <a:pt x="1963487" y="873625"/>
                      <a:pt x="1963865" y="876238"/>
                    </a:cubicBezTo>
                    <a:lnTo>
                      <a:pt x="1966556" y="891797"/>
                    </a:lnTo>
                    <a:cubicBezTo>
                      <a:pt x="1967592" y="896963"/>
                      <a:pt x="1967931" y="902229"/>
                      <a:pt x="1968528" y="907435"/>
                    </a:cubicBezTo>
                    <a:lnTo>
                      <a:pt x="1969326" y="915274"/>
                    </a:lnTo>
                    <a:cubicBezTo>
                      <a:pt x="1969585" y="917887"/>
                      <a:pt x="1969903" y="920500"/>
                      <a:pt x="1969923" y="923133"/>
                    </a:cubicBezTo>
                    <a:cubicBezTo>
                      <a:pt x="1970222" y="933645"/>
                      <a:pt x="1970900" y="944137"/>
                      <a:pt x="1970442" y="954650"/>
                    </a:cubicBezTo>
                    <a:cubicBezTo>
                      <a:pt x="1969804" y="975654"/>
                      <a:pt x="1967213" y="996638"/>
                      <a:pt x="1962729" y="1017203"/>
                    </a:cubicBezTo>
                    <a:cubicBezTo>
                      <a:pt x="1962211" y="1019657"/>
                      <a:pt x="1961653" y="1022110"/>
                      <a:pt x="1961036" y="1024544"/>
                    </a:cubicBezTo>
                    <a:cubicBezTo>
                      <a:pt x="1960458" y="1026997"/>
                      <a:pt x="1959840" y="1029431"/>
                      <a:pt x="1959182" y="1031844"/>
                    </a:cubicBezTo>
                    <a:lnTo>
                      <a:pt x="1958365" y="1034916"/>
                    </a:lnTo>
                    <a:lnTo>
                      <a:pt x="1957708" y="1037210"/>
                    </a:lnTo>
                    <a:cubicBezTo>
                      <a:pt x="1957269" y="1038746"/>
                      <a:pt x="1956811" y="1040282"/>
                      <a:pt x="1956333" y="1041798"/>
                    </a:cubicBezTo>
                    <a:cubicBezTo>
                      <a:pt x="1955476" y="1044610"/>
                      <a:pt x="1954519" y="1047403"/>
                      <a:pt x="1953523" y="1050176"/>
                    </a:cubicBezTo>
                    <a:lnTo>
                      <a:pt x="1952766" y="1052250"/>
                    </a:lnTo>
                    <a:lnTo>
                      <a:pt x="1952387" y="1053287"/>
                    </a:lnTo>
                    <a:cubicBezTo>
                      <a:pt x="1952307" y="1053487"/>
                      <a:pt x="1952506" y="1053626"/>
                      <a:pt x="1952606" y="1053746"/>
                    </a:cubicBezTo>
                    <a:lnTo>
                      <a:pt x="1952965" y="1054165"/>
                    </a:lnTo>
                    <a:lnTo>
                      <a:pt x="1955874" y="1057496"/>
                    </a:lnTo>
                    <a:cubicBezTo>
                      <a:pt x="1957807" y="1059710"/>
                      <a:pt x="1959740" y="1061885"/>
                      <a:pt x="1961673" y="1064358"/>
                    </a:cubicBezTo>
                    <a:lnTo>
                      <a:pt x="1964563" y="1067968"/>
                    </a:lnTo>
                    <a:cubicBezTo>
                      <a:pt x="1965579" y="1069245"/>
                      <a:pt x="1966297" y="1070083"/>
                      <a:pt x="1967831" y="1072237"/>
                    </a:cubicBezTo>
                    <a:cubicBezTo>
                      <a:pt x="1978991" y="1086898"/>
                      <a:pt x="1988855" y="1102517"/>
                      <a:pt x="1997703" y="1118694"/>
                    </a:cubicBezTo>
                    <a:cubicBezTo>
                      <a:pt x="2015499" y="1151008"/>
                      <a:pt x="2027934" y="1186234"/>
                      <a:pt x="2035247" y="1222438"/>
                    </a:cubicBezTo>
                    <a:cubicBezTo>
                      <a:pt x="2039233" y="1243023"/>
                      <a:pt x="2041425" y="1263967"/>
                      <a:pt x="2041823" y="1284912"/>
                    </a:cubicBezTo>
                    <a:cubicBezTo>
                      <a:pt x="2042302" y="1305856"/>
                      <a:pt x="2040887" y="1326860"/>
                      <a:pt x="2037738" y="1347585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28" name="Freeform 11">
                <a:extLst>
                  <a:ext uri="{FF2B5EF4-FFF2-40B4-BE49-F238E27FC236}">
                    <a16:creationId xmlns:a16="http://schemas.microsoft.com/office/drawing/2014/main" id="{87B3D3E1-E5D1-0191-6367-CDA8D052BB9E}"/>
                  </a:ext>
                </a:extLst>
              </p:cNvPr>
              <p:cNvSpPr/>
              <p:nvPr/>
            </p:nvSpPr>
            <p:spPr>
              <a:xfrm>
                <a:off x="2376086" y="2778542"/>
                <a:ext cx="1922991" cy="1906800"/>
              </a:xfrm>
              <a:custGeom>
                <a:avLst/>
                <a:gdLst>
                  <a:gd name="connsiteX0" fmla="*/ 1916829 w 1922991"/>
                  <a:gd name="connsiteY0" fmla="*/ 1150163 h 1906800"/>
                  <a:gd name="connsiteX1" fmla="*/ 1883330 w 1922991"/>
                  <a:gd name="connsiteY1" fmla="*/ 1057629 h 1906800"/>
                  <a:gd name="connsiteX2" fmla="*/ 1856607 w 1922991"/>
                  <a:gd name="connsiteY2" fmla="*/ 1016039 h 1906800"/>
                  <a:gd name="connsiteX3" fmla="*/ 1851804 w 1922991"/>
                  <a:gd name="connsiteY3" fmla="*/ 1009975 h 1906800"/>
                  <a:gd name="connsiteX4" fmla="*/ 1846424 w 1922991"/>
                  <a:gd name="connsiteY4" fmla="*/ 1003393 h 1906800"/>
                  <a:gd name="connsiteX5" fmla="*/ 1843733 w 1922991"/>
                  <a:gd name="connsiteY5" fmla="*/ 1000102 h 1906800"/>
                  <a:gd name="connsiteX6" fmla="*/ 1842398 w 1922991"/>
                  <a:gd name="connsiteY6" fmla="*/ 998446 h 1906800"/>
                  <a:gd name="connsiteX7" fmla="*/ 1841262 w 1922991"/>
                  <a:gd name="connsiteY7" fmla="*/ 996751 h 1906800"/>
                  <a:gd name="connsiteX8" fmla="*/ 1836739 w 1922991"/>
                  <a:gd name="connsiteY8" fmla="*/ 989949 h 1906800"/>
                  <a:gd name="connsiteX9" fmla="*/ 1832215 w 1922991"/>
                  <a:gd name="connsiteY9" fmla="*/ 983147 h 1906800"/>
                  <a:gd name="connsiteX10" fmla="*/ 1831657 w 1922991"/>
                  <a:gd name="connsiteY10" fmla="*/ 982289 h 1906800"/>
                  <a:gd name="connsiteX11" fmla="*/ 1831278 w 1922991"/>
                  <a:gd name="connsiteY11" fmla="*/ 981371 h 1906800"/>
                  <a:gd name="connsiteX12" fmla="*/ 1831577 w 1922991"/>
                  <a:gd name="connsiteY12" fmla="*/ 979437 h 1906800"/>
                  <a:gd name="connsiteX13" fmla="*/ 1832175 w 1922991"/>
                  <a:gd name="connsiteY13" fmla="*/ 975567 h 1906800"/>
                  <a:gd name="connsiteX14" fmla="*/ 1833849 w 1922991"/>
                  <a:gd name="connsiteY14" fmla="*/ 967548 h 1906800"/>
                  <a:gd name="connsiteX15" fmla="*/ 1834865 w 1922991"/>
                  <a:gd name="connsiteY15" fmla="*/ 963459 h 1906800"/>
                  <a:gd name="connsiteX16" fmla="*/ 1836161 w 1922991"/>
                  <a:gd name="connsiteY16" fmla="*/ 959310 h 1906800"/>
                  <a:gd name="connsiteX17" fmla="*/ 1839030 w 1922991"/>
                  <a:gd name="connsiteY17" fmla="*/ 950294 h 1906800"/>
                  <a:gd name="connsiteX18" fmla="*/ 1840385 w 1922991"/>
                  <a:gd name="connsiteY18" fmla="*/ 945766 h 1906800"/>
                  <a:gd name="connsiteX19" fmla="*/ 1841402 w 1922991"/>
                  <a:gd name="connsiteY19" fmla="*/ 941976 h 1906800"/>
                  <a:gd name="connsiteX20" fmla="*/ 1843036 w 1922991"/>
                  <a:gd name="connsiteY20" fmla="*/ 935513 h 1906800"/>
                  <a:gd name="connsiteX21" fmla="*/ 1844530 w 1922991"/>
                  <a:gd name="connsiteY21" fmla="*/ 929011 h 1906800"/>
                  <a:gd name="connsiteX22" fmla="*/ 1851366 w 1922991"/>
                  <a:gd name="connsiteY22" fmla="*/ 873618 h 1906800"/>
                  <a:gd name="connsiteX23" fmla="*/ 1850887 w 1922991"/>
                  <a:gd name="connsiteY23" fmla="*/ 845672 h 1906800"/>
                  <a:gd name="connsiteX24" fmla="*/ 1850349 w 1922991"/>
                  <a:gd name="connsiteY24" fmla="*/ 838711 h 1906800"/>
                  <a:gd name="connsiteX25" fmla="*/ 1849632 w 1922991"/>
                  <a:gd name="connsiteY25" fmla="*/ 831769 h 1906800"/>
                  <a:gd name="connsiteX26" fmla="*/ 1847898 w 1922991"/>
                  <a:gd name="connsiteY26" fmla="*/ 817906 h 1906800"/>
                  <a:gd name="connsiteX27" fmla="*/ 1845527 w 1922991"/>
                  <a:gd name="connsiteY27" fmla="*/ 804143 h 1906800"/>
                  <a:gd name="connsiteX28" fmla="*/ 1844012 w 1922991"/>
                  <a:gd name="connsiteY28" fmla="*/ 797321 h 1906800"/>
                  <a:gd name="connsiteX29" fmla="*/ 1842358 w 1922991"/>
                  <a:gd name="connsiteY29" fmla="*/ 790539 h 1906800"/>
                  <a:gd name="connsiteX30" fmla="*/ 1840704 w 1922991"/>
                  <a:gd name="connsiteY30" fmla="*/ 783757 h 1906800"/>
                  <a:gd name="connsiteX31" fmla="*/ 1838692 w 1922991"/>
                  <a:gd name="connsiteY31" fmla="*/ 777074 h 1906800"/>
                  <a:gd name="connsiteX32" fmla="*/ 1834487 w 1922991"/>
                  <a:gd name="connsiteY32" fmla="*/ 763750 h 1906800"/>
                  <a:gd name="connsiteX33" fmla="*/ 1829445 w 1922991"/>
                  <a:gd name="connsiteY33" fmla="*/ 750725 h 1906800"/>
                  <a:gd name="connsiteX34" fmla="*/ 1826914 w 1922991"/>
                  <a:gd name="connsiteY34" fmla="*/ 744222 h 1906800"/>
                  <a:gd name="connsiteX35" fmla="*/ 1823945 w 1922991"/>
                  <a:gd name="connsiteY35" fmla="*/ 737899 h 1906800"/>
                  <a:gd name="connsiteX36" fmla="*/ 1817947 w 1922991"/>
                  <a:gd name="connsiteY36" fmla="*/ 725272 h 1906800"/>
                  <a:gd name="connsiteX37" fmla="*/ 1811191 w 1922991"/>
                  <a:gd name="connsiteY37" fmla="*/ 713045 h 1906800"/>
                  <a:gd name="connsiteX38" fmla="*/ 1808361 w 1922991"/>
                  <a:gd name="connsiteY38" fmla="*/ 708018 h 1906800"/>
                  <a:gd name="connsiteX39" fmla="*/ 1805233 w 1922991"/>
                  <a:gd name="connsiteY39" fmla="*/ 703151 h 1906800"/>
                  <a:gd name="connsiteX40" fmla="*/ 1799015 w 1922991"/>
                  <a:gd name="connsiteY40" fmla="*/ 693417 h 1906800"/>
                  <a:gd name="connsiteX41" fmla="*/ 1795687 w 1922991"/>
                  <a:gd name="connsiteY41" fmla="*/ 688689 h 1906800"/>
                  <a:gd name="connsiteX42" fmla="*/ 1792260 w 1922991"/>
                  <a:gd name="connsiteY42" fmla="*/ 684042 h 1906800"/>
                  <a:gd name="connsiteX43" fmla="*/ 1785365 w 1922991"/>
                  <a:gd name="connsiteY43" fmla="*/ 674766 h 1906800"/>
                  <a:gd name="connsiteX44" fmla="*/ 1777931 w 1922991"/>
                  <a:gd name="connsiteY44" fmla="*/ 665910 h 1906800"/>
                  <a:gd name="connsiteX45" fmla="*/ 1770299 w 1922991"/>
                  <a:gd name="connsiteY45" fmla="*/ 657233 h 1906800"/>
                  <a:gd name="connsiteX46" fmla="*/ 1754018 w 1922991"/>
                  <a:gd name="connsiteY46" fmla="*/ 640817 h 1906800"/>
                  <a:gd name="connsiteX47" fmla="*/ 1745529 w 1922991"/>
                  <a:gd name="connsiteY47" fmla="*/ 632958 h 1906800"/>
                  <a:gd name="connsiteX48" fmla="*/ 1736581 w 1922991"/>
                  <a:gd name="connsiteY48" fmla="*/ 625617 h 1906800"/>
                  <a:gd name="connsiteX49" fmla="*/ 1732097 w 1922991"/>
                  <a:gd name="connsiteY49" fmla="*/ 621947 h 1906800"/>
                  <a:gd name="connsiteX50" fmla="*/ 1727534 w 1922991"/>
                  <a:gd name="connsiteY50" fmla="*/ 618396 h 1906800"/>
                  <a:gd name="connsiteX51" fmla="*/ 1722632 w 1922991"/>
                  <a:gd name="connsiteY51" fmla="*/ 614906 h 1906800"/>
                  <a:gd name="connsiteX52" fmla="*/ 1716095 w 1922991"/>
                  <a:gd name="connsiteY52" fmla="*/ 610278 h 1906800"/>
                  <a:gd name="connsiteX53" fmla="*/ 1709280 w 1922991"/>
                  <a:gd name="connsiteY53" fmla="*/ 605710 h 1906800"/>
                  <a:gd name="connsiteX54" fmla="*/ 1703242 w 1922991"/>
                  <a:gd name="connsiteY54" fmla="*/ 600943 h 1906800"/>
                  <a:gd name="connsiteX55" fmla="*/ 1691345 w 1922991"/>
                  <a:gd name="connsiteY55" fmla="*/ 591368 h 1906800"/>
                  <a:gd name="connsiteX56" fmla="*/ 1688376 w 1922991"/>
                  <a:gd name="connsiteY56" fmla="*/ 588974 h 1906800"/>
                  <a:gd name="connsiteX57" fmla="*/ 1687698 w 1922991"/>
                  <a:gd name="connsiteY57" fmla="*/ 588316 h 1906800"/>
                  <a:gd name="connsiteX58" fmla="*/ 1687598 w 1922991"/>
                  <a:gd name="connsiteY58" fmla="*/ 587439 h 1906800"/>
                  <a:gd name="connsiteX59" fmla="*/ 1687499 w 1922991"/>
                  <a:gd name="connsiteY59" fmla="*/ 585683 h 1906800"/>
                  <a:gd name="connsiteX60" fmla="*/ 1687339 w 1922991"/>
                  <a:gd name="connsiteY60" fmla="*/ 582113 h 1906800"/>
                  <a:gd name="connsiteX61" fmla="*/ 1687260 w 1922991"/>
                  <a:gd name="connsiteY61" fmla="*/ 578423 h 1906800"/>
                  <a:gd name="connsiteX62" fmla="*/ 1688316 w 1922991"/>
                  <a:gd name="connsiteY62" fmla="*/ 562624 h 1906800"/>
                  <a:gd name="connsiteX63" fmla="*/ 1689970 w 1922991"/>
                  <a:gd name="connsiteY63" fmla="*/ 548941 h 1906800"/>
                  <a:gd name="connsiteX64" fmla="*/ 1690687 w 1922991"/>
                  <a:gd name="connsiteY64" fmla="*/ 538130 h 1906800"/>
                  <a:gd name="connsiteX65" fmla="*/ 1690866 w 1922991"/>
                  <a:gd name="connsiteY65" fmla="*/ 518821 h 1906800"/>
                  <a:gd name="connsiteX66" fmla="*/ 1684211 w 1922991"/>
                  <a:gd name="connsiteY66" fmla="*/ 463747 h 1906800"/>
                  <a:gd name="connsiteX67" fmla="*/ 1666634 w 1922991"/>
                  <a:gd name="connsiteY67" fmla="*/ 411107 h 1906800"/>
                  <a:gd name="connsiteX68" fmla="*/ 1639074 w 1922991"/>
                  <a:gd name="connsiteY68" fmla="*/ 362836 h 1906800"/>
                  <a:gd name="connsiteX69" fmla="*/ 1602825 w 1922991"/>
                  <a:gd name="connsiteY69" fmla="*/ 320528 h 1906800"/>
                  <a:gd name="connsiteX70" fmla="*/ 1533356 w 1922991"/>
                  <a:gd name="connsiteY70" fmla="*/ 270002 h 1906800"/>
                  <a:gd name="connsiteX71" fmla="*/ 1523771 w 1922991"/>
                  <a:gd name="connsiteY71" fmla="*/ 265075 h 1906800"/>
                  <a:gd name="connsiteX72" fmla="*/ 1514026 w 1922991"/>
                  <a:gd name="connsiteY72" fmla="*/ 260468 h 1906800"/>
                  <a:gd name="connsiteX73" fmla="*/ 1504102 w 1922991"/>
                  <a:gd name="connsiteY73" fmla="*/ 256219 h 1906800"/>
                  <a:gd name="connsiteX74" fmla="*/ 1493859 w 1922991"/>
                  <a:gd name="connsiteY74" fmla="*/ 252249 h 1906800"/>
                  <a:gd name="connsiteX75" fmla="*/ 1491289 w 1922991"/>
                  <a:gd name="connsiteY75" fmla="*/ 251272 h 1906800"/>
                  <a:gd name="connsiteX76" fmla="*/ 1487761 w 1922991"/>
                  <a:gd name="connsiteY76" fmla="*/ 250095 h 1906800"/>
                  <a:gd name="connsiteX77" fmla="*/ 1480527 w 1922991"/>
                  <a:gd name="connsiteY77" fmla="*/ 247722 h 1906800"/>
                  <a:gd name="connsiteX78" fmla="*/ 1473393 w 1922991"/>
                  <a:gd name="connsiteY78" fmla="*/ 245268 h 1906800"/>
                  <a:gd name="connsiteX79" fmla="*/ 1466817 w 1922991"/>
                  <a:gd name="connsiteY79" fmla="*/ 242356 h 1906800"/>
                  <a:gd name="connsiteX80" fmla="*/ 1460241 w 1922991"/>
                  <a:gd name="connsiteY80" fmla="*/ 239444 h 1906800"/>
                  <a:gd name="connsiteX81" fmla="*/ 1459424 w 1922991"/>
                  <a:gd name="connsiteY81" fmla="*/ 239085 h 1906800"/>
                  <a:gd name="connsiteX82" fmla="*/ 1458687 w 1922991"/>
                  <a:gd name="connsiteY82" fmla="*/ 238586 h 1906800"/>
                  <a:gd name="connsiteX83" fmla="*/ 1457909 w 1922991"/>
                  <a:gd name="connsiteY83" fmla="*/ 236950 h 1906800"/>
                  <a:gd name="connsiteX84" fmla="*/ 1456355 w 1922991"/>
                  <a:gd name="connsiteY84" fmla="*/ 233699 h 1906800"/>
                  <a:gd name="connsiteX85" fmla="*/ 1453246 w 1922991"/>
                  <a:gd name="connsiteY85" fmla="*/ 227176 h 1906800"/>
                  <a:gd name="connsiteX86" fmla="*/ 1450277 w 1922991"/>
                  <a:gd name="connsiteY86" fmla="*/ 220474 h 1906800"/>
                  <a:gd name="connsiteX87" fmla="*/ 1447188 w 1922991"/>
                  <a:gd name="connsiteY87" fmla="*/ 211997 h 1906800"/>
                  <a:gd name="connsiteX88" fmla="*/ 1445654 w 1922991"/>
                  <a:gd name="connsiteY88" fmla="*/ 207748 h 1906800"/>
                  <a:gd name="connsiteX89" fmla="*/ 1444877 w 1922991"/>
                  <a:gd name="connsiteY89" fmla="*/ 205633 h 1906800"/>
                  <a:gd name="connsiteX90" fmla="*/ 1444239 w 1922991"/>
                  <a:gd name="connsiteY90" fmla="*/ 203998 h 1906800"/>
                  <a:gd name="connsiteX91" fmla="*/ 1439277 w 1922991"/>
                  <a:gd name="connsiteY91" fmla="*/ 191910 h 1906800"/>
                  <a:gd name="connsiteX92" fmla="*/ 1433956 w 1922991"/>
                  <a:gd name="connsiteY92" fmla="*/ 179982 h 1906800"/>
                  <a:gd name="connsiteX93" fmla="*/ 1428277 w 1922991"/>
                  <a:gd name="connsiteY93" fmla="*/ 168253 h 1906800"/>
                  <a:gd name="connsiteX94" fmla="*/ 1399262 w 1922991"/>
                  <a:gd name="connsiteY94" fmla="*/ 119702 h 1906800"/>
                  <a:gd name="connsiteX95" fmla="*/ 1363371 w 1922991"/>
                  <a:gd name="connsiteY95" fmla="*/ 76537 h 1906800"/>
                  <a:gd name="connsiteX96" fmla="*/ 1272261 w 1922991"/>
                  <a:gd name="connsiteY96" fmla="*/ 15080 h 1906800"/>
                  <a:gd name="connsiteX97" fmla="*/ 1265864 w 1922991"/>
                  <a:gd name="connsiteY97" fmla="*/ 12626 h 1906800"/>
                  <a:gd name="connsiteX98" fmla="*/ 1259368 w 1922991"/>
                  <a:gd name="connsiteY98" fmla="*/ 10492 h 1906800"/>
                  <a:gd name="connsiteX99" fmla="*/ 1256119 w 1922991"/>
                  <a:gd name="connsiteY99" fmla="*/ 9415 h 1906800"/>
                  <a:gd name="connsiteX100" fmla="*/ 1252831 w 1922991"/>
                  <a:gd name="connsiteY100" fmla="*/ 8497 h 1906800"/>
                  <a:gd name="connsiteX101" fmla="*/ 1246255 w 1922991"/>
                  <a:gd name="connsiteY101" fmla="*/ 6662 h 1906800"/>
                  <a:gd name="connsiteX102" fmla="*/ 1219512 w 1922991"/>
                  <a:gd name="connsiteY102" fmla="*/ 1656 h 1906800"/>
                  <a:gd name="connsiteX103" fmla="*/ 1192330 w 1922991"/>
                  <a:gd name="connsiteY103" fmla="*/ 0 h 1906800"/>
                  <a:gd name="connsiteX104" fmla="*/ 1178301 w 1922991"/>
                  <a:gd name="connsiteY104" fmla="*/ 339 h 1906800"/>
                  <a:gd name="connsiteX105" fmla="*/ 1164352 w 1922991"/>
                  <a:gd name="connsiteY105" fmla="*/ 1317 h 1906800"/>
                  <a:gd name="connsiteX106" fmla="*/ 1059810 w 1922991"/>
                  <a:gd name="connsiteY106" fmla="*/ 33531 h 1906800"/>
                  <a:gd name="connsiteX107" fmla="*/ 1051719 w 1922991"/>
                  <a:gd name="connsiteY107" fmla="*/ 38637 h 1906800"/>
                  <a:gd name="connsiteX108" fmla="*/ 1043768 w 1922991"/>
                  <a:gd name="connsiteY108" fmla="*/ 43943 h 1906800"/>
                  <a:gd name="connsiteX109" fmla="*/ 1028662 w 1922991"/>
                  <a:gd name="connsiteY109" fmla="*/ 55692 h 1906800"/>
                  <a:gd name="connsiteX110" fmla="*/ 1021369 w 1922991"/>
                  <a:gd name="connsiteY110" fmla="*/ 61915 h 1906800"/>
                  <a:gd name="connsiteX111" fmla="*/ 1013517 w 1922991"/>
                  <a:gd name="connsiteY111" fmla="*/ 69595 h 1906800"/>
                  <a:gd name="connsiteX112" fmla="*/ 995184 w 1922991"/>
                  <a:gd name="connsiteY112" fmla="*/ 90998 h 1906800"/>
                  <a:gd name="connsiteX113" fmla="*/ 992952 w 1922991"/>
                  <a:gd name="connsiteY113" fmla="*/ 93771 h 1906800"/>
                  <a:gd name="connsiteX114" fmla="*/ 991836 w 1922991"/>
                  <a:gd name="connsiteY114" fmla="*/ 95147 h 1906800"/>
                  <a:gd name="connsiteX115" fmla="*/ 990720 w 1922991"/>
                  <a:gd name="connsiteY115" fmla="*/ 96324 h 1906800"/>
                  <a:gd name="connsiteX116" fmla="*/ 986256 w 1922991"/>
                  <a:gd name="connsiteY116" fmla="*/ 100812 h 1906800"/>
                  <a:gd name="connsiteX117" fmla="*/ 977268 w 1922991"/>
                  <a:gd name="connsiteY117" fmla="*/ 109589 h 1906800"/>
                  <a:gd name="connsiteX118" fmla="*/ 973223 w 1922991"/>
                  <a:gd name="connsiteY118" fmla="*/ 113179 h 1906800"/>
                  <a:gd name="connsiteX119" fmla="*/ 969397 w 1922991"/>
                  <a:gd name="connsiteY119" fmla="*/ 116411 h 1906800"/>
                  <a:gd name="connsiteX120" fmla="*/ 961745 w 1922991"/>
                  <a:gd name="connsiteY120" fmla="*/ 122873 h 1906800"/>
                  <a:gd name="connsiteX121" fmla="*/ 961047 w 1922991"/>
                  <a:gd name="connsiteY121" fmla="*/ 122893 h 1906800"/>
                  <a:gd name="connsiteX122" fmla="*/ 960569 w 1922991"/>
                  <a:gd name="connsiteY122" fmla="*/ 122494 h 1906800"/>
                  <a:gd name="connsiteX123" fmla="*/ 959612 w 1922991"/>
                  <a:gd name="connsiteY123" fmla="*/ 121677 h 1906800"/>
                  <a:gd name="connsiteX124" fmla="*/ 957699 w 1922991"/>
                  <a:gd name="connsiteY124" fmla="*/ 120061 h 1906800"/>
                  <a:gd name="connsiteX125" fmla="*/ 953873 w 1922991"/>
                  <a:gd name="connsiteY125" fmla="*/ 116829 h 1906800"/>
                  <a:gd name="connsiteX126" fmla="*/ 950047 w 1922991"/>
                  <a:gd name="connsiteY126" fmla="*/ 113598 h 1906800"/>
                  <a:gd name="connsiteX127" fmla="*/ 948134 w 1922991"/>
                  <a:gd name="connsiteY127" fmla="*/ 111982 h 1906800"/>
                  <a:gd name="connsiteX128" fmla="*/ 947177 w 1922991"/>
                  <a:gd name="connsiteY128" fmla="*/ 111165 h 1906800"/>
                  <a:gd name="connsiteX129" fmla="*/ 946081 w 1922991"/>
                  <a:gd name="connsiteY129" fmla="*/ 110147 h 1906800"/>
                  <a:gd name="connsiteX130" fmla="*/ 937094 w 1922991"/>
                  <a:gd name="connsiteY130" fmla="*/ 101390 h 1906800"/>
                  <a:gd name="connsiteX131" fmla="*/ 928126 w 1922991"/>
                  <a:gd name="connsiteY131" fmla="*/ 91676 h 1906800"/>
                  <a:gd name="connsiteX132" fmla="*/ 920454 w 1922991"/>
                  <a:gd name="connsiteY132" fmla="*/ 82202 h 1906800"/>
                  <a:gd name="connsiteX133" fmla="*/ 912563 w 1922991"/>
                  <a:gd name="connsiteY133" fmla="*/ 73046 h 1906800"/>
                  <a:gd name="connsiteX134" fmla="*/ 908438 w 1922991"/>
                  <a:gd name="connsiteY134" fmla="*/ 68837 h 1906800"/>
                  <a:gd name="connsiteX135" fmla="*/ 904731 w 1922991"/>
                  <a:gd name="connsiteY135" fmla="*/ 65207 h 1906800"/>
                  <a:gd name="connsiteX136" fmla="*/ 901782 w 1922991"/>
                  <a:gd name="connsiteY136" fmla="*/ 62314 h 1906800"/>
                  <a:gd name="connsiteX137" fmla="*/ 898673 w 1922991"/>
                  <a:gd name="connsiteY137" fmla="*/ 59602 h 1906800"/>
                  <a:gd name="connsiteX138" fmla="*/ 872567 w 1922991"/>
                  <a:gd name="connsiteY138" fmla="*/ 39615 h 1906800"/>
                  <a:gd name="connsiteX139" fmla="*/ 823664 w 1922991"/>
                  <a:gd name="connsiteY139" fmla="*/ 15279 h 1906800"/>
                  <a:gd name="connsiteX140" fmla="*/ 769939 w 1922991"/>
                  <a:gd name="connsiteY140" fmla="*/ 2633 h 1906800"/>
                  <a:gd name="connsiteX141" fmla="*/ 763044 w 1922991"/>
                  <a:gd name="connsiteY141" fmla="*/ 1735 h 1906800"/>
                  <a:gd name="connsiteX142" fmla="*/ 756089 w 1922991"/>
                  <a:gd name="connsiteY142" fmla="*/ 1157 h 1906800"/>
                  <a:gd name="connsiteX143" fmla="*/ 749114 w 1922991"/>
                  <a:gd name="connsiteY143" fmla="*/ 638 h 1906800"/>
                  <a:gd name="connsiteX144" fmla="*/ 745627 w 1922991"/>
                  <a:gd name="connsiteY144" fmla="*/ 379 h 1906800"/>
                  <a:gd name="connsiteX145" fmla="*/ 742119 w 1922991"/>
                  <a:gd name="connsiteY145" fmla="*/ 299 h 1906800"/>
                  <a:gd name="connsiteX146" fmla="*/ 728130 w 1922991"/>
                  <a:gd name="connsiteY146" fmla="*/ 20 h 1906800"/>
                  <a:gd name="connsiteX147" fmla="*/ 714539 w 1922991"/>
                  <a:gd name="connsiteY147" fmla="*/ 578 h 1906800"/>
                  <a:gd name="connsiteX148" fmla="*/ 707764 w 1922991"/>
                  <a:gd name="connsiteY148" fmla="*/ 1097 h 1906800"/>
                  <a:gd name="connsiteX149" fmla="*/ 701008 w 1922991"/>
                  <a:gd name="connsiteY149" fmla="*/ 1955 h 1906800"/>
                  <a:gd name="connsiteX150" fmla="*/ 697640 w 1922991"/>
                  <a:gd name="connsiteY150" fmla="*/ 2374 h 1906800"/>
                  <a:gd name="connsiteX151" fmla="*/ 694292 w 1922991"/>
                  <a:gd name="connsiteY151" fmla="*/ 2972 h 1906800"/>
                  <a:gd name="connsiteX152" fmla="*/ 687597 w 1922991"/>
                  <a:gd name="connsiteY152" fmla="*/ 4149 h 1906800"/>
                  <a:gd name="connsiteX153" fmla="*/ 661272 w 1922991"/>
                  <a:gd name="connsiteY153" fmla="*/ 11230 h 1906800"/>
                  <a:gd name="connsiteX154" fmla="*/ 611711 w 1922991"/>
                  <a:gd name="connsiteY154" fmla="*/ 34608 h 1906800"/>
                  <a:gd name="connsiteX155" fmla="*/ 567790 w 1922991"/>
                  <a:gd name="connsiteY155" fmla="*/ 68458 h 1906800"/>
                  <a:gd name="connsiteX156" fmla="*/ 530465 w 1922991"/>
                  <a:gd name="connsiteY156" fmla="*/ 110247 h 1906800"/>
                  <a:gd name="connsiteX157" fmla="*/ 499995 w 1922991"/>
                  <a:gd name="connsiteY157" fmla="*/ 157821 h 1906800"/>
                  <a:gd name="connsiteX158" fmla="*/ 479928 w 1922991"/>
                  <a:gd name="connsiteY158" fmla="*/ 200746 h 1906800"/>
                  <a:gd name="connsiteX159" fmla="*/ 478812 w 1922991"/>
                  <a:gd name="connsiteY159" fmla="*/ 203499 h 1906800"/>
                  <a:gd name="connsiteX160" fmla="*/ 477596 w 1922991"/>
                  <a:gd name="connsiteY160" fmla="*/ 206631 h 1906800"/>
                  <a:gd name="connsiteX161" fmla="*/ 474787 w 1922991"/>
                  <a:gd name="connsiteY161" fmla="*/ 214350 h 1906800"/>
                  <a:gd name="connsiteX162" fmla="*/ 471977 w 1922991"/>
                  <a:gd name="connsiteY162" fmla="*/ 222070 h 1906800"/>
                  <a:gd name="connsiteX163" fmla="*/ 468649 w 1922991"/>
                  <a:gd name="connsiteY163" fmla="*/ 229171 h 1906800"/>
                  <a:gd name="connsiteX164" fmla="*/ 465281 w 1922991"/>
                  <a:gd name="connsiteY164" fmla="*/ 236232 h 1906800"/>
                  <a:gd name="connsiteX165" fmla="*/ 464444 w 1922991"/>
                  <a:gd name="connsiteY165" fmla="*/ 237987 h 1906800"/>
                  <a:gd name="connsiteX166" fmla="*/ 463966 w 1922991"/>
                  <a:gd name="connsiteY166" fmla="*/ 238845 h 1906800"/>
                  <a:gd name="connsiteX167" fmla="*/ 463109 w 1922991"/>
                  <a:gd name="connsiteY167" fmla="*/ 239284 h 1906800"/>
                  <a:gd name="connsiteX168" fmla="*/ 459542 w 1922991"/>
                  <a:gd name="connsiteY168" fmla="*/ 240860 h 1906800"/>
                  <a:gd name="connsiteX169" fmla="*/ 452427 w 1922991"/>
                  <a:gd name="connsiteY169" fmla="*/ 244011 h 1906800"/>
                  <a:gd name="connsiteX170" fmla="*/ 448860 w 1922991"/>
                  <a:gd name="connsiteY170" fmla="*/ 245587 h 1906800"/>
                  <a:gd name="connsiteX171" fmla="*/ 444994 w 1922991"/>
                  <a:gd name="connsiteY171" fmla="*/ 246924 h 1906800"/>
                  <a:gd name="connsiteX172" fmla="*/ 434054 w 1922991"/>
                  <a:gd name="connsiteY172" fmla="*/ 250514 h 1906800"/>
                  <a:gd name="connsiteX173" fmla="*/ 432679 w 1922991"/>
                  <a:gd name="connsiteY173" fmla="*/ 250953 h 1906800"/>
                  <a:gd name="connsiteX174" fmla="*/ 431443 w 1922991"/>
                  <a:gd name="connsiteY174" fmla="*/ 251372 h 1906800"/>
                  <a:gd name="connsiteX175" fmla="*/ 429490 w 1922991"/>
                  <a:gd name="connsiteY175" fmla="*/ 252110 h 1906800"/>
                  <a:gd name="connsiteX176" fmla="*/ 425605 w 1922991"/>
                  <a:gd name="connsiteY176" fmla="*/ 253586 h 1906800"/>
                  <a:gd name="connsiteX177" fmla="*/ 410380 w 1922991"/>
                  <a:gd name="connsiteY177" fmla="*/ 259829 h 1906800"/>
                  <a:gd name="connsiteX178" fmla="*/ 381285 w 1922991"/>
                  <a:gd name="connsiteY178" fmla="*/ 274590 h 1906800"/>
                  <a:gd name="connsiteX179" fmla="*/ 328476 w 1922991"/>
                  <a:gd name="connsiteY179" fmla="*/ 312649 h 1906800"/>
                  <a:gd name="connsiteX180" fmla="*/ 290593 w 1922991"/>
                  <a:gd name="connsiteY180" fmla="*/ 353540 h 1906800"/>
                  <a:gd name="connsiteX181" fmla="*/ 261100 w 1922991"/>
                  <a:gd name="connsiteY181" fmla="*/ 400695 h 1906800"/>
                  <a:gd name="connsiteX182" fmla="*/ 241331 w 1922991"/>
                  <a:gd name="connsiteY182" fmla="*/ 452557 h 1906800"/>
                  <a:gd name="connsiteX183" fmla="*/ 232384 w 1922991"/>
                  <a:gd name="connsiteY183" fmla="*/ 507292 h 1906800"/>
                  <a:gd name="connsiteX184" fmla="*/ 232025 w 1922991"/>
                  <a:gd name="connsiteY184" fmla="*/ 512837 h 1906800"/>
                  <a:gd name="connsiteX185" fmla="*/ 231905 w 1922991"/>
                  <a:gd name="connsiteY185" fmla="*/ 518402 h 1906800"/>
                  <a:gd name="connsiteX186" fmla="*/ 231806 w 1922991"/>
                  <a:gd name="connsiteY186" fmla="*/ 529532 h 1906800"/>
                  <a:gd name="connsiteX187" fmla="*/ 232204 w 1922991"/>
                  <a:gd name="connsiteY187" fmla="*/ 540643 h 1906800"/>
                  <a:gd name="connsiteX188" fmla="*/ 232384 w 1922991"/>
                  <a:gd name="connsiteY188" fmla="*/ 543416 h 1906800"/>
                  <a:gd name="connsiteX189" fmla="*/ 232643 w 1922991"/>
                  <a:gd name="connsiteY189" fmla="*/ 546787 h 1906800"/>
                  <a:gd name="connsiteX190" fmla="*/ 233400 w 1922991"/>
                  <a:gd name="connsiteY190" fmla="*/ 554566 h 1906800"/>
                  <a:gd name="connsiteX191" fmla="*/ 235273 w 1922991"/>
                  <a:gd name="connsiteY191" fmla="*/ 570264 h 1906800"/>
                  <a:gd name="connsiteX192" fmla="*/ 235333 w 1922991"/>
                  <a:gd name="connsiteY192" fmla="*/ 584885 h 1906800"/>
                  <a:gd name="connsiteX193" fmla="*/ 235114 w 1922991"/>
                  <a:gd name="connsiteY193" fmla="*/ 588276 h 1906800"/>
                  <a:gd name="connsiteX194" fmla="*/ 234536 w 1922991"/>
                  <a:gd name="connsiteY194" fmla="*/ 588955 h 1906800"/>
                  <a:gd name="connsiteX195" fmla="*/ 233818 w 1922991"/>
                  <a:gd name="connsiteY195" fmla="*/ 589533 h 1906800"/>
                  <a:gd name="connsiteX196" fmla="*/ 232384 w 1922991"/>
                  <a:gd name="connsiteY196" fmla="*/ 590690 h 1906800"/>
                  <a:gd name="connsiteX197" fmla="*/ 226664 w 1922991"/>
                  <a:gd name="connsiteY197" fmla="*/ 595338 h 1906800"/>
                  <a:gd name="connsiteX198" fmla="*/ 215246 w 1922991"/>
                  <a:gd name="connsiteY198" fmla="*/ 604653 h 1906800"/>
                  <a:gd name="connsiteX199" fmla="*/ 205341 w 1922991"/>
                  <a:gd name="connsiteY199" fmla="*/ 611255 h 1906800"/>
                  <a:gd name="connsiteX200" fmla="*/ 196892 w 1922991"/>
                  <a:gd name="connsiteY200" fmla="*/ 617299 h 1906800"/>
                  <a:gd name="connsiteX201" fmla="*/ 193464 w 1922991"/>
                  <a:gd name="connsiteY201" fmla="*/ 619733 h 1906800"/>
                  <a:gd name="connsiteX202" fmla="*/ 190216 w 1922991"/>
                  <a:gd name="connsiteY202" fmla="*/ 622386 h 1906800"/>
                  <a:gd name="connsiteX203" fmla="*/ 183700 w 1922991"/>
                  <a:gd name="connsiteY203" fmla="*/ 627692 h 1906800"/>
                  <a:gd name="connsiteX204" fmla="*/ 177223 w 1922991"/>
                  <a:gd name="connsiteY204" fmla="*/ 633037 h 1906800"/>
                  <a:gd name="connsiteX205" fmla="*/ 171066 w 1922991"/>
                  <a:gd name="connsiteY205" fmla="*/ 638762 h 1906800"/>
                  <a:gd name="connsiteX206" fmla="*/ 159009 w 1922991"/>
                  <a:gd name="connsiteY206" fmla="*/ 650451 h 1906800"/>
                  <a:gd name="connsiteX207" fmla="*/ 153210 w 1922991"/>
                  <a:gd name="connsiteY207" fmla="*/ 656535 h 1906800"/>
                  <a:gd name="connsiteX208" fmla="*/ 147551 w 1922991"/>
                  <a:gd name="connsiteY208" fmla="*/ 662738 h 1906800"/>
                  <a:gd name="connsiteX209" fmla="*/ 136770 w 1922991"/>
                  <a:gd name="connsiteY209" fmla="*/ 675604 h 1906800"/>
                  <a:gd name="connsiteX210" fmla="*/ 126826 w 1922991"/>
                  <a:gd name="connsiteY210" fmla="*/ 689128 h 1906800"/>
                  <a:gd name="connsiteX211" fmla="*/ 124374 w 1922991"/>
                  <a:gd name="connsiteY211" fmla="*/ 692539 h 1906800"/>
                  <a:gd name="connsiteX212" fmla="*/ 122123 w 1922991"/>
                  <a:gd name="connsiteY212" fmla="*/ 696070 h 1906800"/>
                  <a:gd name="connsiteX213" fmla="*/ 117599 w 1922991"/>
                  <a:gd name="connsiteY213" fmla="*/ 703131 h 1906800"/>
                  <a:gd name="connsiteX214" fmla="*/ 113853 w 1922991"/>
                  <a:gd name="connsiteY214" fmla="*/ 709035 h 1906800"/>
                  <a:gd name="connsiteX215" fmla="*/ 110485 w 1922991"/>
                  <a:gd name="connsiteY215" fmla="*/ 715159 h 1906800"/>
                  <a:gd name="connsiteX216" fmla="*/ 103809 w 1922991"/>
                  <a:gd name="connsiteY216" fmla="*/ 727426 h 1906800"/>
                  <a:gd name="connsiteX217" fmla="*/ 92490 w 1922991"/>
                  <a:gd name="connsiteY217" fmla="*/ 752959 h 1906800"/>
                  <a:gd name="connsiteX218" fmla="*/ 89939 w 1922991"/>
                  <a:gd name="connsiteY218" fmla="*/ 759461 h 1906800"/>
                  <a:gd name="connsiteX219" fmla="*/ 88664 w 1922991"/>
                  <a:gd name="connsiteY219" fmla="*/ 762713 h 1906800"/>
                  <a:gd name="connsiteX220" fmla="*/ 87588 w 1922991"/>
                  <a:gd name="connsiteY220" fmla="*/ 766044 h 1906800"/>
                  <a:gd name="connsiteX221" fmla="*/ 83383 w 1922991"/>
                  <a:gd name="connsiteY221" fmla="*/ 779368 h 1906800"/>
                  <a:gd name="connsiteX222" fmla="*/ 82347 w 1922991"/>
                  <a:gd name="connsiteY222" fmla="*/ 782700 h 1906800"/>
                  <a:gd name="connsiteX223" fmla="*/ 81529 w 1922991"/>
                  <a:gd name="connsiteY223" fmla="*/ 786090 h 1906800"/>
                  <a:gd name="connsiteX224" fmla="*/ 79875 w 1922991"/>
                  <a:gd name="connsiteY224" fmla="*/ 792873 h 1906800"/>
                  <a:gd name="connsiteX225" fmla="*/ 76866 w 1922991"/>
                  <a:gd name="connsiteY225" fmla="*/ 806496 h 1906800"/>
                  <a:gd name="connsiteX226" fmla="*/ 74475 w 1922991"/>
                  <a:gd name="connsiteY226" fmla="*/ 820260 h 1906800"/>
                  <a:gd name="connsiteX227" fmla="*/ 73618 w 1922991"/>
                  <a:gd name="connsiteY227" fmla="*/ 827181 h 1906800"/>
                  <a:gd name="connsiteX228" fmla="*/ 72901 w 1922991"/>
                  <a:gd name="connsiteY228" fmla="*/ 834123 h 1906800"/>
                  <a:gd name="connsiteX229" fmla="*/ 71326 w 1922991"/>
                  <a:gd name="connsiteY229" fmla="*/ 862029 h 1906800"/>
                  <a:gd name="connsiteX230" fmla="*/ 75970 w 1922991"/>
                  <a:gd name="connsiteY230" fmla="*/ 917641 h 1906800"/>
                  <a:gd name="connsiteX231" fmla="*/ 79676 w 1922991"/>
                  <a:gd name="connsiteY231" fmla="*/ 935354 h 1906800"/>
                  <a:gd name="connsiteX232" fmla="*/ 81928 w 1922991"/>
                  <a:gd name="connsiteY232" fmla="*/ 944111 h 1906800"/>
                  <a:gd name="connsiteX233" fmla="*/ 83761 w 1922991"/>
                  <a:gd name="connsiteY233" fmla="*/ 950354 h 1906800"/>
                  <a:gd name="connsiteX234" fmla="*/ 85635 w 1922991"/>
                  <a:gd name="connsiteY234" fmla="*/ 956478 h 1906800"/>
                  <a:gd name="connsiteX235" fmla="*/ 87607 w 1922991"/>
                  <a:gd name="connsiteY235" fmla="*/ 962581 h 1906800"/>
                  <a:gd name="connsiteX236" fmla="*/ 88106 w 1922991"/>
                  <a:gd name="connsiteY236" fmla="*/ 964117 h 1906800"/>
                  <a:gd name="connsiteX237" fmla="*/ 88464 w 1922991"/>
                  <a:gd name="connsiteY237" fmla="*/ 965613 h 1906800"/>
                  <a:gd name="connsiteX238" fmla="*/ 89162 w 1922991"/>
                  <a:gd name="connsiteY238" fmla="*/ 968605 h 1906800"/>
                  <a:gd name="connsiteX239" fmla="*/ 89859 w 1922991"/>
                  <a:gd name="connsiteY239" fmla="*/ 971597 h 1906800"/>
                  <a:gd name="connsiteX240" fmla="*/ 90198 w 1922991"/>
                  <a:gd name="connsiteY240" fmla="*/ 973093 h 1906800"/>
                  <a:gd name="connsiteX241" fmla="*/ 90417 w 1922991"/>
                  <a:gd name="connsiteY241" fmla="*/ 974530 h 1906800"/>
                  <a:gd name="connsiteX242" fmla="*/ 91294 w 1922991"/>
                  <a:gd name="connsiteY242" fmla="*/ 980234 h 1906800"/>
                  <a:gd name="connsiteX243" fmla="*/ 91473 w 1922991"/>
                  <a:gd name="connsiteY243" fmla="*/ 981671 h 1906800"/>
                  <a:gd name="connsiteX244" fmla="*/ 90696 w 1922991"/>
                  <a:gd name="connsiteY244" fmla="*/ 982947 h 1906800"/>
                  <a:gd name="connsiteX245" fmla="*/ 89042 w 1922991"/>
                  <a:gd name="connsiteY245" fmla="*/ 985441 h 1906800"/>
                  <a:gd name="connsiteX246" fmla="*/ 85714 w 1922991"/>
                  <a:gd name="connsiteY246" fmla="*/ 990447 h 1906800"/>
                  <a:gd name="connsiteX247" fmla="*/ 82386 w 1922991"/>
                  <a:gd name="connsiteY247" fmla="*/ 995454 h 1906800"/>
                  <a:gd name="connsiteX248" fmla="*/ 80732 w 1922991"/>
                  <a:gd name="connsiteY248" fmla="*/ 997947 h 1906800"/>
                  <a:gd name="connsiteX249" fmla="*/ 78759 w 1922991"/>
                  <a:gd name="connsiteY249" fmla="*/ 1000421 h 1906800"/>
                  <a:gd name="connsiteX250" fmla="*/ 70529 w 1922991"/>
                  <a:gd name="connsiteY250" fmla="*/ 1010494 h 1906800"/>
                  <a:gd name="connsiteX251" fmla="*/ 68477 w 1922991"/>
                  <a:gd name="connsiteY251" fmla="*/ 1013007 h 1906800"/>
                  <a:gd name="connsiteX252" fmla="*/ 67440 w 1922991"/>
                  <a:gd name="connsiteY252" fmla="*/ 1014264 h 1906800"/>
                  <a:gd name="connsiteX253" fmla="*/ 66703 w 1922991"/>
                  <a:gd name="connsiteY253" fmla="*/ 1015261 h 1906800"/>
                  <a:gd name="connsiteX254" fmla="*/ 63913 w 1922991"/>
                  <a:gd name="connsiteY254" fmla="*/ 1019111 h 1906800"/>
                  <a:gd name="connsiteX255" fmla="*/ 58333 w 1922991"/>
                  <a:gd name="connsiteY255" fmla="*/ 1026791 h 1906800"/>
                  <a:gd name="connsiteX256" fmla="*/ 53092 w 1922991"/>
                  <a:gd name="connsiteY256" fmla="*/ 1034710 h 1906800"/>
                  <a:gd name="connsiteX257" fmla="*/ 50462 w 1922991"/>
                  <a:gd name="connsiteY257" fmla="*/ 1038659 h 1906800"/>
                  <a:gd name="connsiteX258" fmla="*/ 48011 w 1922991"/>
                  <a:gd name="connsiteY258" fmla="*/ 1042728 h 1906800"/>
                  <a:gd name="connsiteX259" fmla="*/ 43128 w 1922991"/>
                  <a:gd name="connsiteY259" fmla="*/ 1050867 h 1906800"/>
                  <a:gd name="connsiteX260" fmla="*/ 38585 w 1922991"/>
                  <a:gd name="connsiteY260" fmla="*/ 1059185 h 1906800"/>
                  <a:gd name="connsiteX261" fmla="*/ 34181 w 1922991"/>
                  <a:gd name="connsiteY261" fmla="*/ 1067582 h 1906800"/>
                  <a:gd name="connsiteX262" fmla="*/ 26230 w 1922991"/>
                  <a:gd name="connsiteY262" fmla="*/ 1084797 h 1906800"/>
                  <a:gd name="connsiteX263" fmla="*/ 22563 w 1922991"/>
                  <a:gd name="connsiteY263" fmla="*/ 1093533 h 1906800"/>
                  <a:gd name="connsiteX264" fmla="*/ 19255 w 1922991"/>
                  <a:gd name="connsiteY264" fmla="*/ 1102410 h 1906800"/>
                  <a:gd name="connsiteX265" fmla="*/ 17601 w 1922991"/>
                  <a:gd name="connsiteY265" fmla="*/ 1106858 h 1906800"/>
                  <a:gd name="connsiteX266" fmla="*/ 16166 w 1922991"/>
                  <a:gd name="connsiteY266" fmla="*/ 1111366 h 1906800"/>
                  <a:gd name="connsiteX267" fmla="*/ 13257 w 1922991"/>
                  <a:gd name="connsiteY267" fmla="*/ 1120382 h 1906800"/>
                  <a:gd name="connsiteX268" fmla="*/ 10766 w 1922991"/>
                  <a:gd name="connsiteY268" fmla="*/ 1129518 h 1906800"/>
                  <a:gd name="connsiteX269" fmla="*/ 8454 w 1922991"/>
                  <a:gd name="connsiteY269" fmla="*/ 1138693 h 1906800"/>
                  <a:gd name="connsiteX270" fmla="*/ 483 w 1922991"/>
                  <a:gd name="connsiteY270" fmla="*/ 1194126 h 1906800"/>
                  <a:gd name="connsiteX271" fmla="*/ 2157 w 1922991"/>
                  <a:gd name="connsiteY271" fmla="*/ 1250137 h 1906800"/>
                  <a:gd name="connsiteX272" fmla="*/ 13555 w 1922991"/>
                  <a:gd name="connsiteY272" fmla="*/ 1304971 h 1906800"/>
                  <a:gd name="connsiteX273" fmla="*/ 17860 w 1922991"/>
                  <a:gd name="connsiteY273" fmla="*/ 1318316 h 1906800"/>
                  <a:gd name="connsiteX274" fmla="*/ 22722 w 1922991"/>
                  <a:gd name="connsiteY274" fmla="*/ 1331461 h 1906800"/>
                  <a:gd name="connsiteX275" fmla="*/ 28202 w 1922991"/>
                  <a:gd name="connsiteY275" fmla="*/ 1344367 h 1906800"/>
                  <a:gd name="connsiteX276" fmla="*/ 34221 w 1922991"/>
                  <a:gd name="connsiteY276" fmla="*/ 1357033 h 1906800"/>
                  <a:gd name="connsiteX277" fmla="*/ 63455 w 1922991"/>
                  <a:gd name="connsiteY277" fmla="*/ 1404926 h 1906800"/>
                  <a:gd name="connsiteX278" fmla="*/ 100321 w 1922991"/>
                  <a:gd name="connsiteY278" fmla="*/ 1447353 h 1906800"/>
                  <a:gd name="connsiteX279" fmla="*/ 143565 w 1922991"/>
                  <a:gd name="connsiteY279" fmla="*/ 1483337 h 1906800"/>
                  <a:gd name="connsiteX280" fmla="*/ 149324 w 1922991"/>
                  <a:gd name="connsiteY280" fmla="*/ 1487386 h 1906800"/>
                  <a:gd name="connsiteX281" fmla="*/ 155223 w 1922991"/>
                  <a:gd name="connsiteY281" fmla="*/ 1491236 h 1906800"/>
                  <a:gd name="connsiteX282" fmla="*/ 167199 w 1922991"/>
                  <a:gd name="connsiteY282" fmla="*/ 1498676 h 1906800"/>
                  <a:gd name="connsiteX283" fmla="*/ 173297 w 1922991"/>
                  <a:gd name="connsiteY283" fmla="*/ 1502207 h 1906800"/>
                  <a:gd name="connsiteX284" fmla="*/ 177343 w 1922991"/>
                  <a:gd name="connsiteY284" fmla="*/ 1504461 h 1906800"/>
                  <a:gd name="connsiteX285" fmla="*/ 181667 w 1922991"/>
                  <a:gd name="connsiteY285" fmla="*/ 1506795 h 1906800"/>
                  <a:gd name="connsiteX286" fmla="*/ 198965 w 1922991"/>
                  <a:gd name="connsiteY286" fmla="*/ 1516010 h 1906800"/>
                  <a:gd name="connsiteX287" fmla="*/ 207015 w 1922991"/>
                  <a:gd name="connsiteY287" fmla="*/ 1521715 h 1906800"/>
                  <a:gd name="connsiteX288" fmla="*/ 211041 w 1922991"/>
                  <a:gd name="connsiteY288" fmla="*/ 1524568 h 1906800"/>
                  <a:gd name="connsiteX289" fmla="*/ 211439 w 1922991"/>
                  <a:gd name="connsiteY289" fmla="*/ 1525046 h 1906800"/>
                  <a:gd name="connsiteX290" fmla="*/ 211539 w 1922991"/>
                  <a:gd name="connsiteY290" fmla="*/ 1525665 h 1906800"/>
                  <a:gd name="connsiteX291" fmla="*/ 211698 w 1922991"/>
                  <a:gd name="connsiteY291" fmla="*/ 1526901 h 1906800"/>
                  <a:gd name="connsiteX292" fmla="*/ 212017 w 1922991"/>
                  <a:gd name="connsiteY292" fmla="*/ 1529375 h 1906800"/>
                  <a:gd name="connsiteX293" fmla="*/ 213313 w 1922991"/>
                  <a:gd name="connsiteY293" fmla="*/ 1539308 h 1906800"/>
                  <a:gd name="connsiteX294" fmla="*/ 213970 w 1922991"/>
                  <a:gd name="connsiteY294" fmla="*/ 1544275 h 1906800"/>
                  <a:gd name="connsiteX295" fmla="*/ 214130 w 1922991"/>
                  <a:gd name="connsiteY295" fmla="*/ 1549681 h 1906800"/>
                  <a:gd name="connsiteX296" fmla="*/ 214409 w 1922991"/>
                  <a:gd name="connsiteY296" fmla="*/ 1566217 h 1906800"/>
                  <a:gd name="connsiteX297" fmla="*/ 214449 w 1922991"/>
                  <a:gd name="connsiteY297" fmla="*/ 1568291 h 1906800"/>
                  <a:gd name="connsiteX298" fmla="*/ 214508 w 1922991"/>
                  <a:gd name="connsiteY298" fmla="*/ 1570186 h 1906800"/>
                  <a:gd name="connsiteX299" fmla="*/ 214767 w 1922991"/>
                  <a:gd name="connsiteY299" fmla="*/ 1573198 h 1906800"/>
                  <a:gd name="connsiteX300" fmla="*/ 215266 w 1922991"/>
                  <a:gd name="connsiteY300" fmla="*/ 1579242 h 1906800"/>
                  <a:gd name="connsiteX301" fmla="*/ 218075 w 1922991"/>
                  <a:gd name="connsiteY301" fmla="*/ 1603298 h 1906800"/>
                  <a:gd name="connsiteX302" fmla="*/ 229115 w 1922991"/>
                  <a:gd name="connsiteY302" fmla="*/ 1650433 h 1906800"/>
                  <a:gd name="connsiteX303" fmla="*/ 230869 w 1922991"/>
                  <a:gd name="connsiteY303" fmla="*/ 1656238 h 1906800"/>
                  <a:gd name="connsiteX304" fmla="*/ 232902 w 1922991"/>
                  <a:gd name="connsiteY304" fmla="*/ 1661942 h 1906800"/>
                  <a:gd name="connsiteX305" fmla="*/ 237027 w 1922991"/>
                  <a:gd name="connsiteY305" fmla="*/ 1673332 h 1906800"/>
                  <a:gd name="connsiteX306" fmla="*/ 241750 w 1922991"/>
                  <a:gd name="connsiteY306" fmla="*/ 1684502 h 1906800"/>
                  <a:gd name="connsiteX307" fmla="*/ 244141 w 1922991"/>
                  <a:gd name="connsiteY307" fmla="*/ 1690068 h 1906800"/>
                  <a:gd name="connsiteX308" fmla="*/ 246791 w 1922991"/>
                  <a:gd name="connsiteY308" fmla="*/ 1695533 h 1906800"/>
                  <a:gd name="connsiteX309" fmla="*/ 270685 w 1922991"/>
                  <a:gd name="connsiteY309" fmla="*/ 1737761 h 1906800"/>
                  <a:gd name="connsiteX310" fmla="*/ 278656 w 1922991"/>
                  <a:gd name="connsiteY310" fmla="*/ 1749370 h 1906800"/>
                  <a:gd name="connsiteX311" fmla="*/ 287185 w 1922991"/>
                  <a:gd name="connsiteY311" fmla="*/ 1760600 h 1906800"/>
                  <a:gd name="connsiteX312" fmla="*/ 289318 w 1922991"/>
                  <a:gd name="connsiteY312" fmla="*/ 1763413 h 1906800"/>
                  <a:gd name="connsiteX313" fmla="*/ 291589 w 1922991"/>
                  <a:gd name="connsiteY313" fmla="*/ 1766106 h 1906800"/>
                  <a:gd name="connsiteX314" fmla="*/ 296133 w 1922991"/>
                  <a:gd name="connsiteY314" fmla="*/ 1771511 h 1906800"/>
                  <a:gd name="connsiteX315" fmla="*/ 300677 w 1922991"/>
                  <a:gd name="connsiteY315" fmla="*/ 1776917 h 1906800"/>
                  <a:gd name="connsiteX316" fmla="*/ 305479 w 1922991"/>
                  <a:gd name="connsiteY316" fmla="*/ 1782083 h 1906800"/>
                  <a:gd name="connsiteX317" fmla="*/ 310282 w 1922991"/>
                  <a:gd name="connsiteY317" fmla="*/ 1787249 h 1906800"/>
                  <a:gd name="connsiteX318" fmla="*/ 312673 w 1922991"/>
                  <a:gd name="connsiteY318" fmla="*/ 1789842 h 1906800"/>
                  <a:gd name="connsiteX319" fmla="*/ 315184 w 1922991"/>
                  <a:gd name="connsiteY319" fmla="*/ 1792316 h 1906800"/>
                  <a:gd name="connsiteX320" fmla="*/ 325268 w 1922991"/>
                  <a:gd name="connsiteY320" fmla="*/ 1802210 h 1906800"/>
                  <a:gd name="connsiteX321" fmla="*/ 335809 w 1922991"/>
                  <a:gd name="connsiteY321" fmla="*/ 1811605 h 1906800"/>
                  <a:gd name="connsiteX322" fmla="*/ 338440 w 1922991"/>
                  <a:gd name="connsiteY322" fmla="*/ 1813958 h 1906800"/>
                  <a:gd name="connsiteX323" fmla="*/ 341190 w 1922991"/>
                  <a:gd name="connsiteY323" fmla="*/ 1816192 h 1906800"/>
                  <a:gd name="connsiteX324" fmla="*/ 346690 w 1922991"/>
                  <a:gd name="connsiteY324" fmla="*/ 1820641 h 1906800"/>
                  <a:gd name="connsiteX325" fmla="*/ 444018 w 1922991"/>
                  <a:gd name="connsiteY325" fmla="*/ 1877589 h 1906800"/>
                  <a:gd name="connsiteX326" fmla="*/ 497883 w 1922991"/>
                  <a:gd name="connsiteY326" fmla="*/ 1895003 h 1906800"/>
                  <a:gd name="connsiteX327" fmla="*/ 511713 w 1922991"/>
                  <a:gd name="connsiteY327" fmla="*/ 1898095 h 1906800"/>
                  <a:gd name="connsiteX328" fmla="*/ 518648 w 1922991"/>
                  <a:gd name="connsiteY328" fmla="*/ 1899591 h 1906800"/>
                  <a:gd name="connsiteX329" fmla="*/ 525643 w 1922991"/>
                  <a:gd name="connsiteY329" fmla="*/ 1900748 h 1906800"/>
                  <a:gd name="connsiteX330" fmla="*/ 539632 w 1922991"/>
                  <a:gd name="connsiteY330" fmla="*/ 1902982 h 1906800"/>
                  <a:gd name="connsiteX331" fmla="*/ 553721 w 1922991"/>
                  <a:gd name="connsiteY331" fmla="*/ 1904657 h 1906800"/>
                  <a:gd name="connsiteX332" fmla="*/ 667728 w 1922991"/>
                  <a:gd name="connsiteY332" fmla="*/ 1902144 h 1906800"/>
                  <a:gd name="connsiteX333" fmla="*/ 777511 w 1922991"/>
                  <a:gd name="connsiteY333" fmla="*/ 1873261 h 1906800"/>
                  <a:gd name="connsiteX334" fmla="*/ 827829 w 1922991"/>
                  <a:gd name="connsiteY334" fmla="*/ 1847888 h 1906800"/>
                  <a:gd name="connsiteX335" fmla="*/ 872926 w 1922991"/>
                  <a:gd name="connsiteY335" fmla="*/ 1814736 h 1906800"/>
                  <a:gd name="connsiteX336" fmla="*/ 880578 w 1922991"/>
                  <a:gd name="connsiteY336" fmla="*/ 1807775 h 1906800"/>
                  <a:gd name="connsiteX337" fmla="*/ 887991 w 1922991"/>
                  <a:gd name="connsiteY337" fmla="*/ 1800574 h 1906800"/>
                  <a:gd name="connsiteX338" fmla="*/ 895146 w 1922991"/>
                  <a:gd name="connsiteY338" fmla="*/ 1793134 h 1906800"/>
                  <a:gd name="connsiteX339" fmla="*/ 902300 w 1922991"/>
                  <a:gd name="connsiteY339" fmla="*/ 1785095 h 1906800"/>
                  <a:gd name="connsiteX340" fmla="*/ 920016 w 1922991"/>
                  <a:gd name="connsiteY340" fmla="*/ 1761298 h 1906800"/>
                  <a:gd name="connsiteX341" fmla="*/ 924220 w 1922991"/>
                  <a:gd name="connsiteY341" fmla="*/ 1754975 h 1906800"/>
                  <a:gd name="connsiteX342" fmla="*/ 928425 w 1922991"/>
                  <a:gd name="connsiteY342" fmla="*/ 1748831 h 1906800"/>
                  <a:gd name="connsiteX343" fmla="*/ 932630 w 1922991"/>
                  <a:gd name="connsiteY343" fmla="*/ 1742688 h 1906800"/>
                  <a:gd name="connsiteX344" fmla="*/ 933686 w 1922991"/>
                  <a:gd name="connsiteY344" fmla="*/ 1741152 h 1906800"/>
                  <a:gd name="connsiteX345" fmla="*/ 934742 w 1922991"/>
                  <a:gd name="connsiteY345" fmla="*/ 1739756 h 1906800"/>
                  <a:gd name="connsiteX346" fmla="*/ 936835 w 1922991"/>
                  <a:gd name="connsiteY346" fmla="*/ 1737422 h 1906800"/>
                  <a:gd name="connsiteX347" fmla="*/ 941040 w 1922991"/>
                  <a:gd name="connsiteY347" fmla="*/ 1732754 h 1906800"/>
                  <a:gd name="connsiteX348" fmla="*/ 943132 w 1922991"/>
                  <a:gd name="connsiteY348" fmla="*/ 1730420 h 1906800"/>
                  <a:gd name="connsiteX349" fmla="*/ 945145 w 1922991"/>
                  <a:gd name="connsiteY349" fmla="*/ 1728246 h 1906800"/>
                  <a:gd name="connsiteX350" fmla="*/ 952578 w 1922991"/>
                  <a:gd name="connsiteY350" fmla="*/ 1720606 h 1906800"/>
                  <a:gd name="connsiteX351" fmla="*/ 953494 w 1922991"/>
                  <a:gd name="connsiteY351" fmla="*/ 1719649 h 1906800"/>
                  <a:gd name="connsiteX352" fmla="*/ 954272 w 1922991"/>
                  <a:gd name="connsiteY352" fmla="*/ 1718791 h 1906800"/>
                  <a:gd name="connsiteX353" fmla="*/ 955846 w 1922991"/>
                  <a:gd name="connsiteY353" fmla="*/ 1717076 h 1906800"/>
                  <a:gd name="connsiteX354" fmla="*/ 958995 w 1922991"/>
                  <a:gd name="connsiteY354" fmla="*/ 1713645 h 1906800"/>
                  <a:gd name="connsiteX355" fmla="*/ 960569 w 1922991"/>
                  <a:gd name="connsiteY355" fmla="*/ 1711930 h 1906800"/>
                  <a:gd name="connsiteX356" fmla="*/ 960967 w 1922991"/>
                  <a:gd name="connsiteY356" fmla="*/ 1711491 h 1906800"/>
                  <a:gd name="connsiteX357" fmla="*/ 961506 w 1922991"/>
                  <a:gd name="connsiteY357" fmla="*/ 1711172 h 1906800"/>
                  <a:gd name="connsiteX358" fmla="*/ 962063 w 1922991"/>
                  <a:gd name="connsiteY358" fmla="*/ 1711471 h 1906800"/>
                  <a:gd name="connsiteX359" fmla="*/ 962462 w 1922991"/>
                  <a:gd name="connsiteY359" fmla="*/ 1711910 h 1906800"/>
                  <a:gd name="connsiteX360" fmla="*/ 965611 w 1922991"/>
                  <a:gd name="connsiteY360" fmla="*/ 1715340 h 1906800"/>
                  <a:gd name="connsiteX361" fmla="*/ 968759 w 1922991"/>
                  <a:gd name="connsiteY361" fmla="*/ 1718771 h 1906800"/>
                  <a:gd name="connsiteX362" fmla="*/ 969536 w 1922991"/>
                  <a:gd name="connsiteY362" fmla="*/ 1719629 h 1906800"/>
                  <a:gd name="connsiteX363" fmla="*/ 970453 w 1922991"/>
                  <a:gd name="connsiteY363" fmla="*/ 1720587 h 1906800"/>
                  <a:gd name="connsiteX364" fmla="*/ 972306 w 1922991"/>
                  <a:gd name="connsiteY364" fmla="*/ 1722501 h 1906800"/>
                  <a:gd name="connsiteX365" fmla="*/ 976013 w 1922991"/>
                  <a:gd name="connsiteY365" fmla="*/ 1726331 h 1906800"/>
                  <a:gd name="connsiteX366" fmla="*/ 979879 w 1922991"/>
                  <a:gd name="connsiteY366" fmla="*/ 1730420 h 1906800"/>
                  <a:gd name="connsiteX367" fmla="*/ 988289 w 1922991"/>
                  <a:gd name="connsiteY367" fmla="*/ 1739736 h 1906800"/>
                  <a:gd name="connsiteX368" fmla="*/ 989345 w 1922991"/>
                  <a:gd name="connsiteY368" fmla="*/ 1741112 h 1906800"/>
                  <a:gd name="connsiteX369" fmla="*/ 990401 w 1922991"/>
                  <a:gd name="connsiteY369" fmla="*/ 1742608 h 1906800"/>
                  <a:gd name="connsiteX370" fmla="*/ 992533 w 1922991"/>
                  <a:gd name="connsiteY370" fmla="*/ 1745620 h 1906800"/>
                  <a:gd name="connsiteX371" fmla="*/ 996798 w 1922991"/>
                  <a:gd name="connsiteY371" fmla="*/ 1751624 h 1906800"/>
                  <a:gd name="connsiteX372" fmla="*/ 1002597 w 1922991"/>
                  <a:gd name="connsiteY372" fmla="*/ 1760680 h 1906800"/>
                  <a:gd name="connsiteX373" fmla="*/ 1008495 w 1922991"/>
                  <a:gd name="connsiteY373" fmla="*/ 1769556 h 1906800"/>
                  <a:gd name="connsiteX374" fmla="*/ 1014852 w 1922991"/>
                  <a:gd name="connsiteY374" fmla="*/ 1777715 h 1906800"/>
                  <a:gd name="connsiteX375" fmla="*/ 1018041 w 1922991"/>
                  <a:gd name="connsiteY375" fmla="*/ 1781784 h 1906800"/>
                  <a:gd name="connsiteX376" fmla="*/ 1019635 w 1922991"/>
                  <a:gd name="connsiteY376" fmla="*/ 1783798 h 1906800"/>
                  <a:gd name="connsiteX377" fmla="*/ 1021429 w 1922991"/>
                  <a:gd name="connsiteY377" fmla="*/ 1785873 h 1906800"/>
                  <a:gd name="connsiteX378" fmla="*/ 1031213 w 1922991"/>
                  <a:gd name="connsiteY378" fmla="*/ 1796585 h 1906800"/>
                  <a:gd name="connsiteX379" fmla="*/ 1036255 w 1922991"/>
                  <a:gd name="connsiteY379" fmla="*/ 1801811 h 1906800"/>
                  <a:gd name="connsiteX380" fmla="*/ 1041496 w 1922991"/>
                  <a:gd name="connsiteY380" fmla="*/ 1806837 h 1906800"/>
                  <a:gd name="connsiteX381" fmla="*/ 1134659 w 1922991"/>
                  <a:gd name="connsiteY381" fmla="*/ 1868553 h 1906800"/>
                  <a:gd name="connsiteX382" fmla="*/ 1243485 w 1922991"/>
                  <a:gd name="connsiteY382" fmla="*/ 1900349 h 1906800"/>
                  <a:gd name="connsiteX383" fmla="*/ 1300459 w 1922991"/>
                  <a:gd name="connsiteY383" fmla="*/ 1906133 h 1906800"/>
                  <a:gd name="connsiteX384" fmla="*/ 1314807 w 1922991"/>
                  <a:gd name="connsiteY384" fmla="*/ 1906632 h 1906800"/>
                  <a:gd name="connsiteX385" fmla="*/ 1329155 w 1922991"/>
                  <a:gd name="connsiteY385" fmla="*/ 1906752 h 1906800"/>
                  <a:gd name="connsiteX386" fmla="*/ 1343344 w 1922991"/>
                  <a:gd name="connsiteY386" fmla="*/ 1906413 h 1906800"/>
                  <a:gd name="connsiteX387" fmla="*/ 1346891 w 1922991"/>
                  <a:gd name="connsiteY387" fmla="*/ 1906333 h 1906800"/>
                  <a:gd name="connsiteX388" fmla="*/ 1350438 w 1922991"/>
                  <a:gd name="connsiteY388" fmla="*/ 1906074 h 1906800"/>
                  <a:gd name="connsiteX389" fmla="*/ 1357513 w 1922991"/>
                  <a:gd name="connsiteY389" fmla="*/ 1905575 h 1906800"/>
                  <a:gd name="connsiteX390" fmla="*/ 1385731 w 1922991"/>
                  <a:gd name="connsiteY390" fmla="*/ 1902643 h 1906800"/>
                  <a:gd name="connsiteX391" fmla="*/ 1413610 w 1922991"/>
                  <a:gd name="connsiteY391" fmla="*/ 1897536 h 1906800"/>
                  <a:gd name="connsiteX392" fmla="*/ 1441110 w 1922991"/>
                  <a:gd name="connsiteY392" fmla="*/ 1890714 h 1906800"/>
                  <a:gd name="connsiteX393" fmla="*/ 1467973 w 1922991"/>
                  <a:gd name="connsiteY393" fmla="*/ 1881738 h 1906800"/>
                  <a:gd name="connsiteX394" fmla="*/ 1481165 w 1922991"/>
                  <a:gd name="connsiteY394" fmla="*/ 1876612 h 1906800"/>
                  <a:gd name="connsiteX395" fmla="*/ 1494198 w 1922991"/>
                  <a:gd name="connsiteY395" fmla="*/ 1871067 h 1906800"/>
                  <a:gd name="connsiteX396" fmla="*/ 1506972 w 1922991"/>
                  <a:gd name="connsiteY396" fmla="*/ 1864963 h 1906800"/>
                  <a:gd name="connsiteX397" fmla="*/ 1513269 w 1922991"/>
                  <a:gd name="connsiteY397" fmla="*/ 1861731 h 1906800"/>
                  <a:gd name="connsiteX398" fmla="*/ 1519507 w 1922991"/>
                  <a:gd name="connsiteY398" fmla="*/ 1858380 h 1906800"/>
                  <a:gd name="connsiteX399" fmla="*/ 1567054 w 1922991"/>
                  <a:gd name="connsiteY399" fmla="*/ 1827841 h 1906800"/>
                  <a:gd name="connsiteX400" fmla="*/ 1609521 w 1922991"/>
                  <a:gd name="connsiteY400" fmla="*/ 1790640 h 1906800"/>
                  <a:gd name="connsiteX401" fmla="*/ 1645670 w 1922991"/>
                  <a:gd name="connsiteY401" fmla="*/ 1747415 h 1906800"/>
                  <a:gd name="connsiteX402" fmla="*/ 1652964 w 1922991"/>
                  <a:gd name="connsiteY402" fmla="*/ 1736783 h 1906800"/>
                  <a:gd name="connsiteX403" fmla="*/ 1659799 w 1922991"/>
                  <a:gd name="connsiteY403" fmla="*/ 1725873 h 1906800"/>
                  <a:gd name="connsiteX404" fmla="*/ 1663187 w 1922991"/>
                  <a:gd name="connsiteY404" fmla="*/ 1720387 h 1906800"/>
                  <a:gd name="connsiteX405" fmla="*/ 1666275 w 1922991"/>
                  <a:gd name="connsiteY405" fmla="*/ 1714742 h 1906800"/>
                  <a:gd name="connsiteX406" fmla="*/ 1672393 w 1922991"/>
                  <a:gd name="connsiteY406" fmla="*/ 1703412 h 1906800"/>
                  <a:gd name="connsiteX407" fmla="*/ 1692202 w 1922991"/>
                  <a:gd name="connsiteY407" fmla="*/ 1655998 h 1906800"/>
                  <a:gd name="connsiteX408" fmla="*/ 1704497 w 1922991"/>
                  <a:gd name="connsiteY408" fmla="*/ 1606151 h 1906800"/>
                  <a:gd name="connsiteX409" fmla="*/ 1706271 w 1922991"/>
                  <a:gd name="connsiteY409" fmla="*/ 1593425 h 1906800"/>
                  <a:gd name="connsiteX410" fmla="*/ 1707108 w 1922991"/>
                  <a:gd name="connsiteY410" fmla="*/ 1587061 h 1906800"/>
                  <a:gd name="connsiteX411" fmla="*/ 1707626 w 1922991"/>
                  <a:gd name="connsiteY411" fmla="*/ 1580659 h 1906800"/>
                  <a:gd name="connsiteX412" fmla="*/ 1708144 w 1922991"/>
                  <a:gd name="connsiteY412" fmla="*/ 1574256 h 1906800"/>
                  <a:gd name="connsiteX413" fmla="*/ 1708403 w 1922991"/>
                  <a:gd name="connsiteY413" fmla="*/ 1571044 h 1906800"/>
                  <a:gd name="connsiteX414" fmla="*/ 1708523 w 1922991"/>
                  <a:gd name="connsiteY414" fmla="*/ 1569368 h 1906800"/>
                  <a:gd name="connsiteX415" fmla="*/ 1708562 w 1922991"/>
                  <a:gd name="connsiteY415" fmla="*/ 1567174 h 1906800"/>
                  <a:gd name="connsiteX416" fmla="*/ 1708841 w 1922991"/>
                  <a:gd name="connsiteY416" fmla="*/ 1549641 h 1906800"/>
                  <a:gd name="connsiteX417" fmla="*/ 1708921 w 1922991"/>
                  <a:gd name="connsiteY417" fmla="*/ 1546270 h 1906800"/>
                  <a:gd name="connsiteX418" fmla="*/ 1708961 w 1922991"/>
                  <a:gd name="connsiteY418" fmla="*/ 1544594 h 1906800"/>
                  <a:gd name="connsiteX419" fmla="*/ 1709160 w 1922991"/>
                  <a:gd name="connsiteY419" fmla="*/ 1543058 h 1906800"/>
                  <a:gd name="connsiteX420" fmla="*/ 1709957 w 1922991"/>
                  <a:gd name="connsiteY420" fmla="*/ 1536895 h 1906800"/>
                  <a:gd name="connsiteX421" fmla="*/ 1710754 w 1922991"/>
                  <a:gd name="connsiteY421" fmla="*/ 1530731 h 1906800"/>
                  <a:gd name="connsiteX422" fmla="*/ 1711153 w 1922991"/>
                  <a:gd name="connsiteY422" fmla="*/ 1527659 h 1906800"/>
                  <a:gd name="connsiteX423" fmla="*/ 1711352 w 1922991"/>
                  <a:gd name="connsiteY423" fmla="*/ 1526123 h 1906800"/>
                  <a:gd name="connsiteX424" fmla="*/ 1711771 w 1922991"/>
                  <a:gd name="connsiteY424" fmla="*/ 1524667 h 1906800"/>
                  <a:gd name="connsiteX425" fmla="*/ 1719104 w 1922991"/>
                  <a:gd name="connsiteY425" fmla="*/ 1519481 h 1906800"/>
                  <a:gd name="connsiteX426" fmla="*/ 1722771 w 1922991"/>
                  <a:gd name="connsiteY426" fmla="*/ 1516888 h 1906800"/>
                  <a:gd name="connsiteX427" fmla="*/ 1724604 w 1922991"/>
                  <a:gd name="connsiteY427" fmla="*/ 1515591 h 1906800"/>
                  <a:gd name="connsiteX428" fmla="*/ 1726776 w 1922991"/>
                  <a:gd name="connsiteY428" fmla="*/ 1514454 h 1906800"/>
                  <a:gd name="connsiteX429" fmla="*/ 1744194 w 1922991"/>
                  <a:gd name="connsiteY429" fmla="*/ 1505259 h 1906800"/>
                  <a:gd name="connsiteX430" fmla="*/ 1751726 w 1922991"/>
                  <a:gd name="connsiteY430" fmla="*/ 1501070 h 1906800"/>
                  <a:gd name="connsiteX431" fmla="*/ 1757784 w 1922991"/>
                  <a:gd name="connsiteY431" fmla="*/ 1497460 h 1906800"/>
                  <a:gd name="connsiteX432" fmla="*/ 1763803 w 1922991"/>
                  <a:gd name="connsiteY432" fmla="*/ 1493809 h 1906800"/>
                  <a:gd name="connsiteX433" fmla="*/ 1769701 w 1922991"/>
                  <a:gd name="connsiteY433" fmla="*/ 1489960 h 1906800"/>
                  <a:gd name="connsiteX434" fmla="*/ 1814140 w 1922991"/>
                  <a:gd name="connsiteY434" fmla="*/ 1455411 h 1906800"/>
                  <a:gd name="connsiteX435" fmla="*/ 1852442 w 1922991"/>
                  <a:gd name="connsiteY435" fmla="*/ 1414261 h 1906800"/>
                  <a:gd name="connsiteX436" fmla="*/ 1883350 w 1922991"/>
                  <a:gd name="connsiteY436" fmla="*/ 1367405 h 1906800"/>
                  <a:gd name="connsiteX437" fmla="*/ 1889827 w 1922991"/>
                  <a:gd name="connsiteY437" fmla="*/ 1354958 h 1906800"/>
                  <a:gd name="connsiteX438" fmla="*/ 1895765 w 1922991"/>
                  <a:gd name="connsiteY438" fmla="*/ 1342252 h 1906800"/>
                  <a:gd name="connsiteX439" fmla="*/ 1905888 w 1922991"/>
                  <a:gd name="connsiteY439" fmla="*/ 1316102 h 1906800"/>
                  <a:gd name="connsiteX440" fmla="*/ 1919280 w 1922991"/>
                  <a:gd name="connsiteY440" fmla="*/ 1261726 h 1906800"/>
                  <a:gd name="connsiteX441" fmla="*/ 1922907 w 1922991"/>
                  <a:gd name="connsiteY441" fmla="*/ 1205815 h 1906800"/>
                  <a:gd name="connsiteX442" fmla="*/ 1917048 w 1922991"/>
                  <a:gd name="connsiteY442" fmla="*/ 1150103 h 1906800"/>
                  <a:gd name="connsiteX443" fmla="*/ 1820378 w 1922991"/>
                  <a:gd name="connsiteY443" fmla="*/ 1389207 h 1906800"/>
                  <a:gd name="connsiteX444" fmla="*/ 1786580 w 1922991"/>
                  <a:gd name="connsiteY444" fmla="*/ 1425531 h 1906800"/>
                  <a:gd name="connsiteX445" fmla="*/ 1747242 w 1922991"/>
                  <a:gd name="connsiteY445" fmla="*/ 1456110 h 1906800"/>
                  <a:gd name="connsiteX446" fmla="*/ 1742021 w 1922991"/>
                  <a:gd name="connsiteY446" fmla="*/ 1459520 h 1906800"/>
                  <a:gd name="connsiteX447" fmla="*/ 1736681 w 1922991"/>
                  <a:gd name="connsiteY447" fmla="*/ 1462752 h 1906800"/>
                  <a:gd name="connsiteX448" fmla="*/ 1731320 w 1922991"/>
                  <a:gd name="connsiteY448" fmla="*/ 1465943 h 1906800"/>
                  <a:gd name="connsiteX449" fmla="*/ 1721635 w 1922991"/>
                  <a:gd name="connsiteY449" fmla="*/ 1471289 h 1906800"/>
                  <a:gd name="connsiteX450" fmla="*/ 1714999 w 1922991"/>
                  <a:gd name="connsiteY450" fmla="*/ 1474700 h 1906800"/>
                  <a:gd name="connsiteX451" fmla="*/ 1708463 w 1922991"/>
                  <a:gd name="connsiteY451" fmla="*/ 1478191 h 1906800"/>
                  <a:gd name="connsiteX452" fmla="*/ 1695390 w 1922991"/>
                  <a:gd name="connsiteY452" fmla="*/ 1485192 h 1906800"/>
                  <a:gd name="connsiteX453" fmla="*/ 1692122 w 1922991"/>
                  <a:gd name="connsiteY453" fmla="*/ 1486948 h 1906800"/>
                  <a:gd name="connsiteX454" fmla="*/ 1689970 w 1922991"/>
                  <a:gd name="connsiteY454" fmla="*/ 1489281 h 1906800"/>
                  <a:gd name="connsiteX455" fmla="*/ 1685685 w 1922991"/>
                  <a:gd name="connsiteY455" fmla="*/ 1493969 h 1906800"/>
                  <a:gd name="connsiteX456" fmla="*/ 1677096 w 1922991"/>
                  <a:gd name="connsiteY456" fmla="*/ 1503324 h 1906800"/>
                  <a:gd name="connsiteX457" fmla="*/ 1676239 w 1922991"/>
                  <a:gd name="connsiteY457" fmla="*/ 1505359 h 1906800"/>
                  <a:gd name="connsiteX458" fmla="*/ 1675562 w 1922991"/>
                  <a:gd name="connsiteY458" fmla="*/ 1507453 h 1906800"/>
                  <a:gd name="connsiteX459" fmla="*/ 1674207 w 1922991"/>
                  <a:gd name="connsiteY459" fmla="*/ 1511662 h 1906800"/>
                  <a:gd name="connsiteX460" fmla="*/ 1671497 w 1922991"/>
                  <a:gd name="connsiteY460" fmla="*/ 1520080 h 1906800"/>
                  <a:gd name="connsiteX461" fmla="*/ 1668786 w 1922991"/>
                  <a:gd name="connsiteY461" fmla="*/ 1528497 h 1906800"/>
                  <a:gd name="connsiteX462" fmla="*/ 1668109 w 1922991"/>
                  <a:gd name="connsiteY462" fmla="*/ 1530592 h 1906800"/>
                  <a:gd name="connsiteX463" fmla="*/ 1668049 w 1922991"/>
                  <a:gd name="connsiteY463" fmla="*/ 1533125 h 1906800"/>
                  <a:gd name="connsiteX464" fmla="*/ 1667969 w 1922991"/>
                  <a:gd name="connsiteY464" fmla="*/ 1538251 h 1906800"/>
                  <a:gd name="connsiteX465" fmla="*/ 1667850 w 1922991"/>
                  <a:gd name="connsiteY465" fmla="*/ 1563903 h 1906800"/>
                  <a:gd name="connsiteX466" fmla="*/ 1667850 w 1922991"/>
                  <a:gd name="connsiteY466" fmla="*/ 1567513 h 1906800"/>
                  <a:gd name="connsiteX467" fmla="*/ 1667810 w 1922991"/>
                  <a:gd name="connsiteY467" fmla="*/ 1567713 h 1906800"/>
                  <a:gd name="connsiteX468" fmla="*/ 1667770 w 1922991"/>
                  <a:gd name="connsiteY468" fmla="*/ 1568072 h 1906800"/>
                  <a:gd name="connsiteX469" fmla="*/ 1667710 w 1922991"/>
                  <a:gd name="connsiteY469" fmla="*/ 1568770 h 1906800"/>
                  <a:gd name="connsiteX470" fmla="*/ 1667471 w 1922991"/>
                  <a:gd name="connsiteY470" fmla="*/ 1571583 h 1906800"/>
                  <a:gd name="connsiteX471" fmla="*/ 1667013 w 1922991"/>
                  <a:gd name="connsiteY471" fmla="*/ 1577208 h 1906800"/>
                  <a:gd name="connsiteX472" fmla="*/ 1666574 w 1922991"/>
                  <a:gd name="connsiteY472" fmla="*/ 1582833 h 1906800"/>
                  <a:gd name="connsiteX473" fmla="*/ 1665817 w 1922991"/>
                  <a:gd name="connsiteY473" fmla="*/ 1588418 h 1906800"/>
                  <a:gd name="connsiteX474" fmla="*/ 1664283 w 1922991"/>
                  <a:gd name="connsiteY474" fmla="*/ 1599588 h 1906800"/>
                  <a:gd name="connsiteX475" fmla="*/ 1653482 w 1922991"/>
                  <a:gd name="connsiteY475" fmla="*/ 1643352 h 1906800"/>
                  <a:gd name="connsiteX476" fmla="*/ 1636045 w 1922991"/>
                  <a:gd name="connsiteY476" fmla="*/ 1685081 h 1906800"/>
                  <a:gd name="connsiteX477" fmla="*/ 1630644 w 1922991"/>
                  <a:gd name="connsiteY477" fmla="*/ 1695074 h 1906800"/>
                  <a:gd name="connsiteX478" fmla="*/ 1627934 w 1922991"/>
                  <a:gd name="connsiteY478" fmla="*/ 1700061 h 1906800"/>
                  <a:gd name="connsiteX479" fmla="*/ 1624945 w 1922991"/>
                  <a:gd name="connsiteY479" fmla="*/ 1704908 h 1906800"/>
                  <a:gd name="connsiteX480" fmla="*/ 1618907 w 1922991"/>
                  <a:gd name="connsiteY480" fmla="*/ 1714563 h 1906800"/>
                  <a:gd name="connsiteX481" fmla="*/ 1612450 w 1922991"/>
                  <a:gd name="connsiteY481" fmla="*/ 1723978 h 1906800"/>
                  <a:gd name="connsiteX482" fmla="*/ 1453725 w 1922991"/>
                  <a:gd name="connsiteY482" fmla="*/ 1843799 h 1906800"/>
                  <a:gd name="connsiteX483" fmla="*/ 1429592 w 1922991"/>
                  <a:gd name="connsiteY483" fmla="*/ 1851858 h 1906800"/>
                  <a:gd name="connsiteX484" fmla="*/ 1404861 w 1922991"/>
                  <a:gd name="connsiteY484" fmla="*/ 1857981 h 1906800"/>
                  <a:gd name="connsiteX485" fmla="*/ 1379772 w 1922991"/>
                  <a:gd name="connsiteY485" fmla="*/ 1862589 h 1906800"/>
                  <a:gd name="connsiteX486" fmla="*/ 1354344 w 1922991"/>
                  <a:gd name="connsiteY486" fmla="*/ 1865222 h 1906800"/>
                  <a:gd name="connsiteX487" fmla="*/ 1347967 w 1922991"/>
                  <a:gd name="connsiteY487" fmla="*/ 1865681 h 1906800"/>
                  <a:gd name="connsiteX488" fmla="*/ 1344779 w 1922991"/>
                  <a:gd name="connsiteY488" fmla="*/ 1865920 h 1906800"/>
                  <a:gd name="connsiteX489" fmla="*/ 1341570 w 1922991"/>
                  <a:gd name="connsiteY489" fmla="*/ 1865980 h 1906800"/>
                  <a:gd name="connsiteX490" fmla="*/ 1328757 w 1922991"/>
                  <a:gd name="connsiteY490" fmla="*/ 1866279 h 1906800"/>
                  <a:gd name="connsiteX491" fmla="*/ 1315485 w 1922991"/>
                  <a:gd name="connsiteY491" fmla="*/ 1866180 h 1906800"/>
                  <a:gd name="connsiteX492" fmla="*/ 1302173 w 1922991"/>
                  <a:gd name="connsiteY492" fmla="*/ 1865721 h 1906800"/>
                  <a:gd name="connsiteX493" fmla="*/ 1249643 w 1922991"/>
                  <a:gd name="connsiteY493" fmla="*/ 1860395 h 1906800"/>
                  <a:gd name="connsiteX494" fmla="*/ 1151080 w 1922991"/>
                  <a:gd name="connsiteY494" fmla="*/ 1831651 h 1906800"/>
                  <a:gd name="connsiteX495" fmla="*/ 1069216 w 1922991"/>
                  <a:gd name="connsiteY495" fmla="*/ 1777515 h 1906800"/>
                  <a:gd name="connsiteX496" fmla="*/ 1064672 w 1922991"/>
                  <a:gd name="connsiteY496" fmla="*/ 1773167 h 1906800"/>
                  <a:gd name="connsiteX497" fmla="*/ 1060328 w 1922991"/>
                  <a:gd name="connsiteY497" fmla="*/ 1768659 h 1906800"/>
                  <a:gd name="connsiteX498" fmla="*/ 1051878 w 1922991"/>
                  <a:gd name="connsiteY498" fmla="*/ 1759403 h 1906800"/>
                  <a:gd name="connsiteX499" fmla="*/ 1051101 w 1922991"/>
                  <a:gd name="connsiteY499" fmla="*/ 1758526 h 1906800"/>
                  <a:gd name="connsiteX500" fmla="*/ 1050723 w 1922991"/>
                  <a:gd name="connsiteY500" fmla="*/ 1758107 h 1906800"/>
                  <a:gd name="connsiteX501" fmla="*/ 1050543 w 1922991"/>
                  <a:gd name="connsiteY501" fmla="*/ 1757907 h 1906800"/>
                  <a:gd name="connsiteX502" fmla="*/ 1050244 w 1922991"/>
                  <a:gd name="connsiteY502" fmla="*/ 1757528 h 1906800"/>
                  <a:gd name="connsiteX503" fmla="*/ 1049029 w 1922991"/>
                  <a:gd name="connsiteY503" fmla="*/ 1756032 h 1906800"/>
                  <a:gd name="connsiteX504" fmla="*/ 1046657 w 1922991"/>
                  <a:gd name="connsiteY504" fmla="*/ 1752901 h 1906800"/>
                  <a:gd name="connsiteX505" fmla="*/ 1041954 w 1922991"/>
                  <a:gd name="connsiteY505" fmla="*/ 1746617 h 1906800"/>
                  <a:gd name="connsiteX506" fmla="*/ 1032588 w 1922991"/>
                  <a:gd name="connsiteY506" fmla="*/ 1733971 h 1906800"/>
                  <a:gd name="connsiteX507" fmla="*/ 1024059 w 1922991"/>
                  <a:gd name="connsiteY507" fmla="*/ 1719509 h 1906800"/>
                  <a:gd name="connsiteX508" fmla="*/ 1015689 w 1922991"/>
                  <a:gd name="connsiteY508" fmla="*/ 1704629 h 1906800"/>
                  <a:gd name="connsiteX509" fmla="*/ 1009073 w 1922991"/>
                  <a:gd name="connsiteY509" fmla="*/ 1695573 h 1906800"/>
                  <a:gd name="connsiteX510" fmla="*/ 1005765 w 1922991"/>
                  <a:gd name="connsiteY510" fmla="*/ 1691045 h 1906800"/>
                  <a:gd name="connsiteX511" fmla="*/ 1004111 w 1922991"/>
                  <a:gd name="connsiteY511" fmla="*/ 1688771 h 1906800"/>
                  <a:gd name="connsiteX512" fmla="*/ 1003294 w 1922991"/>
                  <a:gd name="connsiteY512" fmla="*/ 1687634 h 1906800"/>
                  <a:gd name="connsiteX513" fmla="*/ 1003095 w 1922991"/>
                  <a:gd name="connsiteY513" fmla="*/ 1687355 h 1906800"/>
                  <a:gd name="connsiteX514" fmla="*/ 1002876 w 1922991"/>
                  <a:gd name="connsiteY514" fmla="*/ 1687215 h 1906800"/>
                  <a:gd name="connsiteX515" fmla="*/ 1002457 w 1922991"/>
                  <a:gd name="connsiteY515" fmla="*/ 1686916 h 1906800"/>
                  <a:gd name="connsiteX516" fmla="*/ 988747 w 1922991"/>
                  <a:gd name="connsiteY516" fmla="*/ 1677621 h 1906800"/>
                  <a:gd name="connsiteX517" fmla="*/ 987033 w 1922991"/>
                  <a:gd name="connsiteY517" fmla="*/ 1676464 h 1906800"/>
                  <a:gd name="connsiteX518" fmla="*/ 986615 w 1922991"/>
                  <a:gd name="connsiteY518" fmla="*/ 1676185 h 1906800"/>
                  <a:gd name="connsiteX519" fmla="*/ 986256 w 1922991"/>
                  <a:gd name="connsiteY519" fmla="*/ 1676065 h 1906800"/>
                  <a:gd name="connsiteX520" fmla="*/ 985539 w 1922991"/>
                  <a:gd name="connsiteY520" fmla="*/ 1675825 h 1906800"/>
                  <a:gd name="connsiteX521" fmla="*/ 982649 w 1922991"/>
                  <a:gd name="connsiteY521" fmla="*/ 1674908 h 1906800"/>
                  <a:gd name="connsiteX522" fmla="*/ 976890 w 1922991"/>
                  <a:gd name="connsiteY522" fmla="*/ 1673053 h 1906800"/>
                  <a:gd name="connsiteX523" fmla="*/ 974000 w 1922991"/>
                  <a:gd name="connsiteY523" fmla="*/ 1672135 h 1906800"/>
                  <a:gd name="connsiteX524" fmla="*/ 972585 w 1922991"/>
                  <a:gd name="connsiteY524" fmla="*/ 1671697 h 1906800"/>
                  <a:gd name="connsiteX525" fmla="*/ 971489 w 1922991"/>
                  <a:gd name="connsiteY525" fmla="*/ 1671597 h 1906800"/>
                  <a:gd name="connsiteX526" fmla="*/ 967065 w 1922991"/>
                  <a:gd name="connsiteY526" fmla="*/ 1671178 h 1906800"/>
                  <a:gd name="connsiteX527" fmla="*/ 962641 w 1922991"/>
                  <a:gd name="connsiteY527" fmla="*/ 1670759 h 1906800"/>
                  <a:gd name="connsiteX528" fmla="*/ 960051 w 1922991"/>
                  <a:gd name="connsiteY528" fmla="*/ 1670759 h 1906800"/>
                  <a:gd name="connsiteX529" fmla="*/ 957839 w 1922991"/>
                  <a:gd name="connsiteY529" fmla="*/ 1670978 h 1906800"/>
                  <a:gd name="connsiteX530" fmla="*/ 953415 w 1922991"/>
                  <a:gd name="connsiteY530" fmla="*/ 1671397 h 1906800"/>
                  <a:gd name="connsiteX531" fmla="*/ 951203 w 1922991"/>
                  <a:gd name="connsiteY531" fmla="*/ 1671617 h 1906800"/>
                  <a:gd name="connsiteX532" fmla="*/ 950107 w 1922991"/>
                  <a:gd name="connsiteY532" fmla="*/ 1671716 h 1906800"/>
                  <a:gd name="connsiteX533" fmla="*/ 948692 w 1922991"/>
                  <a:gd name="connsiteY533" fmla="*/ 1672155 h 1906800"/>
                  <a:gd name="connsiteX534" fmla="*/ 937154 w 1922991"/>
                  <a:gd name="connsiteY534" fmla="*/ 1675845 h 1906800"/>
                  <a:gd name="connsiteX535" fmla="*/ 936436 w 1922991"/>
                  <a:gd name="connsiteY535" fmla="*/ 1676085 h 1906800"/>
                  <a:gd name="connsiteX536" fmla="*/ 936077 w 1922991"/>
                  <a:gd name="connsiteY536" fmla="*/ 1676204 h 1906800"/>
                  <a:gd name="connsiteX537" fmla="*/ 935659 w 1922991"/>
                  <a:gd name="connsiteY537" fmla="*/ 1676484 h 1906800"/>
                  <a:gd name="connsiteX538" fmla="*/ 933945 w 1922991"/>
                  <a:gd name="connsiteY538" fmla="*/ 1677641 h 1906800"/>
                  <a:gd name="connsiteX539" fmla="*/ 930518 w 1922991"/>
                  <a:gd name="connsiteY539" fmla="*/ 1679974 h 1906800"/>
                  <a:gd name="connsiteX540" fmla="*/ 923662 w 1922991"/>
                  <a:gd name="connsiteY540" fmla="*/ 1684622 h 1906800"/>
                  <a:gd name="connsiteX541" fmla="*/ 920235 w 1922991"/>
                  <a:gd name="connsiteY541" fmla="*/ 1686956 h 1906800"/>
                  <a:gd name="connsiteX542" fmla="*/ 918581 w 1922991"/>
                  <a:gd name="connsiteY542" fmla="*/ 1688891 h 1906800"/>
                  <a:gd name="connsiteX543" fmla="*/ 916967 w 1922991"/>
                  <a:gd name="connsiteY543" fmla="*/ 1691265 h 1906800"/>
                  <a:gd name="connsiteX544" fmla="*/ 910530 w 1922991"/>
                  <a:gd name="connsiteY544" fmla="*/ 1700739 h 1906800"/>
                  <a:gd name="connsiteX545" fmla="*/ 904093 w 1922991"/>
                  <a:gd name="connsiteY545" fmla="*/ 1710234 h 1906800"/>
                  <a:gd name="connsiteX546" fmla="*/ 898035 w 1922991"/>
                  <a:gd name="connsiteY546" fmla="*/ 1720527 h 1906800"/>
                  <a:gd name="connsiteX547" fmla="*/ 872069 w 1922991"/>
                  <a:gd name="connsiteY547" fmla="*/ 1758007 h 1906800"/>
                  <a:gd name="connsiteX548" fmla="*/ 865274 w 1922991"/>
                  <a:gd name="connsiteY548" fmla="*/ 1765647 h 1906800"/>
                  <a:gd name="connsiteX549" fmla="*/ 859076 w 1922991"/>
                  <a:gd name="connsiteY549" fmla="*/ 1772070 h 1906800"/>
                  <a:gd name="connsiteX550" fmla="*/ 852659 w 1922991"/>
                  <a:gd name="connsiteY550" fmla="*/ 1778293 h 1906800"/>
                  <a:gd name="connsiteX551" fmla="*/ 846023 w 1922991"/>
                  <a:gd name="connsiteY551" fmla="*/ 1784317 h 1906800"/>
                  <a:gd name="connsiteX552" fmla="*/ 806606 w 1922991"/>
                  <a:gd name="connsiteY552" fmla="*/ 1813300 h 1906800"/>
                  <a:gd name="connsiteX553" fmla="*/ 761928 w 1922991"/>
                  <a:gd name="connsiteY553" fmla="*/ 1835820 h 1906800"/>
                  <a:gd name="connsiteX554" fmla="*/ 662208 w 1922991"/>
                  <a:gd name="connsiteY554" fmla="*/ 1861991 h 1906800"/>
                  <a:gd name="connsiteX555" fmla="*/ 609419 w 1922991"/>
                  <a:gd name="connsiteY555" fmla="*/ 1866160 h 1906800"/>
                  <a:gd name="connsiteX556" fmla="*/ 596068 w 1922991"/>
                  <a:gd name="connsiteY556" fmla="*/ 1866339 h 1906800"/>
                  <a:gd name="connsiteX557" fmla="*/ 583234 w 1922991"/>
                  <a:gd name="connsiteY557" fmla="*/ 1866040 h 1906800"/>
                  <a:gd name="connsiteX558" fmla="*/ 576837 w 1922991"/>
                  <a:gd name="connsiteY558" fmla="*/ 1865860 h 1906800"/>
                  <a:gd name="connsiteX559" fmla="*/ 570460 w 1922991"/>
                  <a:gd name="connsiteY559" fmla="*/ 1865402 h 1906800"/>
                  <a:gd name="connsiteX560" fmla="*/ 564083 w 1922991"/>
                  <a:gd name="connsiteY560" fmla="*/ 1864963 h 1906800"/>
                  <a:gd name="connsiteX561" fmla="*/ 557726 w 1922991"/>
                  <a:gd name="connsiteY561" fmla="*/ 1864384 h 1906800"/>
                  <a:gd name="connsiteX562" fmla="*/ 545032 w 1922991"/>
                  <a:gd name="connsiteY562" fmla="*/ 1862888 h 1906800"/>
                  <a:gd name="connsiteX563" fmla="*/ 532438 w 1922991"/>
                  <a:gd name="connsiteY563" fmla="*/ 1860874 h 1906800"/>
                  <a:gd name="connsiteX564" fmla="*/ 526141 w 1922991"/>
                  <a:gd name="connsiteY564" fmla="*/ 1859836 h 1906800"/>
                  <a:gd name="connsiteX565" fmla="*/ 519903 w 1922991"/>
                  <a:gd name="connsiteY565" fmla="*/ 1858480 h 1906800"/>
                  <a:gd name="connsiteX566" fmla="*/ 507468 w 1922991"/>
                  <a:gd name="connsiteY566" fmla="*/ 1855707 h 1906800"/>
                  <a:gd name="connsiteX567" fmla="*/ 459083 w 1922991"/>
                  <a:gd name="connsiteY567" fmla="*/ 1840069 h 1906800"/>
                  <a:gd name="connsiteX568" fmla="*/ 371939 w 1922991"/>
                  <a:gd name="connsiteY568" fmla="*/ 1789084 h 1906800"/>
                  <a:gd name="connsiteX569" fmla="*/ 367036 w 1922991"/>
                  <a:gd name="connsiteY569" fmla="*/ 1785115 h 1906800"/>
                  <a:gd name="connsiteX570" fmla="*/ 364585 w 1922991"/>
                  <a:gd name="connsiteY570" fmla="*/ 1783140 h 1906800"/>
                  <a:gd name="connsiteX571" fmla="*/ 362234 w 1922991"/>
                  <a:gd name="connsiteY571" fmla="*/ 1781046 h 1906800"/>
                  <a:gd name="connsiteX572" fmla="*/ 352828 w 1922991"/>
                  <a:gd name="connsiteY572" fmla="*/ 1772668 h 1906800"/>
                  <a:gd name="connsiteX573" fmla="*/ 343860 w 1922991"/>
                  <a:gd name="connsiteY573" fmla="*/ 1763852 h 1906800"/>
                  <a:gd name="connsiteX574" fmla="*/ 341608 w 1922991"/>
                  <a:gd name="connsiteY574" fmla="*/ 1761657 h 1906800"/>
                  <a:gd name="connsiteX575" fmla="*/ 339476 w 1922991"/>
                  <a:gd name="connsiteY575" fmla="*/ 1759344 h 1906800"/>
                  <a:gd name="connsiteX576" fmla="*/ 335212 w 1922991"/>
                  <a:gd name="connsiteY576" fmla="*/ 1754736 h 1906800"/>
                  <a:gd name="connsiteX577" fmla="*/ 330947 w 1922991"/>
                  <a:gd name="connsiteY577" fmla="*/ 1750148 h 1906800"/>
                  <a:gd name="connsiteX578" fmla="*/ 326922 w 1922991"/>
                  <a:gd name="connsiteY578" fmla="*/ 1745341 h 1906800"/>
                  <a:gd name="connsiteX579" fmla="*/ 322876 w 1922991"/>
                  <a:gd name="connsiteY579" fmla="*/ 1740553 h 1906800"/>
                  <a:gd name="connsiteX580" fmla="*/ 320863 w 1922991"/>
                  <a:gd name="connsiteY580" fmla="*/ 1738160 h 1906800"/>
                  <a:gd name="connsiteX581" fmla="*/ 318970 w 1922991"/>
                  <a:gd name="connsiteY581" fmla="*/ 1735666 h 1906800"/>
                  <a:gd name="connsiteX582" fmla="*/ 311398 w 1922991"/>
                  <a:gd name="connsiteY582" fmla="*/ 1725713 h 1906800"/>
                  <a:gd name="connsiteX583" fmla="*/ 304343 w 1922991"/>
                  <a:gd name="connsiteY583" fmla="*/ 1715420 h 1906800"/>
                  <a:gd name="connsiteX584" fmla="*/ 283260 w 1922991"/>
                  <a:gd name="connsiteY584" fmla="*/ 1678139 h 1906800"/>
                  <a:gd name="connsiteX585" fmla="*/ 280908 w 1922991"/>
                  <a:gd name="connsiteY585" fmla="*/ 1673332 h 1906800"/>
                  <a:gd name="connsiteX586" fmla="*/ 278816 w 1922991"/>
                  <a:gd name="connsiteY586" fmla="*/ 1668425 h 1906800"/>
                  <a:gd name="connsiteX587" fmla="*/ 274651 w 1922991"/>
                  <a:gd name="connsiteY587" fmla="*/ 1658591 h 1906800"/>
                  <a:gd name="connsiteX588" fmla="*/ 271024 w 1922991"/>
                  <a:gd name="connsiteY588" fmla="*/ 1648578 h 1906800"/>
                  <a:gd name="connsiteX589" fmla="*/ 269230 w 1922991"/>
                  <a:gd name="connsiteY589" fmla="*/ 1643571 h 1906800"/>
                  <a:gd name="connsiteX590" fmla="*/ 267696 w 1922991"/>
                  <a:gd name="connsiteY590" fmla="*/ 1638485 h 1906800"/>
                  <a:gd name="connsiteX591" fmla="*/ 258011 w 1922991"/>
                  <a:gd name="connsiteY591" fmla="*/ 1597115 h 1906800"/>
                  <a:gd name="connsiteX592" fmla="*/ 255560 w 1922991"/>
                  <a:gd name="connsiteY592" fmla="*/ 1575991 h 1906800"/>
                  <a:gd name="connsiteX593" fmla="*/ 255121 w 1922991"/>
                  <a:gd name="connsiteY593" fmla="*/ 1570685 h 1906800"/>
                  <a:gd name="connsiteX594" fmla="*/ 254902 w 1922991"/>
                  <a:gd name="connsiteY594" fmla="*/ 1568032 h 1906800"/>
                  <a:gd name="connsiteX595" fmla="*/ 254902 w 1922991"/>
                  <a:gd name="connsiteY595" fmla="*/ 1567693 h 1906800"/>
                  <a:gd name="connsiteX596" fmla="*/ 254862 w 1922991"/>
                  <a:gd name="connsiteY596" fmla="*/ 1567035 h 1906800"/>
                  <a:gd name="connsiteX597" fmla="*/ 254862 w 1922991"/>
                  <a:gd name="connsiteY597" fmla="*/ 1562507 h 1906800"/>
                  <a:gd name="connsiteX598" fmla="*/ 254723 w 1922991"/>
                  <a:gd name="connsiteY598" fmla="*/ 1538331 h 1906800"/>
                  <a:gd name="connsiteX599" fmla="*/ 254663 w 1922991"/>
                  <a:gd name="connsiteY599" fmla="*/ 1534202 h 1906800"/>
                  <a:gd name="connsiteX600" fmla="*/ 254623 w 1922991"/>
                  <a:gd name="connsiteY600" fmla="*/ 1532147 h 1906800"/>
                  <a:gd name="connsiteX601" fmla="*/ 254424 w 1922991"/>
                  <a:gd name="connsiteY601" fmla="*/ 1530213 h 1906800"/>
                  <a:gd name="connsiteX602" fmla="*/ 252252 w 1922991"/>
                  <a:gd name="connsiteY602" fmla="*/ 1523431 h 1906800"/>
                  <a:gd name="connsiteX603" fmla="*/ 247888 w 1922991"/>
                  <a:gd name="connsiteY603" fmla="*/ 1509887 h 1906800"/>
                  <a:gd name="connsiteX604" fmla="*/ 246791 w 1922991"/>
                  <a:gd name="connsiteY604" fmla="*/ 1506496 h 1906800"/>
                  <a:gd name="connsiteX605" fmla="*/ 246253 w 1922991"/>
                  <a:gd name="connsiteY605" fmla="*/ 1504800 h 1906800"/>
                  <a:gd name="connsiteX606" fmla="*/ 245955 w 1922991"/>
                  <a:gd name="connsiteY606" fmla="*/ 1503982 h 1906800"/>
                  <a:gd name="connsiteX607" fmla="*/ 245456 w 1922991"/>
                  <a:gd name="connsiteY607" fmla="*/ 1503244 h 1906800"/>
                  <a:gd name="connsiteX608" fmla="*/ 240733 w 1922991"/>
                  <a:gd name="connsiteY608" fmla="*/ 1498098 h 1906800"/>
                  <a:gd name="connsiteX609" fmla="*/ 231288 w 1922991"/>
                  <a:gd name="connsiteY609" fmla="*/ 1487805 h 1906800"/>
                  <a:gd name="connsiteX610" fmla="*/ 228398 w 1922991"/>
                  <a:gd name="connsiteY610" fmla="*/ 1485870 h 1906800"/>
                  <a:gd name="connsiteX611" fmla="*/ 225130 w 1922991"/>
                  <a:gd name="connsiteY611" fmla="*/ 1484115 h 1906800"/>
                  <a:gd name="connsiteX612" fmla="*/ 218594 w 1922991"/>
                  <a:gd name="connsiteY612" fmla="*/ 1480624 h 1906800"/>
                  <a:gd name="connsiteX613" fmla="*/ 205501 w 1922991"/>
                  <a:gd name="connsiteY613" fmla="*/ 1473663 h 1906800"/>
                  <a:gd name="connsiteX614" fmla="*/ 198905 w 1922991"/>
                  <a:gd name="connsiteY614" fmla="*/ 1470232 h 1906800"/>
                  <a:gd name="connsiteX615" fmla="*/ 193225 w 1922991"/>
                  <a:gd name="connsiteY615" fmla="*/ 1467060 h 1906800"/>
                  <a:gd name="connsiteX616" fmla="*/ 187825 w 1922991"/>
                  <a:gd name="connsiteY616" fmla="*/ 1463929 h 1906800"/>
                  <a:gd name="connsiteX617" fmla="*/ 177223 w 1922991"/>
                  <a:gd name="connsiteY617" fmla="*/ 1457326 h 1906800"/>
                  <a:gd name="connsiteX618" fmla="*/ 171982 w 1922991"/>
                  <a:gd name="connsiteY618" fmla="*/ 1453915 h 1906800"/>
                  <a:gd name="connsiteX619" fmla="*/ 166881 w 1922991"/>
                  <a:gd name="connsiteY619" fmla="*/ 1450325 h 1906800"/>
                  <a:gd name="connsiteX620" fmla="*/ 128599 w 1922991"/>
                  <a:gd name="connsiteY620" fmla="*/ 1418470 h 1906800"/>
                  <a:gd name="connsiteX621" fmla="*/ 96097 w 1922991"/>
                  <a:gd name="connsiteY621" fmla="*/ 1381049 h 1906800"/>
                  <a:gd name="connsiteX622" fmla="*/ 70410 w 1922991"/>
                  <a:gd name="connsiteY622" fmla="*/ 1338981 h 1906800"/>
                  <a:gd name="connsiteX623" fmla="*/ 65129 w 1922991"/>
                  <a:gd name="connsiteY623" fmla="*/ 1327890 h 1906800"/>
                  <a:gd name="connsiteX624" fmla="*/ 60326 w 1922991"/>
                  <a:gd name="connsiteY624" fmla="*/ 1316600 h 1906800"/>
                  <a:gd name="connsiteX625" fmla="*/ 56082 w 1922991"/>
                  <a:gd name="connsiteY625" fmla="*/ 1305091 h 1906800"/>
                  <a:gd name="connsiteX626" fmla="*/ 52315 w 1922991"/>
                  <a:gd name="connsiteY626" fmla="*/ 1293422 h 1906800"/>
                  <a:gd name="connsiteX627" fmla="*/ 42351 w 1922991"/>
                  <a:gd name="connsiteY627" fmla="*/ 1245529 h 1906800"/>
                  <a:gd name="connsiteX628" fmla="*/ 40896 w 1922991"/>
                  <a:gd name="connsiteY628" fmla="*/ 1196520 h 1906800"/>
                  <a:gd name="connsiteX629" fmla="*/ 47871 w 1922991"/>
                  <a:gd name="connsiteY629" fmla="*/ 1148068 h 1906800"/>
                  <a:gd name="connsiteX630" fmla="*/ 49904 w 1922991"/>
                  <a:gd name="connsiteY630" fmla="*/ 1140050 h 1906800"/>
                  <a:gd name="connsiteX631" fmla="*/ 52076 w 1922991"/>
                  <a:gd name="connsiteY631" fmla="*/ 1132051 h 1906800"/>
                  <a:gd name="connsiteX632" fmla="*/ 54627 w 1922991"/>
                  <a:gd name="connsiteY632" fmla="*/ 1124172 h 1906800"/>
                  <a:gd name="connsiteX633" fmla="*/ 55882 w 1922991"/>
                  <a:gd name="connsiteY633" fmla="*/ 1120222 h 1906800"/>
                  <a:gd name="connsiteX634" fmla="*/ 57337 w 1922991"/>
                  <a:gd name="connsiteY634" fmla="*/ 1116333 h 1906800"/>
                  <a:gd name="connsiteX635" fmla="*/ 60227 w 1922991"/>
                  <a:gd name="connsiteY635" fmla="*/ 1108553 h 1906800"/>
                  <a:gd name="connsiteX636" fmla="*/ 63455 w 1922991"/>
                  <a:gd name="connsiteY636" fmla="*/ 1100914 h 1906800"/>
                  <a:gd name="connsiteX637" fmla="*/ 70430 w 1922991"/>
                  <a:gd name="connsiteY637" fmla="*/ 1085834 h 1906800"/>
                  <a:gd name="connsiteX638" fmla="*/ 74296 w 1922991"/>
                  <a:gd name="connsiteY638" fmla="*/ 1078453 h 1906800"/>
                  <a:gd name="connsiteX639" fmla="*/ 78281 w 1922991"/>
                  <a:gd name="connsiteY639" fmla="*/ 1071153 h 1906800"/>
                  <a:gd name="connsiteX640" fmla="*/ 82586 w 1922991"/>
                  <a:gd name="connsiteY640" fmla="*/ 1064012 h 1906800"/>
                  <a:gd name="connsiteX641" fmla="*/ 84738 w 1922991"/>
                  <a:gd name="connsiteY641" fmla="*/ 1060441 h 1906800"/>
                  <a:gd name="connsiteX642" fmla="*/ 87049 w 1922991"/>
                  <a:gd name="connsiteY642" fmla="*/ 1056970 h 1906800"/>
                  <a:gd name="connsiteX643" fmla="*/ 91653 w 1922991"/>
                  <a:gd name="connsiteY643" fmla="*/ 1050009 h 1906800"/>
                  <a:gd name="connsiteX644" fmla="*/ 96575 w 1922991"/>
                  <a:gd name="connsiteY644" fmla="*/ 1043247 h 1906800"/>
                  <a:gd name="connsiteX645" fmla="*/ 99026 w 1922991"/>
                  <a:gd name="connsiteY645" fmla="*/ 1039856 h 1906800"/>
                  <a:gd name="connsiteX646" fmla="*/ 99325 w 1922991"/>
                  <a:gd name="connsiteY646" fmla="*/ 1039437 h 1906800"/>
                  <a:gd name="connsiteX647" fmla="*/ 99484 w 1922991"/>
                  <a:gd name="connsiteY647" fmla="*/ 1039218 h 1906800"/>
                  <a:gd name="connsiteX648" fmla="*/ 99724 w 1922991"/>
                  <a:gd name="connsiteY648" fmla="*/ 1038918 h 1906800"/>
                  <a:gd name="connsiteX649" fmla="*/ 101258 w 1922991"/>
                  <a:gd name="connsiteY649" fmla="*/ 1037083 h 1906800"/>
                  <a:gd name="connsiteX650" fmla="*/ 104327 w 1922991"/>
                  <a:gd name="connsiteY650" fmla="*/ 1033413 h 1906800"/>
                  <a:gd name="connsiteX651" fmla="*/ 116583 w 1922991"/>
                  <a:gd name="connsiteY651" fmla="*/ 1018752 h 1906800"/>
                  <a:gd name="connsiteX652" fmla="*/ 118177 w 1922991"/>
                  <a:gd name="connsiteY652" fmla="*/ 1016897 h 1906800"/>
                  <a:gd name="connsiteX653" fmla="*/ 119512 w 1922991"/>
                  <a:gd name="connsiteY653" fmla="*/ 1015002 h 1906800"/>
                  <a:gd name="connsiteX654" fmla="*/ 121345 w 1922991"/>
                  <a:gd name="connsiteY654" fmla="*/ 1011092 h 1906800"/>
                  <a:gd name="connsiteX655" fmla="*/ 124992 w 1922991"/>
                  <a:gd name="connsiteY655" fmla="*/ 1003253 h 1906800"/>
                  <a:gd name="connsiteX656" fmla="*/ 128639 w 1922991"/>
                  <a:gd name="connsiteY656" fmla="*/ 995414 h 1906800"/>
                  <a:gd name="connsiteX657" fmla="*/ 130472 w 1922991"/>
                  <a:gd name="connsiteY657" fmla="*/ 991505 h 1906800"/>
                  <a:gd name="connsiteX658" fmla="*/ 131289 w 1922991"/>
                  <a:gd name="connsiteY658" fmla="*/ 989510 h 1906800"/>
                  <a:gd name="connsiteX659" fmla="*/ 131509 w 1922991"/>
                  <a:gd name="connsiteY659" fmla="*/ 987455 h 1906800"/>
                  <a:gd name="connsiteX660" fmla="*/ 132226 w 1922991"/>
                  <a:gd name="connsiteY660" fmla="*/ 979317 h 1906800"/>
                  <a:gd name="connsiteX661" fmla="*/ 132405 w 1922991"/>
                  <a:gd name="connsiteY661" fmla="*/ 977282 h 1906800"/>
                  <a:gd name="connsiteX662" fmla="*/ 132146 w 1922991"/>
                  <a:gd name="connsiteY662" fmla="*/ 975048 h 1906800"/>
                  <a:gd name="connsiteX663" fmla="*/ 131588 w 1922991"/>
                  <a:gd name="connsiteY663" fmla="*/ 970560 h 1906800"/>
                  <a:gd name="connsiteX664" fmla="*/ 131030 w 1922991"/>
                  <a:gd name="connsiteY664" fmla="*/ 966072 h 1906800"/>
                  <a:gd name="connsiteX665" fmla="*/ 130731 w 1922991"/>
                  <a:gd name="connsiteY665" fmla="*/ 963818 h 1906800"/>
                  <a:gd name="connsiteX666" fmla="*/ 129974 w 1922991"/>
                  <a:gd name="connsiteY666" fmla="*/ 961504 h 1906800"/>
                  <a:gd name="connsiteX667" fmla="*/ 126925 w 1922991"/>
                  <a:gd name="connsiteY667" fmla="*/ 952289 h 1906800"/>
                  <a:gd name="connsiteX668" fmla="*/ 123976 w 1922991"/>
                  <a:gd name="connsiteY668" fmla="*/ 943053 h 1906800"/>
                  <a:gd name="connsiteX669" fmla="*/ 122521 w 1922991"/>
                  <a:gd name="connsiteY669" fmla="*/ 938446 h 1906800"/>
                  <a:gd name="connsiteX670" fmla="*/ 121804 w 1922991"/>
                  <a:gd name="connsiteY670" fmla="*/ 936132 h 1906800"/>
                  <a:gd name="connsiteX671" fmla="*/ 121465 w 1922991"/>
                  <a:gd name="connsiteY671" fmla="*/ 934975 h 1906800"/>
                  <a:gd name="connsiteX672" fmla="*/ 121066 w 1922991"/>
                  <a:gd name="connsiteY672" fmla="*/ 933479 h 1906800"/>
                  <a:gd name="connsiteX673" fmla="*/ 119133 w 1922991"/>
                  <a:gd name="connsiteY673" fmla="*/ 925899 h 1906800"/>
                  <a:gd name="connsiteX674" fmla="*/ 115925 w 1922991"/>
                  <a:gd name="connsiteY674" fmla="*/ 910580 h 1906800"/>
                  <a:gd name="connsiteX675" fmla="*/ 111900 w 1922991"/>
                  <a:gd name="connsiteY675" fmla="*/ 862368 h 1906800"/>
                  <a:gd name="connsiteX676" fmla="*/ 113295 w 1922991"/>
                  <a:gd name="connsiteY676" fmla="*/ 838172 h 1906800"/>
                  <a:gd name="connsiteX677" fmla="*/ 113912 w 1922991"/>
                  <a:gd name="connsiteY677" fmla="*/ 832148 h 1906800"/>
                  <a:gd name="connsiteX678" fmla="*/ 114650 w 1922991"/>
                  <a:gd name="connsiteY678" fmla="*/ 826144 h 1906800"/>
                  <a:gd name="connsiteX679" fmla="*/ 116722 w 1922991"/>
                  <a:gd name="connsiteY679" fmla="*/ 814236 h 1906800"/>
                  <a:gd name="connsiteX680" fmla="*/ 119333 w 1922991"/>
                  <a:gd name="connsiteY680" fmla="*/ 802447 h 1906800"/>
                  <a:gd name="connsiteX681" fmla="*/ 120748 w 1922991"/>
                  <a:gd name="connsiteY681" fmla="*/ 796583 h 1906800"/>
                  <a:gd name="connsiteX682" fmla="*/ 121445 w 1922991"/>
                  <a:gd name="connsiteY682" fmla="*/ 793650 h 1906800"/>
                  <a:gd name="connsiteX683" fmla="*/ 122342 w 1922991"/>
                  <a:gd name="connsiteY683" fmla="*/ 790758 h 1906800"/>
                  <a:gd name="connsiteX684" fmla="*/ 125989 w 1922991"/>
                  <a:gd name="connsiteY684" fmla="*/ 779229 h 1906800"/>
                  <a:gd name="connsiteX685" fmla="*/ 126905 w 1922991"/>
                  <a:gd name="connsiteY685" fmla="*/ 776356 h 1906800"/>
                  <a:gd name="connsiteX686" fmla="*/ 128021 w 1922991"/>
                  <a:gd name="connsiteY686" fmla="*/ 773544 h 1906800"/>
                  <a:gd name="connsiteX687" fmla="*/ 130233 w 1922991"/>
                  <a:gd name="connsiteY687" fmla="*/ 767919 h 1906800"/>
                  <a:gd name="connsiteX688" fmla="*/ 140018 w 1922991"/>
                  <a:gd name="connsiteY688" fmla="*/ 745778 h 1906800"/>
                  <a:gd name="connsiteX689" fmla="*/ 145837 w 1922991"/>
                  <a:gd name="connsiteY689" fmla="*/ 735126 h 1906800"/>
                  <a:gd name="connsiteX690" fmla="*/ 148746 w 1922991"/>
                  <a:gd name="connsiteY690" fmla="*/ 729800 h 1906800"/>
                  <a:gd name="connsiteX691" fmla="*/ 152014 w 1922991"/>
                  <a:gd name="connsiteY691" fmla="*/ 724694 h 1906800"/>
                  <a:gd name="connsiteX692" fmla="*/ 155940 w 1922991"/>
                  <a:gd name="connsiteY692" fmla="*/ 718550 h 1906800"/>
                  <a:gd name="connsiteX693" fmla="*/ 157893 w 1922991"/>
                  <a:gd name="connsiteY693" fmla="*/ 715478 h 1906800"/>
                  <a:gd name="connsiteX694" fmla="*/ 160025 w 1922991"/>
                  <a:gd name="connsiteY694" fmla="*/ 712526 h 1906800"/>
                  <a:gd name="connsiteX695" fmla="*/ 168674 w 1922991"/>
                  <a:gd name="connsiteY695" fmla="*/ 700757 h 1906800"/>
                  <a:gd name="connsiteX696" fmla="*/ 178080 w 1922991"/>
                  <a:gd name="connsiteY696" fmla="*/ 689547 h 1906800"/>
                  <a:gd name="connsiteX697" fmla="*/ 183022 w 1922991"/>
                  <a:gd name="connsiteY697" fmla="*/ 684142 h 1906800"/>
                  <a:gd name="connsiteX698" fmla="*/ 188064 w 1922991"/>
                  <a:gd name="connsiteY698" fmla="*/ 678836 h 1906800"/>
                  <a:gd name="connsiteX699" fmla="*/ 198586 w 1922991"/>
                  <a:gd name="connsiteY699" fmla="*/ 668643 h 1906800"/>
                  <a:gd name="connsiteX700" fmla="*/ 203947 w 1922991"/>
                  <a:gd name="connsiteY700" fmla="*/ 663636 h 1906800"/>
                  <a:gd name="connsiteX701" fmla="*/ 209606 w 1922991"/>
                  <a:gd name="connsiteY701" fmla="*/ 658988 h 1906800"/>
                  <a:gd name="connsiteX702" fmla="*/ 215285 w 1922991"/>
                  <a:gd name="connsiteY702" fmla="*/ 654341 h 1906800"/>
                  <a:gd name="connsiteX703" fmla="*/ 218115 w 1922991"/>
                  <a:gd name="connsiteY703" fmla="*/ 652007 h 1906800"/>
                  <a:gd name="connsiteX704" fmla="*/ 221104 w 1922991"/>
                  <a:gd name="connsiteY704" fmla="*/ 649893 h 1906800"/>
                  <a:gd name="connsiteX705" fmla="*/ 232005 w 1922991"/>
                  <a:gd name="connsiteY705" fmla="*/ 642053 h 1906800"/>
                  <a:gd name="connsiteX706" fmla="*/ 247330 w 1922991"/>
                  <a:gd name="connsiteY706" fmla="*/ 632439 h 1906800"/>
                  <a:gd name="connsiteX707" fmla="*/ 261518 w 1922991"/>
                  <a:gd name="connsiteY707" fmla="*/ 616900 h 1906800"/>
                  <a:gd name="connsiteX708" fmla="*/ 268613 w 1922991"/>
                  <a:gd name="connsiteY708" fmla="*/ 609121 h 1906800"/>
                  <a:gd name="connsiteX709" fmla="*/ 270386 w 1922991"/>
                  <a:gd name="connsiteY709" fmla="*/ 607186 h 1906800"/>
                  <a:gd name="connsiteX710" fmla="*/ 271283 w 1922991"/>
                  <a:gd name="connsiteY710" fmla="*/ 606209 h 1906800"/>
                  <a:gd name="connsiteX711" fmla="*/ 271721 w 1922991"/>
                  <a:gd name="connsiteY711" fmla="*/ 605730 h 1906800"/>
                  <a:gd name="connsiteX712" fmla="*/ 272000 w 1922991"/>
                  <a:gd name="connsiteY712" fmla="*/ 605132 h 1906800"/>
                  <a:gd name="connsiteX713" fmla="*/ 273734 w 1922991"/>
                  <a:gd name="connsiteY713" fmla="*/ 600803 h 1906800"/>
                  <a:gd name="connsiteX714" fmla="*/ 277341 w 1922991"/>
                  <a:gd name="connsiteY714" fmla="*/ 580258 h 1906800"/>
                  <a:gd name="connsiteX715" fmla="*/ 274412 w 1922991"/>
                  <a:gd name="connsiteY715" fmla="*/ 556541 h 1906800"/>
                  <a:gd name="connsiteX716" fmla="*/ 273694 w 1922991"/>
                  <a:gd name="connsiteY716" fmla="*/ 550596 h 1906800"/>
                  <a:gd name="connsiteX717" fmla="*/ 273375 w 1922991"/>
                  <a:gd name="connsiteY717" fmla="*/ 547664 h 1906800"/>
                  <a:gd name="connsiteX718" fmla="*/ 273136 w 1922991"/>
                  <a:gd name="connsiteY718" fmla="*/ 544932 h 1906800"/>
                  <a:gd name="connsiteX719" fmla="*/ 272797 w 1922991"/>
                  <a:gd name="connsiteY719" fmla="*/ 540743 h 1906800"/>
                  <a:gd name="connsiteX720" fmla="*/ 272658 w 1922991"/>
                  <a:gd name="connsiteY720" fmla="*/ 538369 h 1906800"/>
                  <a:gd name="connsiteX721" fmla="*/ 272319 w 1922991"/>
                  <a:gd name="connsiteY721" fmla="*/ 528874 h 1906800"/>
                  <a:gd name="connsiteX722" fmla="*/ 272419 w 1922991"/>
                  <a:gd name="connsiteY722" fmla="*/ 519360 h 1906800"/>
                  <a:gd name="connsiteX723" fmla="*/ 272518 w 1922991"/>
                  <a:gd name="connsiteY723" fmla="*/ 514592 h 1906800"/>
                  <a:gd name="connsiteX724" fmla="*/ 272837 w 1922991"/>
                  <a:gd name="connsiteY724" fmla="*/ 509845 h 1906800"/>
                  <a:gd name="connsiteX725" fmla="*/ 280450 w 1922991"/>
                  <a:gd name="connsiteY725" fmla="*/ 463109 h 1906800"/>
                  <a:gd name="connsiteX726" fmla="*/ 297349 w 1922991"/>
                  <a:gd name="connsiteY726" fmla="*/ 418767 h 1906800"/>
                  <a:gd name="connsiteX727" fmla="*/ 322717 w 1922991"/>
                  <a:gd name="connsiteY727" fmla="*/ 378235 h 1906800"/>
                  <a:gd name="connsiteX728" fmla="*/ 355478 w 1922991"/>
                  <a:gd name="connsiteY728" fmla="*/ 342849 h 1906800"/>
                  <a:gd name="connsiteX729" fmla="*/ 401392 w 1922991"/>
                  <a:gd name="connsiteY729" fmla="*/ 309777 h 1906800"/>
                  <a:gd name="connsiteX730" fmla="*/ 426740 w 1922991"/>
                  <a:gd name="connsiteY730" fmla="*/ 296911 h 1906800"/>
                  <a:gd name="connsiteX731" fmla="*/ 433297 w 1922991"/>
                  <a:gd name="connsiteY731" fmla="*/ 294118 h 1906800"/>
                  <a:gd name="connsiteX732" fmla="*/ 434931 w 1922991"/>
                  <a:gd name="connsiteY732" fmla="*/ 293420 h 1906800"/>
                  <a:gd name="connsiteX733" fmla="*/ 436704 w 1922991"/>
                  <a:gd name="connsiteY733" fmla="*/ 292742 h 1906800"/>
                  <a:gd name="connsiteX734" fmla="*/ 440291 w 1922991"/>
                  <a:gd name="connsiteY734" fmla="*/ 291385 h 1906800"/>
                  <a:gd name="connsiteX735" fmla="*/ 443878 w 1922991"/>
                  <a:gd name="connsiteY735" fmla="*/ 290029 h 1906800"/>
                  <a:gd name="connsiteX736" fmla="*/ 445672 w 1922991"/>
                  <a:gd name="connsiteY736" fmla="*/ 289351 h 1906800"/>
                  <a:gd name="connsiteX737" fmla="*/ 447366 w 1922991"/>
                  <a:gd name="connsiteY737" fmla="*/ 288792 h 1906800"/>
                  <a:gd name="connsiteX738" fmla="*/ 449438 w 1922991"/>
                  <a:gd name="connsiteY738" fmla="*/ 288134 h 1906800"/>
                  <a:gd name="connsiteX739" fmla="*/ 466038 w 1922991"/>
                  <a:gd name="connsiteY739" fmla="*/ 282888 h 1906800"/>
                  <a:gd name="connsiteX740" fmla="*/ 469007 w 1922991"/>
                  <a:gd name="connsiteY740" fmla="*/ 281931 h 1906800"/>
                  <a:gd name="connsiteX741" fmla="*/ 470482 w 1922991"/>
                  <a:gd name="connsiteY741" fmla="*/ 281452 h 1906800"/>
                  <a:gd name="connsiteX742" fmla="*/ 471837 w 1922991"/>
                  <a:gd name="connsiteY742" fmla="*/ 280853 h 1906800"/>
                  <a:gd name="connsiteX743" fmla="*/ 476620 w 1922991"/>
                  <a:gd name="connsiteY743" fmla="*/ 277841 h 1906800"/>
                  <a:gd name="connsiteX744" fmla="*/ 486165 w 1922991"/>
                  <a:gd name="connsiteY744" fmla="*/ 271837 h 1906800"/>
                  <a:gd name="connsiteX745" fmla="*/ 490948 w 1922991"/>
                  <a:gd name="connsiteY745" fmla="*/ 268825 h 1906800"/>
                  <a:gd name="connsiteX746" fmla="*/ 492104 w 1922991"/>
                  <a:gd name="connsiteY746" fmla="*/ 268028 h 1906800"/>
                  <a:gd name="connsiteX747" fmla="*/ 492941 w 1922991"/>
                  <a:gd name="connsiteY747" fmla="*/ 266891 h 1906800"/>
                  <a:gd name="connsiteX748" fmla="*/ 494495 w 1922991"/>
                  <a:gd name="connsiteY748" fmla="*/ 264517 h 1906800"/>
                  <a:gd name="connsiteX749" fmla="*/ 500733 w 1922991"/>
                  <a:gd name="connsiteY749" fmla="*/ 255022 h 1906800"/>
                  <a:gd name="connsiteX750" fmla="*/ 503841 w 1922991"/>
                  <a:gd name="connsiteY750" fmla="*/ 250275 h 1906800"/>
                  <a:gd name="connsiteX751" fmla="*/ 505396 w 1922991"/>
                  <a:gd name="connsiteY751" fmla="*/ 247901 h 1906800"/>
                  <a:gd name="connsiteX752" fmla="*/ 506791 w 1922991"/>
                  <a:gd name="connsiteY752" fmla="*/ 245368 h 1906800"/>
                  <a:gd name="connsiteX753" fmla="*/ 510916 w 1922991"/>
                  <a:gd name="connsiteY753" fmla="*/ 233719 h 1906800"/>
                  <a:gd name="connsiteX754" fmla="*/ 515041 w 1922991"/>
                  <a:gd name="connsiteY754" fmla="*/ 222070 h 1906800"/>
                  <a:gd name="connsiteX755" fmla="*/ 515559 w 1922991"/>
                  <a:gd name="connsiteY755" fmla="*/ 220614 h 1906800"/>
                  <a:gd name="connsiteX756" fmla="*/ 515798 w 1922991"/>
                  <a:gd name="connsiteY756" fmla="*/ 219975 h 1906800"/>
                  <a:gd name="connsiteX757" fmla="*/ 515918 w 1922991"/>
                  <a:gd name="connsiteY757" fmla="*/ 219656 h 1906800"/>
                  <a:gd name="connsiteX758" fmla="*/ 516436 w 1922991"/>
                  <a:gd name="connsiteY758" fmla="*/ 218419 h 1906800"/>
                  <a:gd name="connsiteX759" fmla="*/ 517452 w 1922991"/>
                  <a:gd name="connsiteY759" fmla="*/ 215926 h 1906800"/>
                  <a:gd name="connsiteX760" fmla="*/ 535567 w 1922991"/>
                  <a:gd name="connsiteY760" fmla="*/ 177149 h 1906800"/>
                  <a:gd name="connsiteX761" fmla="*/ 562748 w 1922991"/>
                  <a:gd name="connsiteY761" fmla="*/ 134702 h 1906800"/>
                  <a:gd name="connsiteX762" fmla="*/ 595430 w 1922991"/>
                  <a:gd name="connsiteY762" fmla="*/ 98079 h 1906800"/>
                  <a:gd name="connsiteX763" fmla="*/ 674026 w 1922991"/>
                  <a:gd name="connsiteY763" fmla="*/ 49748 h 1906800"/>
                  <a:gd name="connsiteX764" fmla="*/ 695468 w 1922991"/>
                  <a:gd name="connsiteY764" fmla="*/ 43963 h 1906800"/>
                  <a:gd name="connsiteX765" fmla="*/ 700908 w 1922991"/>
                  <a:gd name="connsiteY765" fmla="*/ 43026 h 1906800"/>
                  <a:gd name="connsiteX766" fmla="*/ 703619 w 1922991"/>
                  <a:gd name="connsiteY766" fmla="*/ 42527 h 1906800"/>
                  <a:gd name="connsiteX767" fmla="*/ 706349 w 1922991"/>
                  <a:gd name="connsiteY767" fmla="*/ 42188 h 1906800"/>
                  <a:gd name="connsiteX768" fmla="*/ 711809 w 1922991"/>
                  <a:gd name="connsiteY768" fmla="*/ 41490 h 1906800"/>
                  <a:gd name="connsiteX769" fmla="*/ 717309 w 1922991"/>
                  <a:gd name="connsiteY769" fmla="*/ 41071 h 1906800"/>
                  <a:gd name="connsiteX770" fmla="*/ 728329 w 1922991"/>
                  <a:gd name="connsiteY770" fmla="*/ 40612 h 1906800"/>
                  <a:gd name="connsiteX771" fmla="*/ 731278 w 1922991"/>
                  <a:gd name="connsiteY771" fmla="*/ 40612 h 1906800"/>
                  <a:gd name="connsiteX772" fmla="*/ 734347 w 1922991"/>
                  <a:gd name="connsiteY772" fmla="*/ 40692 h 1906800"/>
                  <a:gd name="connsiteX773" fmla="*/ 740505 w 1922991"/>
                  <a:gd name="connsiteY773" fmla="*/ 40831 h 1906800"/>
                  <a:gd name="connsiteX774" fmla="*/ 743574 w 1922991"/>
                  <a:gd name="connsiteY774" fmla="*/ 40891 h 1906800"/>
                  <a:gd name="connsiteX775" fmla="*/ 746603 w 1922991"/>
                  <a:gd name="connsiteY775" fmla="*/ 41131 h 1906800"/>
                  <a:gd name="connsiteX776" fmla="*/ 752661 w 1922991"/>
                  <a:gd name="connsiteY776" fmla="*/ 41589 h 1906800"/>
                  <a:gd name="connsiteX777" fmla="*/ 758699 w 1922991"/>
                  <a:gd name="connsiteY777" fmla="*/ 42088 h 1906800"/>
                  <a:gd name="connsiteX778" fmla="*/ 764638 w 1922991"/>
                  <a:gd name="connsiteY778" fmla="*/ 42866 h 1906800"/>
                  <a:gd name="connsiteX779" fmla="*/ 810034 w 1922991"/>
                  <a:gd name="connsiteY779" fmla="*/ 53518 h 1906800"/>
                  <a:gd name="connsiteX780" fmla="*/ 850288 w 1922991"/>
                  <a:gd name="connsiteY780" fmla="*/ 73545 h 1906800"/>
                  <a:gd name="connsiteX781" fmla="*/ 871750 w 1922991"/>
                  <a:gd name="connsiteY781" fmla="*/ 89961 h 1906800"/>
                  <a:gd name="connsiteX782" fmla="*/ 874321 w 1922991"/>
                  <a:gd name="connsiteY782" fmla="*/ 92195 h 1906800"/>
                  <a:gd name="connsiteX783" fmla="*/ 876752 w 1922991"/>
                  <a:gd name="connsiteY783" fmla="*/ 94609 h 1906800"/>
                  <a:gd name="connsiteX784" fmla="*/ 881515 w 1922991"/>
                  <a:gd name="connsiteY784" fmla="*/ 99276 h 1906800"/>
                  <a:gd name="connsiteX785" fmla="*/ 887573 w 1922991"/>
                  <a:gd name="connsiteY785" fmla="*/ 105739 h 1906800"/>
                  <a:gd name="connsiteX786" fmla="*/ 890582 w 1922991"/>
                  <a:gd name="connsiteY786" fmla="*/ 109130 h 1906800"/>
                  <a:gd name="connsiteX787" fmla="*/ 892097 w 1922991"/>
                  <a:gd name="connsiteY787" fmla="*/ 110825 h 1906800"/>
                  <a:gd name="connsiteX788" fmla="*/ 893511 w 1922991"/>
                  <a:gd name="connsiteY788" fmla="*/ 112740 h 1906800"/>
                  <a:gd name="connsiteX789" fmla="*/ 899131 w 1922991"/>
                  <a:gd name="connsiteY789" fmla="*/ 120380 h 1906800"/>
                  <a:gd name="connsiteX790" fmla="*/ 910370 w 1922991"/>
                  <a:gd name="connsiteY790" fmla="*/ 135659 h 1906800"/>
                  <a:gd name="connsiteX791" fmla="*/ 913738 w 1922991"/>
                  <a:gd name="connsiteY791" fmla="*/ 140267 h 1906800"/>
                  <a:gd name="connsiteX792" fmla="*/ 914575 w 1922991"/>
                  <a:gd name="connsiteY792" fmla="*/ 141424 h 1906800"/>
                  <a:gd name="connsiteX793" fmla="*/ 915452 w 1922991"/>
                  <a:gd name="connsiteY793" fmla="*/ 142202 h 1906800"/>
                  <a:gd name="connsiteX794" fmla="*/ 917206 w 1922991"/>
                  <a:gd name="connsiteY794" fmla="*/ 143558 h 1906800"/>
                  <a:gd name="connsiteX795" fmla="*/ 924300 w 1922991"/>
                  <a:gd name="connsiteY795" fmla="*/ 148844 h 1906800"/>
                  <a:gd name="connsiteX796" fmla="*/ 938648 w 1922991"/>
                  <a:gd name="connsiteY796" fmla="*/ 158758 h 1906800"/>
                  <a:gd name="connsiteX797" fmla="*/ 939545 w 1922991"/>
                  <a:gd name="connsiteY797" fmla="*/ 159356 h 1906800"/>
                  <a:gd name="connsiteX798" fmla="*/ 940362 w 1922991"/>
                  <a:gd name="connsiteY798" fmla="*/ 159755 h 1906800"/>
                  <a:gd name="connsiteX799" fmla="*/ 941777 w 1922991"/>
                  <a:gd name="connsiteY799" fmla="*/ 160015 h 1906800"/>
                  <a:gd name="connsiteX800" fmla="*/ 944607 w 1922991"/>
                  <a:gd name="connsiteY800" fmla="*/ 160533 h 1906800"/>
                  <a:gd name="connsiteX801" fmla="*/ 950266 w 1922991"/>
                  <a:gd name="connsiteY801" fmla="*/ 161590 h 1906800"/>
                  <a:gd name="connsiteX802" fmla="*/ 955926 w 1922991"/>
                  <a:gd name="connsiteY802" fmla="*/ 162648 h 1906800"/>
                  <a:gd name="connsiteX803" fmla="*/ 958755 w 1922991"/>
                  <a:gd name="connsiteY803" fmla="*/ 163166 h 1906800"/>
                  <a:gd name="connsiteX804" fmla="*/ 960170 w 1922991"/>
                  <a:gd name="connsiteY804" fmla="*/ 163426 h 1906800"/>
                  <a:gd name="connsiteX805" fmla="*/ 960868 w 1922991"/>
                  <a:gd name="connsiteY805" fmla="*/ 163545 h 1906800"/>
                  <a:gd name="connsiteX806" fmla="*/ 961804 w 1922991"/>
                  <a:gd name="connsiteY806" fmla="*/ 163545 h 1906800"/>
                  <a:gd name="connsiteX807" fmla="*/ 973123 w 1922991"/>
                  <a:gd name="connsiteY807" fmla="*/ 161451 h 1906800"/>
                  <a:gd name="connsiteX808" fmla="*/ 978783 w 1922991"/>
                  <a:gd name="connsiteY808" fmla="*/ 160394 h 1906800"/>
                  <a:gd name="connsiteX809" fmla="*/ 984961 w 1922991"/>
                  <a:gd name="connsiteY809" fmla="*/ 158120 h 1906800"/>
                  <a:gd name="connsiteX810" fmla="*/ 999289 w 1922991"/>
                  <a:gd name="connsiteY810" fmla="*/ 148146 h 1906800"/>
                  <a:gd name="connsiteX811" fmla="*/ 1006363 w 1922991"/>
                  <a:gd name="connsiteY811" fmla="*/ 142820 h 1906800"/>
                  <a:gd name="connsiteX812" fmla="*/ 1008097 w 1922991"/>
                  <a:gd name="connsiteY812" fmla="*/ 141344 h 1906800"/>
                  <a:gd name="connsiteX813" fmla="*/ 1009751 w 1922991"/>
                  <a:gd name="connsiteY813" fmla="*/ 139110 h 1906800"/>
                  <a:gd name="connsiteX814" fmla="*/ 1013039 w 1922991"/>
                  <a:gd name="connsiteY814" fmla="*/ 134642 h 1906800"/>
                  <a:gd name="connsiteX815" fmla="*/ 1026191 w 1922991"/>
                  <a:gd name="connsiteY815" fmla="*/ 116750 h 1906800"/>
                  <a:gd name="connsiteX816" fmla="*/ 1032927 w 1922991"/>
                  <a:gd name="connsiteY816" fmla="*/ 108153 h 1906800"/>
                  <a:gd name="connsiteX817" fmla="*/ 1036434 w 1922991"/>
                  <a:gd name="connsiteY817" fmla="*/ 104223 h 1906800"/>
                  <a:gd name="connsiteX818" fmla="*/ 1038188 w 1922991"/>
                  <a:gd name="connsiteY818" fmla="*/ 102248 h 1906800"/>
                  <a:gd name="connsiteX819" fmla="*/ 1039962 w 1922991"/>
                  <a:gd name="connsiteY819" fmla="*/ 100413 h 1906800"/>
                  <a:gd name="connsiteX820" fmla="*/ 1043509 w 1922991"/>
                  <a:gd name="connsiteY820" fmla="*/ 96982 h 1906800"/>
                  <a:gd name="connsiteX821" fmla="*/ 1045820 w 1922991"/>
                  <a:gd name="connsiteY821" fmla="*/ 94688 h 1906800"/>
                  <a:gd name="connsiteX822" fmla="*/ 1048650 w 1922991"/>
                  <a:gd name="connsiteY822" fmla="*/ 91876 h 1906800"/>
                  <a:gd name="connsiteX823" fmla="*/ 1054668 w 1922991"/>
                  <a:gd name="connsiteY823" fmla="*/ 86769 h 1906800"/>
                  <a:gd name="connsiteX824" fmla="*/ 1067083 w 1922991"/>
                  <a:gd name="connsiteY824" fmla="*/ 77095 h 1906800"/>
                  <a:gd name="connsiteX825" fmla="*/ 1073600 w 1922991"/>
                  <a:gd name="connsiteY825" fmla="*/ 72747 h 1906800"/>
                  <a:gd name="connsiteX826" fmla="*/ 1080216 w 1922991"/>
                  <a:gd name="connsiteY826" fmla="*/ 68558 h 1906800"/>
                  <a:gd name="connsiteX827" fmla="*/ 1167919 w 1922991"/>
                  <a:gd name="connsiteY827" fmla="*/ 41749 h 1906800"/>
                  <a:gd name="connsiteX828" fmla="*/ 1180035 w 1922991"/>
                  <a:gd name="connsiteY828" fmla="*/ 40891 h 1906800"/>
                  <a:gd name="connsiteX829" fmla="*/ 1192330 w 1922991"/>
                  <a:gd name="connsiteY829" fmla="*/ 40592 h 1906800"/>
                  <a:gd name="connsiteX830" fmla="*/ 1197930 w 1922991"/>
                  <a:gd name="connsiteY830" fmla="*/ 40712 h 1906800"/>
                  <a:gd name="connsiteX831" fmla="*/ 1203430 w 1922991"/>
                  <a:gd name="connsiteY831" fmla="*/ 40931 h 1906800"/>
                  <a:gd name="connsiteX832" fmla="*/ 1214390 w 1922991"/>
                  <a:gd name="connsiteY832" fmla="*/ 41968 h 1906800"/>
                  <a:gd name="connsiteX833" fmla="*/ 1236092 w 1922991"/>
                  <a:gd name="connsiteY833" fmla="*/ 46018 h 1906800"/>
                  <a:gd name="connsiteX834" fmla="*/ 1241453 w 1922991"/>
                  <a:gd name="connsiteY834" fmla="*/ 47514 h 1906800"/>
                  <a:gd name="connsiteX835" fmla="*/ 1244123 w 1922991"/>
                  <a:gd name="connsiteY835" fmla="*/ 48252 h 1906800"/>
                  <a:gd name="connsiteX836" fmla="*/ 1246773 w 1922991"/>
                  <a:gd name="connsiteY836" fmla="*/ 49149 h 1906800"/>
                  <a:gd name="connsiteX837" fmla="*/ 1252094 w 1922991"/>
                  <a:gd name="connsiteY837" fmla="*/ 50885 h 1906800"/>
                  <a:gd name="connsiteX838" fmla="*/ 1257335 w 1922991"/>
                  <a:gd name="connsiteY838" fmla="*/ 52919 h 1906800"/>
                  <a:gd name="connsiteX839" fmla="*/ 1334376 w 1922991"/>
                  <a:gd name="connsiteY839" fmla="*/ 105121 h 1906800"/>
                  <a:gd name="connsiteX840" fmla="*/ 1365942 w 1922991"/>
                  <a:gd name="connsiteY840" fmla="*/ 143120 h 1906800"/>
                  <a:gd name="connsiteX841" fmla="*/ 1391908 w 1922991"/>
                  <a:gd name="connsiteY841" fmla="*/ 186584 h 1906800"/>
                  <a:gd name="connsiteX842" fmla="*/ 1397030 w 1922991"/>
                  <a:gd name="connsiteY842" fmla="*/ 197176 h 1906800"/>
                  <a:gd name="connsiteX843" fmla="*/ 1401832 w 1922991"/>
                  <a:gd name="connsiteY843" fmla="*/ 207967 h 1906800"/>
                  <a:gd name="connsiteX844" fmla="*/ 1406336 w 1922991"/>
                  <a:gd name="connsiteY844" fmla="*/ 218938 h 1906800"/>
                  <a:gd name="connsiteX845" fmla="*/ 1406615 w 1922991"/>
                  <a:gd name="connsiteY845" fmla="*/ 219616 h 1906800"/>
                  <a:gd name="connsiteX846" fmla="*/ 1406754 w 1922991"/>
                  <a:gd name="connsiteY846" fmla="*/ 219955 h 1906800"/>
                  <a:gd name="connsiteX847" fmla="*/ 1407014 w 1922991"/>
                  <a:gd name="connsiteY847" fmla="*/ 220653 h 1906800"/>
                  <a:gd name="connsiteX848" fmla="*/ 1408149 w 1922991"/>
                  <a:gd name="connsiteY848" fmla="*/ 223845 h 1906800"/>
                  <a:gd name="connsiteX849" fmla="*/ 1410421 w 1922991"/>
                  <a:gd name="connsiteY849" fmla="*/ 230248 h 1906800"/>
                  <a:gd name="connsiteX850" fmla="*/ 1414965 w 1922991"/>
                  <a:gd name="connsiteY850" fmla="*/ 243054 h 1906800"/>
                  <a:gd name="connsiteX851" fmla="*/ 1415921 w 1922991"/>
                  <a:gd name="connsiteY851" fmla="*/ 245767 h 1906800"/>
                  <a:gd name="connsiteX852" fmla="*/ 1417276 w 1922991"/>
                  <a:gd name="connsiteY852" fmla="*/ 248041 h 1906800"/>
                  <a:gd name="connsiteX853" fmla="*/ 1420146 w 1922991"/>
                  <a:gd name="connsiteY853" fmla="*/ 252429 h 1906800"/>
                  <a:gd name="connsiteX854" fmla="*/ 1425905 w 1922991"/>
                  <a:gd name="connsiteY854" fmla="*/ 261186 h 1906800"/>
                  <a:gd name="connsiteX855" fmla="*/ 1428775 w 1922991"/>
                  <a:gd name="connsiteY855" fmla="*/ 265574 h 1906800"/>
                  <a:gd name="connsiteX856" fmla="*/ 1430210 w 1922991"/>
                  <a:gd name="connsiteY856" fmla="*/ 267768 h 1906800"/>
                  <a:gd name="connsiteX857" fmla="*/ 1430688 w 1922991"/>
                  <a:gd name="connsiteY857" fmla="*/ 268227 h 1906800"/>
                  <a:gd name="connsiteX858" fmla="*/ 1431246 w 1922991"/>
                  <a:gd name="connsiteY858" fmla="*/ 268566 h 1906800"/>
                  <a:gd name="connsiteX859" fmla="*/ 1432342 w 1922991"/>
                  <a:gd name="connsiteY859" fmla="*/ 269264 h 1906800"/>
                  <a:gd name="connsiteX860" fmla="*/ 1441170 w 1922991"/>
                  <a:gd name="connsiteY860" fmla="*/ 274810 h 1906800"/>
                  <a:gd name="connsiteX861" fmla="*/ 1449998 w 1922991"/>
                  <a:gd name="connsiteY861" fmla="*/ 280355 h 1906800"/>
                  <a:gd name="connsiteX862" fmla="*/ 1451094 w 1922991"/>
                  <a:gd name="connsiteY862" fmla="*/ 281053 h 1906800"/>
                  <a:gd name="connsiteX863" fmla="*/ 1452429 w 1922991"/>
                  <a:gd name="connsiteY863" fmla="*/ 281532 h 1906800"/>
                  <a:gd name="connsiteX864" fmla="*/ 1455179 w 1922991"/>
                  <a:gd name="connsiteY864" fmla="*/ 282409 h 1906800"/>
                  <a:gd name="connsiteX865" fmla="*/ 1460659 w 1922991"/>
                  <a:gd name="connsiteY865" fmla="*/ 284145 h 1906800"/>
                  <a:gd name="connsiteX866" fmla="*/ 1471620 w 1922991"/>
                  <a:gd name="connsiteY866" fmla="*/ 287635 h 1906800"/>
                  <a:gd name="connsiteX867" fmla="*/ 1476821 w 1922991"/>
                  <a:gd name="connsiteY867" fmla="*/ 289311 h 1906800"/>
                  <a:gd name="connsiteX868" fmla="*/ 1479192 w 1922991"/>
                  <a:gd name="connsiteY868" fmla="*/ 290209 h 1906800"/>
                  <a:gd name="connsiteX869" fmla="*/ 1488558 w 1922991"/>
                  <a:gd name="connsiteY869" fmla="*/ 293819 h 1906800"/>
                  <a:gd name="connsiteX870" fmla="*/ 1497207 w 1922991"/>
                  <a:gd name="connsiteY870" fmla="*/ 297509 h 1906800"/>
                  <a:gd name="connsiteX871" fmla="*/ 1505716 w 1922991"/>
                  <a:gd name="connsiteY871" fmla="*/ 301538 h 1906800"/>
                  <a:gd name="connsiteX872" fmla="*/ 1514066 w 1922991"/>
                  <a:gd name="connsiteY872" fmla="*/ 305847 h 1906800"/>
                  <a:gd name="connsiteX873" fmla="*/ 1574468 w 1922991"/>
                  <a:gd name="connsiteY873" fmla="*/ 349750 h 1906800"/>
                  <a:gd name="connsiteX874" fmla="*/ 1605794 w 1922991"/>
                  <a:gd name="connsiteY874" fmla="*/ 386313 h 1906800"/>
                  <a:gd name="connsiteX875" fmla="*/ 1629469 w 1922991"/>
                  <a:gd name="connsiteY875" fmla="*/ 427763 h 1906800"/>
                  <a:gd name="connsiteX876" fmla="*/ 1644494 w 1922991"/>
                  <a:gd name="connsiteY876" fmla="*/ 472723 h 1906800"/>
                  <a:gd name="connsiteX877" fmla="*/ 1650174 w 1922991"/>
                  <a:gd name="connsiteY877" fmla="*/ 519758 h 1906800"/>
                  <a:gd name="connsiteX878" fmla="*/ 1650034 w 1922991"/>
                  <a:gd name="connsiteY878" fmla="*/ 536275 h 1906800"/>
                  <a:gd name="connsiteX879" fmla="*/ 1649795 w 1922991"/>
                  <a:gd name="connsiteY879" fmla="*/ 540384 h 1906800"/>
                  <a:gd name="connsiteX880" fmla="*/ 1649735 w 1922991"/>
                  <a:gd name="connsiteY880" fmla="*/ 541421 h 1906800"/>
                  <a:gd name="connsiteX881" fmla="*/ 1649576 w 1922991"/>
                  <a:gd name="connsiteY881" fmla="*/ 543396 h 1906800"/>
                  <a:gd name="connsiteX882" fmla="*/ 1649177 w 1922991"/>
                  <a:gd name="connsiteY882" fmla="*/ 548143 h 1906800"/>
                  <a:gd name="connsiteX883" fmla="*/ 1646228 w 1922991"/>
                  <a:gd name="connsiteY883" fmla="*/ 568848 h 1906800"/>
                  <a:gd name="connsiteX884" fmla="*/ 1646467 w 1922991"/>
                  <a:gd name="connsiteY884" fmla="*/ 592126 h 1906800"/>
                  <a:gd name="connsiteX885" fmla="*/ 1647005 w 1922991"/>
                  <a:gd name="connsiteY885" fmla="*/ 594759 h 1906800"/>
                  <a:gd name="connsiteX886" fmla="*/ 1647723 w 1922991"/>
                  <a:gd name="connsiteY886" fmla="*/ 597213 h 1906800"/>
                  <a:gd name="connsiteX887" fmla="*/ 1648440 w 1922991"/>
                  <a:gd name="connsiteY887" fmla="*/ 599666 h 1906800"/>
                  <a:gd name="connsiteX888" fmla="*/ 1649297 w 1922991"/>
                  <a:gd name="connsiteY888" fmla="*/ 601920 h 1906800"/>
                  <a:gd name="connsiteX889" fmla="*/ 1650194 w 1922991"/>
                  <a:gd name="connsiteY889" fmla="*/ 604154 h 1906800"/>
                  <a:gd name="connsiteX890" fmla="*/ 1651489 w 1922991"/>
                  <a:gd name="connsiteY890" fmla="*/ 606368 h 1906800"/>
                  <a:gd name="connsiteX891" fmla="*/ 1655235 w 1922991"/>
                  <a:gd name="connsiteY891" fmla="*/ 610358 h 1906800"/>
                  <a:gd name="connsiteX892" fmla="*/ 1670201 w 1922991"/>
                  <a:gd name="connsiteY892" fmla="*/ 626275 h 1906800"/>
                  <a:gd name="connsiteX893" fmla="*/ 1673948 w 1922991"/>
                  <a:gd name="connsiteY893" fmla="*/ 630265 h 1906800"/>
                  <a:gd name="connsiteX894" fmla="*/ 1675821 w 1922991"/>
                  <a:gd name="connsiteY894" fmla="*/ 632259 h 1906800"/>
                  <a:gd name="connsiteX895" fmla="*/ 1677973 w 1922991"/>
                  <a:gd name="connsiteY895" fmla="*/ 634134 h 1906800"/>
                  <a:gd name="connsiteX896" fmla="*/ 1688575 w 1922991"/>
                  <a:gd name="connsiteY896" fmla="*/ 640737 h 1906800"/>
                  <a:gd name="connsiteX897" fmla="*/ 1693517 w 1922991"/>
                  <a:gd name="connsiteY897" fmla="*/ 644128 h 1906800"/>
                  <a:gd name="connsiteX898" fmla="*/ 1698280 w 1922991"/>
                  <a:gd name="connsiteY898" fmla="*/ 647559 h 1906800"/>
                  <a:gd name="connsiteX899" fmla="*/ 1702983 w 1922991"/>
                  <a:gd name="connsiteY899" fmla="*/ 650910 h 1906800"/>
                  <a:gd name="connsiteX900" fmla="*/ 1706968 w 1922991"/>
                  <a:gd name="connsiteY900" fmla="*/ 654002 h 1906800"/>
                  <a:gd name="connsiteX901" fmla="*/ 1710874 w 1922991"/>
                  <a:gd name="connsiteY901" fmla="*/ 657213 h 1906800"/>
                  <a:gd name="connsiteX902" fmla="*/ 1718686 w 1922991"/>
                  <a:gd name="connsiteY902" fmla="*/ 663616 h 1906800"/>
                  <a:gd name="connsiteX903" fmla="*/ 1726079 w 1922991"/>
                  <a:gd name="connsiteY903" fmla="*/ 670498 h 1906800"/>
                  <a:gd name="connsiteX904" fmla="*/ 1740288 w 1922991"/>
                  <a:gd name="connsiteY904" fmla="*/ 684820 h 1906800"/>
                  <a:gd name="connsiteX905" fmla="*/ 1746943 w 1922991"/>
                  <a:gd name="connsiteY905" fmla="*/ 692380 h 1906800"/>
                  <a:gd name="connsiteX906" fmla="*/ 1753420 w 1922991"/>
                  <a:gd name="connsiteY906" fmla="*/ 700079 h 1906800"/>
                  <a:gd name="connsiteX907" fmla="*/ 1759418 w 1922991"/>
                  <a:gd name="connsiteY907" fmla="*/ 708158 h 1906800"/>
                  <a:gd name="connsiteX908" fmla="*/ 1762408 w 1922991"/>
                  <a:gd name="connsiteY908" fmla="*/ 712207 h 1906800"/>
                  <a:gd name="connsiteX909" fmla="*/ 1765297 w 1922991"/>
                  <a:gd name="connsiteY909" fmla="*/ 716316 h 1906800"/>
                  <a:gd name="connsiteX910" fmla="*/ 1770698 w 1922991"/>
                  <a:gd name="connsiteY910" fmla="*/ 724773 h 1906800"/>
                  <a:gd name="connsiteX911" fmla="*/ 1773428 w 1922991"/>
                  <a:gd name="connsiteY911" fmla="*/ 728982 h 1906800"/>
                  <a:gd name="connsiteX912" fmla="*/ 1775879 w 1922991"/>
                  <a:gd name="connsiteY912" fmla="*/ 733371 h 1906800"/>
                  <a:gd name="connsiteX913" fmla="*/ 1781758 w 1922991"/>
                  <a:gd name="connsiteY913" fmla="*/ 743982 h 1906800"/>
                  <a:gd name="connsiteX914" fmla="*/ 1786939 w 1922991"/>
                  <a:gd name="connsiteY914" fmla="*/ 754933 h 1906800"/>
                  <a:gd name="connsiteX915" fmla="*/ 1789549 w 1922991"/>
                  <a:gd name="connsiteY915" fmla="*/ 760399 h 1906800"/>
                  <a:gd name="connsiteX916" fmla="*/ 1791722 w 1922991"/>
                  <a:gd name="connsiteY916" fmla="*/ 766044 h 1906800"/>
                  <a:gd name="connsiteX917" fmla="*/ 1796106 w 1922991"/>
                  <a:gd name="connsiteY917" fmla="*/ 777314 h 1906800"/>
                  <a:gd name="connsiteX918" fmla="*/ 1799733 w 1922991"/>
                  <a:gd name="connsiteY918" fmla="*/ 788843 h 1906800"/>
                  <a:gd name="connsiteX919" fmla="*/ 1801486 w 1922991"/>
                  <a:gd name="connsiteY919" fmla="*/ 794628 h 1906800"/>
                  <a:gd name="connsiteX920" fmla="*/ 1802901 w 1922991"/>
                  <a:gd name="connsiteY920" fmla="*/ 800512 h 1906800"/>
                  <a:gd name="connsiteX921" fmla="*/ 1804336 w 1922991"/>
                  <a:gd name="connsiteY921" fmla="*/ 806377 h 1906800"/>
                  <a:gd name="connsiteX922" fmla="*/ 1805651 w 1922991"/>
                  <a:gd name="connsiteY922" fmla="*/ 812261 h 1906800"/>
                  <a:gd name="connsiteX923" fmla="*/ 1807704 w 1922991"/>
                  <a:gd name="connsiteY923" fmla="*/ 824169 h 1906800"/>
                  <a:gd name="connsiteX924" fmla="*/ 1809198 w 1922991"/>
                  <a:gd name="connsiteY924" fmla="*/ 836177 h 1906800"/>
                  <a:gd name="connsiteX925" fmla="*/ 1809836 w 1922991"/>
                  <a:gd name="connsiteY925" fmla="*/ 842201 h 1906800"/>
                  <a:gd name="connsiteX926" fmla="*/ 1810314 w 1922991"/>
                  <a:gd name="connsiteY926" fmla="*/ 848245 h 1906800"/>
                  <a:gd name="connsiteX927" fmla="*/ 1810733 w 1922991"/>
                  <a:gd name="connsiteY927" fmla="*/ 872501 h 1906800"/>
                  <a:gd name="connsiteX928" fmla="*/ 1804814 w 1922991"/>
                  <a:gd name="connsiteY928" fmla="*/ 920473 h 1906800"/>
                  <a:gd name="connsiteX929" fmla="*/ 1803519 w 1922991"/>
                  <a:gd name="connsiteY929" fmla="*/ 926098 h 1906800"/>
                  <a:gd name="connsiteX930" fmla="*/ 1802104 w 1922991"/>
                  <a:gd name="connsiteY930" fmla="*/ 931684 h 1906800"/>
                  <a:gd name="connsiteX931" fmla="*/ 1801725 w 1922991"/>
                  <a:gd name="connsiteY931" fmla="*/ 933080 h 1906800"/>
                  <a:gd name="connsiteX932" fmla="*/ 1801367 w 1922991"/>
                  <a:gd name="connsiteY932" fmla="*/ 934476 h 1906800"/>
                  <a:gd name="connsiteX933" fmla="*/ 1800849 w 1922991"/>
                  <a:gd name="connsiteY933" fmla="*/ 936231 h 1906800"/>
                  <a:gd name="connsiteX934" fmla="*/ 1798716 w 1922991"/>
                  <a:gd name="connsiteY934" fmla="*/ 943033 h 1906800"/>
                  <a:gd name="connsiteX935" fmla="*/ 1796564 w 1922991"/>
                  <a:gd name="connsiteY935" fmla="*/ 949835 h 1906800"/>
                  <a:gd name="connsiteX936" fmla="*/ 1794153 w 1922991"/>
                  <a:gd name="connsiteY936" fmla="*/ 956617 h 1906800"/>
                  <a:gd name="connsiteX937" fmla="*/ 1792240 w 1922991"/>
                  <a:gd name="connsiteY937" fmla="*/ 962901 h 1906800"/>
                  <a:gd name="connsiteX938" fmla="*/ 1791682 w 1922991"/>
                  <a:gd name="connsiteY938" fmla="*/ 965972 h 1906800"/>
                  <a:gd name="connsiteX939" fmla="*/ 1791303 w 1922991"/>
                  <a:gd name="connsiteY939" fmla="*/ 969024 h 1906800"/>
                  <a:gd name="connsiteX940" fmla="*/ 1790626 w 1922991"/>
                  <a:gd name="connsiteY940" fmla="*/ 980853 h 1906800"/>
                  <a:gd name="connsiteX941" fmla="*/ 1791104 w 1922991"/>
                  <a:gd name="connsiteY941" fmla="*/ 986378 h 1906800"/>
                  <a:gd name="connsiteX942" fmla="*/ 1791343 w 1922991"/>
                  <a:gd name="connsiteY942" fmla="*/ 989151 h 1906800"/>
                  <a:gd name="connsiteX943" fmla="*/ 1791482 w 1922991"/>
                  <a:gd name="connsiteY943" fmla="*/ 989869 h 1906800"/>
                  <a:gd name="connsiteX944" fmla="*/ 1791781 w 1922991"/>
                  <a:gd name="connsiteY944" fmla="*/ 990527 h 1906800"/>
                  <a:gd name="connsiteX945" fmla="*/ 1792399 w 1922991"/>
                  <a:gd name="connsiteY945" fmla="*/ 991864 h 1906800"/>
                  <a:gd name="connsiteX946" fmla="*/ 1797361 w 1922991"/>
                  <a:gd name="connsiteY946" fmla="*/ 1002515 h 1906800"/>
                  <a:gd name="connsiteX947" fmla="*/ 1802323 w 1922991"/>
                  <a:gd name="connsiteY947" fmla="*/ 1013167 h 1906800"/>
                  <a:gd name="connsiteX948" fmla="*/ 1803579 w 1922991"/>
                  <a:gd name="connsiteY948" fmla="*/ 1015820 h 1906800"/>
                  <a:gd name="connsiteX949" fmla="*/ 1805591 w 1922991"/>
                  <a:gd name="connsiteY949" fmla="*/ 1018233 h 1906800"/>
                  <a:gd name="connsiteX950" fmla="*/ 1809617 w 1922991"/>
                  <a:gd name="connsiteY950" fmla="*/ 1023041 h 1906800"/>
                  <a:gd name="connsiteX951" fmla="*/ 1817668 w 1922991"/>
                  <a:gd name="connsiteY951" fmla="*/ 1032655 h 1906800"/>
                  <a:gd name="connsiteX952" fmla="*/ 1824124 w 1922991"/>
                  <a:gd name="connsiteY952" fmla="*/ 1040554 h 1906800"/>
                  <a:gd name="connsiteX953" fmla="*/ 1847619 w 1922991"/>
                  <a:gd name="connsiteY953" fmla="*/ 1077097 h 1906800"/>
                  <a:gd name="connsiteX954" fmla="*/ 1876953 w 1922991"/>
                  <a:gd name="connsiteY954" fmla="*/ 1158042 h 1906800"/>
                  <a:gd name="connsiteX955" fmla="*/ 1882055 w 1922991"/>
                  <a:gd name="connsiteY955" fmla="*/ 1206752 h 1906800"/>
                  <a:gd name="connsiteX956" fmla="*/ 1878906 w 1922991"/>
                  <a:gd name="connsiteY956" fmla="*/ 1255662 h 1906800"/>
                  <a:gd name="connsiteX957" fmla="*/ 1867188 w 1922991"/>
                  <a:gd name="connsiteY957" fmla="*/ 1303176 h 1906800"/>
                  <a:gd name="connsiteX958" fmla="*/ 1858340 w 1922991"/>
                  <a:gd name="connsiteY958" fmla="*/ 1326055 h 1906800"/>
                  <a:gd name="connsiteX959" fmla="*/ 1853139 w 1922991"/>
                  <a:gd name="connsiteY959" fmla="*/ 1337186 h 1906800"/>
                  <a:gd name="connsiteX960" fmla="*/ 1847460 w 1922991"/>
                  <a:gd name="connsiteY960" fmla="*/ 1348097 h 1906800"/>
                  <a:gd name="connsiteX961" fmla="*/ 1820298 w 1922991"/>
                  <a:gd name="connsiteY961" fmla="*/ 1389287 h 1906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</a:cxnLst>
                <a:rect l="l" t="t" r="r" b="b"/>
                <a:pathLst>
                  <a:path w="1922991" h="1906800">
                    <a:moveTo>
                      <a:pt x="1916829" y="1150163"/>
                    </a:moveTo>
                    <a:cubicBezTo>
                      <a:pt x="1910293" y="1117928"/>
                      <a:pt x="1899253" y="1086512"/>
                      <a:pt x="1883330" y="1057629"/>
                    </a:cubicBezTo>
                    <a:cubicBezTo>
                      <a:pt x="1875419" y="1043187"/>
                      <a:pt x="1866611" y="1029184"/>
                      <a:pt x="1856607" y="1016039"/>
                    </a:cubicBezTo>
                    <a:cubicBezTo>
                      <a:pt x="1855650" y="1014603"/>
                      <a:pt x="1853518" y="1012110"/>
                      <a:pt x="1851804" y="1009975"/>
                    </a:cubicBezTo>
                    <a:lnTo>
                      <a:pt x="1846424" y="1003393"/>
                    </a:lnTo>
                    <a:lnTo>
                      <a:pt x="1843733" y="1000102"/>
                    </a:lnTo>
                    <a:lnTo>
                      <a:pt x="1842398" y="998446"/>
                    </a:lnTo>
                    <a:lnTo>
                      <a:pt x="1841262" y="996751"/>
                    </a:lnTo>
                    <a:lnTo>
                      <a:pt x="1836739" y="989949"/>
                    </a:lnTo>
                    <a:lnTo>
                      <a:pt x="1832215" y="983147"/>
                    </a:lnTo>
                    <a:lnTo>
                      <a:pt x="1831657" y="982289"/>
                    </a:lnTo>
                    <a:cubicBezTo>
                      <a:pt x="1831478" y="982010"/>
                      <a:pt x="1831219" y="981730"/>
                      <a:pt x="1831278" y="981371"/>
                    </a:cubicBezTo>
                    <a:lnTo>
                      <a:pt x="1831577" y="979437"/>
                    </a:lnTo>
                    <a:lnTo>
                      <a:pt x="1832175" y="975567"/>
                    </a:lnTo>
                    <a:cubicBezTo>
                      <a:pt x="1832474" y="973034"/>
                      <a:pt x="1833231" y="970241"/>
                      <a:pt x="1833849" y="967548"/>
                    </a:cubicBezTo>
                    <a:cubicBezTo>
                      <a:pt x="1834188" y="966192"/>
                      <a:pt x="1834427" y="964835"/>
                      <a:pt x="1834865" y="963459"/>
                    </a:cubicBezTo>
                    <a:lnTo>
                      <a:pt x="1836161" y="959310"/>
                    </a:lnTo>
                    <a:cubicBezTo>
                      <a:pt x="1837197" y="956318"/>
                      <a:pt x="1838134" y="953306"/>
                      <a:pt x="1839030" y="950294"/>
                    </a:cubicBezTo>
                    <a:lnTo>
                      <a:pt x="1840385" y="945766"/>
                    </a:lnTo>
                    <a:lnTo>
                      <a:pt x="1841402" y="941976"/>
                    </a:lnTo>
                    <a:cubicBezTo>
                      <a:pt x="1842000" y="939842"/>
                      <a:pt x="1842538" y="937668"/>
                      <a:pt x="1843036" y="935513"/>
                    </a:cubicBezTo>
                    <a:cubicBezTo>
                      <a:pt x="1843574" y="933359"/>
                      <a:pt x="1844072" y="931185"/>
                      <a:pt x="1844530" y="929011"/>
                    </a:cubicBezTo>
                    <a:cubicBezTo>
                      <a:pt x="1848496" y="910819"/>
                      <a:pt x="1850788" y="892268"/>
                      <a:pt x="1851366" y="873618"/>
                    </a:cubicBezTo>
                    <a:cubicBezTo>
                      <a:pt x="1851784" y="864303"/>
                      <a:pt x="1851127" y="854987"/>
                      <a:pt x="1850887" y="845672"/>
                    </a:cubicBezTo>
                    <a:cubicBezTo>
                      <a:pt x="1850887" y="843338"/>
                      <a:pt x="1850588" y="841024"/>
                      <a:pt x="1850349" y="838711"/>
                    </a:cubicBezTo>
                    <a:lnTo>
                      <a:pt x="1849632" y="831769"/>
                    </a:lnTo>
                    <a:cubicBezTo>
                      <a:pt x="1849114" y="827141"/>
                      <a:pt x="1848855" y="822474"/>
                      <a:pt x="1847898" y="817906"/>
                    </a:cubicBezTo>
                    <a:lnTo>
                      <a:pt x="1845527" y="804143"/>
                    </a:lnTo>
                    <a:cubicBezTo>
                      <a:pt x="1845208" y="801829"/>
                      <a:pt x="1844530" y="799595"/>
                      <a:pt x="1844012" y="797321"/>
                    </a:cubicBezTo>
                    <a:lnTo>
                      <a:pt x="1842358" y="790539"/>
                    </a:lnTo>
                    <a:lnTo>
                      <a:pt x="1840704" y="783757"/>
                    </a:lnTo>
                    <a:cubicBezTo>
                      <a:pt x="1840206" y="781483"/>
                      <a:pt x="1839349" y="779309"/>
                      <a:pt x="1838692" y="777074"/>
                    </a:cubicBezTo>
                    <a:lnTo>
                      <a:pt x="1834487" y="763750"/>
                    </a:lnTo>
                    <a:cubicBezTo>
                      <a:pt x="1832893" y="759382"/>
                      <a:pt x="1831099" y="755073"/>
                      <a:pt x="1829445" y="750725"/>
                    </a:cubicBezTo>
                    <a:lnTo>
                      <a:pt x="1826914" y="744222"/>
                    </a:lnTo>
                    <a:lnTo>
                      <a:pt x="1823945" y="737899"/>
                    </a:lnTo>
                    <a:cubicBezTo>
                      <a:pt x="1821932" y="733690"/>
                      <a:pt x="1820039" y="729441"/>
                      <a:pt x="1817947" y="725272"/>
                    </a:cubicBezTo>
                    <a:lnTo>
                      <a:pt x="1811191" y="713045"/>
                    </a:lnTo>
                    <a:cubicBezTo>
                      <a:pt x="1810235" y="711369"/>
                      <a:pt x="1809378" y="709654"/>
                      <a:pt x="1808361" y="708018"/>
                    </a:cubicBezTo>
                    <a:lnTo>
                      <a:pt x="1805233" y="703151"/>
                    </a:lnTo>
                    <a:lnTo>
                      <a:pt x="1799015" y="693417"/>
                    </a:lnTo>
                    <a:cubicBezTo>
                      <a:pt x="1798019" y="691761"/>
                      <a:pt x="1796823" y="690245"/>
                      <a:pt x="1795687" y="688689"/>
                    </a:cubicBezTo>
                    <a:lnTo>
                      <a:pt x="1792260" y="684042"/>
                    </a:lnTo>
                    <a:cubicBezTo>
                      <a:pt x="1789948" y="680950"/>
                      <a:pt x="1787776" y="677778"/>
                      <a:pt x="1785365" y="674766"/>
                    </a:cubicBezTo>
                    <a:lnTo>
                      <a:pt x="1777931" y="665910"/>
                    </a:lnTo>
                    <a:cubicBezTo>
                      <a:pt x="1775460" y="662958"/>
                      <a:pt x="1773029" y="659946"/>
                      <a:pt x="1770299" y="657233"/>
                    </a:cubicBezTo>
                    <a:cubicBezTo>
                      <a:pt x="1764938" y="651688"/>
                      <a:pt x="1759837" y="645883"/>
                      <a:pt x="1754018" y="640817"/>
                    </a:cubicBezTo>
                    <a:lnTo>
                      <a:pt x="1745529" y="632958"/>
                    </a:lnTo>
                    <a:cubicBezTo>
                      <a:pt x="1742599" y="630444"/>
                      <a:pt x="1739570" y="628071"/>
                      <a:pt x="1736581" y="625617"/>
                    </a:cubicBezTo>
                    <a:lnTo>
                      <a:pt x="1732097" y="621947"/>
                    </a:lnTo>
                    <a:cubicBezTo>
                      <a:pt x="1730603" y="620730"/>
                      <a:pt x="1729128" y="619473"/>
                      <a:pt x="1727534" y="618396"/>
                    </a:cubicBezTo>
                    <a:lnTo>
                      <a:pt x="1722632" y="614906"/>
                    </a:lnTo>
                    <a:cubicBezTo>
                      <a:pt x="1720439" y="613370"/>
                      <a:pt x="1718367" y="611794"/>
                      <a:pt x="1716095" y="610278"/>
                    </a:cubicBezTo>
                    <a:lnTo>
                      <a:pt x="1709280" y="605710"/>
                    </a:lnTo>
                    <a:cubicBezTo>
                      <a:pt x="1707128" y="604154"/>
                      <a:pt x="1705274" y="602538"/>
                      <a:pt x="1703242" y="600943"/>
                    </a:cubicBezTo>
                    <a:lnTo>
                      <a:pt x="1691345" y="591368"/>
                    </a:lnTo>
                    <a:lnTo>
                      <a:pt x="1688376" y="588974"/>
                    </a:lnTo>
                    <a:cubicBezTo>
                      <a:pt x="1688136" y="588755"/>
                      <a:pt x="1687837" y="588615"/>
                      <a:pt x="1687698" y="588316"/>
                    </a:cubicBezTo>
                    <a:cubicBezTo>
                      <a:pt x="1687578" y="588017"/>
                      <a:pt x="1687638" y="587738"/>
                      <a:pt x="1687598" y="587439"/>
                    </a:cubicBezTo>
                    <a:lnTo>
                      <a:pt x="1687499" y="585683"/>
                    </a:lnTo>
                    <a:cubicBezTo>
                      <a:pt x="1687419" y="584546"/>
                      <a:pt x="1687379" y="583329"/>
                      <a:pt x="1687339" y="582113"/>
                    </a:cubicBezTo>
                    <a:cubicBezTo>
                      <a:pt x="1687279" y="580916"/>
                      <a:pt x="1687260" y="579679"/>
                      <a:pt x="1687260" y="578423"/>
                    </a:cubicBezTo>
                    <a:cubicBezTo>
                      <a:pt x="1687240" y="573416"/>
                      <a:pt x="1687499" y="568070"/>
                      <a:pt x="1688316" y="562624"/>
                    </a:cubicBezTo>
                    <a:cubicBezTo>
                      <a:pt x="1688993" y="558057"/>
                      <a:pt x="1689551" y="553489"/>
                      <a:pt x="1689970" y="548941"/>
                    </a:cubicBezTo>
                    <a:cubicBezTo>
                      <a:pt x="1690388" y="544054"/>
                      <a:pt x="1690528" y="541441"/>
                      <a:pt x="1690687" y="538130"/>
                    </a:cubicBezTo>
                    <a:cubicBezTo>
                      <a:pt x="1690986" y="531707"/>
                      <a:pt x="1691086" y="525264"/>
                      <a:pt x="1690866" y="518821"/>
                    </a:cubicBezTo>
                    <a:cubicBezTo>
                      <a:pt x="1690448" y="500290"/>
                      <a:pt x="1688276" y="481819"/>
                      <a:pt x="1684211" y="463747"/>
                    </a:cubicBezTo>
                    <a:cubicBezTo>
                      <a:pt x="1680085" y="445695"/>
                      <a:pt x="1674187" y="428042"/>
                      <a:pt x="1666634" y="411107"/>
                    </a:cubicBezTo>
                    <a:cubicBezTo>
                      <a:pt x="1659121" y="394152"/>
                      <a:pt x="1649815" y="377995"/>
                      <a:pt x="1639074" y="362836"/>
                    </a:cubicBezTo>
                    <a:cubicBezTo>
                      <a:pt x="1628333" y="347676"/>
                      <a:pt x="1616237" y="333434"/>
                      <a:pt x="1602825" y="320528"/>
                    </a:cubicBezTo>
                    <a:cubicBezTo>
                      <a:pt x="1582220" y="300541"/>
                      <a:pt x="1558665" y="283606"/>
                      <a:pt x="1533356" y="270002"/>
                    </a:cubicBezTo>
                    <a:cubicBezTo>
                      <a:pt x="1530148" y="268367"/>
                      <a:pt x="1527019" y="266611"/>
                      <a:pt x="1523771" y="265075"/>
                    </a:cubicBezTo>
                    <a:lnTo>
                      <a:pt x="1514026" y="260468"/>
                    </a:lnTo>
                    <a:lnTo>
                      <a:pt x="1504102" y="256219"/>
                    </a:lnTo>
                    <a:cubicBezTo>
                      <a:pt x="1500754" y="254823"/>
                      <a:pt x="1497267" y="253586"/>
                      <a:pt x="1493859" y="252249"/>
                    </a:cubicBezTo>
                    <a:lnTo>
                      <a:pt x="1491289" y="251272"/>
                    </a:lnTo>
                    <a:lnTo>
                      <a:pt x="1487761" y="250095"/>
                    </a:lnTo>
                    <a:lnTo>
                      <a:pt x="1480527" y="247722"/>
                    </a:lnTo>
                    <a:cubicBezTo>
                      <a:pt x="1478156" y="246904"/>
                      <a:pt x="1475605" y="246206"/>
                      <a:pt x="1473393" y="245268"/>
                    </a:cubicBezTo>
                    <a:lnTo>
                      <a:pt x="1466817" y="242356"/>
                    </a:lnTo>
                    <a:lnTo>
                      <a:pt x="1460241" y="239444"/>
                    </a:lnTo>
                    <a:lnTo>
                      <a:pt x="1459424" y="239085"/>
                    </a:lnTo>
                    <a:cubicBezTo>
                      <a:pt x="1459165" y="238965"/>
                      <a:pt x="1458846" y="238865"/>
                      <a:pt x="1458687" y="238586"/>
                    </a:cubicBezTo>
                    <a:lnTo>
                      <a:pt x="1457909" y="236950"/>
                    </a:lnTo>
                    <a:lnTo>
                      <a:pt x="1456355" y="233699"/>
                    </a:lnTo>
                    <a:lnTo>
                      <a:pt x="1453246" y="227176"/>
                    </a:lnTo>
                    <a:cubicBezTo>
                      <a:pt x="1452250" y="224962"/>
                      <a:pt x="1451074" y="222967"/>
                      <a:pt x="1450277" y="220474"/>
                    </a:cubicBezTo>
                    <a:lnTo>
                      <a:pt x="1447188" y="211997"/>
                    </a:lnTo>
                    <a:lnTo>
                      <a:pt x="1445654" y="207748"/>
                    </a:lnTo>
                    <a:lnTo>
                      <a:pt x="1444877" y="205633"/>
                    </a:lnTo>
                    <a:cubicBezTo>
                      <a:pt x="1444617" y="204895"/>
                      <a:pt x="1444458" y="204556"/>
                      <a:pt x="1444239" y="203998"/>
                    </a:cubicBezTo>
                    <a:cubicBezTo>
                      <a:pt x="1442585" y="199968"/>
                      <a:pt x="1440991" y="195919"/>
                      <a:pt x="1439277" y="191910"/>
                    </a:cubicBezTo>
                    <a:cubicBezTo>
                      <a:pt x="1437503" y="187940"/>
                      <a:pt x="1435789" y="183931"/>
                      <a:pt x="1433956" y="179982"/>
                    </a:cubicBezTo>
                    <a:cubicBezTo>
                      <a:pt x="1432063" y="176072"/>
                      <a:pt x="1430229" y="172122"/>
                      <a:pt x="1428277" y="168253"/>
                    </a:cubicBezTo>
                    <a:cubicBezTo>
                      <a:pt x="1419747" y="151358"/>
                      <a:pt x="1410062" y="135101"/>
                      <a:pt x="1399262" y="119702"/>
                    </a:cubicBezTo>
                    <a:cubicBezTo>
                      <a:pt x="1388461" y="104303"/>
                      <a:pt x="1376524" y="89761"/>
                      <a:pt x="1363371" y="76537"/>
                    </a:cubicBezTo>
                    <a:cubicBezTo>
                      <a:pt x="1337206" y="49987"/>
                      <a:pt x="1306318" y="28345"/>
                      <a:pt x="1272261" y="15080"/>
                    </a:cubicBezTo>
                    <a:lnTo>
                      <a:pt x="1265864" y="12626"/>
                    </a:lnTo>
                    <a:lnTo>
                      <a:pt x="1259368" y="10492"/>
                    </a:lnTo>
                    <a:lnTo>
                      <a:pt x="1256119" y="9415"/>
                    </a:lnTo>
                    <a:lnTo>
                      <a:pt x="1252831" y="8497"/>
                    </a:lnTo>
                    <a:lnTo>
                      <a:pt x="1246255" y="6662"/>
                    </a:lnTo>
                    <a:cubicBezTo>
                      <a:pt x="1237427" y="4568"/>
                      <a:pt x="1228519" y="2653"/>
                      <a:pt x="1219512" y="1656"/>
                    </a:cubicBezTo>
                    <a:cubicBezTo>
                      <a:pt x="1210504" y="439"/>
                      <a:pt x="1201457" y="80"/>
                      <a:pt x="1192330" y="0"/>
                    </a:cubicBezTo>
                    <a:lnTo>
                      <a:pt x="1178301" y="339"/>
                    </a:lnTo>
                    <a:cubicBezTo>
                      <a:pt x="1173638" y="559"/>
                      <a:pt x="1169015" y="1017"/>
                      <a:pt x="1164352" y="1317"/>
                    </a:cubicBezTo>
                    <a:cubicBezTo>
                      <a:pt x="1127345" y="4727"/>
                      <a:pt x="1091296" y="15020"/>
                      <a:pt x="1059810" y="33531"/>
                    </a:cubicBezTo>
                    <a:cubicBezTo>
                      <a:pt x="1057060" y="35147"/>
                      <a:pt x="1054429" y="36942"/>
                      <a:pt x="1051719" y="38637"/>
                    </a:cubicBezTo>
                    <a:cubicBezTo>
                      <a:pt x="1049069" y="40393"/>
                      <a:pt x="1046259" y="41948"/>
                      <a:pt x="1043768" y="43943"/>
                    </a:cubicBezTo>
                    <a:cubicBezTo>
                      <a:pt x="1038686" y="47793"/>
                      <a:pt x="1033385" y="51363"/>
                      <a:pt x="1028662" y="55692"/>
                    </a:cubicBezTo>
                    <a:lnTo>
                      <a:pt x="1021369" y="61915"/>
                    </a:lnTo>
                    <a:lnTo>
                      <a:pt x="1013517" y="69595"/>
                    </a:lnTo>
                    <a:cubicBezTo>
                      <a:pt x="1006921" y="75898"/>
                      <a:pt x="1001202" y="83717"/>
                      <a:pt x="995184" y="90998"/>
                    </a:cubicBezTo>
                    <a:lnTo>
                      <a:pt x="992952" y="93771"/>
                    </a:lnTo>
                    <a:lnTo>
                      <a:pt x="991836" y="95147"/>
                    </a:lnTo>
                    <a:cubicBezTo>
                      <a:pt x="991457" y="95586"/>
                      <a:pt x="991098" y="95925"/>
                      <a:pt x="990720" y="96324"/>
                    </a:cubicBezTo>
                    <a:lnTo>
                      <a:pt x="986256" y="100812"/>
                    </a:lnTo>
                    <a:cubicBezTo>
                      <a:pt x="983267" y="103784"/>
                      <a:pt x="980278" y="106716"/>
                      <a:pt x="977268" y="109589"/>
                    </a:cubicBezTo>
                    <a:cubicBezTo>
                      <a:pt x="975674" y="111184"/>
                      <a:pt x="974518" y="112062"/>
                      <a:pt x="973223" y="113179"/>
                    </a:cubicBezTo>
                    <a:lnTo>
                      <a:pt x="969397" y="116411"/>
                    </a:lnTo>
                    <a:lnTo>
                      <a:pt x="961745" y="122873"/>
                    </a:lnTo>
                    <a:cubicBezTo>
                      <a:pt x="961585" y="122993"/>
                      <a:pt x="961226" y="123013"/>
                      <a:pt x="961047" y="122893"/>
                    </a:cubicBezTo>
                    <a:cubicBezTo>
                      <a:pt x="960888" y="122774"/>
                      <a:pt x="960728" y="122634"/>
                      <a:pt x="960569" y="122494"/>
                    </a:cubicBezTo>
                    <a:lnTo>
                      <a:pt x="959612" y="121677"/>
                    </a:lnTo>
                    <a:lnTo>
                      <a:pt x="957699" y="120061"/>
                    </a:lnTo>
                    <a:lnTo>
                      <a:pt x="953873" y="116829"/>
                    </a:lnTo>
                    <a:lnTo>
                      <a:pt x="950047" y="113598"/>
                    </a:lnTo>
                    <a:lnTo>
                      <a:pt x="948134" y="111982"/>
                    </a:lnTo>
                    <a:lnTo>
                      <a:pt x="947177" y="111165"/>
                    </a:lnTo>
                    <a:cubicBezTo>
                      <a:pt x="946878" y="110905"/>
                      <a:pt x="946440" y="110486"/>
                      <a:pt x="946081" y="110147"/>
                    </a:cubicBezTo>
                    <a:cubicBezTo>
                      <a:pt x="943072" y="107275"/>
                      <a:pt x="940083" y="104363"/>
                      <a:pt x="937094" y="101390"/>
                    </a:cubicBezTo>
                    <a:cubicBezTo>
                      <a:pt x="934105" y="98339"/>
                      <a:pt x="931175" y="95745"/>
                      <a:pt x="928126" y="91676"/>
                    </a:cubicBezTo>
                    <a:lnTo>
                      <a:pt x="920454" y="82202"/>
                    </a:lnTo>
                    <a:cubicBezTo>
                      <a:pt x="917883" y="79050"/>
                      <a:pt x="915392" y="75799"/>
                      <a:pt x="912563" y="73046"/>
                    </a:cubicBezTo>
                    <a:cubicBezTo>
                      <a:pt x="911188" y="71630"/>
                      <a:pt x="909812" y="70134"/>
                      <a:pt x="908438" y="68837"/>
                    </a:cubicBezTo>
                    <a:lnTo>
                      <a:pt x="904731" y="65207"/>
                    </a:lnTo>
                    <a:lnTo>
                      <a:pt x="901782" y="62314"/>
                    </a:lnTo>
                    <a:cubicBezTo>
                      <a:pt x="900805" y="61337"/>
                      <a:pt x="899709" y="60519"/>
                      <a:pt x="898673" y="59602"/>
                    </a:cubicBezTo>
                    <a:cubicBezTo>
                      <a:pt x="890423" y="52361"/>
                      <a:pt x="881754" y="45579"/>
                      <a:pt x="872567" y="39615"/>
                    </a:cubicBezTo>
                    <a:cubicBezTo>
                      <a:pt x="857342" y="29601"/>
                      <a:pt x="840962" y="21323"/>
                      <a:pt x="823664" y="15279"/>
                    </a:cubicBezTo>
                    <a:cubicBezTo>
                      <a:pt x="806387" y="9176"/>
                      <a:pt x="788332" y="5027"/>
                      <a:pt x="769939" y="2633"/>
                    </a:cubicBezTo>
                    <a:lnTo>
                      <a:pt x="763044" y="1735"/>
                    </a:lnTo>
                    <a:cubicBezTo>
                      <a:pt x="760752" y="1416"/>
                      <a:pt x="758400" y="1356"/>
                      <a:pt x="756089" y="1157"/>
                    </a:cubicBezTo>
                    <a:lnTo>
                      <a:pt x="749114" y="638"/>
                    </a:lnTo>
                    <a:lnTo>
                      <a:pt x="745627" y="379"/>
                    </a:lnTo>
                    <a:lnTo>
                      <a:pt x="742119" y="299"/>
                    </a:lnTo>
                    <a:cubicBezTo>
                      <a:pt x="737456" y="219"/>
                      <a:pt x="732733" y="0"/>
                      <a:pt x="728130" y="20"/>
                    </a:cubicBezTo>
                    <a:cubicBezTo>
                      <a:pt x="723606" y="180"/>
                      <a:pt x="719043" y="120"/>
                      <a:pt x="714539" y="578"/>
                    </a:cubicBezTo>
                    <a:lnTo>
                      <a:pt x="707764" y="1097"/>
                    </a:lnTo>
                    <a:lnTo>
                      <a:pt x="701008" y="1955"/>
                    </a:lnTo>
                    <a:lnTo>
                      <a:pt x="697640" y="2374"/>
                    </a:lnTo>
                    <a:lnTo>
                      <a:pt x="694292" y="2972"/>
                    </a:lnTo>
                    <a:lnTo>
                      <a:pt x="687597" y="4149"/>
                    </a:lnTo>
                    <a:cubicBezTo>
                      <a:pt x="678729" y="6104"/>
                      <a:pt x="669881" y="8218"/>
                      <a:pt x="661272" y="11230"/>
                    </a:cubicBezTo>
                    <a:cubicBezTo>
                      <a:pt x="643954" y="16915"/>
                      <a:pt x="627374" y="24954"/>
                      <a:pt x="611711" y="34608"/>
                    </a:cubicBezTo>
                    <a:cubicBezTo>
                      <a:pt x="595988" y="44203"/>
                      <a:pt x="581401" y="55772"/>
                      <a:pt x="567790" y="68458"/>
                    </a:cubicBezTo>
                    <a:cubicBezTo>
                      <a:pt x="554179" y="81144"/>
                      <a:pt x="541744" y="95247"/>
                      <a:pt x="530465" y="110247"/>
                    </a:cubicBezTo>
                    <a:cubicBezTo>
                      <a:pt x="519166" y="125247"/>
                      <a:pt x="509003" y="141205"/>
                      <a:pt x="499995" y="157821"/>
                    </a:cubicBezTo>
                    <a:cubicBezTo>
                      <a:pt x="492522" y="171704"/>
                      <a:pt x="485827" y="186045"/>
                      <a:pt x="479928" y="200746"/>
                    </a:cubicBezTo>
                    <a:lnTo>
                      <a:pt x="478812" y="203499"/>
                    </a:lnTo>
                    <a:cubicBezTo>
                      <a:pt x="478433" y="204437"/>
                      <a:pt x="478095" y="205195"/>
                      <a:pt x="477596" y="206631"/>
                    </a:cubicBezTo>
                    <a:lnTo>
                      <a:pt x="474787" y="214350"/>
                    </a:lnTo>
                    <a:lnTo>
                      <a:pt x="471977" y="222070"/>
                    </a:lnTo>
                    <a:cubicBezTo>
                      <a:pt x="470940" y="224523"/>
                      <a:pt x="469745" y="226797"/>
                      <a:pt x="468649" y="229171"/>
                    </a:cubicBezTo>
                    <a:lnTo>
                      <a:pt x="465281" y="236232"/>
                    </a:lnTo>
                    <a:lnTo>
                      <a:pt x="464444" y="237987"/>
                    </a:lnTo>
                    <a:cubicBezTo>
                      <a:pt x="464285" y="238267"/>
                      <a:pt x="464205" y="238606"/>
                      <a:pt x="463966" y="238845"/>
                    </a:cubicBezTo>
                    <a:cubicBezTo>
                      <a:pt x="463727" y="239065"/>
                      <a:pt x="463388" y="239124"/>
                      <a:pt x="463109" y="239284"/>
                    </a:cubicBezTo>
                    <a:lnTo>
                      <a:pt x="459542" y="240860"/>
                    </a:lnTo>
                    <a:lnTo>
                      <a:pt x="452427" y="244011"/>
                    </a:lnTo>
                    <a:lnTo>
                      <a:pt x="448860" y="245587"/>
                    </a:lnTo>
                    <a:cubicBezTo>
                      <a:pt x="447625" y="246086"/>
                      <a:pt x="446270" y="246465"/>
                      <a:pt x="444994" y="246924"/>
                    </a:cubicBezTo>
                    <a:lnTo>
                      <a:pt x="434054" y="250514"/>
                    </a:lnTo>
                    <a:lnTo>
                      <a:pt x="432679" y="250953"/>
                    </a:lnTo>
                    <a:cubicBezTo>
                      <a:pt x="432240" y="251093"/>
                      <a:pt x="431702" y="251272"/>
                      <a:pt x="431443" y="251372"/>
                    </a:cubicBezTo>
                    <a:lnTo>
                      <a:pt x="429490" y="252110"/>
                    </a:lnTo>
                    <a:lnTo>
                      <a:pt x="425605" y="253586"/>
                    </a:lnTo>
                    <a:cubicBezTo>
                      <a:pt x="420324" y="255501"/>
                      <a:pt x="415401" y="257695"/>
                      <a:pt x="410380" y="259829"/>
                    </a:cubicBezTo>
                    <a:cubicBezTo>
                      <a:pt x="400475" y="264297"/>
                      <a:pt x="390691" y="269105"/>
                      <a:pt x="381285" y="274590"/>
                    </a:cubicBezTo>
                    <a:cubicBezTo>
                      <a:pt x="362353" y="285322"/>
                      <a:pt x="344717" y="298227"/>
                      <a:pt x="328476" y="312649"/>
                    </a:cubicBezTo>
                    <a:cubicBezTo>
                      <a:pt x="314586" y="325056"/>
                      <a:pt x="301932" y="338819"/>
                      <a:pt x="290593" y="353540"/>
                    </a:cubicBezTo>
                    <a:cubicBezTo>
                      <a:pt x="279254" y="368281"/>
                      <a:pt x="269310" y="384059"/>
                      <a:pt x="261100" y="400695"/>
                    </a:cubicBezTo>
                    <a:cubicBezTo>
                      <a:pt x="252850" y="417311"/>
                      <a:pt x="246214" y="434705"/>
                      <a:pt x="241331" y="452557"/>
                    </a:cubicBezTo>
                    <a:cubicBezTo>
                      <a:pt x="236549" y="470449"/>
                      <a:pt x="233559" y="488821"/>
                      <a:pt x="232384" y="507292"/>
                    </a:cubicBezTo>
                    <a:lnTo>
                      <a:pt x="232025" y="512837"/>
                    </a:lnTo>
                    <a:lnTo>
                      <a:pt x="231905" y="518402"/>
                    </a:lnTo>
                    <a:cubicBezTo>
                      <a:pt x="231826" y="522112"/>
                      <a:pt x="231706" y="525822"/>
                      <a:pt x="231806" y="529532"/>
                    </a:cubicBezTo>
                    <a:cubicBezTo>
                      <a:pt x="231866" y="533243"/>
                      <a:pt x="231985" y="536953"/>
                      <a:pt x="232204" y="540643"/>
                    </a:cubicBezTo>
                    <a:lnTo>
                      <a:pt x="232384" y="543416"/>
                    </a:lnTo>
                    <a:lnTo>
                      <a:pt x="232643" y="546787"/>
                    </a:lnTo>
                    <a:cubicBezTo>
                      <a:pt x="232822" y="549260"/>
                      <a:pt x="233101" y="551953"/>
                      <a:pt x="233400" y="554566"/>
                    </a:cubicBezTo>
                    <a:cubicBezTo>
                      <a:pt x="233938" y="559792"/>
                      <a:pt x="234994" y="565138"/>
                      <a:pt x="235273" y="570264"/>
                    </a:cubicBezTo>
                    <a:cubicBezTo>
                      <a:pt x="235632" y="575391"/>
                      <a:pt x="235572" y="580298"/>
                      <a:pt x="235333" y="584885"/>
                    </a:cubicBezTo>
                    <a:lnTo>
                      <a:pt x="235114" y="588276"/>
                    </a:lnTo>
                    <a:cubicBezTo>
                      <a:pt x="235054" y="588615"/>
                      <a:pt x="234775" y="588755"/>
                      <a:pt x="234536" y="588955"/>
                    </a:cubicBezTo>
                    <a:lnTo>
                      <a:pt x="233818" y="589533"/>
                    </a:lnTo>
                    <a:lnTo>
                      <a:pt x="232384" y="590690"/>
                    </a:lnTo>
                    <a:lnTo>
                      <a:pt x="226664" y="595338"/>
                    </a:lnTo>
                    <a:lnTo>
                      <a:pt x="215246" y="604653"/>
                    </a:lnTo>
                    <a:cubicBezTo>
                      <a:pt x="211918" y="606787"/>
                      <a:pt x="208630" y="609041"/>
                      <a:pt x="205341" y="611255"/>
                    </a:cubicBezTo>
                    <a:lnTo>
                      <a:pt x="196892" y="617299"/>
                    </a:lnTo>
                    <a:lnTo>
                      <a:pt x="193464" y="619733"/>
                    </a:lnTo>
                    <a:lnTo>
                      <a:pt x="190216" y="622386"/>
                    </a:lnTo>
                    <a:lnTo>
                      <a:pt x="183700" y="627692"/>
                    </a:lnTo>
                    <a:cubicBezTo>
                      <a:pt x="181548" y="629487"/>
                      <a:pt x="179316" y="631182"/>
                      <a:pt x="177223" y="633037"/>
                    </a:cubicBezTo>
                    <a:lnTo>
                      <a:pt x="171066" y="638762"/>
                    </a:lnTo>
                    <a:cubicBezTo>
                      <a:pt x="166960" y="642572"/>
                      <a:pt x="162756" y="646282"/>
                      <a:pt x="159009" y="650451"/>
                    </a:cubicBezTo>
                    <a:lnTo>
                      <a:pt x="153210" y="656535"/>
                    </a:lnTo>
                    <a:cubicBezTo>
                      <a:pt x="151297" y="658569"/>
                      <a:pt x="149284" y="660544"/>
                      <a:pt x="147551" y="662738"/>
                    </a:cubicBezTo>
                    <a:lnTo>
                      <a:pt x="136770" y="675604"/>
                    </a:lnTo>
                    <a:lnTo>
                      <a:pt x="126826" y="689128"/>
                    </a:lnTo>
                    <a:cubicBezTo>
                      <a:pt x="126009" y="690265"/>
                      <a:pt x="125132" y="691342"/>
                      <a:pt x="124374" y="692539"/>
                    </a:cubicBezTo>
                    <a:lnTo>
                      <a:pt x="122123" y="696070"/>
                    </a:lnTo>
                    <a:lnTo>
                      <a:pt x="117599" y="703131"/>
                    </a:lnTo>
                    <a:cubicBezTo>
                      <a:pt x="116344" y="705106"/>
                      <a:pt x="115068" y="707041"/>
                      <a:pt x="113853" y="709035"/>
                    </a:cubicBezTo>
                    <a:lnTo>
                      <a:pt x="110485" y="715159"/>
                    </a:lnTo>
                    <a:cubicBezTo>
                      <a:pt x="108273" y="719268"/>
                      <a:pt x="105901" y="723277"/>
                      <a:pt x="103809" y="727426"/>
                    </a:cubicBezTo>
                    <a:cubicBezTo>
                      <a:pt x="99923" y="735904"/>
                      <a:pt x="95618" y="744182"/>
                      <a:pt x="92490" y="752959"/>
                    </a:cubicBezTo>
                    <a:lnTo>
                      <a:pt x="89939" y="759461"/>
                    </a:lnTo>
                    <a:lnTo>
                      <a:pt x="88664" y="762713"/>
                    </a:lnTo>
                    <a:cubicBezTo>
                      <a:pt x="88265" y="763810"/>
                      <a:pt x="87946" y="764927"/>
                      <a:pt x="87588" y="766044"/>
                    </a:cubicBezTo>
                    <a:lnTo>
                      <a:pt x="83383" y="779368"/>
                    </a:lnTo>
                    <a:cubicBezTo>
                      <a:pt x="83044" y="780485"/>
                      <a:pt x="82645" y="781583"/>
                      <a:pt x="82347" y="782700"/>
                    </a:cubicBezTo>
                    <a:lnTo>
                      <a:pt x="81529" y="786090"/>
                    </a:lnTo>
                    <a:lnTo>
                      <a:pt x="79875" y="792873"/>
                    </a:lnTo>
                    <a:cubicBezTo>
                      <a:pt x="78819" y="797400"/>
                      <a:pt x="77504" y="801889"/>
                      <a:pt x="76866" y="806496"/>
                    </a:cubicBezTo>
                    <a:lnTo>
                      <a:pt x="74475" y="820260"/>
                    </a:lnTo>
                    <a:cubicBezTo>
                      <a:pt x="73997" y="822534"/>
                      <a:pt x="73877" y="824867"/>
                      <a:pt x="73618" y="827181"/>
                    </a:cubicBezTo>
                    <a:lnTo>
                      <a:pt x="72901" y="834123"/>
                    </a:lnTo>
                    <a:cubicBezTo>
                      <a:pt x="71625" y="843358"/>
                      <a:pt x="71745" y="852713"/>
                      <a:pt x="71326" y="862029"/>
                    </a:cubicBezTo>
                    <a:cubicBezTo>
                      <a:pt x="71087" y="880679"/>
                      <a:pt x="72721" y="899310"/>
                      <a:pt x="75970" y="917641"/>
                    </a:cubicBezTo>
                    <a:cubicBezTo>
                      <a:pt x="77046" y="923585"/>
                      <a:pt x="78241" y="929489"/>
                      <a:pt x="79676" y="935354"/>
                    </a:cubicBezTo>
                    <a:cubicBezTo>
                      <a:pt x="80354" y="938286"/>
                      <a:pt x="81151" y="941198"/>
                      <a:pt x="81928" y="944111"/>
                    </a:cubicBezTo>
                    <a:cubicBezTo>
                      <a:pt x="82526" y="946384"/>
                      <a:pt x="83144" y="948259"/>
                      <a:pt x="83761" y="950354"/>
                    </a:cubicBezTo>
                    <a:cubicBezTo>
                      <a:pt x="84399" y="952388"/>
                      <a:pt x="84977" y="954443"/>
                      <a:pt x="85635" y="956478"/>
                    </a:cubicBezTo>
                    <a:lnTo>
                      <a:pt x="87607" y="962581"/>
                    </a:lnTo>
                    <a:lnTo>
                      <a:pt x="88106" y="964117"/>
                    </a:lnTo>
                    <a:lnTo>
                      <a:pt x="88464" y="965613"/>
                    </a:lnTo>
                    <a:lnTo>
                      <a:pt x="89162" y="968605"/>
                    </a:lnTo>
                    <a:lnTo>
                      <a:pt x="89859" y="971597"/>
                    </a:lnTo>
                    <a:lnTo>
                      <a:pt x="90198" y="973093"/>
                    </a:lnTo>
                    <a:lnTo>
                      <a:pt x="90417" y="974530"/>
                    </a:lnTo>
                    <a:lnTo>
                      <a:pt x="91294" y="980234"/>
                    </a:lnTo>
                    <a:cubicBezTo>
                      <a:pt x="91354" y="980713"/>
                      <a:pt x="91493" y="981172"/>
                      <a:pt x="91473" y="981671"/>
                    </a:cubicBezTo>
                    <a:cubicBezTo>
                      <a:pt x="91314" y="982149"/>
                      <a:pt x="90955" y="982528"/>
                      <a:pt x="90696" y="982947"/>
                    </a:cubicBezTo>
                    <a:lnTo>
                      <a:pt x="89042" y="985441"/>
                    </a:lnTo>
                    <a:lnTo>
                      <a:pt x="85714" y="990447"/>
                    </a:lnTo>
                    <a:lnTo>
                      <a:pt x="82386" y="995454"/>
                    </a:lnTo>
                    <a:lnTo>
                      <a:pt x="80732" y="997947"/>
                    </a:lnTo>
                    <a:cubicBezTo>
                      <a:pt x="80194" y="998785"/>
                      <a:pt x="79417" y="999603"/>
                      <a:pt x="78759" y="1000421"/>
                    </a:cubicBezTo>
                    <a:lnTo>
                      <a:pt x="70529" y="1010494"/>
                    </a:lnTo>
                    <a:lnTo>
                      <a:pt x="68477" y="1013007"/>
                    </a:lnTo>
                    <a:lnTo>
                      <a:pt x="67440" y="1014264"/>
                    </a:lnTo>
                    <a:lnTo>
                      <a:pt x="66703" y="1015261"/>
                    </a:lnTo>
                    <a:lnTo>
                      <a:pt x="63913" y="1019111"/>
                    </a:lnTo>
                    <a:lnTo>
                      <a:pt x="58333" y="1026791"/>
                    </a:lnTo>
                    <a:lnTo>
                      <a:pt x="53092" y="1034710"/>
                    </a:lnTo>
                    <a:lnTo>
                      <a:pt x="50462" y="1038659"/>
                    </a:lnTo>
                    <a:cubicBezTo>
                      <a:pt x="49625" y="1039996"/>
                      <a:pt x="48828" y="1041372"/>
                      <a:pt x="48011" y="1042728"/>
                    </a:cubicBezTo>
                    <a:lnTo>
                      <a:pt x="43128" y="1050867"/>
                    </a:lnTo>
                    <a:cubicBezTo>
                      <a:pt x="41534" y="1053599"/>
                      <a:pt x="40099" y="1056432"/>
                      <a:pt x="38585" y="1059185"/>
                    </a:cubicBezTo>
                    <a:cubicBezTo>
                      <a:pt x="37110" y="1061977"/>
                      <a:pt x="35496" y="1064710"/>
                      <a:pt x="34181" y="1067582"/>
                    </a:cubicBezTo>
                    <a:cubicBezTo>
                      <a:pt x="31451" y="1073287"/>
                      <a:pt x="28581" y="1078932"/>
                      <a:pt x="26230" y="1084797"/>
                    </a:cubicBezTo>
                    <a:cubicBezTo>
                      <a:pt x="25014" y="1087709"/>
                      <a:pt x="23679" y="1090581"/>
                      <a:pt x="22563" y="1093533"/>
                    </a:cubicBezTo>
                    <a:lnTo>
                      <a:pt x="19255" y="1102410"/>
                    </a:lnTo>
                    <a:cubicBezTo>
                      <a:pt x="18717" y="1103886"/>
                      <a:pt x="18139" y="1105362"/>
                      <a:pt x="17601" y="1106858"/>
                    </a:cubicBezTo>
                    <a:lnTo>
                      <a:pt x="16166" y="1111366"/>
                    </a:lnTo>
                    <a:lnTo>
                      <a:pt x="13257" y="1120382"/>
                    </a:lnTo>
                    <a:lnTo>
                      <a:pt x="10766" y="1129518"/>
                    </a:lnTo>
                    <a:cubicBezTo>
                      <a:pt x="9948" y="1132570"/>
                      <a:pt x="9052" y="1135602"/>
                      <a:pt x="8454" y="1138693"/>
                    </a:cubicBezTo>
                    <a:cubicBezTo>
                      <a:pt x="4169" y="1156885"/>
                      <a:pt x="1439" y="1175456"/>
                      <a:pt x="483" y="1194126"/>
                    </a:cubicBezTo>
                    <a:cubicBezTo>
                      <a:pt x="-474" y="1212796"/>
                      <a:pt x="-55" y="1231566"/>
                      <a:pt x="2157" y="1250137"/>
                    </a:cubicBezTo>
                    <a:cubicBezTo>
                      <a:pt x="4369" y="1268708"/>
                      <a:pt x="8195" y="1287059"/>
                      <a:pt x="13555" y="1304971"/>
                    </a:cubicBezTo>
                    <a:cubicBezTo>
                      <a:pt x="14791" y="1309479"/>
                      <a:pt x="16425" y="1313868"/>
                      <a:pt x="17860" y="1318316"/>
                    </a:cubicBezTo>
                    <a:cubicBezTo>
                      <a:pt x="19354" y="1322744"/>
                      <a:pt x="21108" y="1327073"/>
                      <a:pt x="22722" y="1331461"/>
                    </a:cubicBezTo>
                    <a:cubicBezTo>
                      <a:pt x="24556" y="1335749"/>
                      <a:pt x="26269" y="1340118"/>
                      <a:pt x="28202" y="1344367"/>
                    </a:cubicBezTo>
                    <a:cubicBezTo>
                      <a:pt x="30195" y="1348595"/>
                      <a:pt x="32029" y="1352904"/>
                      <a:pt x="34221" y="1357033"/>
                    </a:cubicBezTo>
                    <a:cubicBezTo>
                      <a:pt x="42610" y="1373748"/>
                      <a:pt x="52375" y="1389806"/>
                      <a:pt x="63455" y="1404926"/>
                    </a:cubicBezTo>
                    <a:cubicBezTo>
                      <a:pt x="74575" y="1420005"/>
                      <a:pt x="86910" y="1434208"/>
                      <a:pt x="100321" y="1447353"/>
                    </a:cubicBezTo>
                    <a:cubicBezTo>
                      <a:pt x="113693" y="1460538"/>
                      <a:pt x="128221" y="1472506"/>
                      <a:pt x="143565" y="1483337"/>
                    </a:cubicBezTo>
                    <a:lnTo>
                      <a:pt x="149324" y="1487386"/>
                    </a:lnTo>
                    <a:lnTo>
                      <a:pt x="155223" y="1491236"/>
                    </a:lnTo>
                    <a:cubicBezTo>
                      <a:pt x="159109" y="1493869"/>
                      <a:pt x="163174" y="1496243"/>
                      <a:pt x="167199" y="1498676"/>
                    </a:cubicBezTo>
                    <a:cubicBezTo>
                      <a:pt x="169192" y="1499913"/>
                      <a:pt x="171245" y="1501070"/>
                      <a:pt x="173297" y="1502207"/>
                    </a:cubicBezTo>
                    <a:lnTo>
                      <a:pt x="177343" y="1504461"/>
                    </a:lnTo>
                    <a:lnTo>
                      <a:pt x="181667" y="1506795"/>
                    </a:lnTo>
                    <a:cubicBezTo>
                      <a:pt x="187426" y="1509907"/>
                      <a:pt x="193385" y="1512859"/>
                      <a:pt x="198965" y="1516010"/>
                    </a:cubicBezTo>
                    <a:lnTo>
                      <a:pt x="207015" y="1521715"/>
                    </a:lnTo>
                    <a:lnTo>
                      <a:pt x="211041" y="1524568"/>
                    </a:lnTo>
                    <a:cubicBezTo>
                      <a:pt x="211220" y="1524667"/>
                      <a:pt x="211360" y="1524827"/>
                      <a:pt x="211439" y="1525046"/>
                    </a:cubicBezTo>
                    <a:cubicBezTo>
                      <a:pt x="211499" y="1525246"/>
                      <a:pt x="211499" y="1525465"/>
                      <a:pt x="211539" y="1525665"/>
                    </a:cubicBezTo>
                    <a:lnTo>
                      <a:pt x="211698" y="1526901"/>
                    </a:lnTo>
                    <a:lnTo>
                      <a:pt x="212017" y="1529375"/>
                    </a:lnTo>
                    <a:lnTo>
                      <a:pt x="213313" y="1539308"/>
                    </a:lnTo>
                    <a:lnTo>
                      <a:pt x="213970" y="1544275"/>
                    </a:lnTo>
                    <a:cubicBezTo>
                      <a:pt x="214090" y="1546011"/>
                      <a:pt x="214070" y="1547886"/>
                      <a:pt x="214130" y="1549681"/>
                    </a:cubicBezTo>
                    <a:lnTo>
                      <a:pt x="214409" y="1566217"/>
                    </a:lnTo>
                    <a:lnTo>
                      <a:pt x="214449" y="1568291"/>
                    </a:lnTo>
                    <a:cubicBezTo>
                      <a:pt x="214449" y="1568950"/>
                      <a:pt x="214449" y="1569767"/>
                      <a:pt x="214508" y="1570186"/>
                    </a:cubicBezTo>
                    <a:lnTo>
                      <a:pt x="214767" y="1573198"/>
                    </a:lnTo>
                    <a:lnTo>
                      <a:pt x="215266" y="1579242"/>
                    </a:lnTo>
                    <a:cubicBezTo>
                      <a:pt x="215724" y="1587321"/>
                      <a:pt x="217019" y="1595300"/>
                      <a:pt x="218075" y="1603298"/>
                    </a:cubicBezTo>
                    <a:cubicBezTo>
                      <a:pt x="220806" y="1619196"/>
                      <a:pt x="224074" y="1635074"/>
                      <a:pt x="229115" y="1650433"/>
                    </a:cubicBezTo>
                    <a:lnTo>
                      <a:pt x="230869" y="1656238"/>
                    </a:lnTo>
                    <a:cubicBezTo>
                      <a:pt x="231507" y="1658152"/>
                      <a:pt x="232224" y="1660047"/>
                      <a:pt x="232902" y="1661942"/>
                    </a:cubicBezTo>
                    <a:lnTo>
                      <a:pt x="237027" y="1673332"/>
                    </a:lnTo>
                    <a:lnTo>
                      <a:pt x="241750" y="1684502"/>
                    </a:lnTo>
                    <a:cubicBezTo>
                      <a:pt x="242547" y="1686358"/>
                      <a:pt x="243284" y="1688253"/>
                      <a:pt x="244141" y="1690068"/>
                    </a:cubicBezTo>
                    <a:lnTo>
                      <a:pt x="246791" y="1695533"/>
                    </a:lnTo>
                    <a:cubicBezTo>
                      <a:pt x="253567" y="1710234"/>
                      <a:pt x="261877" y="1724177"/>
                      <a:pt x="270685" y="1737761"/>
                    </a:cubicBezTo>
                    <a:lnTo>
                      <a:pt x="278656" y="1749370"/>
                    </a:lnTo>
                    <a:lnTo>
                      <a:pt x="287185" y="1760600"/>
                    </a:lnTo>
                    <a:lnTo>
                      <a:pt x="289318" y="1763413"/>
                    </a:lnTo>
                    <a:lnTo>
                      <a:pt x="291589" y="1766106"/>
                    </a:lnTo>
                    <a:lnTo>
                      <a:pt x="296133" y="1771511"/>
                    </a:lnTo>
                    <a:lnTo>
                      <a:pt x="300677" y="1776917"/>
                    </a:lnTo>
                    <a:lnTo>
                      <a:pt x="305479" y="1782083"/>
                    </a:lnTo>
                    <a:lnTo>
                      <a:pt x="310282" y="1787249"/>
                    </a:lnTo>
                    <a:lnTo>
                      <a:pt x="312673" y="1789842"/>
                    </a:lnTo>
                    <a:lnTo>
                      <a:pt x="315184" y="1792316"/>
                    </a:lnTo>
                    <a:lnTo>
                      <a:pt x="325268" y="1802210"/>
                    </a:lnTo>
                    <a:lnTo>
                      <a:pt x="335809" y="1811605"/>
                    </a:lnTo>
                    <a:lnTo>
                      <a:pt x="338440" y="1813958"/>
                    </a:lnTo>
                    <a:lnTo>
                      <a:pt x="341190" y="1816192"/>
                    </a:lnTo>
                    <a:lnTo>
                      <a:pt x="346690" y="1820641"/>
                    </a:lnTo>
                    <a:cubicBezTo>
                      <a:pt x="376004" y="1844338"/>
                      <a:pt x="409064" y="1863367"/>
                      <a:pt x="444018" y="1877589"/>
                    </a:cubicBezTo>
                    <a:cubicBezTo>
                      <a:pt x="461574" y="1884531"/>
                      <a:pt x="479529" y="1890515"/>
                      <a:pt x="497883" y="1895003"/>
                    </a:cubicBezTo>
                    <a:cubicBezTo>
                      <a:pt x="502446" y="1896200"/>
                      <a:pt x="507110" y="1897038"/>
                      <a:pt x="511713" y="1898095"/>
                    </a:cubicBezTo>
                    <a:lnTo>
                      <a:pt x="518648" y="1899591"/>
                    </a:lnTo>
                    <a:lnTo>
                      <a:pt x="525643" y="1900748"/>
                    </a:lnTo>
                    <a:cubicBezTo>
                      <a:pt x="530306" y="1901466"/>
                      <a:pt x="534949" y="1902403"/>
                      <a:pt x="539632" y="1902982"/>
                    </a:cubicBezTo>
                    <a:lnTo>
                      <a:pt x="553721" y="1904657"/>
                    </a:lnTo>
                    <a:cubicBezTo>
                      <a:pt x="591165" y="1908327"/>
                      <a:pt x="629945" y="1907151"/>
                      <a:pt x="667728" y="1902144"/>
                    </a:cubicBezTo>
                    <a:cubicBezTo>
                      <a:pt x="705512" y="1897057"/>
                      <a:pt x="742637" y="1887662"/>
                      <a:pt x="777511" y="1873261"/>
                    </a:cubicBezTo>
                    <a:cubicBezTo>
                      <a:pt x="794948" y="1866060"/>
                      <a:pt x="811807" y="1857622"/>
                      <a:pt x="827829" y="1847888"/>
                    </a:cubicBezTo>
                    <a:cubicBezTo>
                      <a:pt x="843831" y="1838154"/>
                      <a:pt x="858937" y="1827024"/>
                      <a:pt x="872926" y="1814736"/>
                    </a:cubicBezTo>
                    <a:cubicBezTo>
                      <a:pt x="875517" y="1812462"/>
                      <a:pt x="878127" y="1810208"/>
                      <a:pt x="880578" y="1807775"/>
                    </a:cubicBezTo>
                    <a:cubicBezTo>
                      <a:pt x="883029" y="1805361"/>
                      <a:pt x="885640" y="1803087"/>
                      <a:pt x="887991" y="1800574"/>
                    </a:cubicBezTo>
                    <a:lnTo>
                      <a:pt x="895146" y="1793134"/>
                    </a:lnTo>
                    <a:lnTo>
                      <a:pt x="902300" y="1785095"/>
                    </a:lnTo>
                    <a:cubicBezTo>
                      <a:pt x="908398" y="1777435"/>
                      <a:pt x="914595" y="1769995"/>
                      <a:pt x="920016" y="1761298"/>
                    </a:cubicBezTo>
                    <a:lnTo>
                      <a:pt x="924220" y="1754975"/>
                    </a:lnTo>
                    <a:lnTo>
                      <a:pt x="928425" y="1748831"/>
                    </a:lnTo>
                    <a:lnTo>
                      <a:pt x="932630" y="1742688"/>
                    </a:lnTo>
                    <a:lnTo>
                      <a:pt x="933686" y="1741152"/>
                    </a:lnTo>
                    <a:cubicBezTo>
                      <a:pt x="934045" y="1740653"/>
                      <a:pt x="934384" y="1740095"/>
                      <a:pt x="934742" y="1739756"/>
                    </a:cubicBezTo>
                    <a:lnTo>
                      <a:pt x="936835" y="1737422"/>
                    </a:lnTo>
                    <a:lnTo>
                      <a:pt x="941040" y="1732754"/>
                    </a:lnTo>
                    <a:lnTo>
                      <a:pt x="943132" y="1730420"/>
                    </a:lnTo>
                    <a:cubicBezTo>
                      <a:pt x="943829" y="1729643"/>
                      <a:pt x="944547" y="1728825"/>
                      <a:pt x="945145" y="1728246"/>
                    </a:cubicBezTo>
                    <a:lnTo>
                      <a:pt x="952578" y="1720606"/>
                    </a:lnTo>
                    <a:lnTo>
                      <a:pt x="953494" y="1719649"/>
                    </a:lnTo>
                    <a:lnTo>
                      <a:pt x="954272" y="1718791"/>
                    </a:lnTo>
                    <a:lnTo>
                      <a:pt x="955846" y="1717076"/>
                    </a:lnTo>
                    <a:lnTo>
                      <a:pt x="958995" y="1713645"/>
                    </a:lnTo>
                    <a:lnTo>
                      <a:pt x="960569" y="1711930"/>
                    </a:lnTo>
                    <a:lnTo>
                      <a:pt x="960967" y="1711491"/>
                    </a:lnTo>
                    <a:cubicBezTo>
                      <a:pt x="961087" y="1711351"/>
                      <a:pt x="961207" y="1711172"/>
                      <a:pt x="961506" y="1711172"/>
                    </a:cubicBezTo>
                    <a:cubicBezTo>
                      <a:pt x="961824" y="1711172"/>
                      <a:pt x="961944" y="1711331"/>
                      <a:pt x="962063" y="1711471"/>
                    </a:cubicBezTo>
                    <a:lnTo>
                      <a:pt x="962462" y="1711910"/>
                    </a:lnTo>
                    <a:lnTo>
                      <a:pt x="965611" y="1715340"/>
                    </a:lnTo>
                    <a:lnTo>
                      <a:pt x="968759" y="1718771"/>
                    </a:lnTo>
                    <a:lnTo>
                      <a:pt x="969536" y="1719629"/>
                    </a:lnTo>
                    <a:lnTo>
                      <a:pt x="970453" y="1720587"/>
                    </a:lnTo>
                    <a:lnTo>
                      <a:pt x="972306" y="1722501"/>
                    </a:lnTo>
                    <a:lnTo>
                      <a:pt x="976013" y="1726331"/>
                    </a:lnTo>
                    <a:cubicBezTo>
                      <a:pt x="977288" y="1727648"/>
                      <a:pt x="978404" y="1728725"/>
                      <a:pt x="979879" y="1730420"/>
                    </a:cubicBezTo>
                    <a:lnTo>
                      <a:pt x="988289" y="1739736"/>
                    </a:lnTo>
                    <a:cubicBezTo>
                      <a:pt x="988627" y="1740075"/>
                      <a:pt x="988986" y="1740613"/>
                      <a:pt x="989345" y="1741112"/>
                    </a:cubicBezTo>
                    <a:lnTo>
                      <a:pt x="990401" y="1742608"/>
                    </a:lnTo>
                    <a:lnTo>
                      <a:pt x="992533" y="1745620"/>
                    </a:lnTo>
                    <a:lnTo>
                      <a:pt x="996798" y="1751624"/>
                    </a:lnTo>
                    <a:cubicBezTo>
                      <a:pt x="998611" y="1754836"/>
                      <a:pt x="1000644" y="1757708"/>
                      <a:pt x="1002597" y="1760680"/>
                    </a:cubicBezTo>
                    <a:lnTo>
                      <a:pt x="1008495" y="1769556"/>
                    </a:lnTo>
                    <a:cubicBezTo>
                      <a:pt x="1010588" y="1772309"/>
                      <a:pt x="1012740" y="1775002"/>
                      <a:pt x="1014852" y="1777715"/>
                    </a:cubicBezTo>
                    <a:lnTo>
                      <a:pt x="1018041" y="1781784"/>
                    </a:lnTo>
                    <a:cubicBezTo>
                      <a:pt x="1018579" y="1782462"/>
                      <a:pt x="1019097" y="1783140"/>
                      <a:pt x="1019635" y="1783798"/>
                    </a:cubicBezTo>
                    <a:lnTo>
                      <a:pt x="1021429" y="1785873"/>
                    </a:lnTo>
                    <a:cubicBezTo>
                      <a:pt x="1024677" y="1789463"/>
                      <a:pt x="1027766" y="1793174"/>
                      <a:pt x="1031213" y="1796585"/>
                    </a:cubicBezTo>
                    <a:lnTo>
                      <a:pt x="1036255" y="1801811"/>
                    </a:lnTo>
                    <a:lnTo>
                      <a:pt x="1041496" y="1806837"/>
                    </a:lnTo>
                    <a:cubicBezTo>
                      <a:pt x="1068419" y="1832589"/>
                      <a:pt x="1100323" y="1853134"/>
                      <a:pt x="1134659" y="1868553"/>
                    </a:cubicBezTo>
                    <a:cubicBezTo>
                      <a:pt x="1169015" y="1884012"/>
                      <a:pt x="1205841" y="1894424"/>
                      <a:pt x="1243485" y="1900349"/>
                    </a:cubicBezTo>
                    <a:cubicBezTo>
                      <a:pt x="1262297" y="1903321"/>
                      <a:pt x="1281348" y="1905236"/>
                      <a:pt x="1300459" y="1906133"/>
                    </a:cubicBezTo>
                    <a:cubicBezTo>
                      <a:pt x="1305242" y="1906293"/>
                      <a:pt x="1310024" y="1906552"/>
                      <a:pt x="1314807" y="1906632"/>
                    </a:cubicBezTo>
                    <a:cubicBezTo>
                      <a:pt x="1319590" y="1906652"/>
                      <a:pt x="1324412" y="1906831"/>
                      <a:pt x="1329155" y="1906752"/>
                    </a:cubicBezTo>
                    <a:lnTo>
                      <a:pt x="1343344" y="1906413"/>
                    </a:lnTo>
                    <a:lnTo>
                      <a:pt x="1346891" y="1906333"/>
                    </a:lnTo>
                    <a:lnTo>
                      <a:pt x="1350438" y="1906074"/>
                    </a:lnTo>
                    <a:lnTo>
                      <a:pt x="1357513" y="1905575"/>
                    </a:lnTo>
                    <a:cubicBezTo>
                      <a:pt x="1366978" y="1905116"/>
                      <a:pt x="1376325" y="1903700"/>
                      <a:pt x="1385731" y="1902643"/>
                    </a:cubicBezTo>
                    <a:cubicBezTo>
                      <a:pt x="1395037" y="1901027"/>
                      <a:pt x="1404423" y="1899730"/>
                      <a:pt x="1413610" y="1897536"/>
                    </a:cubicBezTo>
                    <a:cubicBezTo>
                      <a:pt x="1422896" y="1895741"/>
                      <a:pt x="1431963" y="1893088"/>
                      <a:pt x="1441110" y="1890714"/>
                    </a:cubicBezTo>
                    <a:cubicBezTo>
                      <a:pt x="1450098" y="1887822"/>
                      <a:pt x="1459185" y="1885209"/>
                      <a:pt x="1467973" y="1881738"/>
                    </a:cubicBezTo>
                    <a:cubicBezTo>
                      <a:pt x="1472397" y="1880103"/>
                      <a:pt x="1476861" y="1878547"/>
                      <a:pt x="1481165" y="1876612"/>
                    </a:cubicBezTo>
                    <a:cubicBezTo>
                      <a:pt x="1485509" y="1874757"/>
                      <a:pt x="1489874" y="1872981"/>
                      <a:pt x="1494198" y="1871067"/>
                    </a:cubicBezTo>
                    <a:lnTo>
                      <a:pt x="1506972" y="1864963"/>
                    </a:lnTo>
                    <a:cubicBezTo>
                      <a:pt x="1509124" y="1863985"/>
                      <a:pt x="1511197" y="1862868"/>
                      <a:pt x="1513269" y="1861731"/>
                    </a:cubicBezTo>
                    <a:lnTo>
                      <a:pt x="1519507" y="1858380"/>
                    </a:lnTo>
                    <a:cubicBezTo>
                      <a:pt x="1536027" y="1849304"/>
                      <a:pt x="1552109" y="1839311"/>
                      <a:pt x="1567054" y="1827841"/>
                    </a:cubicBezTo>
                    <a:cubicBezTo>
                      <a:pt x="1582060" y="1816432"/>
                      <a:pt x="1596329" y="1804085"/>
                      <a:pt x="1609521" y="1790640"/>
                    </a:cubicBezTo>
                    <a:cubicBezTo>
                      <a:pt x="1622613" y="1777116"/>
                      <a:pt x="1634710" y="1762675"/>
                      <a:pt x="1645670" y="1747415"/>
                    </a:cubicBezTo>
                    <a:lnTo>
                      <a:pt x="1652964" y="1736783"/>
                    </a:lnTo>
                    <a:cubicBezTo>
                      <a:pt x="1655375" y="1733233"/>
                      <a:pt x="1657507" y="1729503"/>
                      <a:pt x="1659799" y="1725873"/>
                    </a:cubicBezTo>
                    <a:lnTo>
                      <a:pt x="1663187" y="1720387"/>
                    </a:lnTo>
                    <a:lnTo>
                      <a:pt x="1666275" y="1714742"/>
                    </a:lnTo>
                    <a:cubicBezTo>
                      <a:pt x="1668308" y="1710952"/>
                      <a:pt x="1670480" y="1707262"/>
                      <a:pt x="1672393" y="1703412"/>
                    </a:cubicBezTo>
                    <a:cubicBezTo>
                      <a:pt x="1680185" y="1688113"/>
                      <a:pt x="1686642" y="1672195"/>
                      <a:pt x="1692202" y="1655998"/>
                    </a:cubicBezTo>
                    <a:cubicBezTo>
                      <a:pt x="1697463" y="1639682"/>
                      <a:pt x="1701568" y="1623026"/>
                      <a:pt x="1704497" y="1606151"/>
                    </a:cubicBezTo>
                    <a:cubicBezTo>
                      <a:pt x="1705155" y="1601922"/>
                      <a:pt x="1705673" y="1597673"/>
                      <a:pt x="1706271" y="1593425"/>
                    </a:cubicBezTo>
                    <a:cubicBezTo>
                      <a:pt x="1706550" y="1591310"/>
                      <a:pt x="1706888" y="1589176"/>
                      <a:pt x="1707108" y="1587061"/>
                    </a:cubicBezTo>
                    <a:lnTo>
                      <a:pt x="1707626" y="1580659"/>
                    </a:lnTo>
                    <a:lnTo>
                      <a:pt x="1708144" y="1574256"/>
                    </a:lnTo>
                    <a:lnTo>
                      <a:pt x="1708403" y="1571044"/>
                    </a:lnTo>
                    <a:cubicBezTo>
                      <a:pt x="1708443" y="1570466"/>
                      <a:pt x="1708503" y="1570067"/>
                      <a:pt x="1708523" y="1569368"/>
                    </a:cubicBezTo>
                    <a:lnTo>
                      <a:pt x="1708562" y="1567174"/>
                    </a:lnTo>
                    <a:lnTo>
                      <a:pt x="1708841" y="1549641"/>
                    </a:lnTo>
                    <a:lnTo>
                      <a:pt x="1708921" y="1546270"/>
                    </a:lnTo>
                    <a:lnTo>
                      <a:pt x="1708961" y="1544594"/>
                    </a:lnTo>
                    <a:lnTo>
                      <a:pt x="1709160" y="1543058"/>
                    </a:lnTo>
                    <a:lnTo>
                      <a:pt x="1709957" y="1536895"/>
                    </a:lnTo>
                    <a:lnTo>
                      <a:pt x="1710754" y="1530731"/>
                    </a:lnTo>
                    <a:lnTo>
                      <a:pt x="1711153" y="1527659"/>
                    </a:lnTo>
                    <a:lnTo>
                      <a:pt x="1711352" y="1526123"/>
                    </a:lnTo>
                    <a:cubicBezTo>
                      <a:pt x="1711472" y="1525625"/>
                      <a:pt x="1711352" y="1525026"/>
                      <a:pt x="1711771" y="1524667"/>
                    </a:cubicBezTo>
                    <a:lnTo>
                      <a:pt x="1719104" y="1519481"/>
                    </a:lnTo>
                    <a:lnTo>
                      <a:pt x="1722771" y="1516888"/>
                    </a:lnTo>
                    <a:lnTo>
                      <a:pt x="1724604" y="1515591"/>
                    </a:lnTo>
                    <a:lnTo>
                      <a:pt x="1726776" y="1514454"/>
                    </a:lnTo>
                    <a:cubicBezTo>
                      <a:pt x="1732576" y="1511383"/>
                      <a:pt x="1738394" y="1508411"/>
                      <a:pt x="1744194" y="1505259"/>
                    </a:cubicBezTo>
                    <a:lnTo>
                      <a:pt x="1751726" y="1501070"/>
                    </a:lnTo>
                    <a:cubicBezTo>
                      <a:pt x="1753799" y="1499953"/>
                      <a:pt x="1755752" y="1498657"/>
                      <a:pt x="1757784" y="1497460"/>
                    </a:cubicBezTo>
                    <a:lnTo>
                      <a:pt x="1763803" y="1493809"/>
                    </a:lnTo>
                    <a:lnTo>
                      <a:pt x="1769701" y="1489960"/>
                    </a:lnTo>
                    <a:cubicBezTo>
                      <a:pt x="1785404" y="1479647"/>
                      <a:pt x="1800330" y="1468138"/>
                      <a:pt x="1814140" y="1455411"/>
                    </a:cubicBezTo>
                    <a:cubicBezTo>
                      <a:pt x="1827970" y="1442725"/>
                      <a:pt x="1840804" y="1428962"/>
                      <a:pt x="1852442" y="1414261"/>
                    </a:cubicBezTo>
                    <a:cubicBezTo>
                      <a:pt x="1864020" y="1399520"/>
                      <a:pt x="1874362" y="1383822"/>
                      <a:pt x="1883350" y="1367405"/>
                    </a:cubicBezTo>
                    <a:cubicBezTo>
                      <a:pt x="1885701" y="1363356"/>
                      <a:pt x="1887674" y="1359107"/>
                      <a:pt x="1889827" y="1354958"/>
                    </a:cubicBezTo>
                    <a:cubicBezTo>
                      <a:pt x="1891899" y="1350770"/>
                      <a:pt x="1893792" y="1346481"/>
                      <a:pt x="1895765" y="1342252"/>
                    </a:cubicBezTo>
                    <a:cubicBezTo>
                      <a:pt x="1899432" y="1333655"/>
                      <a:pt x="1902939" y="1324978"/>
                      <a:pt x="1905888" y="1316102"/>
                    </a:cubicBezTo>
                    <a:cubicBezTo>
                      <a:pt x="1911887" y="1298389"/>
                      <a:pt x="1916390" y="1280197"/>
                      <a:pt x="1919280" y="1261726"/>
                    </a:cubicBezTo>
                    <a:cubicBezTo>
                      <a:pt x="1922070" y="1243255"/>
                      <a:pt x="1923345" y="1224525"/>
                      <a:pt x="1922907" y="1205815"/>
                    </a:cubicBezTo>
                    <a:cubicBezTo>
                      <a:pt x="1922548" y="1187105"/>
                      <a:pt x="1920615" y="1168454"/>
                      <a:pt x="1917048" y="1150103"/>
                    </a:cubicBezTo>
                    <a:close/>
                    <a:moveTo>
                      <a:pt x="1820378" y="1389207"/>
                    </a:moveTo>
                    <a:cubicBezTo>
                      <a:pt x="1810115" y="1402153"/>
                      <a:pt x="1798796" y="1414321"/>
                      <a:pt x="1786580" y="1425531"/>
                    </a:cubicBezTo>
                    <a:cubicBezTo>
                      <a:pt x="1774384" y="1436781"/>
                      <a:pt x="1761152" y="1446974"/>
                      <a:pt x="1747242" y="1456110"/>
                    </a:cubicBezTo>
                    <a:lnTo>
                      <a:pt x="1742021" y="1459520"/>
                    </a:lnTo>
                    <a:lnTo>
                      <a:pt x="1736681" y="1462752"/>
                    </a:lnTo>
                    <a:cubicBezTo>
                      <a:pt x="1734887" y="1463809"/>
                      <a:pt x="1733153" y="1464966"/>
                      <a:pt x="1731320" y="1465943"/>
                    </a:cubicBezTo>
                    <a:lnTo>
                      <a:pt x="1721635" y="1471289"/>
                    </a:lnTo>
                    <a:lnTo>
                      <a:pt x="1714999" y="1474700"/>
                    </a:lnTo>
                    <a:lnTo>
                      <a:pt x="1708463" y="1478191"/>
                    </a:lnTo>
                    <a:lnTo>
                      <a:pt x="1695390" y="1485192"/>
                    </a:lnTo>
                    <a:lnTo>
                      <a:pt x="1692122" y="1486948"/>
                    </a:lnTo>
                    <a:lnTo>
                      <a:pt x="1689970" y="1489281"/>
                    </a:lnTo>
                    <a:lnTo>
                      <a:pt x="1685685" y="1493969"/>
                    </a:lnTo>
                    <a:lnTo>
                      <a:pt x="1677096" y="1503324"/>
                    </a:lnTo>
                    <a:cubicBezTo>
                      <a:pt x="1676638" y="1503942"/>
                      <a:pt x="1676478" y="1504641"/>
                      <a:pt x="1676239" y="1505359"/>
                    </a:cubicBezTo>
                    <a:lnTo>
                      <a:pt x="1675562" y="1507453"/>
                    </a:lnTo>
                    <a:lnTo>
                      <a:pt x="1674207" y="1511662"/>
                    </a:lnTo>
                    <a:lnTo>
                      <a:pt x="1671497" y="1520080"/>
                    </a:lnTo>
                    <a:lnTo>
                      <a:pt x="1668786" y="1528497"/>
                    </a:lnTo>
                    <a:lnTo>
                      <a:pt x="1668109" y="1530592"/>
                    </a:lnTo>
                    <a:cubicBezTo>
                      <a:pt x="1668049" y="1531409"/>
                      <a:pt x="1668069" y="1532287"/>
                      <a:pt x="1668049" y="1533125"/>
                    </a:cubicBezTo>
                    <a:lnTo>
                      <a:pt x="1667969" y="1538251"/>
                    </a:lnTo>
                    <a:lnTo>
                      <a:pt x="1667850" y="1563903"/>
                    </a:lnTo>
                    <a:lnTo>
                      <a:pt x="1667850" y="1567513"/>
                    </a:lnTo>
                    <a:lnTo>
                      <a:pt x="1667810" y="1567713"/>
                    </a:lnTo>
                    <a:lnTo>
                      <a:pt x="1667770" y="1568072"/>
                    </a:lnTo>
                    <a:lnTo>
                      <a:pt x="1667710" y="1568770"/>
                    </a:lnTo>
                    <a:lnTo>
                      <a:pt x="1667471" y="1571583"/>
                    </a:lnTo>
                    <a:lnTo>
                      <a:pt x="1667013" y="1577208"/>
                    </a:lnTo>
                    <a:lnTo>
                      <a:pt x="1666574" y="1582833"/>
                    </a:lnTo>
                    <a:cubicBezTo>
                      <a:pt x="1666375" y="1584708"/>
                      <a:pt x="1666076" y="1586563"/>
                      <a:pt x="1665817" y="1588418"/>
                    </a:cubicBezTo>
                    <a:cubicBezTo>
                      <a:pt x="1665279" y="1592128"/>
                      <a:pt x="1664841" y="1595878"/>
                      <a:pt x="1664283" y="1599588"/>
                    </a:cubicBezTo>
                    <a:cubicBezTo>
                      <a:pt x="1661692" y="1614389"/>
                      <a:pt x="1658105" y="1629010"/>
                      <a:pt x="1653482" y="1643352"/>
                    </a:cubicBezTo>
                    <a:cubicBezTo>
                      <a:pt x="1648579" y="1657594"/>
                      <a:pt x="1642900" y="1671597"/>
                      <a:pt x="1636045" y="1685081"/>
                    </a:cubicBezTo>
                    <a:cubicBezTo>
                      <a:pt x="1634371" y="1688472"/>
                      <a:pt x="1632418" y="1691723"/>
                      <a:pt x="1630644" y="1695074"/>
                    </a:cubicBezTo>
                    <a:lnTo>
                      <a:pt x="1627934" y="1700061"/>
                    </a:lnTo>
                    <a:lnTo>
                      <a:pt x="1624945" y="1704908"/>
                    </a:lnTo>
                    <a:cubicBezTo>
                      <a:pt x="1622912" y="1708120"/>
                      <a:pt x="1621059" y="1711431"/>
                      <a:pt x="1618907" y="1714563"/>
                    </a:cubicBezTo>
                    <a:lnTo>
                      <a:pt x="1612450" y="1723978"/>
                    </a:lnTo>
                    <a:cubicBezTo>
                      <a:pt x="1573949" y="1778393"/>
                      <a:pt x="1517275" y="1820381"/>
                      <a:pt x="1453725" y="1843799"/>
                    </a:cubicBezTo>
                    <a:cubicBezTo>
                      <a:pt x="1445833" y="1846911"/>
                      <a:pt x="1437663" y="1849245"/>
                      <a:pt x="1429592" y="1851858"/>
                    </a:cubicBezTo>
                    <a:cubicBezTo>
                      <a:pt x="1421362" y="1853952"/>
                      <a:pt x="1413231" y="1856386"/>
                      <a:pt x="1404861" y="1857981"/>
                    </a:cubicBezTo>
                    <a:cubicBezTo>
                      <a:pt x="1396591" y="1859976"/>
                      <a:pt x="1388142" y="1861093"/>
                      <a:pt x="1379772" y="1862589"/>
                    </a:cubicBezTo>
                    <a:cubicBezTo>
                      <a:pt x="1371303" y="1863507"/>
                      <a:pt x="1362873" y="1864823"/>
                      <a:pt x="1354344" y="1865222"/>
                    </a:cubicBezTo>
                    <a:lnTo>
                      <a:pt x="1347967" y="1865681"/>
                    </a:lnTo>
                    <a:lnTo>
                      <a:pt x="1344779" y="1865920"/>
                    </a:lnTo>
                    <a:lnTo>
                      <a:pt x="1341570" y="1865980"/>
                    </a:lnTo>
                    <a:lnTo>
                      <a:pt x="1328757" y="1866279"/>
                    </a:lnTo>
                    <a:cubicBezTo>
                      <a:pt x="1324452" y="1866359"/>
                      <a:pt x="1319889" y="1866199"/>
                      <a:pt x="1315485" y="1866180"/>
                    </a:cubicBezTo>
                    <a:cubicBezTo>
                      <a:pt x="1311041" y="1866120"/>
                      <a:pt x="1306617" y="1865860"/>
                      <a:pt x="1302173" y="1865721"/>
                    </a:cubicBezTo>
                    <a:cubicBezTo>
                      <a:pt x="1284457" y="1864883"/>
                      <a:pt x="1266901" y="1863128"/>
                      <a:pt x="1249643" y="1860395"/>
                    </a:cubicBezTo>
                    <a:cubicBezTo>
                      <a:pt x="1215108" y="1854949"/>
                      <a:pt x="1181729" y="1845455"/>
                      <a:pt x="1151080" y="1831651"/>
                    </a:cubicBezTo>
                    <a:cubicBezTo>
                      <a:pt x="1120431" y="1817888"/>
                      <a:pt x="1092512" y="1799816"/>
                      <a:pt x="1069216" y="1777515"/>
                    </a:cubicBezTo>
                    <a:lnTo>
                      <a:pt x="1064672" y="1773167"/>
                    </a:lnTo>
                    <a:lnTo>
                      <a:pt x="1060328" y="1768659"/>
                    </a:lnTo>
                    <a:cubicBezTo>
                      <a:pt x="1057339" y="1765727"/>
                      <a:pt x="1054708" y="1762495"/>
                      <a:pt x="1051878" y="1759403"/>
                    </a:cubicBezTo>
                    <a:lnTo>
                      <a:pt x="1051101" y="1758526"/>
                    </a:lnTo>
                    <a:lnTo>
                      <a:pt x="1050723" y="1758107"/>
                    </a:lnTo>
                    <a:lnTo>
                      <a:pt x="1050543" y="1757907"/>
                    </a:lnTo>
                    <a:lnTo>
                      <a:pt x="1050244" y="1757528"/>
                    </a:lnTo>
                    <a:lnTo>
                      <a:pt x="1049029" y="1756032"/>
                    </a:lnTo>
                    <a:cubicBezTo>
                      <a:pt x="1048212" y="1755015"/>
                      <a:pt x="1047455" y="1753938"/>
                      <a:pt x="1046657" y="1752901"/>
                    </a:cubicBezTo>
                    <a:lnTo>
                      <a:pt x="1041954" y="1746617"/>
                    </a:lnTo>
                    <a:cubicBezTo>
                      <a:pt x="1038826" y="1742389"/>
                      <a:pt x="1035657" y="1738299"/>
                      <a:pt x="1032588" y="1733971"/>
                    </a:cubicBezTo>
                    <a:lnTo>
                      <a:pt x="1024059" y="1719509"/>
                    </a:lnTo>
                    <a:cubicBezTo>
                      <a:pt x="1021229" y="1714662"/>
                      <a:pt x="1018320" y="1710035"/>
                      <a:pt x="1015689" y="1704629"/>
                    </a:cubicBezTo>
                    <a:lnTo>
                      <a:pt x="1009073" y="1695573"/>
                    </a:lnTo>
                    <a:lnTo>
                      <a:pt x="1005765" y="1691045"/>
                    </a:lnTo>
                    <a:lnTo>
                      <a:pt x="1004111" y="1688771"/>
                    </a:lnTo>
                    <a:lnTo>
                      <a:pt x="1003294" y="1687634"/>
                    </a:lnTo>
                    <a:lnTo>
                      <a:pt x="1003095" y="1687355"/>
                    </a:lnTo>
                    <a:lnTo>
                      <a:pt x="1002876" y="1687215"/>
                    </a:lnTo>
                    <a:lnTo>
                      <a:pt x="1002457" y="1686916"/>
                    </a:lnTo>
                    <a:lnTo>
                      <a:pt x="988747" y="1677621"/>
                    </a:lnTo>
                    <a:lnTo>
                      <a:pt x="987033" y="1676464"/>
                    </a:lnTo>
                    <a:cubicBezTo>
                      <a:pt x="986894" y="1676364"/>
                      <a:pt x="986734" y="1676264"/>
                      <a:pt x="986615" y="1676185"/>
                    </a:cubicBezTo>
                    <a:lnTo>
                      <a:pt x="986256" y="1676065"/>
                    </a:lnTo>
                    <a:lnTo>
                      <a:pt x="985539" y="1675825"/>
                    </a:lnTo>
                    <a:lnTo>
                      <a:pt x="982649" y="1674908"/>
                    </a:lnTo>
                    <a:lnTo>
                      <a:pt x="976890" y="1673053"/>
                    </a:lnTo>
                    <a:lnTo>
                      <a:pt x="974000" y="1672135"/>
                    </a:lnTo>
                    <a:cubicBezTo>
                      <a:pt x="973542" y="1671996"/>
                      <a:pt x="973004" y="1671796"/>
                      <a:pt x="972585" y="1671697"/>
                    </a:cubicBezTo>
                    <a:lnTo>
                      <a:pt x="971489" y="1671597"/>
                    </a:lnTo>
                    <a:lnTo>
                      <a:pt x="967065" y="1671178"/>
                    </a:lnTo>
                    <a:lnTo>
                      <a:pt x="962641" y="1670759"/>
                    </a:lnTo>
                    <a:cubicBezTo>
                      <a:pt x="962103" y="1670659"/>
                      <a:pt x="960569" y="1670659"/>
                      <a:pt x="960051" y="1670759"/>
                    </a:cubicBezTo>
                    <a:lnTo>
                      <a:pt x="957839" y="1670978"/>
                    </a:lnTo>
                    <a:lnTo>
                      <a:pt x="953415" y="1671397"/>
                    </a:lnTo>
                    <a:lnTo>
                      <a:pt x="951203" y="1671617"/>
                    </a:lnTo>
                    <a:lnTo>
                      <a:pt x="950107" y="1671716"/>
                    </a:lnTo>
                    <a:cubicBezTo>
                      <a:pt x="949668" y="1671816"/>
                      <a:pt x="949150" y="1672016"/>
                      <a:pt x="948692" y="1672155"/>
                    </a:cubicBezTo>
                    <a:lnTo>
                      <a:pt x="937154" y="1675845"/>
                    </a:lnTo>
                    <a:lnTo>
                      <a:pt x="936436" y="1676085"/>
                    </a:lnTo>
                    <a:lnTo>
                      <a:pt x="936077" y="1676204"/>
                    </a:lnTo>
                    <a:lnTo>
                      <a:pt x="935659" y="1676484"/>
                    </a:lnTo>
                    <a:lnTo>
                      <a:pt x="933945" y="1677641"/>
                    </a:lnTo>
                    <a:lnTo>
                      <a:pt x="930518" y="1679974"/>
                    </a:lnTo>
                    <a:lnTo>
                      <a:pt x="923662" y="1684622"/>
                    </a:lnTo>
                    <a:lnTo>
                      <a:pt x="920235" y="1686956"/>
                    </a:lnTo>
                    <a:cubicBezTo>
                      <a:pt x="919657" y="1687175"/>
                      <a:pt x="919119" y="1688113"/>
                      <a:pt x="918581" y="1688891"/>
                    </a:cubicBezTo>
                    <a:lnTo>
                      <a:pt x="916967" y="1691265"/>
                    </a:lnTo>
                    <a:lnTo>
                      <a:pt x="910530" y="1700739"/>
                    </a:lnTo>
                    <a:lnTo>
                      <a:pt x="904093" y="1710234"/>
                    </a:lnTo>
                    <a:lnTo>
                      <a:pt x="898035" y="1720527"/>
                    </a:lnTo>
                    <a:cubicBezTo>
                      <a:pt x="890303" y="1734988"/>
                      <a:pt x="881057" y="1746119"/>
                      <a:pt x="872069" y="1758007"/>
                    </a:cubicBezTo>
                    <a:lnTo>
                      <a:pt x="865274" y="1765647"/>
                    </a:lnTo>
                    <a:lnTo>
                      <a:pt x="859076" y="1772070"/>
                    </a:lnTo>
                    <a:cubicBezTo>
                      <a:pt x="857063" y="1774244"/>
                      <a:pt x="854792" y="1776199"/>
                      <a:pt x="852659" y="1778293"/>
                    </a:cubicBezTo>
                    <a:cubicBezTo>
                      <a:pt x="850547" y="1780388"/>
                      <a:pt x="848275" y="1782342"/>
                      <a:pt x="846023" y="1784317"/>
                    </a:cubicBezTo>
                    <a:cubicBezTo>
                      <a:pt x="833887" y="1794989"/>
                      <a:pt x="820715" y="1804703"/>
                      <a:pt x="806606" y="1813300"/>
                    </a:cubicBezTo>
                    <a:cubicBezTo>
                      <a:pt x="792497" y="1821857"/>
                      <a:pt x="777531" y="1829377"/>
                      <a:pt x="761928" y="1835820"/>
                    </a:cubicBezTo>
                    <a:cubicBezTo>
                      <a:pt x="730701" y="1848706"/>
                      <a:pt x="696963" y="1857323"/>
                      <a:pt x="662208" y="1861991"/>
                    </a:cubicBezTo>
                    <a:cubicBezTo>
                      <a:pt x="644831" y="1864324"/>
                      <a:pt x="627175" y="1865701"/>
                      <a:pt x="609419" y="1866160"/>
                    </a:cubicBezTo>
                    <a:lnTo>
                      <a:pt x="596068" y="1866339"/>
                    </a:lnTo>
                    <a:lnTo>
                      <a:pt x="583234" y="1866040"/>
                    </a:lnTo>
                    <a:cubicBezTo>
                      <a:pt x="581102" y="1865960"/>
                      <a:pt x="578950" y="1866000"/>
                      <a:pt x="576837" y="1865860"/>
                    </a:cubicBezTo>
                    <a:lnTo>
                      <a:pt x="570460" y="1865402"/>
                    </a:lnTo>
                    <a:lnTo>
                      <a:pt x="564083" y="1864963"/>
                    </a:lnTo>
                    <a:cubicBezTo>
                      <a:pt x="561951" y="1864823"/>
                      <a:pt x="559819" y="1864684"/>
                      <a:pt x="557726" y="1864384"/>
                    </a:cubicBezTo>
                    <a:lnTo>
                      <a:pt x="545032" y="1862888"/>
                    </a:lnTo>
                    <a:cubicBezTo>
                      <a:pt x="540808" y="1862390"/>
                      <a:pt x="536643" y="1861512"/>
                      <a:pt x="532438" y="1860874"/>
                    </a:cubicBezTo>
                    <a:lnTo>
                      <a:pt x="526141" y="1859836"/>
                    </a:lnTo>
                    <a:lnTo>
                      <a:pt x="519903" y="1858480"/>
                    </a:lnTo>
                    <a:cubicBezTo>
                      <a:pt x="515758" y="1857543"/>
                      <a:pt x="511573" y="1856805"/>
                      <a:pt x="507468" y="1855707"/>
                    </a:cubicBezTo>
                    <a:cubicBezTo>
                      <a:pt x="490968" y="1851678"/>
                      <a:pt x="474846" y="1846272"/>
                      <a:pt x="459083" y="1840069"/>
                    </a:cubicBezTo>
                    <a:cubicBezTo>
                      <a:pt x="427717" y="1827303"/>
                      <a:pt x="398104" y="1810248"/>
                      <a:pt x="371939" y="1789084"/>
                    </a:cubicBezTo>
                    <a:lnTo>
                      <a:pt x="367036" y="1785115"/>
                    </a:lnTo>
                    <a:lnTo>
                      <a:pt x="364585" y="1783140"/>
                    </a:lnTo>
                    <a:lnTo>
                      <a:pt x="362234" y="1781046"/>
                    </a:lnTo>
                    <a:lnTo>
                      <a:pt x="352828" y="1772668"/>
                    </a:lnTo>
                    <a:lnTo>
                      <a:pt x="343860" y="1763852"/>
                    </a:lnTo>
                    <a:lnTo>
                      <a:pt x="341608" y="1761657"/>
                    </a:lnTo>
                    <a:lnTo>
                      <a:pt x="339476" y="1759344"/>
                    </a:lnTo>
                    <a:lnTo>
                      <a:pt x="335212" y="1754736"/>
                    </a:lnTo>
                    <a:lnTo>
                      <a:pt x="330947" y="1750148"/>
                    </a:lnTo>
                    <a:lnTo>
                      <a:pt x="326922" y="1745341"/>
                    </a:lnTo>
                    <a:lnTo>
                      <a:pt x="322876" y="1740553"/>
                    </a:lnTo>
                    <a:lnTo>
                      <a:pt x="320863" y="1738160"/>
                    </a:lnTo>
                    <a:lnTo>
                      <a:pt x="318970" y="1735666"/>
                    </a:lnTo>
                    <a:lnTo>
                      <a:pt x="311398" y="1725713"/>
                    </a:lnTo>
                    <a:lnTo>
                      <a:pt x="304343" y="1715420"/>
                    </a:lnTo>
                    <a:cubicBezTo>
                      <a:pt x="296571" y="1703392"/>
                      <a:pt x="289198" y="1691085"/>
                      <a:pt x="283260" y="1678139"/>
                    </a:cubicBezTo>
                    <a:lnTo>
                      <a:pt x="280908" y="1673332"/>
                    </a:lnTo>
                    <a:cubicBezTo>
                      <a:pt x="280151" y="1671716"/>
                      <a:pt x="279513" y="1670061"/>
                      <a:pt x="278816" y="1668425"/>
                    </a:cubicBezTo>
                    <a:lnTo>
                      <a:pt x="274651" y="1658591"/>
                    </a:lnTo>
                    <a:lnTo>
                      <a:pt x="271024" y="1648578"/>
                    </a:lnTo>
                    <a:cubicBezTo>
                      <a:pt x="270426" y="1646902"/>
                      <a:pt x="269768" y="1645247"/>
                      <a:pt x="269230" y="1643571"/>
                    </a:cubicBezTo>
                    <a:lnTo>
                      <a:pt x="267696" y="1638485"/>
                    </a:lnTo>
                    <a:cubicBezTo>
                      <a:pt x="263252" y="1625001"/>
                      <a:pt x="260442" y="1611058"/>
                      <a:pt x="258011" y="1597115"/>
                    </a:cubicBezTo>
                    <a:cubicBezTo>
                      <a:pt x="257114" y="1590073"/>
                      <a:pt x="255938" y="1583092"/>
                      <a:pt x="255560" y="1575991"/>
                    </a:cubicBezTo>
                    <a:lnTo>
                      <a:pt x="255121" y="1570685"/>
                    </a:lnTo>
                    <a:lnTo>
                      <a:pt x="254902" y="1568032"/>
                    </a:lnTo>
                    <a:lnTo>
                      <a:pt x="254902" y="1567693"/>
                    </a:lnTo>
                    <a:cubicBezTo>
                      <a:pt x="254902" y="1567693"/>
                      <a:pt x="254862" y="1567234"/>
                      <a:pt x="254862" y="1567035"/>
                    </a:cubicBezTo>
                    <a:lnTo>
                      <a:pt x="254862" y="1562507"/>
                    </a:lnTo>
                    <a:lnTo>
                      <a:pt x="254723" y="1538331"/>
                    </a:lnTo>
                    <a:lnTo>
                      <a:pt x="254663" y="1534202"/>
                    </a:lnTo>
                    <a:lnTo>
                      <a:pt x="254623" y="1532147"/>
                    </a:lnTo>
                    <a:cubicBezTo>
                      <a:pt x="254583" y="1531469"/>
                      <a:pt x="254683" y="1530711"/>
                      <a:pt x="254424" y="1530213"/>
                    </a:cubicBezTo>
                    <a:lnTo>
                      <a:pt x="252252" y="1523431"/>
                    </a:lnTo>
                    <a:lnTo>
                      <a:pt x="247888" y="1509887"/>
                    </a:lnTo>
                    <a:lnTo>
                      <a:pt x="246791" y="1506496"/>
                    </a:lnTo>
                    <a:lnTo>
                      <a:pt x="246253" y="1504800"/>
                    </a:lnTo>
                    <a:cubicBezTo>
                      <a:pt x="246154" y="1504521"/>
                      <a:pt x="246094" y="1504222"/>
                      <a:pt x="245955" y="1503982"/>
                    </a:cubicBezTo>
                    <a:cubicBezTo>
                      <a:pt x="245775" y="1503723"/>
                      <a:pt x="245656" y="1503444"/>
                      <a:pt x="245456" y="1503244"/>
                    </a:cubicBezTo>
                    <a:lnTo>
                      <a:pt x="240733" y="1498098"/>
                    </a:lnTo>
                    <a:lnTo>
                      <a:pt x="231288" y="1487805"/>
                    </a:lnTo>
                    <a:cubicBezTo>
                      <a:pt x="230730" y="1486948"/>
                      <a:pt x="229434" y="1486469"/>
                      <a:pt x="228398" y="1485870"/>
                    </a:cubicBezTo>
                    <a:lnTo>
                      <a:pt x="225130" y="1484115"/>
                    </a:lnTo>
                    <a:lnTo>
                      <a:pt x="218594" y="1480624"/>
                    </a:lnTo>
                    <a:cubicBezTo>
                      <a:pt x="214229" y="1478311"/>
                      <a:pt x="209925" y="1475937"/>
                      <a:pt x="205501" y="1473663"/>
                    </a:cubicBezTo>
                    <a:cubicBezTo>
                      <a:pt x="203309" y="1472506"/>
                      <a:pt x="201017" y="1471409"/>
                      <a:pt x="198905" y="1470232"/>
                    </a:cubicBezTo>
                    <a:lnTo>
                      <a:pt x="193225" y="1467060"/>
                    </a:lnTo>
                    <a:cubicBezTo>
                      <a:pt x="191392" y="1466063"/>
                      <a:pt x="189579" y="1465046"/>
                      <a:pt x="187825" y="1463929"/>
                    </a:cubicBezTo>
                    <a:cubicBezTo>
                      <a:pt x="184278" y="1461755"/>
                      <a:pt x="180651" y="1459660"/>
                      <a:pt x="177223" y="1457326"/>
                    </a:cubicBezTo>
                    <a:lnTo>
                      <a:pt x="171982" y="1453915"/>
                    </a:lnTo>
                    <a:lnTo>
                      <a:pt x="166881" y="1450325"/>
                    </a:lnTo>
                    <a:cubicBezTo>
                      <a:pt x="153290" y="1440730"/>
                      <a:pt x="140416" y="1430119"/>
                      <a:pt x="128599" y="1418470"/>
                    </a:cubicBezTo>
                    <a:cubicBezTo>
                      <a:pt x="116762" y="1406860"/>
                      <a:pt x="105881" y="1394334"/>
                      <a:pt x="96097" y="1381049"/>
                    </a:cubicBezTo>
                    <a:cubicBezTo>
                      <a:pt x="86352" y="1367744"/>
                      <a:pt x="77783" y="1353642"/>
                      <a:pt x="70410" y="1338981"/>
                    </a:cubicBezTo>
                    <a:cubicBezTo>
                      <a:pt x="68477" y="1335370"/>
                      <a:pt x="66882" y="1331581"/>
                      <a:pt x="65129" y="1327890"/>
                    </a:cubicBezTo>
                    <a:cubicBezTo>
                      <a:pt x="63415" y="1324160"/>
                      <a:pt x="61940" y="1320350"/>
                      <a:pt x="60326" y="1316600"/>
                    </a:cubicBezTo>
                    <a:cubicBezTo>
                      <a:pt x="58931" y="1312751"/>
                      <a:pt x="57377" y="1308961"/>
                      <a:pt x="56082" y="1305091"/>
                    </a:cubicBezTo>
                    <a:cubicBezTo>
                      <a:pt x="54846" y="1301201"/>
                      <a:pt x="53391" y="1297371"/>
                      <a:pt x="52315" y="1293422"/>
                    </a:cubicBezTo>
                    <a:cubicBezTo>
                      <a:pt x="47632" y="1277764"/>
                      <a:pt x="44304" y="1261746"/>
                      <a:pt x="42351" y="1245529"/>
                    </a:cubicBezTo>
                    <a:cubicBezTo>
                      <a:pt x="40418" y="1229312"/>
                      <a:pt x="40060" y="1212856"/>
                      <a:pt x="40896" y="1196520"/>
                    </a:cubicBezTo>
                    <a:cubicBezTo>
                      <a:pt x="41733" y="1180183"/>
                      <a:pt x="44125" y="1163966"/>
                      <a:pt x="47871" y="1148068"/>
                    </a:cubicBezTo>
                    <a:cubicBezTo>
                      <a:pt x="48389" y="1145356"/>
                      <a:pt x="49186" y="1142703"/>
                      <a:pt x="49904" y="1140050"/>
                    </a:cubicBezTo>
                    <a:lnTo>
                      <a:pt x="52076" y="1132051"/>
                    </a:lnTo>
                    <a:lnTo>
                      <a:pt x="54627" y="1124172"/>
                    </a:lnTo>
                    <a:lnTo>
                      <a:pt x="55882" y="1120222"/>
                    </a:lnTo>
                    <a:cubicBezTo>
                      <a:pt x="56341" y="1118926"/>
                      <a:pt x="56859" y="1117629"/>
                      <a:pt x="57337" y="1116333"/>
                    </a:cubicBezTo>
                    <a:lnTo>
                      <a:pt x="60227" y="1108553"/>
                    </a:lnTo>
                    <a:cubicBezTo>
                      <a:pt x="61223" y="1105980"/>
                      <a:pt x="62399" y="1103467"/>
                      <a:pt x="63455" y="1100914"/>
                    </a:cubicBezTo>
                    <a:cubicBezTo>
                      <a:pt x="65507" y="1095767"/>
                      <a:pt x="68038" y="1090841"/>
                      <a:pt x="70430" y="1085834"/>
                    </a:cubicBezTo>
                    <a:cubicBezTo>
                      <a:pt x="71566" y="1083301"/>
                      <a:pt x="73000" y="1080927"/>
                      <a:pt x="74296" y="1078453"/>
                    </a:cubicBezTo>
                    <a:cubicBezTo>
                      <a:pt x="75631" y="1076020"/>
                      <a:pt x="76886" y="1073546"/>
                      <a:pt x="78281" y="1071153"/>
                    </a:cubicBezTo>
                    <a:lnTo>
                      <a:pt x="82586" y="1064012"/>
                    </a:lnTo>
                    <a:cubicBezTo>
                      <a:pt x="83303" y="1062815"/>
                      <a:pt x="84001" y="1061618"/>
                      <a:pt x="84738" y="1060441"/>
                    </a:cubicBezTo>
                    <a:lnTo>
                      <a:pt x="87049" y="1056970"/>
                    </a:lnTo>
                    <a:lnTo>
                      <a:pt x="91653" y="1050009"/>
                    </a:lnTo>
                    <a:lnTo>
                      <a:pt x="96575" y="1043247"/>
                    </a:lnTo>
                    <a:lnTo>
                      <a:pt x="99026" y="1039856"/>
                    </a:lnTo>
                    <a:lnTo>
                      <a:pt x="99325" y="1039437"/>
                    </a:lnTo>
                    <a:lnTo>
                      <a:pt x="99484" y="1039218"/>
                    </a:lnTo>
                    <a:cubicBezTo>
                      <a:pt x="99484" y="1039218"/>
                      <a:pt x="99564" y="1039098"/>
                      <a:pt x="99724" y="1038918"/>
                    </a:cubicBezTo>
                    <a:lnTo>
                      <a:pt x="101258" y="1037083"/>
                    </a:lnTo>
                    <a:lnTo>
                      <a:pt x="104327" y="1033413"/>
                    </a:lnTo>
                    <a:lnTo>
                      <a:pt x="116583" y="1018752"/>
                    </a:lnTo>
                    <a:lnTo>
                      <a:pt x="118177" y="1016897"/>
                    </a:lnTo>
                    <a:cubicBezTo>
                      <a:pt x="118715" y="1016279"/>
                      <a:pt x="119293" y="1015660"/>
                      <a:pt x="119512" y="1015002"/>
                    </a:cubicBezTo>
                    <a:lnTo>
                      <a:pt x="121345" y="1011092"/>
                    </a:lnTo>
                    <a:lnTo>
                      <a:pt x="124992" y="1003253"/>
                    </a:lnTo>
                    <a:lnTo>
                      <a:pt x="128639" y="995414"/>
                    </a:lnTo>
                    <a:lnTo>
                      <a:pt x="130472" y="991505"/>
                    </a:lnTo>
                    <a:cubicBezTo>
                      <a:pt x="130731" y="990846"/>
                      <a:pt x="131170" y="990228"/>
                      <a:pt x="131289" y="989510"/>
                    </a:cubicBezTo>
                    <a:cubicBezTo>
                      <a:pt x="131429" y="988812"/>
                      <a:pt x="131429" y="988153"/>
                      <a:pt x="131509" y="987455"/>
                    </a:cubicBezTo>
                    <a:lnTo>
                      <a:pt x="132226" y="979317"/>
                    </a:lnTo>
                    <a:lnTo>
                      <a:pt x="132405" y="977282"/>
                    </a:lnTo>
                    <a:cubicBezTo>
                      <a:pt x="132366" y="976564"/>
                      <a:pt x="132226" y="975786"/>
                      <a:pt x="132146" y="975048"/>
                    </a:cubicBezTo>
                    <a:lnTo>
                      <a:pt x="131588" y="970560"/>
                    </a:lnTo>
                    <a:lnTo>
                      <a:pt x="131030" y="966072"/>
                    </a:lnTo>
                    <a:cubicBezTo>
                      <a:pt x="130931" y="965314"/>
                      <a:pt x="130871" y="964576"/>
                      <a:pt x="130731" y="963818"/>
                    </a:cubicBezTo>
                    <a:lnTo>
                      <a:pt x="129974" y="961504"/>
                    </a:lnTo>
                    <a:lnTo>
                      <a:pt x="126925" y="952289"/>
                    </a:lnTo>
                    <a:cubicBezTo>
                      <a:pt x="125889" y="949217"/>
                      <a:pt x="124972" y="946125"/>
                      <a:pt x="123976" y="943053"/>
                    </a:cubicBezTo>
                    <a:lnTo>
                      <a:pt x="122521" y="938446"/>
                    </a:lnTo>
                    <a:lnTo>
                      <a:pt x="121804" y="936132"/>
                    </a:lnTo>
                    <a:lnTo>
                      <a:pt x="121465" y="934975"/>
                    </a:lnTo>
                    <a:lnTo>
                      <a:pt x="121066" y="933479"/>
                    </a:lnTo>
                    <a:cubicBezTo>
                      <a:pt x="120389" y="930965"/>
                      <a:pt x="119711" y="928432"/>
                      <a:pt x="119133" y="925899"/>
                    </a:cubicBezTo>
                    <a:cubicBezTo>
                      <a:pt x="117878" y="920832"/>
                      <a:pt x="116842" y="915706"/>
                      <a:pt x="115925" y="910580"/>
                    </a:cubicBezTo>
                    <a:cubicBezTo>
                      <a:pt x="113115" y="894722"/>
                      <a:pt x="111680" y="878565"/>
                      <a:pt x="111900" y="862368"/>
                    </a:cubicBezTo>
                    <a:cubicBezTo>
                      <a:pt x="112318" y="854289"/>
                      <a:pt x="112139" y="846171"/>
                      <a:pt x="113295" y="838172"/>
                    </a:cubicBezTo>
                    <a:lnTo>
                      <a:pt x="113912" y="832148"/>
                    </a:lnTo>
                    <a:cubicBezTo>
                      <a:pt x="114132" y="830153"/>
                      <a:pt x="114211" y="828119"/>
                      <a:pt x="114650" y="826144"/>
                    </a:cubicBezTo>
                    <a:lnTo>
                      <a:pt x="116722" y="814236"/>
                    </a:lnTo>
                    <a:cubicBezTo>
                      <a:pt x="117240" y="810226"/>
                      <a:pt x="118436" y="806377"/>
                      <a:pt x="119333" y="802447"/>
                    </a:cubicBezTo>
                    <a:lnTo>
                      <a:pt x="120748" y="796583"/>
                    </a:lnTo>
                    <a:lnTo>
                      <a:pt x="121445" y="793650"/>
                    </a:lnTo>
                    <a:cubicBezTo>
                      <a:pt x="121704" y="792673"/>
                      <a:pt x="122063" y="791736"/>
                      <a:pt x="122342" y="790758"/>
                    </a:cubicBezTo>
                    <a:lnTo>
                      <a:pt x="125989" y="779229"/>
                    </a:lnTo>
                    <a:cubicBezTo>
                      <a:pt x="126307" y="778271"/>
                      <a:pt x="126567" y="777294"/>
                      <a:pt x="126905" y="776356"/>
                    </a:cubicBezTo>
                    <a:lnTo>
                      <a:pt x="128021" y="773544"/>
                    </a:lnTo>
                    <a:lnTo>
                      <a:pt x="130233" y="767919"/>
                    </a:lnTo>
                    <a:cubicBezTo>
                      <a:pt x="132904" y="760299"/>
                      <a:pt x="136710" y="753138"/>
                      <a:pt x="140018" y="745778"/>
                    </a:cubicBezTo>
                    <a:cubicBezTo>
                      <a:pt x="141831" y="742167"/>
                      <a:pt x="143924" y="738697"/>
                      <a:pt x="145837" y="735126"/>
                    </a:cubicBezTo>
                    <a:lnTo>
                      <a:pt x="148746" y="729800"/>
                    </a:lnTo>
                    <a:cubicBezTo>
                      <a:pt x="149802" y="728085"/>
                      <a:pt x="150938" y="726389"/>
                      <a:pt x="152014" y="724694"/>
                    </a:cubicBezTo>
                    <a:lnTo>
                      <a:pt x="155940" y="718550"/>
                    </a:lnTo>
                    <a:lnTo>
                      <a:pt x="157893" y="715478"/>
                    </a:lnTo>
                    <a:cubicBezTo>
                      <a:pt x="158531" y="714441"/>
                      <a:pt x="159328" y="713503"/>
                      <a:pt x="160025" y="712526"/>
                    </a:cubicBezTo>
                    <a:lnTo>
                      <a:pt x="168674" y="700757"/>
                    </a:lnTo>
                    <a:lnTo>
                      <a:pt x="178080" y="689547"/>
                    </a:lnTo>
                    <a:cubicBezTo>
                      <a:pt x="179575" y="687612"/>
                      <a:pt x="181328" y="685917"/>
                      <a:pt x="183022" y="684142"/>
                    </a:cubicBezTo>
                    <a:lnTo>
                      <a:pt x="188064" y="678836"/>
                    </a:lnTo>
                    <a:cubicBezTo>
                      <a:pt x="191312" y="675185"/>
                      <a:pt x="195019" y="671974"/>
                      <a:pt x="198586" y="668643"/>
                    </a:cubicBezTo>
                    <a:lnTo>
                      <a:pt x="203947" y="663636"/>
                    </a:lnTo>
                    <a:cubicBezTo>
                      <a:pt x="205780" y="662020"/>
                      <a:pt x="207733" y="660544"/>
                      <a:pt x="209606" y="658988"/>
                    </a:cubicBezTo>
                    <a:lnTo>
                      <a:pt x="215285" y="654341"/>
                    </a:lnTo>
                    <a:lnTo>
                      <a:pt x="218115" y="652007"/>
                    </a:lnTo>
                    <a:lnTo>
                      <a:pt x="221104" y="649893"/>
                    </a:lnTo>
                    <a:lnTo>
                      <a:pt x="232005" y="642053"/>
                    </a:lnTo>
                    <a:lnTo>
                      <a:pt x="247330" y="632439"/>
                    </a:lnTo>
                    <a:lnTo>
                      <a:pt x="261518" y="616900"/>
                    </a:lnTo>
                    <a:lnTo>
                      <a:pt x="268613" y="609121"/>
                    </a:lnTo>
                    <a:lnTo>
                      <a:pt x="270386" y="607186"/>
                    </a:lnTo>
                    <a:lnTo>
                      <a:pt x="271283" y="606209"/>
                    </a:lnTo>
                    <a:lnTo>
                      <a:pt x="271721" y="605730"/>
                    </a:lnTo>
                    <a:lnTo>
                      <a:pt x="272000" y="605132"/>
                    </a:lnTo>
                    <a:lnTo>
                      <a:pt x="273734" y="600803"/>
                    </a:lnTo>
                    <a:cubicBezTo>
                      <a:pt x="275886" y="594839"/>
                      <a:pt x="277301" y="587877"/>
                      <a:pt x="277341" y="580258"/>
                    </a:cubicBezTo>
                    <a:cubicBezTo>
                      <a:pt x="277560" y="572638"/>
                      <a:pt x="275328" y="564400"/>
                      <a:pt x="274412" y="556541"/>
                    </a:cubicBezTo>
                    <a:cubicBezTo>
                      <a:pt x="274093" y="554546"/>
                      <a:pt x="273933" y="552591"/>
                      <a:pt x="273694" y="550596"/>
                    </a:cubicBezTo>
                    <a:lnTo>
                      <a:pt x="273375" y="547664"/>
                    </a:lnTo>
                    <a:lnTo>
                      <a:pt x="273136" y="544932"/>
                    </a:lnTo>
                    <a:lnTo>
                      <a:pt x="272797" y="540743"/>
                    </a:lnTo>
                    <a:lnTo>
                      <a:pt x="272658" y="538369"/>
                    </a:lnTo>
                    <a:cubicBezTo>
                      <a:pt x="272479" y="535217"/>
                      <a:pt x="272359" y="532046"/>
                      <a:pt x="272319" y="528874"/>
                    </a:cubicBezTo>
                    <a:cubicBezTo>
                      <a:pt x="272239" y="525703"/>
                      <a:pt x="272359" y="522531"/>
                      <a:pt x="272419" y="519360"/>
                    </a:cubicBezTo>
                    <a:lnTo>
                      <a:pt x="272518" y="514592"/>
                    </a:lnTo>
                    <a:lnTo>
                      <a:pt x="272837" y="509845"/>
                    </a:lnTo>
                    <a:cubicBezTo>
                      <a:pt x="273834" y="494047"/>
                      <a:pt x="276384" y="478388"/>
                      <a:pt x="280450" y="463109"/>
                    </a:cubicBezTo>
                    <a:cubicBezTo>
                      <a:pt x="284615" y="447870"/>
                      <a:pt x="290294" y="433009"/>
                      <a:pt x="297349" y="418767"/>
                    </a:cubicBezTo>
                    <a:cubicBezTo>
                      <a:pt x="304363" y="404505"/>
                      <a:pt x="312932" y="390941"/>
                      <a:pt x="322717" y="378235"/>
                    </a:cubicBezTo>
                    <a:cubicBezTo>
                      <a:pt x="332501" y="365528"/>
                      <a:pt x="343422" y="353620"/>
                      <a:pt x="355478" y="342849"/>
                    </a:cubicBezTo>
                    <a:cubicBezTo>
                      <a:pt x="369567" y="330362"/>
                      <a:pt x="384892" y="319112"/>
                      <a:pt x="401392" y="309777"/>
                    </a:cubicBezTo>
                    <a:cubicBezTo>
                      <a:pt x="409563" y="304989"/>
                      <a:pt x="418112" y="300820"/>
                      <a:pt x="426740" y="296911"/>
                    </a:cubicBezTo>
                    <a:lnTo>
                      <a:pt x="433297" y="294118"/>
                    </a:lnTo>
                    <a:lnTo>
                      <a:pt x="434931" y="293420"/>
                    </a:lnTo>
                    <a:lnTo>
                      <a:pt x="436704" y="292742"/>
                    </a:lnTo>
                    <a:lnTo>
                      <a:pt x="440291" y="291385"/>
                    </a:lnTo>
                    <a:lnTo>
                      <a:pt x="443878" y="290029"/>
                    </a:lnTo>
                    <a:lnTo>
                      <a:pt x="445672" y="289351"/>
                    </a:lnTo>
                    <a:cubicBezTo>
                      <a:pt x="445791" y="289291"/>
                      <a:pt x="446748" y="288992"/>
                      <a:pt x="447366" y="288792"/>
                    </a:cubicBezTo>
                    <a:lnTo>
                      <a:pt x="449438" y="288134"/>
                    </a:lnTo>
                    <a:lnTo>
                      <a:pt x="466038" y="282888"/>
                    </a:lnTo>
                    <a:lnTo>
                      <a:pt x="469007" y="281931"/>
                    </a:lnTo>
                    <a:lnTo>
                      <a:pt x="470482" y="281452"/>
                    </a:lnTo>
                    <a:cubicBezTo>
                      <a:pt x="471000" y="281312"/>
                      <a:pt x="471479" y="281133"/>
                      <a:pt x="471837" y="280853"/>
                    </a:cubicBezTo>
                    <a:lnTo>
                      <a:pt x="476620" y="277841"/>
                    </a:lnTo>
                    <a:lnTo>
                      <a:pt x="486165" y="271837"/>
                    </a:lnTo>
                    <a:lnTo>
                      <a:pt x="490948" y="268825"/>
                    </a:lnTo>
                    <a:cubicBezTo>
                      <a:pt x="491327" y="268546"/>
                      <a:pt x="491785" y="268387"/>
                      <a:pt x="492104" y="268028"/>
                    </a:cubicBezTo>
                    <a:cubicBezTo>
                      <a:pt x="492483" y="267728"/>
                      <a:pt x="492662" y="267270"/>
                      <a:pt x="492941" y="266891"/>
                    </a:cubicBezTo>
                    <a:lnTo>
                      <a:pt x="494495" y="264517"/>
                    </a:lnTo>
                    <a:lnTo>
                      <a:pt x="500733" y="255022"/>
                    </a:lnTo>
                    <a:lnTo>
                      <a:pt x="503841" y="250275"/>
                    </a:lnTo>
                    <a:lnTo>
                      <a:pt x="505396" y="247901"/>
                    </a:lnTo>
                    <a:cubicBezTo>
                      <a:pt x="505874" y="247083"/>
                      <a:pt x="506532" y="246425"/>
                      <a:pt x="506791" y="245368"/>
                    </a:cubicBezTo>
                    <a:lnTo>
                      <a:pt x="510916" y="233719"/>
                    </a:lnTo>
                    <a:lnTo>
                      <a:pt x="515041" y="222070"/>
                    </a:lnTo>
                    <a:lnTo>
                      <a:pt x="515559" y="220614"/>
                    </a:lnTo>
                    <a:lnTo>
                      <a:pt x="515798" y="219975"/>
                    </a:lnTo>
                    <a:lnTo>
                      <a:pt x="515918" y="219656"/>
                    </a:lnTo>
                    <a:lnTo>
                      <a:pt x="516436" y="218419"/>
                    </a:lnTo>
                    <a:lnTo>
                      <a:pt x="517452" y="215926"/>
                    </a:lnTo>
                    <a:cubicBezTo>
                      <a:pt x="522813" y="202601"/>
                      <a:pt x="528851" y="189636"/>
                      <a:pt x="535567" y="177149"/>
                    </a:cubicBezTo>
                    <a:cubicBezTo>
                      <a:pt x="543677" y="162209"/>
                      <a:pt x="552764" y="147987"/>
                      <a:pt x="562748" y="134702"/>
                    </a:cubicBezTo>
                    <a:cubicBezTo>
                      <a:pt x="572732" y="121417"/>
                      <a:pt x="583633" y="109050"/>
                      <a:pt x="595430" y="98079"/>
                    </a:cubicBezTo>
                    <a:cubicBezTo>
                      <a:pt x="618905" y="75998"/>
                      <a:pt x="645728" y="59123"/>
                      <a:pt x="674026" y="49748"/>
                    </a:cubicBezTo>
                    <a:cubicBezTo>
                      <a:pt x="681080" y="47254"/>
                      <a:pt x="688274" y="45579"/>
                      <a:pt x="695468" y="43963"/>
                    </a:cubicBezTo>
                    <a:lnTo>
                      <a:pt x="700908" y="43026"/>
                    </a:lnTo>
                    <a:lnTo>
                      <a:pt x="703619" y="42527"/>
                    </a:lnTo>
                    <a:lnTo>
                      <a:pt x="706349" y="42188"/>
                    </a:lnTo>
                    <a:lnTo>
                      <a:pt x="711809" y="41490"/>
                    </a:lnTo>
                    <a:lnTo>
                      <a:pt x="717309" y="41071"/>
                    </a:lnTo>
                    <a:cubicBezTo>
                      <a:pt x="720956" y="40672"/>
                      <a:pt x="724643" y="40772"/>
                      <a:pt x="728329" y="40612"/>
                    </a:cubicBezTo>
                    <a:cubicBezTo>
                      <a:pt x="729206" y="40552"/>
                      <a:pt x="730242" y="40612"/>
                      <a:pt x="731278" y="40612"/>
                    </a:cubicBezTo>
                    <a:lnTo>
                      <a:pt x="734347" y="40692"/>
                    </a:lnTo>
                    <a:lnTo>
                      <a:pt x="740505" y="40831"/>
                    </a:lnTo>
                    <a:lnTo>
                      <a:pt x="743574" y="40891"/>
                    </a:lnTo>
                    <a:lnTo>
                      <a:pt x="746603" y="41131"/>
                    </a:lnTo>
                    <a:lnTo>
                      <a:pt x="752661" y="41589"/>
                    </a:lnTo>
                    <a:cubicBezTo>
                      <a:pt x="754674" y="41769"/>
                      <a:pt x="756726" y="41809"/>
                      <a:pt x="758699" y="42088"/>
                    </a:cubicBezTo>
                    <a:lnTo>
                      <a:pt x="764638" y="42866"/>
                    </a:lnTo>
                    <a:cubicBezTo>
                      <a:pt x="780441" y="44941"/>
                      <a:pt x="795666" y="48451"/>
                      <a:pt x="810034" y="53518"/>
                    </a:cubicBezTo>
                    <a:cubicBezTo>
                      <a:pt x="824422" y="58524"/>
                      <a:pt x="837813" y="65366"/>
                      <a:pt x="850288" y="73545"/>
                    </a:cubicBezTo>
                    <a:cubicBezTo>
                      <a:pt x="857821" y="78412"/>
                      <a:pt x="864915" y="83997"/>
                      <a:pt x="871750" y="89961"/>
                    </a:cubicBezTo>
                    <a:cubicBezTo>
                      <a:pt x="872607" y="90719"/>
                      <a:pt x="873524" y="91377"/>
                      <a:pt x="874321" y="92195"/>
                    </a:cubicBezTo>
                    <a:lnTo>
                      <a:pt x="876752" y="94609"/>
                    </a:lnTo>
                    <a:lnTo>
                      <a:pt x="881515" y="99276"/>
                    </a:lnTo>
                    <a:cubicBezTo>
                      <a:pt x="883567" y="101091"/>
                      <a:pt x="885560" y="103525"/>
                      <a:pt x="887573" y="105739"/>
                    </a:cubicBezTo>
                    <a:lnTo>
                      <a:pt x="890582" y="109130"/>
                    </a:lnTo>
                    <a:lnTo>
                      <a:pt x="892097" y="110825"/>
                    </a:lnTo>
                    <a:lnTo>
                      <a:pt x="893511" y="112740"/>
                    </a:lnTo>
                    <a:lnTo>
                      <a:pt x="899131" y="120380"/>
                    </a:lnTo>
                    <a:lnTo>
                      <a:pt x="910370" y="135659"/>
                    </a:lnTo>
                    <a:lnTo>
                      <a:pt x="913738" y="140267"/>
                    </a:lnTo>
                    <a:lnTo>
                      <a:pt x="914575" y="141424"/>
                    </a:lnTo>
                    <a:cubicBezTo>
                      <a:pt x="914854" y="141843"/>
                      <a:pt x="915153" y="141943"/>
                      <a:pt x="915452" y="142202"/>
                    </a:cubicBezTo>
                    <a:lnTo>
                      <a:pt x="917206" y="143558"/>
                    </a:lnTo>
                    <a:cubicBezTo>
                      <a:pt x="919557" y="145354"/>
                      <a:pt x="921909" y="147129"/>
                      <a:pt x="924300" y="148844"/>
                    </a:cubicBezTo>
                    <a:cubicBezTo>
                      <a:pt x="929043" y="152295"/>
                      <a:pt x="933846" y="155606"/>
                      <a:pt x="938648" y="158758"/>
                    </a:cubicBezTo>
                    <a:lnTo>
                      <a:pt x="939545" y="159356"/>
                    </a:lnTo>
                    <a:cubicBezTo>
                      <a:pt x="939844" y="159556"/>
                      <a:pt x="940163" y="159775"/>
                      <a:pt x="940362" y="159755"/>
                    </a:cubicBezTo>
                    <a:lnTo>
                      <a:pt x="941777" y="160015"/>
                    </a:lnTo>
                    <a:lnTo>
                      <a:pt x="944607" y="160533"/>
                    </a:lnTo>
                    <a:lnTo>
                      <a:pt x="950266" y="161590"/>
                    </a:lnTo>
                    <a:lnTo>
                      <a:pt x="955926" y="162648"/>
                    </a:lnTo>
                    <a:lnTo>
                      <a:pt x="958755" y="163166"/>
                    </a:lnTo>
                    <a:lnTo>
                      <a:pt x="960170" y="163426"/>
                    </a:lnTo>
                    <a:cubicBezTo>
                      <a:pt x="960409" y="163466"/>
                      <a:pt x="960649" y="163525"/>
                      <a:pt x="960868" y="163545"/>
                    </a:cubicBezTo>
                    <a:lnTo>
                      <a:pt x="961804" y="163545"/>
                    </a:lnTo>
                    <a:lnTo>
                      <a:pt x="973123" y="161451"/>
                    </a:lnTo>
                    <a:lnTo>
                      <a:pt x="978783" y="160394"/>
                    </a:lnTo>
                    <a:cubicBezTo>
                      <a:pt x="980736" y="159895"/>
                      <a:pt x="982330" y="160254"/>
                      <a:pt x="984961" y="158120"/>
                    </a:cubicBezTo>
                    <a:cubicBezTo>
                      <a:pt x="989763" y="154948"/>
                      <a:pt x="994546" y="151617"/>
                      <a:pt x="999289" y="148146"/>
                    </a:cubicBezTo>
                    <a:cubicBezTo>
                      <a:pt x="1001660" y="146411"/>
                      <a:pt x="1004012" y="144636"/>
                      <a:pt x="1006363" y="142820"/>
                    </a:cubicBezTo>
                    <a:cubicBezTo>
                      <a:pt x="1006941" y="142322"/>
                      <a:pt x="1007539" y="142022"/>
                      <a:pt x="1008097" y="141344"/>
                    </a:cubicBezTo>
                    <a:lnTo>
                      <a:pt x="1009751" y="139110"/>
                    </a:lnTo>
                    <a:lnTo>
                      <a:pt x="1013039" y="134642"/>
                    </a:lnTo>
                    <a:lnTo>
                      <a:pt x="1026191" y="116750"/>
                    </a:lnTo>
                    <a:cubicBezTo>
                      <a:pt x="1028403" y="113798"/>
                      <a:pt x="1030516" y="110626"/>
                      <a:pt x="1032927" y="108153"/>
                    </a:cubicBezTo>
                    <a:lnTo>
                      <a:pt x="1036434" y="104223"/>
                    </a:lnTo>
                    <a:lnTo>
                      <a:pt x="1038188" y="102248"/>
                    </a:lnTo>
                    <a:cubicBezTo>
                      <a:pt x="1038766" y="101570"/>
                      <a:pt x="1039364" y="100932"/>
                      <a:pt x="1039962" y="100413"/>
                    </a:cubicBezTo>
                    <a:lnTo>
                      <a:pt x="1043509" y="96982"/>
                    </a:lnTo>
                    <a:lnTo>
                      <a:pt x="1045820" y="94688"/>
                    </a:lnTo>
                    <a:lnTo>
                      <a:pt x="1048650" y="91876"/>
                    </a:lnTo>
                    <a:lnTo>
                      <a:pt x="1054668" y="86769"/>
                    </a:lnTo>
                    <a:cubicBezTo>
                      <a:pt x="1058554" y="83159"/>
                      <a:pt x="1062919" y="80287"/>
                      <a:pt x="1067083" y="77095"/>
                    </a:cubicBezTo>
                    <a:cubicBezTo>
                      <a:pt x="1069116" y="75420"/>
                      <a:pt x="1071428" y="74203"/>
                      <a:pt x="1073600" y="72747"/>
                    </a:cubicBezTo>
                    <a:cubicBezTo>
                      <a:pt x="1075812" y="71370"/>
                      <a:pt x="1077964" y="69854"/>
                      <a:pt x="1080216" y="68558"/>
                    </a:cubicBezTo>
                    <a:cubicBezTo>
                      <a:pt x="1105963" y="53438"/>
                      <a:pt x="1135835" y="44741"/>
                      <a:pt x="1167919" y="41749"/>
                    </a:cubicBezTo>
                    <a:cubicBezTo>
                      <a:pt x="1171964" y="41490"/>
                      <a:pt x="1175970" y="41071"/>
                      <a:pt x="1180035" y="40891"/>
                    </a:cubicBezTo>
                    <a:lnTo>
                      <a:pt x="1192330" y="40592"/>
                    </a:lnTo>
                    <a:cubicBezTo>
                      <a:pt x="1194343" y="40552"/>
                      <a:pt x="1196057" y="40692"/>
                      <a:pt x="1197930" y="40712"/>
                    </a:cubicBezTo>
                    <a:cubicBezTo>
                      <a:pt x="1199763" y="40792"/>
                      <a:pt x="1201617" y="40712"/>
                      <a:pt x="1203430" y="40931"/>
                    </a:cubicBezTo>
                    <a:cubicBezTo>
                      <a:pt x="1207097" y="41230"/>
                      <a:pt x="1210764" y="41390"/>
                      <a:pt x="1214390" y="41968"/>
                    </a:cubicBezTo>
                    <a:cubicBezTo>
                      <a:pt x="1221704" y="42746"/>
                      <a:pt x="1228898" y="44342"/>
                      <a:pt x="1236092" y="46018"/>
                    </a:cubicBezTo>
                    <a:lnTo>
                      <a:pt x="1241453" y="47514"/>
                    </a:lnTo>
                    <a:lnTo>
                      <a:pt x="1244123" y="48252"/>
                    </a:lnTo>
                    <a:lnTo>
                      <a:pt x="1246773" y="49149"/>
                    </a:lnTo>
                    <a:lnTo>
                      <a:pt x="1252094" y="50885"/>
                    </a:lnTo>
                    <a:lnTo>
                      <a:pt x="1257335" y="52919"/>
                    </a:lnTo>
                    <a:cubicBezTo>
                      <a:pt x="1285314" y="63810"/>
                      <a:pt x="1311599" y="82002"/>
                      <a:pt x="1334376" y="105121"/>
                    </a:cubicBezTo>
                    <a:cubicBezTo>
                      <a:pt x="1345835" y="116630"/>
                      <a:pt x="1356357" y="129436"/>
                      <a:pt x="1365942" y="143120"/>
                    </a:cubicBezTo>
                    <a:cubicBezTo>
                      <a:pt x="1375547" y="156803"/>
                      <a:pt x="1384216" y="171365"/>
                      <a:pt x="1391908" y="186584"/>
                    </a:cubicBezTo>
                    <a:cubicBezTo>
                      <a:pt x="1393662" y="190075"/>
                      <a:pt x="1395316" y="193645"/>
                      <a:pt x="1397030" y="197176"/>
                    </a:cubicBezTo>
                    <a:cubicBezTo>
                      <a:pt x="1398684" y="200746"/>
                      <a:pt x="1400218" y="204377"/>
                      <a:pt x="1401832" y="207967"/>
                    </a:cubicBezTo>
                    <a:cubicBezTo>
                      <a:pt x="1403387" y="211598"/>
                      <a:pt x="1404821" y="215288"/>
                      <a:pt x="1406336" y="218938"/>
                    </a:cubicBezTo>
                    <a:lnTo>
                      <a:pt x="1406615" y="219616"/>
                    </a:lnTo>
                    <a:lnTo>
                      <a:pt x="1406754" y="219955"/>
                    </a:lnTo>
                    <a:lnTo>
                      <a:pt x="1407014" y="220653"/>
                    </a:lnTo>
                    <a:lnTo>
                      <a:pt x="1408149" y="223845"/>
                    </a:lnTo>
                    <a:lnTo>
                      <a:pt x="1410421" y="230248"/>
                    </a:lnTo>
                    <a:lnTo>
                      <a:pt x="1414965" y="243054"/>
                    </a:lnTo>
                    <a:lnTo>
                      <a:pt x="1415921" y="245767"/>
                    </a:lnTo>
                    <a:cubicBezTo>
                      <a:pt x="1416240" y="246664"/>
                      <a:pt x="1416838" y="247283"/>
                      <a:pt x="1417276" y="248041"/>
                    </a:cubicBezTo>
                    <a:lnTo>
                      <a:pt x="1420146" y="252429"/>
                    </a:lnTo>
                    <a:lnTo>
                      <a:pt x="1425905" y="261186"/>
                    </a:lnTo>
                    <a:lnTo>
                      <a:pt x="1428775" y="265574"/>
                    </a:lnTo>
                    <a:lnTo>
                      <a:pt x="1430210" y="267768"/>
                    </a:lnTo>
                    <a:lnTo>
                      <a:pt x="1430688" y="268227"/>
                    </a:lnTo>
                    <a:lnTo>
                      <a:pt x="1431246" y="268566"/>
                    </a:lnTo>
                    <a:lnTo>
                      <a:pt x="1432342" y="269264"/>
                    </a:lnTo>
                    <a:lnTo>
                      <a:pt x="1441170" y="274810"/>
                    </a:lnTo>
                    <a:lnTo>
                      <a:pt x="1449998" y="280355"/>
                    </a:lnTo>
                    <a:lnTo>
                      <a:pt x="1451094" y="281053"/>
                    </a:lnTo>
                    <a:cubicBezTo>
                      <a:pt x="1451473" y="281272"/>
                      <a:pt x="1451991" y="281352"/>
                      <a:pt x="1452429" y="281532"/>
                    </a:cubicBezTo>
                    <a:lnTo>
                      <a:pt x="1455179" y="282409"/>
                    </a:lnTo>
                    <a:lnTo>
                      <a:pt x="1460659" y="284145"/>
                    </a:lnTo>
                    <a:lnTo>
                      <a:pt x="1471620" y="287635"/>
                    </a:lnTo>
                    <a:lnTo>
                      <a:pt x="1476821" y="289311"/>
                    </a:lnTo>
                    <a:lnTo>
                      <a:pt x="1479192" y="290209"/>
                    </a:lnTo>
                    <a:cubicBezTo>
                      <a:pt x="1482301" y="291425"/>
                      <a:pt x="1485609" y="292582"/>
                      <a:pt x="1488558" y="293819"/>
                    </a:cubicBezTo>
                    <a:lnTo>
                      <a:pt x="1497207" y="297509"/>
                    </a:lnTo>
                    <a:lnTo>
                      <a:pt x="1505716" y="301538"/>
                    </a:lnTo>
                    <a:cubicBezTo>
                      <a:pt x="1508546" y="302875"/>
                      <a:pt x="1511276" y="304431"/>
                      <a:pt x="1514066" y="305847"/>
                    </a:cubicBezTo>
                    <a:cubicBezTo>
                      <a:pt x="1536126" y="317696"/>
                      <a:pt x="1556632" y="332416"/>
                      <a:pt x="1574468" y="349750"/>
                    </a:cubicBezTo>
                    <a:cubicBezTo>
                      <a:pt x="1586106" y="360941"/>
                      <a:pt x="1596528" y="373268"/>
                      <a:pt x="1605794" y="386313"/>
                    </a:cubicBezTo>
                    <a:cubicBezTo>
                      <a:pt x="1615041" y="399378"/>
                      <a:pt x="1623052" y="413242"/>
                      <a:pt x="1629469" y="427763"/>
                    </a:cubicBezTo>
                    <a:cubicBezTo>
                      <a:pt x="1635925" y="442264"/>
                      <a:pt x="1640967" y="457324"/>
                      <a:pt x="1644494" y="472723"/>
                    </a:cubicBezTo>
                    <a:cubicBezTo>
                      <a:pt x="1647962" y="488142"/>
                      <a:pt x="1649815" y="503901"/>
                      <a:pt x="1650174" y="519758"/>
                    </a:cubicBezTo>
                    <a:cubicBezTo>
                      <a:pt x="1650393" y="525264"/>
                      <a:pt x="1650293" y="530789"/>
                      <a:pt x="1650034" y="536275"/>
                    </a:cubicBezTo>
                    <a:lnTo>
                      <a:pt x="1649795" y="540384"/>
                    </a:lnTo>
                    <a:lnTo>
                      <a:pt x="1649735" y="541421"/>
                    </a:lnTo>
                    <a:lnTo>
                      <a:pt x="1649576" y="543396"/>
                    </a:lnTo>
                    <a:lnTo>
                      <a:pt x="1649177" y="548143"/>
                    </a:lnTo>
                    <a:cubicBezTo>
                      <a:pt x="1648480" y="555005"/>
                      <a:pt x="1647503" y="561886"/>
                      <a:pt x="1646228" y="568848"/>
                    </a:cubicBezTo>
                    <a:cubicBezTo>
                      <a:pt x="1644713" y="577146"/>
                      <a:pt x="1645052" y="585145"/>
                      <a:pt x="1646467" y="592126"/>
                    </a:cubicBezTo>
                    <a:cubicBezTo>
                      <a:pt x="1646646" y="593004"/>
                      <a:pt x="1646786" y="593901"/>
                      <a:pt x="1647005" y="594759"/>
                    </a:cubicBezTo>
                    <a:lnTo>
                      <a:pt x="1647723" y="597213"/>
                    </a:lnTo>
                    <a:lnTo>
                      <a:pt x="1648440" y="599666"/>
                    </a:lnTo>
                    <a:cubicBezTo>
                      <a:pt x="1648699" y="600464"/>
                      <a:pt x="1649018" y="601162"/>
                      <a:pt x="1649297" y="601920"/>
                    </a:cubicBezTo>
                    <a:lnTo>
                      <a:pt x="1650194" y="604154"/>
                    </a:lnTo>
                    <a:cubicBezTo>
                      <a:pt x="1650473" y="604852"/>
                      <a:pt x="1650752" y="605770"/>
                      <a:pt x="1651489" y="606368"/>
                    </a:cubicBezTo>
                    <a:lnTo>
                      <a:pt x="1655235" y="610358"/>
                    </a:lnTo>
                    <a:lnTo>
                      <a:pt x="1670201" y="626275"/>
                    </a:lnTo>
                    <a:lnTo>
                      <a:pt x="1673948" y="630265"/>
                    </a:lnTo>
                    <a:lnTo>
                      <a:pt x="1675821" y="632259"/>
                    </a:lnTo>
                    <a:cubicBezTo>
                      <a:pt x="1676439" y="632918"/>
                      <a:pt x="1676997" y="633616"/>
                      <a:pt x="1677973" y="634134"/>
                    </a:cubicBezTo>
                    <a:lnTo>
                      <a:pt x="1688575" y="640737"/>
                    </a:lnTo>
                    <a:cubicBezTo>
                      <a:pt x="1690428" y="641814"/>
                      <a:pt x="1691903" y="642991"/>
                      <a:pt x="1693517" y="644128"/>
                    </a:cubicBezTo>
                    <a:lnTo>
                      <a:pt x="1698280" y="647559"/>
                    </a:lnTo>
                    <a:lnTo>
                      <a:pt x="1702983" y="650910"/>
                    </a:lnTo>
                    <a:cubicBezTo>
                      <a:pt x="1704397" y="651847"/>
                      <a:pt x="1705673" y="652944"/>
                      <a:pt x="1706968" y="654002"/>
                    </a:cubicBezTo>
                    <a:lnTo>
                      <a:pt x="1710874" y="657213"/>
                    </a:lnTo>
                    <a:cubicBezTo>
                      <a:pt x="1713465" y="659367"/>
                      <a:pt x="1716135" y="661422"/>
                      <a:pt x="1718686" y="663616"/>
                    </a:cubicBezTo>
                    <a:lnTo>
                      <a:pt x="1726079" y="670498"/>
                    </a:lnTo>
                    <a:cubicBezTo>
                      <a:pt x="1731181" y="674906"/>
                      <a:pt x="1735585" y="680012"/>
                      <a:pt x="1740288" y="684820"/>
                    </a:cubicBezTo>
                    <a:cubicBezTo>
                      <a:pt x="1742699" y="687173"/>
                      <a:pt x="1744791" y="689806"/>
                      <a:pt x="1746943" y="692380"/>
                    </a:cubicBezTo>
                    <a:lnTo>
                      <a:pt x="1753420" y="700079"/>
                    </a:lnTo>
                    <a:cubicBezTo>
                      <a:pt x="1755513" y="702692"/>
                      <a:pt x="1757386" y="705485"/>
                      <a:pt x="1759418" y="708158"/>
                    </a:cubicBezTo>
                    <a:lnTo>
                      <a:pt x="1762408" y="712207"/>
                    </a:lnTo>
                    <a:cubicBezTo>
                      <a:pt x="1763384" y="713563"/>
                      <a:pt x="1764460" y="714860"/>
                      <a:pt x="1765297" y="716316"/>
                    </a:cubicBezTo>
                    <a:lnTo>
                      <a:pt x="1770698" y="724773"/>
                    </a:lnTo>
                    <a:lnTo>
                      <a:pt x="1773428" y="728982"/>
                    </a:lnTo>
                    <a:cubicBezTo>
                      <a:pt x="1774305" y="730399"/>
                      <a:pt x="1775042" y="731915"/>
                      <a:pt x="1775879" y="733371"/>
                    </a:cubicBezTo>
                    <a:lnTo>
                      <a:pt x="1781758" y="743982"/>
                    </a:lnTo>
                    <a:cubicBezTo>
                      <a:pt x="1783571" y="747593"/>
                      <a:pt x="1785185" y="751303"/>
                      <a:pt x="1786939" y="754933"/>
                    </a:cubicBezTo>
                    <a:lnTo>
                      <a:pt x="1789549" y="760399"/>
                    </a:lnTo>
                    <a:lnTo>
                      <a:pt x="1791722" y="766044"/>
                    </a:lnTo>
                    <a:cubicBezTo>
                      <a:pt x="1793156" y="769814"/>
                      <a:pt x="1794711" y="773544"/>
                      <a:pt x="1796106" y="777314"/>
                    </a:cubicBezTo>
                    <a:lnTo>
                      <a:pt x="1799733" y="788843"/>
                    </a:lnTo>
                    <a:cubicBezTo>
                      <a:pt x="1800291" y="790778"/>
                      <a:pt x="1801068" y="792653"/>
                      <a:pt x="1801486" y="794628"/>
                    </a:cubicBezTo>
                    <a:lnTo>
                      <a:pt x="1802901" y="800512"/>
                    </a:lnTo>
                    <a:lnTo>
                      <a:pt x="1804336" y="806377"/>
                    </a:lnTo>
                    <a:cubicBezTo>
                      <a:pt x="1804794" y="808331"/>
                      <a:pt x="1805412" y="810266"/>
                      <a:pt x="1805651" y="812261"/>
                    </a:cubicBezTo>
                    <a:lnTo>
                      <a:pt x="1807704" y="824169"/>
                    </a:lnTo>
                    <a:cubicBezTo>
                      <a:pt x="1808561" y="828119"/>
                      <a:pt x="1808740" y="832168"/>
                      <a:pt x="1809198" y="836177"/>
                    </a:cubicBezTo>
                    <a:lnTo>
                      <a:pt x="1809836" y="842201"/>
                    </a:lnTo>
                    <a:cubicBezTo>
                      <a:pt x="1810055" y="844216"/>
                      <a:pt x="1810314" y="846211"/>
                      <a:pt x="1810314" y="848245"/>
                    </a:cubicBezTo>
                    <a:cubicBezTo>
                      <a:pt x="1810474" y="856324"/>
                      <a:pt x="1811111" y="864402"/>
                      <a:pt x="1810733" y="872501"/>
                    </a:cubicBezTo>
                    <a:cubicBezTo>
                      <a:pt x="1810235" y="888678"/>
                      <a:pt x="1808262" y="904735"/>
                      <a:pt x="1804814" y="920473"/>
                    </a:cubicBezTo>
                    <a:cubicBezTo>
                      <a:pt x="1804416" y="922348"/>
                      <a:pt x="1803997" y="924223"/>
                      <a:pt x="1803519" y="926098"/>
                    </a:cubicBezTo>
                    <a:cubicBezTo>
                      <a:pt x="1803080" y="927973"/>
                      <a:pt x="1802622" y="929828"/>
                      <a:pt x="1802104" y="931684"/>
                    </a:cubicBezTo>
                    <a:lnTo>
                      <a:pt x="1801725" y="933080"/>
                    </a:lnTo>
                    <a:lnTo>
                      <a:pt x="1801367" y="934476"/>
                    </a:lnTo>
                    <a:lnTo>
                      <a:pt x="1800849" y="936231"/>
                    </a:lnTo>
                    <a:lnTo>
                      <a:pt x="1798716" y="943033"/>
                    </a:lnTo>
                    <a:lnTo>
                      <a:pt x="1796564" y="949835"/>
                    </a:lnTo>
                    <a:lnTo>
                      <a:pt x="1794153" y="956617"/>
                    </a:lnTo>
                    <a:lnTo>
                      <a:pt x="1792240" y="962901"/>
                    </a:lnTo>
                    <a:cubicBezTo>
                      <a:pt x="1791841" y="963958"/>
                      <a:pt x="1791821" y="964955"/>
                      <a:pt x="1791682" y="965972"/>
                    </a:cubicBezTo>
                    <a:lnTo>
                      <a:pt x="1791303" y="969024"/>
                    </a:lnTo>
                    <a:cubicBezTo>
                      <a:pt x="1790885" y="973054"/>
                      <a:pt x="1789928" y="977322"/>
                      <a:pt x="1790626" y="980853"/>
                    </a:cubicBezTo>
                    <a:lnTo>
                      <a:pt x="1791104" y="986378"/>
                    </a:lnTo>
                    <a:lnTo>
                      <a:pt x="1791343" y="989151"/>
                    </a:lnTo>
                    <a:lnTo>
                      <a:pt x="1791482" y="989869"/>
                    </a:lnTo>
                    <a:lnTo>
                      <a:pt x="1791781" y="990527"/>
                    </a:lnTo>
                    <a:lnTo>
                      <a:pt x="1792399" y="991864"/>
                    </a:lnTo>
                    <a:lnTo>
                      <a:pt x="1797361" y="1002515"/>
                    </a:lnTo>
                    <a:lnTo>
                      <a:pt x="1802323" y="1013167"/>
                    </a:lnTo>
                    <a:cubicBezTo>
                      <a:pt x="1802742" y="1014045"/>
                      <a:pt x="1803140" y="1014942"/>
                      <a:pt x="1803579" y="1015820"/>
                    </a:cubicBezTo>
                    <a:lnTo>
                      <a:pt x="1805591" y="1018233"/>
                    </a:lnTo>
                    <a:lnTo>
                      <a:pt x="1809617" y="1023041"/>
                    </a:lnTo>
                    <a:lnTo>
                      <a:pt x="1817668" y="1032655"/>
                    </a:lnTo>
                    <a:cubicBezTo>
                      <a:pt x="1820159" y="1035647"/>
                      <a:pt x="1823785" y="1039856"/>
                      <a:pt x="1824124" y="1040554"/>
                    </a:cubicBezTo>
                    <a:cubicBezTo>
                      <a:pt x="1832952" y="1052123"/>
                      <a:pt x="1840664" y="1064431"/>
                      <a:pt x="1847619" y="1077097"/>
                    </a:cubicBezTo>
                    <a:cubicBezTo>
                      <a:pt x="1861609" y="1102430"/>
                      <a:pt x="1871214" y="1129897"/>
                      <a:pt x="1876953" y="1158042"/>
                    </a:cubicBezTo>
                    <a:cubicBezTo>
                      <a:pt x="1880062" y="1174079"/>
                      <a:pt x="1881756" y="1190376"/>
                      <a:pt x="1882055" y="1206752"/>
                    </a:cubicBezTo>
                    <a:cubicBezTo>
                      <a:pt x="1882433" y="1223129"/>
                      <a:pt x="1881337" y="1239525"/>
                      <a:pt x="1878906" y="1255662"/>
                    </a:cubicBezTo>
                    <a:cubicBezTo>
                      <a:pt x="1876375" y="1271799"/>
                      <a:pt x="1872449" y="1287697"/>
                      <a:pt x="1867188" y="1303176"/>
                    </a:cubicBezTo>
                    <a:cubicBezTo>
                      <a:pt x="1864618" y="1310935"/>
                      <a:pt x="1861529" y="1318515"/>
                      <a:pt x="1858340" y="1326055"/>
                    </a:cubicBezTo>
                    <a:cubicBezTo>
                      <a:pt x="1856587" y="1329765"/>
                      <a:pt x="1854953" y="1333515"/>
                      <a:pt x="1853139" y="1337186"/>
                    </a:cubicBezTo>
                    <a:cubicBezTo>
                      <a:pt x="1851226" y="1340816"/>
                      <a:pt x="1849532" y="1344546"/>
                      <a:pt x="1847460" y="1348097"/>
                    </a:cubicBezTo>
                    <a:cubicBezTo>
                      <a:pt x="1839568" y="1362498"/>
                      <a:pt x="1830501" y="1376302"/>
                      <a:pt x="1820298" y="1389287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29" name="Freeform 12">
                <a:extLst>
                  <a:ext uri="{FF2B5EF4-FFF2-40B4-BE49-F238E27FC236}">
                    <a16:creationId xmlns:a16="http://schemas.microsoft.com/office/drawing/2014/main" id="{CEAA8C56-30FB-E65E-5B7A-4B4E5D6950A3}"/>
                  </a:ext>
                </a:extLst>
              </p:cNvPr>
              <p:cNvSpPr/>
              <p:nvPr/>
            </p:nvSpPr>
            <p:spPr>
              <a:xfrm>
                <a:off x="3582884" y="2951523"/>
                <a:ext cx="342660" cy="341292"/>
              </a:xfrm>
              <a:custGeom>
                <a:avLst/>
                <a:gdLst>
                  <a:gd name="connsiteX0" fmla="*/ 44878 w 342660"/>
                  <a:gd name="connsiteY0" fmla="*/ 126623 h 341292"/>
                  <a:gd name="connsiteX1" fmla="*/ 44878 w 342660"/>
                  <a:gd name="connsiteY1" fmla="*/ 256279 h 341292"/>
                  <a:gd name="connsiteX2" fmla="*/ 103685 w 342660"/>
                  <a:gd name="connsiteY2" fmla="*/ 315142 h 341292"/>
                  <a:gd name="connsiteX3" fmla="*/ 225863 w 342660"/>
                  <a:gd name="connsiteY3" fmla="*/ 315142 h 341292"/>
                  <a:gd name="connsiteX4" fmla="*/ 277835 w 342660"/>
                  <a:gd name="connsiteY4" fmla="*/ 341293 h 341292"/>
                  <a:gd name="connsiteX5" fmla="*/ 342660 w 342660"/>
                  <a:gd name="connsiteY5" fmla="*/ 276405 h 341292"/>
                  <a:gd name="connsiteX6" fmla="*/ 277835 w 342660"/>
                  <a:gd name="connsiteY6" fmla="*/ 211518 h 341292"/>
                  <a:gd name="connsiteX7" fmla="*/ 213049 w 342660"/>
                  <a:gd name="connsiteY7" fmla="*/ 275248 h 341292"/>
                  <a:gd name="connsiteX8" fmla="*/ 103705 w 342660"/>
                  <a:gd name="connsiteY8" fmla="*/ 275248 h 341292"/>
                  <a:gd name="connsiteX9" fmla="*/ 84753 w 342660"/>
                  <a:gd name="connsiteY9" fmla="*/ 256279 h 341292"/>
                  <a:gd name="connsiteX10" fmla="*/ 84753 w 342660"/>
                  <a:gd name="connsiteY10" fmla="*/ 126623 h 341292"/>
                  <a:gd name="connsiteX11" fmla="*/ 129651 w 342660"/>
                  <a:gd name="connsiteY11" fmla="*/ 64888 h 341292"/>
                  <a:gd name="connsiteX12" fmla="*/ 64826 w 342660"/>
                  <a:gd name="connsiteY12" fmla="*/ 0 h 341292"/>
                  <a:gd name="connsiteX13" fmla="*/ 0 w 342660"/>
                  <a:gd name="connsiteY13" fmla="*/ 64888 h 341292"/>
                  <a:gd name="connsiteX14" fmla="*/ 44898 w 342660"/>
                  <a:gd name="connsiteY14" fmla="*/ 126623 h 341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42660" h="341292">
                    <a:moveTo>
                      <a:pt x="44878" y="126623"/>
                    </a:moveTo>
                    <a:lnTo>
                      <a:pt x="44878" y="256279"/>
                    </a:lnTo>
                    <a:cubicBezTo>
                      <a:pt x="44878" y="288733"/>
                      <a:pt x="71262" y="315142"/>
                      <a:pt x="103685" y="315142"/>
                    </a:cubicBezTo>
                    <a:lnTo>
                      <a:pt x="225863" y="315142"/>
                    </a:lnTo>
                    <a:cubicBezTo>
                      <a:pt x="237700" y="331000"/>
                      <a:pt x="256592" y="341293"/>
                      <a:pt x="277835" y="341293"/>
                    </a:cubicBezTo>
                    <a:cubicBezTo>
                      <a:pt x="313585" y="341293"/>
                      <a:pt x="342660" y="312190"/>
                      <a:pt x="342660" y="276405"/>
                    </a:cubicBezTo>
                    <a:cubicBezTo>
                      <a:pt x="342660" y="240620"/>
                      <a:pt x="313585" y="211518"/>
                      <a:pt x="277835" y="211518"/>
                    </a:cubicBezTo>
                    <a:cubicBezTo>
                      <a:pt x="242084" y="211518"/>
                      <a:pt x="213667" y="240002"/>
                      <a:pt x="213049" y="275248"/>
                    </a:cubicBezTo>
                    <a:lnTo>
                      <a:pt x="103705" y="275248"/>
                    </a:lnTo>
                    <a:cubicBezTo>
                      <a:pt x="93243" y="275248"/>
                      <a:pt x="84753" y="266731"/>
                      <a:pt x="84753" y="256279"/>
                    </a:cubicBezTo>
                    <a:lnTo>
                      <a:pt x="84753" y="126623"/>
                    </a:lnTo>
                    <a:cubicBezTo>
                      <a:pt x="110779" y="118186"/>
                      <a:pt x="129651" y="93711"/>
                      <a:pt x="129651" y="64888"/>
                    </a:cubicBezTo>
                    <a:cubicBezTo>
                      <a:pt x="129651" y="29103"/>
                      <a:pt x="100576" y="0"/>
                      <a:pt x="64826" y="0"/>
                    </a:cubicBezTo>
                    <a:cubicBezTo>
                      <a:pt x="29075" y="0"/>
                      <a:pt x="0" y="29103"/>
                      <a:pt x="0" y="64888"/>
                    </a:cubicBezTo>
                    <a:cubicBezTo>
                      <a:pt x="0" y="93711"/>
                      <a:pt x="18872" y="118186"/>
                      <a:pt x="44898" y="126623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30" name="Freeform 13">
                <a:extLst>
                  <a:ext uri="{FF2B5EF4-FFF2-40B4-BE49-F238E27FC236}">
                    <a16:creationId xmlns:a16="http://schemas.microsoft.com/office/drawing/2014/main" id="{E221F897-80FD-9A41-E207-E5272CB23D52}"/>
                  </a:ext>
                </a:extLst>
              </p:cNvPr>
              <p:cNvSpPr/>
              <p:nvPr/>
            </p:nvSpPr>
            <p:spPr>
              <a:xfrm>
                <a:off x="3626487" y="3781576"/>
                <a:ext cx="479285" cy="406579"/>
              </a:xfrm>
              <a:custGeom>
                <a:avLst/>
                <a:gdLst>
                  <a:gd name="connsiteX0" fmla="*/ 434388 w 479285"/>
                  <a:gd name="connsiteY0" fmla="*/ 279956 h 406579"/>
                  <a:gd name="connsiteX1" fmla="*/ 434388 w 479285"/>
                  <a:gd name="connsiteY1" fmla="*/ 250175 h 406579"/>
                  <a:gd name="connsiteX2" fmla="*/ 414281 w 479285"/>
                  <a:gd name="connsiteY2" fmla="*/ 199550 h 406579"/>
                  <a:gd name="connsiteX3" fmla="*/ 363704 w 479285"/>
                  <a:gd name="connsiteY3" fmla="*/ 145912 h 406579"/>
                  <a:gd name="connsiteX4" fmla="*/ 314582 w 479285"/>
                  <a:gd name="connsiteY4" fmla="*/ 124709 h 406579"/>
                  <a:gd name="connsiteX5" fmla="*/ 195891 w 479285"/>
                  <a:gd name="connsiteY5" fmla="*/ 124709 h 406579"/>
                  <a:gd name="connsiteX6" fmla="*/ 195891 w 479285"/>
                  <a:gd name="connsiteY6" fmla="*/ 0 h 406579"/>
                  <a:gd name="connsiteX7" fmla="*/ 156035 w 479285"/>
                  <a:gd name="connsiteY7" fmla="*/ 0 h 406579"/>
                  <a:gd name="connsiteX8" fmla="*/ 156035 w 479285"/>
                  <a:gd name="connsiteY8" fmla="*/ 221571 h 406579"/>
                  <a:gd name="connsiteX9" fmla="*/ 137084 w 479285"/>
                  <a:gd name="connsiteY9" fmla="*/ 240541 h 406579"/>
                  <a:gd name="connsiteX10" fmla="*/ 0 w 479285"/>
                  <a:gd name="connsiteY10" fmla="*/ 240541 h 406579"/>
                  <a:gd name="connsiteX11" fmla="*/ 0 w 479285"/>
                  <a:gd name="connsiteY11" fmla="*/ 280435 h 406579"/>
                  <a:gd name="connsiteX12" fmla="*/ 137084 w 479285"/>
                  <a:gd name="connsiteY12" fmla="*/ 280435 h 406579"/>
                  <a:gd name="connsiteX13" fmla="*/ 195891 w 479285"/>
                  <a:gd name="connsiteY13" fmla="*/ 221571 h 406579"/>
                  <a:gd name="connsiteX14" fmla="*/ 195891 w 479285"/>
                  <a:gd name="connsiteY14" fmla="*/ 164603 h 406579"/>
                  <a:gd name="connsiteX15" fmla="*/ 314582 w 479285"/>
                  <a:gd name="connsiteY15" fmla="*/ 164603 h 406579"/>
                  <a:gd name="connsiteX16" fmla="*/ 334729 w 479285"/>
                  <a:gd name="connsiteY16" fmla="*/ 173299 h 406579"/>
                  <a:gd name="connsiteX17" fmla="*/ 385306 w 479285"/>
                  <a:gd name="connsiteY17" fmla="*/ 226937 h 406579"/>
                  <a:gd name="connsiteX18" fmla="*/ 394532 w 479285"/>
                  <a:gd name="connsiteY18" fmla="*/ 250175 h 406579"/>
                  <a:gd name="connsiteX19" fmla="*/ 394532 w 479285"/>
                  <a:gd name="connsiteY19" fmla="*/ 279956 h 406579"/>
                  <a:gd name="connsiteX20" fmla="*/ 349635 w 479285"/>
                  <a:gd name="connsiteY20" fmla="*/ 341692 h 406579"/>
                  <a:gd name="connsiteX21" fmla="*/ 414460 w 479285"/>
                  <a:gd name="connsiteY21" fmla="*/ 406579 h 406579"/>
                  <a:gd name="connsiteX22" fmla="*/ 479286 w 479285"/>
                  <a:gd name="connsiteY22" fmla="*/ 341692 h 406579"/>
                  <a:gd name="connsiteX23" fmla="*/ 434388 w 479285"/>
                  <a:gd name="connsiteY23" fmla="*/ 279956 h 406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479285" h="406579">
                    <a:moveTo>
                      <a:pt x="434388" y="279956"/>
                    </a:moveTo>
                    <a:lnTo>
                      <a:pt x="434388" y="250175"/>
                    </a:lnTo>
                    <a:cubicBezTo>
                      <a:pt x="434388" y="231285"/>
                      <a:pt x="427254" y="213293"/>
                      <a:pt x="414281" y="199550"/>
                    </a:cubicBezTo>
                    <a:lnTo>
                      <a:pt x="363704" y="145912"/>
                    </a:lnTo>
                    <a:cubicBezTo>
                      <a:pt x="350990" y="132428"/>
                      <a:pt x="333095" y="124709"/>
                      <a:pt x="314582" y="124709"/>
                    </a:cubicBezTo>
                    <a:lnTo>
                      <a:pt x="195891" y="124709"/>
                    </a:lnTo>
                    <a:lnTo>
                      <a:pt x="195891" y="0"/>
                    </a:lnTo>
                    <a:lnTo>
                      <a:pt x="156035" y="0"/>
                    </a:lnTo>
                    <a:lnTo>
                      <a:pt x="156035" y="221571"/>
                    </a:lnTo>
                    <a:cubicBezTo>
                      <a:pt x="156035" y="232043"/>
                      <a:pt x="147526" y="240541"/>
                      <a:pt x="137084" y="240541"/>
                    </a:cubicBezTo>
                    <a:lnTo>
                      <a:pt x="0" y="240541"/>
                    </a:lnTo>
                    <a:lnTo>
                      <a:pt x="0" y="280435"/>
                    </a:lnTo>
                    <a:lnTo>
                      <a:pt x="137084" y="280435"/>
                    </a:lnTo>
                    <a:cubicBezTo>
                      <a:pt x="169507" y="280435"/>
                      <a:pt x="195891" y="254025"/>
                      <a:pt x="195891" y="221571"/>
                    </a:cubicBezTo>
                    <a:lnTo>
                      <a:pt x="195891" y="164603"/>
                    </a:lnTo>
                    <a:lnTo>
                      <a:pt x="314582" y="164603"/>
                    </a:lnTo>
                    <a:cubicBezTo>
                      <a:pt x="322174" y="164603"/>
                      <a:pt x="329508" y="167774"/>
                      <a:pt x="334729" y="173299"/>
                    </a:cubicBezTo>
                    <a:lnTo>
                      <a:pt x="385306" y="226937"/>
                    </a:lnTo>
                    <a:cubicBezTo>
                      <a:pt x="391264" y="233240"/>
                      <a:pt x="394532" y="241498"/>
                      <a:pt x="394532" y="250175"/>
                    </a:cubicBezTo>
                    <a:lnTo>
                      <a:pt x="394532" y="279956"/>
                    </a:lnTo>
                    <a:cubicBezTo>
                      <a:pt x="368507" y="288393"/>
                      <a:pt x="349635" y="312868"/>
                      <a:pt x="349635" y="341692"/>
                    </a:cubicBezTo>
                    <a:cubicBezTo>
                      <a:pt x="349635" y="377477"/>
                      <a:pt x="378710" y="406579"/>
                      <a:pt x="414460" y="406579"/>
                    </a:cubicBezTo>
                    <a:cubicBezTo>
                      <a:pt x="450211" y="406579"/>
                      <a:pt x="479286" y="377477"/>
                      <a:pt x="479286" y="341692"/>
                    </a:cubicBezTo>
                    <a:cubicBezTo>
                      <a:pt x="479286" y="312868"/>
                      <a:pt x="460414" y="288393"/>
                      <a:pt x="434388" y="279956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31" name="Freeform 14">
                <a:extLst>
                  <a:ext uri="{FF2B5EF4-FFF2-40B4-BE49-F238E27FC236}">
                    <a16:creationId xmlns:a16="http://schemas.microsoft.com/office/drawing/2014/main" id="{ADEDAF06-CF2A-378B-B1DD-C53FBC5EC5D3}"/>
                  </a:ext>
                </a:extLst>
              </p:cNvPr>
              <p:cNvSpPr/>
              <p:nvPr/>
            </p:nvSpPr>
            <p:spPr>
              <a:xfrm>
                <a:off x="2570826" y="3474951"/>
                <a:ext cx="378669" cy="270760"/>
              </a:xfrm>
              <a:custGeom>
                <a:avLst/>
                <a:gdLst>
                  <a:gd name="connsiteX0" fmla="*/ 64806 w 378669"/>
                  <a:gd name="connsiteY0" fmla="*/ 270760 h 270760"/>
                  <a:gd name="connsiteX1" fmla="*/ 129631 w 378669"/>
                  <a:gd name="connsiteY1" fmla="*/ 205873 h 270760"/>
                  <a:gd name="connsiteX2" fmla="*/ 84733 w 378669"/>
                  <a:gd name="connsiteY2" fmla="*/ 144137 h 270760"/>
                  <a:gd name="connsiteX3" fmla="*/ 84733 w 378669"/>
                  <a:gd name="connsiteY3" fmla="*/ 81224 h 270760"/>
                  <a:gd name="connsiteX4" fmla="*/ 126004 w 378669"/>
                  <a:gd name="connsiteY4" fmla="*/ 39914 h 270760"/>
                  <a:gd name="connsiteX5" fmla="*/ 213747 w 378669"/>
                  <a:gd name="connsiteY5" fmla="*/ 39914 h 270760"/>
                  <a:gd name="connsiteX6" fmla="*/ 238457 w 378669"/>
                  <a:gd name="connsiteY6" fmla="*/ 50945 h 270760"/>
                  <a:gd name="connsiteX7" fmla="*/ 348997 w 378669"/>
                  <a:gd name="connsiteY7" fmla="*/ 174257 h 270760"/>
                  <a:gd name="connsiteX8" fmla="*/ 378670 w 378669"/>
                  <a:gd name="connsiteY8" fmla="*/ 147608 h 270760"/>
                  <a:gd name="connsiteX9" fmla="*/ 268130 w 378669"/>
                  <a:gd name="connsiteY9" fmla="*/ 24295 h 270760"/>
                  <a:gd name="connsiteX10" fmla="*/ 213767 w 378669"/>
                  <a:gd name="connsiteY10" fmla="*/ 0 h 270760"/>
                  <a:gd name="connsiteX11" fmla="*/ 126024 w 378669"/>
                  <a:gd name="connsiteY11" fmla="*/ 0 h 270760"/>
                  <a:gd name="connsiteX12" fmla="*/ 44898 w 378669"/>
                  <a:gd name="connsiteY12" fmla="*/ 81204 h 270760"/>
                  <a:gd name="connsiteX13" fmla="*/ 44898 w 378669"/>
                  <a:gd name="connsiteY13" fmla="*/ 144117 h 270760"/>
                  <a:gd name="connsiteX14" fmla="*/ 0 w 378669"/>
                  <a:gd name="connsiteY14" fmla="*/ 205853 h 270760"/>
                  <a:gd name="connsiteX15" fmla="*/ 64825 w 378669"/>
                  <a:gd name="connsiteY15" fmla="*/ 270740 h 270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78669" h="270760">
                    <a:moveTo>
                      <a:pt x="64806" y="270760"/>
                    </a:moveTo>
                    <a:cubicBezTo>
                      <a:pt x="100556" y="270760"/>
                      <a:pt x="129631" y="241658"/>
                      <a:pt x="129631" y="205873"/>
                    </a:cubicBezTo>
                    <a:cubicBezTo>
                      <a:pt x="129631" y="177049"/>
                      <a:pt x="110759" y="152574"/>
                      <a:pt x="84733" y="144137"/>
                    </a:cubicBezTo>
                    <a:lnTo>
                      <a:pt x="84733" y="81224"/>
                    </a:lnTo>
                    <a:cubicBezTo>
                      <a:pt x="84733" y="58445"/>
                      <a:pt x="103246" y="39914"/>
                      <a:pt x="126004" y="39914"/>
                    </a:cubicBezTo>
                    <a:lnTo>
                      <a:pt x="213747" y="39914"/>
                    </a:lnTo>
                    <a:cubicBezTo>
                      <a:pt x="223153" y="39914"/>
                      <a:pt x="232160" y="43943"/>
                      <a:pt x="238457" y="50945"/>
                    </a:cubicBezTo>
                    <a:lnTo>
                      <a:pt x="348997" y="174257"/>
                    </a:lnTo>
                    <a:lnTo>
                      <a:pt x="378670" y="147608"/>
                    </a:lnTo>
                    <a:lnTo>
                      <a:pt x="268130" y="24295"/>
                    </a:lnTo>
                    <a:cubicBezTo>
                      <a:pt x="254300" y="8856"/>
                      <a:pt x="234472" y="0"/>
                      <a:pt x="213767" y="0"/>
                    </a:cubicBezTo>
                    <a:lnTo>
                      <a:pt x="126024" y="0"/>
                    </a:lnTo>
                    <a:cubicBezTo>
                      <a:pt x="81286" y="0"/>
                      <a:pt x="44898" y="36423"/>
                      <a:pt x="44898" y="81204"/>
                    </a:cubicBezTo>
                    <a:lnTo>
                      <a:pt x="44898" y="144117"/>
                    </a:lnTo>
                    <a:cubicBezTo>
                      <a:pt x="18872" y="152555"/>
                      <a:pt x="0" y="177029"/>
                      <a:pt x="0" y="205853"/>
                    </a:cubicBezTo>
                    <a:cubicBezTo>
                      <a:pt x="0" y="241638"/>
                      <a:pt x="29075" y="270740"/>
                      <a:pt x="64825" y="27074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32" name="Freeform 15">
                <a:extLst>
                  <a:ext uri="{FF2B5EF4-FFF2-40B4-BE49-F238E27FC236}">
                    <a16:creationId xmlns:a16="http://schemas.microsoft.com/office/drawing/2014/main" id="{BD46E978-4B16-2FC0-DE7A-213663006D89}"/>
                  </a:ext>
                </a:extLst>
              </p:cNvPr>
              <p:cNvSpPr/>
              <p:nvPr/>
            </p:nvSpPr>
            <p:spPr>
              <a:xfrm>
                <a:off x="2896747" y="4152969"/>
                <a:ext cx="213846" cy="423893"/>
              </a:xfrm>
              <a:custGeom>
                <a:avLst/>
                <a:gdLst>
                  <a:gd name="connsiteX0" fmla="*/ 81565 w 213846"/>
                  <a:gd name="connsiteY0" fmla="*/ 107793 h 423893"/>
                  <a:gd name="connsiteX1" fmla="*/ 44898 w 213846"/>
                  <a:gd name="connsiteY1" fmla="*/ 198891 h 423893"/>
                  <a:gd name="connsiteX2" fmla="*/ 44898 w 213846"/>
                  <a:gd name="connsiteY2" fmla="*/ 297270 h 423893"/>
                  <a:gd name="connsiteX3" fmla="*/ 0 w 213846"/>
                  <a:gd name="connsiteY3" fmla="*/ 359006 h 423893"/>
                  <a:gd name="connsiteX4" fmla="*/ 64825 w 213846"/>
                  <a:gd name="connsiteY4" fmla="*/ 423893 h 423893"/>
                  <a:gd name="connsiteX5" fmla="*/ 129651 w 213846"/>
                  <a:gd name="connsiteY5" fmla="*/ 359006 h 423893"/>
                  <a:gd name="connsiteX6" fmla="*/ 84753 w 213846"/>
                  <a:gd name="connsiteY6" fmla="*/ 297270 h 423893"/>
                  <a:gd name="connsiteX7" fmla="*/ 84753 w 213846"/>
                  <a:gd name="connsiteY7" fmla="*/ 198891 h 423893"/>
                  <a:gd name="connsiteX8" fmla="*/ 110281 w 213846"/>
                  <a:gd name="connsiteY8" fmla="*/ 135440 h 423893"/>
                  <a:gd name="connsiteX9" fmla="*/ 213846 w 213846"/>
                  <a:gd name="connsiteY9" fmla="*/ 27646 h 423893"/>
                  <a:gd name="connsiteX10" fmla="*/ 185110 w 213846"/>
                  <a:gd name="connsiteY10" fmla="*/ 0 h 423893"/>
                  <a:gd name="connsiteX11" fmla="*/ 81545 w 213846"/>
                  <a:gd name="connsiteY11" fmla="*/ 107793 h 423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3846" h="423893">
                    <a:moveTo>
                      <a:pt x="81565" y="107793"/>
                    </a:moveTo>
                    <a:cubicBezTo>
                      <a:pt x="57930" y="132408"/>
                      <a:pt x="44898" y="164762"/>
                      <a:pt x="44898" y="198891"/>
                    </a:cubicBezTo>
                    <a:lnTo>
                      <a:pt x="44898" y="297270"/>
                    </a:lnTo>
                    <a:cubicBezTo>
                      <a:pt x="18872" y="305707"/>
                      <a:pt x="0" y="330182"/>
                      <a:pt x="0" y="359006"/>
                    </a:cubicBezTo>
                    <a:cubicBezTo>
                      <a:pt x="0" y="394791"/>
                      <a:pt x="29075" y="423893"/>
                      <a:pt x="64825" y="423893"/>
                    </a:cubicBezTo>
                    <a:cubicBezTo>
                      <a:pt x="100576" y="423893"/>
                      <a:pt x="129651" y="394791"/>
                      <a:pt x="129651" y="359006"/>
                    </a:cubicBezTo>
                    <a:cubicBezTo>
                      <a:pt x="129651" y="330182"/>
                      <a:pt x="110779" y="305707"/>
                      <a:pt x="84753" y="297270"/>
                    </a:cubicBezTo>
                    <a:lnTo>
                      <a:pt x="84753" y="198891"/>
                    </a:lnTo>
                    <a:cubicBezTo>
                      <a:pt x="84753" y="175114"/>
                      <a:pt x="93821" y="152574"/>
                      <a:pt x="110281" y="135440"/>
                    </a:cubicBezTo>
                    <a:lnTo>
                      <a:pt x="213846" y="27646"/>
                    </a:lnTo>
                    <a:lnTo>
                      <a:pt x="185110" y="0"/>
                    </a:lnTo>
                    <a:lnTo>
                      <a:pt x="81545" y="107793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33" name="Freeform 16">
                <a:extLst>
                  <a:ext uri="{FF2B5EF4-FFF2-40B4-BE49-F238E27FC236}">
                    <a16:creationId xmlns:a16="http://schemas.microsoft.com/office/drawing/2014/main" id="{6DD5E7F0-A3ED-AF56-9DD7-DC1C8BE30227}"/>
                  </a:ext>
                </a:extLst>
              </p:cNvPr>
              <p:cNvSpPr/>
              <p:nvPr/>
            </p:nvSpPr>
            <p:spPr>
              <a:xfrm>
                <a:off x="3565427" y="4152969"/>
                <a:ext cx="213846" cy="423893"/>
              </a:xfrm>
              <a:custGeom>
                <a:avLst/>
                <a:gdLst>
                  <a:gd name="connsiteX0" fmla="*/ 168969 w 213846"/>
                  <a:gd name="connsiteY0" fmla="*/ 297270 h 423893"/>
                  <a:gd name="connsiteX1" fmla="*/ 168969 w 213846"/>
                  <a:gd name="connsiteY1" fmla="*/ 192528 h 423893"/>
                  <a:gd name="connsiteX2" fmla="*/ 136705 w 213846"/>
                  <a:gd name="connsiteY2" fmla="*/ 112381 h 423893"/>
                  <a:gd name="connsiteX3" fmla="*/ 28736 w 213846"/>
                  <a:gd name="connsiteY3" fmla="*/ 0 h 423893"/>
                  <a:gd name="connsiteX4" fmla="*/ 0 w 213846"/>
                  <a:gd name="connsiteY4" fmla="*/ 27646 h 423893"/>
                  <a:gd name="connsiteX5" fmla="*/ 107969 w 213846"/>
                  <a:gd name="connsiteY5" fmla="*/ 140028 h 423893"/>
                  <a:gd name="connsiteX6" fmla="*/ 129093 w 213846"/>
                  <a:gd name="connsiteY6" fmla="*/ 192528 h 423893"/>
                  <a:gd name="connsiteX7" fmla="*/ 129093 w 213846"/>
                  <a:gd name="connsiteY7" fmla="*/ 297270 h 423893"/>
                  <a:gd name="connsiteX8" fmla="*/ 84195 w 213846"/>
                  <a:gd name="connsiteY8" fmla="*/ 359006 h 423893"/>
                  <a:gd name="connsiteX9" fmla="*/ 149021 w 213846"/>
                  <a:gd name="connsiteY9" fmla="*/ 423893 h 423893"/>
                  <a:gd name="connsiteX10" fmla="*/ 213846 w 213846"/>
                  <a:gd name="connsiteY10" fmla="*/ 359006 h 423893"/>
                  <a:gd name="connsiteX11" fmla="*/ 168949 w 213846"/>
                  <a:gd name="connsiteY11" fmla="*/ 297270 h 423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3846" h="423893">
                    <a:moveTo>
                      <a:pt x="168969" y="297270"/>
                    </a:moveTo>
                    <a:lnTo>
                      <a:pt x="168969" y="192528"/>
                    </a:lnTo>
                    <a:cubicBezTo>
                      <a:pt x="168969" y="162488"/>
                      <a:pt x="157510" y="134024"/>
                      <a:pt x="136705" y="112381"/>
                    </a:cubicBezTo>
                    <a:lnTo>
                      <a:pt x="28736" y="0"/>
                    </a:lnTo>
                    <a:lnTo>
                      <a:pt x="0" y="27646"/>
                    </a:lnTo>
                    <a:lnTo>
                      <a:pt x="107969" y="140028"/>
                    </a:lnTo>
                    <a:cubicBezTo>
                      <a:pt x="121600" y="154210"/>
                      <a:pt x="129093" y="172860"/>
                      <a:pt x="129093" y="192528"/>
                    </a:cubicBezTo>
                    <a:lnTo>
                      <a:pt x="129093" y="297270"/>
                    </a:lnTo>
                    <a:cubicBezTo>
                      <a:pt x="103067" y="305707"/>
                      <a:pt x="84195" y="330182"/>
                      <a:pt x="84195" y="359006"/>
                    </a:cubicBezTo>
                    <a:cubicBezTo>
                      <a:pt x="84195" y="394791"/>
                      <a:pt x="113270" y="423893"/>
                      <a:pt x="149021" y="423893"/>
                    </a:cubicBezTo>
                    <a:cubicBezTo>
                      <a:pt x="184772" y="423893"/>
                      <a:pt x="213846" y="394791"/>
                      <a:pt x="213846" y="359006"/>
                    </a:cubicBezTo>
                    <a:cubicBezTo>
                      <a:pt x="213846" y="330182"/>
                      <a:pt x="194975" y="305707"/>
                      <a:pt x="168949" y="297270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34" name="Freeform 19">
                <a:extLst>
                  <a:ext uri="{FF2B5EF4-FFF2-40B4-BE49-F238E27FC236}">
                    <a16:creationId xmlns:a16="http://schemas.microsoft.com/office/drawing/2014/main" id="{27EDF09C-53CD-24B9-CB89-A619BAA68ECF}"/>
                  </a:ext>
                </a:extLst>
              </p:cNvPr>
              <p:cNvSpPr/>
              <p:nvPr/>
            </p:nvSpPr>
            <p:spPr>
              <a:xfrm>
                <a:off x="3706816" y="3474991"/>
                <a:ext cx="378669" cy="270740"/>
              </a:xfrm>
              <a:custGeom>
                <a:avLst/>
                <a:gdLst>
                  <a:gd name="connsiteX0" fmla="*/ 118192 w 378669"/>
                  <a:gd name="connsiteY0" fmla="*/ 15738 h 270740"/>
                  <a:gd name="connsiteX1" fmla="*/ 0 w 378669"/>
                  <a:gd name="connsiteY1" fmla="*/ 147588 h 270740"/>
                  <a:gd name="connsiteX2" fmla="*/ 29653 w 378669"/>
                  <a:gd name="connsiteY2" fmla="*/ 174237 h 270740"/>
                  <a:gd name="connsiteX3" fmla="*/ 147845 w 378669"/>
                  <a:gd name="connsiteY3" fmla="*/ 42387 h 270740"/>
                  <a:gd name="connsiteX4" fmla="*/ 153445 w 378669"/>
                  <a:gd name="connsiteY4" fmla="*/ 39894 h 270740"/>
                  <a:gd name="connsiteX5" fmla="*/ 286404 w 378669"/>
                  <a:gd name="connsiteY5" fmla="*/ 39894 h 270740"/>
                  <a:gd name="connsiteX6" fmla="*/ 293917 w 378669"/>
                  <a:gd name="connsiteY6" fmla="*/ 47414 h 270740"/>
                  <a:gd name="connsiteX7" fmla="*/ 293917 w 378669"/>
                  <a:gd name="connsiteY7" fmla="*/ 144117 h 270740"/>
                  <a:gd name="connsiteX8" fmla="*/ 249019 w 378669"/>
                  <a:gd name="connsiteY8" fmla="*/ 205853 h 270740"/>
                  <a:gd name="connsiteX9" fmla="*/ 313844 w 378669"/>
                  <a:gd name="connsiteY9" fmla="*/ 270740 h 270740"/>
                  <a:gd name="connsiteX10" fmla="*/ 378670 w 378669"/>
                  <a:gd name="connsiteY10" fmla="*/ 205853 h 270740"/>
                  <a:gd name="connsiteX11" fmla="*/ 333772 w 378669"/>
                  <a:gd name="connsiteY11" fmla="*/ 144117 h 270740"/>
                  <a:gd name="connsiteX12" fmla="*/ 333772 w 378669"/>
                  <a:gd name="connsiteY12" fmla="*/ 47414 h 270740"/>
                  <a:gd name="connsiteX13" fmla="*/ 286404 w 378669"/>
                  <a:gd name="connsiteY13" fmla="*/ 0 h 270740"/>
                  <a:gd name="connsiteX14" fmla="*/ 153445 w 378669"/>
                  <a:gd name="connsiteY14" fmla="*/ 0 h 270740"/>
                  <a:gd name="connsiteX15" fmla="*/ 118192 w 378669"/>
                  <a:gd name="connsiteY15" fmla="*/ 15758 h 270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78669" h="270740">
                    <a:moveTo>
                      <a:pt x="118192" y="15738"/>
                    </a:moveTo>
                    <a:lnTo>
                      <a:pt x="0" y="147588"/>
                    </a:lnTo>
                    <a:lnTo>
                      <a:pt x="29653" y="174237"/>
                    </a:lnTo>
                    <a:lnTo>
                      <a:pt x="147845" y="42387"/>
                    </a:lnTo>
                    <a:cubicBezTo>
                      <a:pt x="149260" y="40792"/>
                      <a:pt x="151312" y="39894"/>
                      <a:pt x="153445" y="39894"/>
                    </a:cubicBezTo>
                    <a:lnTo>
                      <a:pt x="286404" y="39894"/>
                    </a:lnTo>
                    <a:cubicBezTo>
                      <a:pt x="290549" y="39894"/>
                      <a:pt x="293917" y="43265"/>
                      <a:pt x="293917" y="47414"/>
                    </a:cubicBezTo>
                    <a:lnTo>
                      <a:pt x="293917" y="144117"/>
                    </a:lnTo>
                    <a:cubicBezTo>
                      <a:pt x="267891" y="152554"/>
                      <a:pt x="249019" y="177029"/>
                      <a:pt x="249019" y="205853"/>
                    </a:cubicBezTo>
                    <a:cubicBezTo>
                      <a:pt x="249019" y="241638"/>
                      <a:pt x="278094" y="270740"/>
                      <a:pt x="313844" y="270740"/>
                    </a:cubicBezTo>
                    <a:cubicBezTo>
                      <a:pt x="349595" y="270740"/>
                      <a:pt x="378670" y="241638"/>
                      <a:pt x="378670" y="205853"/>
                    </a:cubicBezTo>
                    <a:cubicBezTo>
                      <a:pt x="378670" y="177029"/>
                      <a:pt x="359798" y="152554"/>
                      <a:pt x="333772" y="144117"/>
                    </a:cubicBezTo>
                    <a:lnTo>
                      <a:pt x="333772" y="47414"/>
                    </a:lnTo>
                    <a:cubicBezTo>
                      <a:pt x="333772" y="21263"/>
                      <a:pt x="312509" y="0"/>
                      <a:pt x="286404" y="0"/>
                    </a:cubicBezTo>
                    <a:lnTo>
                      <a:pt x="153445" y="0"/>
                    </a:lnTo>
                    <a:cubicBezTo>
                      <a:pt x="140013" y="0"/>
                      <a:pt x="127160" y="5745"/>
                      <a:pt x="118192" y="15758"/>
                    </a:cubicBez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  <p:sp>
            <p:nvSpPr>
              <p:cNvPr id="535" name="Freeform 20">
                <a:extLst>
                  <a:ext uri="{FF2B5EF4-FFF2-40B4-BE49-F238E27FC236}">
                    <a16:creationId xmlns:a16="http://schemas.microsoft.com/office/drawing/2014/main" id="{A94814CA-428A-1B48-6A66-739C0024E800}"/>
                  </a:ext>
                </a:extLst>
              </p:cNvPr>
              <p:cNvSpPr/>
              <p:nvPr/>
            </p:nvSpPr>
            <p:spPr>
              <a:xfrm>
                <a:off x="2570826" y="3781596"/>
                <a:ext cx="486121" cy="406579"/>
              </a:xfrm>
              <a:custGeom>
                <a:avLst/>
                <a:gdLst>
                  <a:gd name="connsiteX0" fmla="*/ 486121 w 486121"/>
                  <a:gd name="connsiteY0" fmla="*/ 280435 h 406579"/>
                  <a:gd name="connsiteX1" fmla="*/ 486121 w 486121"/>
                  <a:gd name="connsiteY1" fmla="*/ 240541 h 406579"/>
                  <a:gd name="connsiteX2" fmla="*/ 349037 w 486121"/>
                  <a:gd name="connsiteY2" fmla="*/ 240541 h 406579"/>
                  <a:gd name="connsiteX3" fmla="*/ 330086 w 486121"/>
                  <a:gd name="connsiteY3" fmla="*/ 221571 h 406579"/>
                  <a:gd name="connsiteX4" fmla="*/ 330086 w 486121"/>
                  <a:gd name="connsiteY4" fmla="*/ 0 h 406579"/>
                  <a:gd name="connsiteX5" fmla="*/ 290230 w 486121"/>
                  <a:gd name="connsiteY5" fmla="*/ 0 h 406579"/>
                  <a:gd name="connsiteX6" fmla="*/ 290230 w 486121"/>
                  <a:gd name="connsiteY6" fmla="*/ 124709 h 406579"/>
                  <a:gd name="connsiteX7" fmla="*/ 162532 w 486121"/>
                  <a:gd name="connsiteY7" fmla="*/ 124709 h 406579"/>
                  <a:gd name="connsiteX8" fmla="*/ 117056 w 486121"/>
                  <a:gd name="connsiteY8" fmla="*/ 144336 h 406579"/>
                  <a:gd name="connsiteX9" fmla="*/ 65802 w 486121"/>
                  <a:gd name="connsiteY9" fmla="*/ 198692 h 406579"/>
                  <a:gd name="connsiteX10" fmla="*/ 44898 w 486121"/>
                  <a:gd name="connsiteY10" fmla="*/ 251352 h 406579"/>
                  <a:gd name="connsiteX11" fmla="*/ 44898 w 486121"/>
                  <a:gd name="connsiteY11" fmla="*/ 279956 h 406579"/>
                  <a:gd name="connsiteX12" fmla="*/ 0 w 486121"/>
                  <a:gd name="connsiteY12" fmla="*/ 341692 h 406579"/>
                  <a:gd name="connsiteX13" fmla="*/ 64825 w 486121"/>
                  <a:gd name="connsiteY13" fmla="*/ 406579 h 406579"/>
                  <a:gd name="connsiteX14" fmla="*/ 129651 w 486121"/>
                  <a:gd name="connsiteY14" fmla="*/ 341692 h 406579"/>
                  <a:gd name="connsiteX15" fmla="*/ 84753 w 486121"/>
                  <a:gd name="connsiteY15" fmla="*/ 279956 h 406579"/>
                  <a:gd name="connsiteX16" fmla="*/ 84753 w 486121"/>
                  <a:gd name="connsiteY16" fmla="*/ 251352 h 406579"/>
                  <a:gd name="connsiteX17" fmla="*/ 94797 w 486121"/>
                  <a:gd name="connsiteY17" fmla="*/ 226079 h 406579"/>
                  <a:gd name="connsiteX18" fmla="*/ 146052 w 486121"/>
                  <a:gd name="connsiteY18" fmla="*/ 171723 h 406579"/>
                  <a:gd name="connsiteX19" fmla="*/ 162532 w 486121"/>
                  <a:gd name="connsiteY19" fmla="*/ 164603 h 406579"/>
                  <a:gd name="connsiteX20" fmla="*/ 290230 w 486121"/>
                  <a:gd name="connsiteY20" fmla="*/ 164603 h 406579"/>
                  <a:gd name="connsiteX21" fmla="*/ 290230 w 486121"/>
                  <a:gd name="connsiteY21" fmla="*/ 221571 h 406579"/>
                  <a:gd name="connsiteX22" fmla="*/ 349037 w 486121"/>
                  <a:gd name="connsiteY22" fmla="*/ 280435 h 406579"/>
                  <a:gd name="connsiteX23" fmla="*/ 486121 w 486121"/>
                  <a:gd name="connsiteY23" fmla="*/ 280435 h 406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486121" h="406579">
                    <a:moveTo>
                      <a:pt x="486121" y="280435"/>
                    </a:moveTo>
                    <a:lnTo>
                      <a:pt x="486121" y="240541"/>
                    </a:lnTo>
                    <a:lnTo>
                      <a:pt x="349037" y="240541"/>
                    </a:lnTo>
                    <a:cubicBezTo>
                      <a:pt x="338575" y="240541"/>
                      <a:pt x="330086" y="232023"/>
                      <a:pt x="330086" y="221571"/>
                    </a:cubicBezTo>
                    <a:lnTo>
                      <a:pt x="330086" y="0"/>
                    </a:lnTo>
                    <a:lnTo>
                      <a:pt x="290230" y="0"/>
                    </a:lnTo>
                    <a:lnTo>
                      <a:pt x="290230" y="124709"/>
                    </a:lnTo>
                    <a:lnTo>
                      <a:pt x="162532" y="124709"/>
                    </a:lnTo>
                    <a:cubicBezTo>
                      <a:pt x="145394" y="124709"/>
                      <a:pt x="128814" y="131869"/>
                      <a:pt x="117056" y="144336"/>
                    </a:cubicBezTo>
                    <a:lnTo>
                      <a:pt x="65802" y="198692"/>
                    </a:lnTo>
                    <a:cubicBezTo>
                      <a:pt x="52311" y="212994"/>
                      <a:pt x="44898" y="231684"/>
                      <a:pt x="44898" y="251352"/>
                    </a:cubicBezTo>
                    <a:lnTo>
                      <a:pt x="44898" y="279956"/>
                    </a:lnTo>
                    <a:cubicBezTo>
                      <a:pt x="18872" y="288393"/>
                      <a:pt x="0" y="312868"/>
                      <a:pt x="0" y="341692"/>
                    </a:cubicBezTo>
                    <a:cubicBezTo>
                      <a:pt x="0" y="377477"/>
                      <a:pt x="29075" y="406579"/>
                      <a:pt x="64825" y="406579"/>
                    </a:cubicBezTo>
                    <a:cubicBezTo>
                      <a:pt x="100576" y="406579"/>
                      <a:pt x="129651" y="377477"/>
                      <a:pt x="129651" y="341692"/>
                    </a:cubicBezTo>
                    <a:cubicBezTo>
                      <a:pt x="129651" y="312868"/>
                      <a:pt x="110779" y="288393"/>
                      <a:pt x="84753" y="279956"/>
                    </a:cubicBezTo>
                    <a:lnTo>
                      <a:pt x="84753" y="251352"/>
                    </a:lnTo>
                    <a:cubicBezTo>
                      <a:pt x="84753" y="241917"/>
                      <a:pt x="88320" y="232941"/>
                      <a:pt x="94797" y="226079"/>
                    </a:cubicBezTo>
                    <a:lnTo>
                      <a:pt x="146052" y="171723"/>
                    </a:lnTo>
                    <a:cubicBezTo>
                      <a:pt x="150316" y="167196"/>
                      <a:pt x="156334" y="164603"/>
                      <a:pt x="162532" y="164603"/>
                    </a:cubicBezTo>
                    <a:lnTo>
                      <a:pt x="290230" y="164603"/>
                    </a:lnTo>
                    <a:lnTo>
                      <a:pt x="290230" y="221571"/>
                    </a:lnTo>
                    <a:cubicBezTo>
                      <a:pt x="290230" y="254025"/>
                      <a:pt x="316614" y="280435"/>
                      <a:pt x="349037" y="280435"/>
                    </a:cubicBezTo>
                    <a:lnTo>
                      <a:pt x="486121" y="280435"/>
                    </a:lnTo>
                    <a:close/>
                  </a:path>
                </a:pathLst>
              </a:custGeom>
              <a:grpFill/>
              <a:ln w="19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>
                  <a:solidFill>
                    <a:srgbClr val="13161E"/>
                  </a:solidFill>
                  <a:latin typeface="Calibri"/>
                </a:endParaRPr>
              </a:p>
            </p:txBody>
          </p:sp>
        </p:grpSp>
      </p:grpSp>
      <p:grpSp>
        <p:nvGrpSpPr>
          <p:cNvPr id="657" name="Group 656">
            <a:extLst>
              <a:ext uri="{FF2B5EF4-FFF2-40B4-BE49-F238E27FC236}">
                <a16:creationId xmlns:a16="http://schemas.microsoft.com/office/drawing/2014/main" id="{2E53F960-0A1D-93AE-8169-DD0087F12A9E}"/>
              </a:ext>
            </a:extLst>
          </p:cNvPr>
          <p:cNvGrpSpPr/>
          <p:nvPr/>
        </p:nvGrpSpPr>
        <p:grpSpPr>
          <a:xfrm>
            <a:off x="845703" y="2378131"/>
            <a:ext cx="1698331" cy="1698280"/>
            <a:chOff x="5219260" y="2552283"/>
            <a:chExt cx="1753492" cy="1753438"/>
          </a:xfrm>
          <a:effectLst>
            <a:outerShdw blurRad="101600" dist="508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58" name="Oval 657">
              <a:extLst>
                <a:ext uri="{FF2B5EF4-FFF2-40B4-BE49-F238E27FC236}">
                  <a16:creationId xmlns:a16="http://schemas.microsoft.com/office/drawing/2014/main" id="{607E23FB-E6C3-AF55-8A87-7917A04FC999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5311044" y="2641617"/>
              <a:ext cx="1569916" cy="1574766"/>
            </a:xfrm>
            <a:prstGeom prst="ellipse">
              <a:avLst/>
            </a:prstGeom>
            <a:gradFill flip="none" rotWithShape="1">
              <a:gsLst>
                <a:gs pos="4000">
                  <a:srgbClr val="2853DC"/>
                </a:gs>
                <a:gs pos="100000">
                  <a:srgbClr val="2853DC">
                    <a:lumMod val="75000"/>
                  </a:srgbClr>
                </a:gs>
              </a:gsLst>
              <a:lin ang="2700000" scaled="1"/>
              <a:tileRect/>
            </a:gradFill>
            <a:ln w="10795" cap="flat" cmpd="sng" algn="ctr">
              <a:noFill/>
              <a:prstDash val="solid"/>
            </a:ln>
            <a:effectLst>
              <a:innerShdw blurRad="38100" dist="25400" dir="13500000">
                <a:srgbClr val="2853DC">
                  <a:lumMod val="50000"/>
                  <a:alpha val="85000"/>
                </a:srgbClr>
              </a:innerShdw>
              <a:softEdge rad="0"/>
            </a:effectLst>
          </p:spPr>
          <p:txBody>
            <a:bodyPr rot="0" spcFirstLastPara="0" vertOverflow="overflow" horzOverflow="overflow" vert="horz" wrap="none" lIns="63193" tIns="31596" rIns="63193" bIns="315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3407">
                <a:defRPr/>
              </a:pPr>
              <a:endParaRPr lang="en-US" sz="4878" b="1" kern="0">
                <a:solidFill>
                  <a:srgbClr val="4A5A74"/>
                </a:solidFill>
                <a:effectLst>
                  <a:innerShdw blurRad="63500" dist="50800" dir="13500000">
                    <a:srgbClr val="314FD5">
                      <a:lumMod val="50000"/>
                      <a:alpha val="15000"/>
                    </a:srgbClr>
                  </a:innerShdw>
                </a:effectLst>
                <a:latin typeface="Microsoft Sans Serif" panose="020B0604020202020204" pitchFamily="34" charset="0"/>
              </a:endParaRPr>
            </a:p>
          </p:txBody>
        </p:sp>
        <p:grpSp>
          <p:nvGrpSpPr>
            <p:cNvPr id="659" name="Group 658">
              <a:extLst>
                <a:ext uri="{FF2B5EF4-FFF2-40B4-BE49-F238E27FC236}">
                  <a16:creationId xmlns:a16="http://schemas.microsoft.com/office/drawing/2014/main" id="{099677C0-F99A-1529-515D-E414F91514AB}"/>
                </a:ext>
              </a:extLst>
            </p:cNvPr>
            <p:cNvGrpSpPr/>
            <p:nvPr/>
          </p:nvGrpSpPr>
          <p:grpSpPr>
            <a:xfrm>
              <a:off x="5219260" y="2552283"/>
              <a:ext cx="1753492" cy="1753438"/>
              <a:chOff x="5219260" y="2552283"/>
              <a:chExt cx="1753492" cy="1753438"/>
            </a:xfrm>
          </p:grpSpPr>
          <p:grpSp>
            <p:nvGrpSpPr>
              <p:cNvPr id="660" name="Group 659">
                <a:extLst>
                  <a:ext uri="{FF2B5EF4-FFF2-40B4-BE49-F238E27FC236}">
                    <a16:creationId xmlns:a16="http://schemas.microsoft.com/office/drawing/2014/main" id="{ADE4C985-0852-295E-3589-18EBBC76AAE5}"/>
                  </a:ext>
                </a:extLst>
              </p:cNvPr>
              <p:cNvGrpSpPr/>
              <p:nvPr/>
            </p:nvGrpSpPr>
            <p:grpSpPr>
              <a:xfrm>
                <a:off x="5219260" y="2552283"/>
                <a:ext cx="1753492" cy="1753438"/>
                <a:chOff x="12934438" y="4169991"/>
                <a:chExt cx="858308" cy="858284"/>
              </a:xfrm>
              <a:solidFill>
                <a:srgbClr val="F7F8FA"/>
              </a:solidFill>
            </p:grpSpPr>
            <p:sp>
              <p:nvSpPr>
                <p:cNvPr id="672" name="Freeform 14">
                  <a:extLst>
                    <a:ext uri="{FF2B5EF4-FFF2-40B4-BE49-F238E27FC236}">
                      <a16:creationId xmlns:a16="http://schemas.microsoft.com/office/drawing/2014/main" id="{423F1800-CBA0-2A3E-65F5-CD14E9D2EC31}"/>
                    </a:ext>
                  </a:extLst>
                </p:cNvPr>
                <p:cNvSpPr/>
                <p:nvPr/>
              </p:nvSpPr>
              <p:spPr>
                <a:xfrm>
                  <a:off x="12967435" y="4202967"/>
                  <a:ext cx="792315" cy="792332"/>
                </a:xfrm>
                <a:custGeom>
                  <a:avLst/>
                  <a:gdLst>
                    <a:gd name="connsiteX0" fmla="*/ 1865137 w 1908094"/>
                    <a:gd name="connsiteY0" fmla="*/ 670136 h 1908134"/>
                    <a:gd name="connsiteX1" fmla="*/ 1846278 w 1908094"/>
                    <a:gd name="connsiteY1" fmla="*/ 615684 h 1908134"/>
                    <a:gd name="connsiteX2" fmla="*/ 1824263 w 1908094"/>
                    <a:gd name="connsiteY2" fmla="*/ 562423 h 1908134"/>
                    <a:gd name="connsiteX3" fmla="*/ 1798953 w 1908094"/>
                    <a:gd name="connsiteY3" fmla="*/ 510652 h 1908134"/>
                    <a:gd name="connsiteX4" fmla="*/ 1792204 w 1908094"/>
                    <a:gd name="connsiteY4" fmla="*/ 497927 h 1908134"/>
                    <a:gd name="connsiteX5" fmla="*/ 1785176 w 1908094"/>
                    <a:gd name="connsiteY5" fmla="*/ 485341 h 1908134"/>
                    <a:gd name="connsiteX6" fmla="*/ 1781663 w 1908094"/>
                    <a:gd name="connsiteY6" fmla="*/ 479048 h 1908134"/>
                    <a:gd name="connsiteX7" fmla="*/ 1777990 w 1908094"/>
                    <a:gd name="connsiteY7" fmla="*/ 472855 h 1908134"/>
                    <a:gd name="connsiteX8" fmla="*/ 1770665 w 1908094"/>
                    <a:gd name="connsiteY8" fmla="*/ 460448 h 1908134"/>
                    <a:gd name="connsiteX9" fmla="*/ 1739280 w 1908094"/>
                    <a:gd name="connsiteY9" fmla="*/ 412110 h 1908134"/>
                    <a:gd name="connsiteX10" fmla="*/ 1705136 w 1908094"/>
                    <a:gd name="connsiteY10" fmla="*/ 365678 h 1908134"/>
                    <a:gd name="connsiteX11" fmla="*/ 1668154 w 1908094"/>
                    <a:gd name="connsiteY11" fmla="*/ 321450 h 1908134"/>
                    <a:gd name="connsiteX12" fmla="*/ 1628689 w 1908094"/>
                    <a:gd name="connsiteY12" fmla="*/ 279425 h 1908134"/>
                    <a:gd name="connsiteX13" fmla="*/ 1586665 w 1908094"/>
                    <a:gd name="connsiteY13" fmla="*/ 239961 h 1908134"/>
                    <a:gd name="connsiteX14" fmla="*/ 1542436 w 1908094"/>
                    <a:gd name="connsiteY14" fmla="*/ 202978 h 1908134"/>
                    <a:gd name="connsiteX15" fmla="*/ 1496004 w 1908094"/>
                    <a:gd name="connsiteY15" fmla="*/ 168834 h 1908134"/>
                    <a:gd name="connsiteX16" fmla="*/ 1447667 w 1908094"/>
                    <a:gd name="connsiteY16" fmla="*/ 137450 h 1908134"/>
                    <a:gd name="connsiteX17" fmla="*/ 1435260 w 1908094"/>
                    <a:gd name="connsiteY17" fmla="*/ 130124 h 1908134"/>
                    <a:gd name="connsiteX18" fmla="*/ 1429066 w 1908094"/>
                    <a:gd name="connsiteY18" fmla="*/ 126452 h 1908134"/>
                    <a:gd name="connsiteX19" fmla="*/ 1422773 w 1908094"/>
                    <a:gd name="connsiteY19" fmla="*/ 122938 h 1908134"/>
                    <a:gd name="connsiteX20" fmla="*/ 1410188 w 1908094"/>
                    <a:gd name="connsiteY20" fmla="*/ 115911 h 1908134"/>
                    <a:gd name="connsiteX21" fmla="*/ 1397463 w 1908094"/>
                    <a:gd name="connsiteY21" fmla="*/ 109162 h 1908134"/>
                    <a:gd name="connsiteX22" fmla="*/ 1345691 w 1908094"/>
                    <a:gd name="connsiteY22" fmla="*/ 83851 h 1908134"/>
                    <a:gd name="connsiteX23" fmla="*/ 1292430 w 1908094"/>
                    <a:gd name="connsiteY23" fmla="*/ 61836 h 1908134"/>
                    <a:gd name="connsiteX24" fmla="*/ 1237979 w 1908094"/>
                    <a:gd name="connsiteY24" fmla="*/ 42978 h 1908134"/>
                    <a:gd name="connsiteX25" fmla="*/ 1182435 w 1908094"/>
                    <a:gd name="connsiteY25" fmla="*/ 27593 h 1908134"/>
                    <a:gd name="connsiteX26" fmla="*/ 1069085 w 1908094"/>
                    <a:gd name="connsiteY26" fmla="*/ 6928 h 1908134"/>
                    <a:gd name="connsiteX27" fmla="*/ 954047 w 1908094"/>
                    <a:gd name="connsiteY27" fmla="*/ 0 h 1908134"/>
                    <a:gd name="connsiteX28" fmla="*/ 839010 w 1908094"/>
                    <a:gd name="connsiteY28" fmla="*/ 6928 h 1908134"/>
                    <a:gd name="connsiteX29" fmla="*/ 725660 w 1908094"/>
                    <a:gd name="connsiteY29" fmla="*/ 27593 h 1908134"/>
                    <a:gd name="connsiteX30" fmla="*/ 670116 w 1908094"/>
                    <a:gd name="connsiteY30" fmla="*/ 42978 h 1908134"/>
                    <a:gd name="connsiteX31" fmla="*/ 615664 w 1908094"/>
                    <a:gd name="connsiteY31" fmla="*/ 61836 h 1908134"/>
                    <a:gd name="connsiteX32" fmla="*/ 562404 w 1908094"/>
                    <a:gd name="connsiteY32" fmla="*/ 83851 h 1908134"/>
                    <a:gd name="connsiteX33" fmla="*/ 510632 w 1908094"/>
                    <a:gd name="connsiteY33" fmla="*/ 109162 h 1908134"/>
                    <a:gd name="connsiteX34" fmla="*/ 497907 w 1908094"/>
                    <a:gd name="connsiteY34" fmla="*/ 115911 h 1908134"/>
                    <a:gd name="connsiteX35" fmla="*/ 485321 w 1908094"/>
                    <a:gd name="connsiteY35" fmla="*/ 122938 h 1908134"/>
                    <a:gd name="connsiteX36" fmla="*/ 479029 w 1908094"/>
                    <a:gd name="connsiteY36" fmla="*/ 126452 h 1908134"/>
                    <a:gd name="connsiteX37" fmla="*/ 472835 w 1908094"/>
                    <a:gd name="connsiteY37" fmla="*/ 130124 h 1908134"/>
                    <a:gd name="connsiteX38" fmla="*/ 460428 w 1908094"/>
                    <a:gd name="connsiteY38" fmla="*/ 137450 h 1908134"/>
                    <a:gd name="connsiteX39" fmla="*/ 412090 w 1908094"/>
                    <a:gd name="connsiteY39" fmla="*/ 168834 h 1908134"/>
                    <a:gd name="connsiteX40" fmla="*/ 365659 w 1908094"/>
                    <a:gd name="connsiteY40" fmla="*/ 202978 h 1908134"/>
                    <a:gd name="connsiteX41" fmla="*/ 321430 w 1908094"/>
                    <a:gd name="connsiteY41" fmla="*/ 239961 h 1908134"/>
                    <a:gd name="connsiteX42" fmla="*/ 279405 w 1908094"/>
                    <a:gd name="connsiteY42" fmla="*/ 279425 h 1908134"/>
                    <a:gd name="connsiteX43" fmla="*/ 239941 w 1908094"/>
                    <a:gd name="connsiteY43" fmla="*/ 321450 h 1908134"/>
                    <a:gd name="connsiteX44" fmla="*/ 202958 w 1908094"/>
                    <a:gd name="connsiteY44" fmla="*/ 365678 h 1908134"/>
                    <a:gd name="connsiteX45" fmla="*/ 168814 w 1908094"/>
                    <a:gd name="connsiteY45" fmla="*/ 412110 h 1908134"/>
                    <a:gd name="connsiteX46" fmla="*/ 137430 w 1908094"/>
                    <a:gd name="connsiteY46" fmla="*/ 460448 h 1908134"/>
                    <a:gd name="connsiteX47" fmla="*/ 130105 w 1908094"/>
                    <a:gd name="connsiteY47" fmla="*/ 472855 h 1908134"/>
                    <a:gd name="connsiteX48" fmla="*/ 126432 w 1908094"/>
                    <a:gd name="connsiteY48" fmla="*/ 479048 h 1908134"/>
                    <a:gd name="connsiteX49" fmla="*/ 122918 w 1908094"/>
                    <a:gd name="connsiteY49" fmla="*/ 485341 h 1908134"/>
                    <a:gd name="connsiteX50" fmla="*/ 115891 w 1908094"/>
                    <a:gd name="connsiteY50" fmla="*/ 497927 h 1908134"/>
                    <a:gd name="connsiteX51" fmla="*/ 109142 w 1908094"/>
                    <a:gd name="connsiteY51" fmla="*/ 510652 h 1908134"/>
                    <a:gd name="connsiteX52" fmla="*/ 83832 w 1908094"/>
                    <a:gd name="connsiteY52" fmla="*/ 562423 h 1908134"/>
                    <a:gd name="connsiteX53" fmla="*/ 61817 w 1908094"/>
                    <a:gd name="connsiteY53" fmla="*/ 615684 h 1908134"/>
                    <a:gd name="connsiteX54" fmla="*/ 42958 w 1908094"/>
                    <a:gd name="connsiteY54" fmla="*/ 670136 h 1908134"/>
                    <a:gd name="connsiteX55" fmla="*/ 27573 w 1908094"/>
                    <a:gd name="connsiteY55" fmla="*/ 725679 h 1908134"/>
                    <a:gd name="connsiteX56" fmla="*/ 0 w 1908094"/>
                    <a:gd name="connsiteY56" fmla="*/ 954067 h 1908134"/>
                    <a:gd name="connsiteX57" fmla="*/ 27573 w 1908094"/>
                    <a:gd name="connsiteY57" fmla="*/ 1182455 h 1908134"/>
                    <a:gd name="connsiteX58" fmla="*/ 42958 w 1908094"/>
                    <a:gd name="connsiteY58" fmla="*/ 1237998 h 1908134"/>
                    <a:gd name="connsiteX59" fmla="*/ 61817 w 1908094"/>
                    <a:gd name="connsiteY59" fmla="*/ 1292450 h 1908134"/>
                    <a:gd name="connsiteX60" fmla="*/ 83832 w 1908094"/>
                    <a:gd name="connsiteY60" fmla="*/ 1345711 h 1908134"/>
                    <a:gd name="connsiteX61" fmla="*/ 109142 w 1908094"/>
                    <a:gd name="connsiteY61" fmla="*/ 1397483 h 1908134"/>
                    <a:gd name="connsiteX62" fmla="*/ 115891 w 1908094"/>
                    <a:gd name="connsiteY62" fmla="*/ 1410207 h 1908134"/>
                    <a:gd name="connsiteX63" fmla="*/ 122918 w 1908094"/>
                    <a:gd name="connsiteY63" fmla="*/ 1422793 h 1908134"/>
                    <a:gd name="connsiteX64" fmla="*/ 126432 w 1908094"/>
                    <a:gd name="connsiteY64" fmla="*/ 1429086 h 1908134"/>
                    <a:gd name="connsiteX65" fmla="*/ 130105 w 1908094"/>
                    <a:gd name="connsiteY65" fmla="*/ 1435279 h 1908134"/>
                    <a:gd name="connsiteX66" fmla="*/ 137430 w 1908094"/>
                    <a:gd name="connsiteY66" fmla="*/ 1447686 h 1908134"/>
                    <a:gd name="connsiteX67" fmla="*/ 168814 w 1908094"/>
                    <a:gd name="connsiteY67" fmla="*/ 1496024 h 1908134"/>
                    <a:gd name="connsiteX68" fmla="*/ 202958 w 1908094"/>
                    <a:gd name="connsiteY68" fmla="*/ 1542456 h 1908134"/>
                    <a:gd name="connsiteX69" fmla="*/ 239941 w 1908094"/>
                    <a:gd name="connsiteY69" fmla="*/ 1586684 h 1908134"/>
                    <a:gd name="connsiteX70" fmla="*/ 279405 w 1908094"/>
                    <a:gd name="connsiteY70" fmla="*/ 1628709 h 1908134"/>
                    <a:gd name="connsiteX71" fmla="*/ 321430 w 1908094"/>
                    <a:gd name="connsiteY71" fmla="*/ 1668173 h 1908134"/>
                    <a:gd name="connsiteX72" fmla="*/ 365659 w 1908094"/>
                    <a:gd name="connsiteY72" fmla="*/ 1705156 h 1908134"/>
                    <a:gd name="connsiteX73" fmla="*/ 412090 w 1908094"/>
                    <a:gd name="connsiteY73" fmla="*/ 1739300 h 1908134"/>
                    <a:gd name="connsiteX74" fmla="*/ 460428 w 1908094"/>
                    <a:gd name="connsiteY74" fmla="*/ 1770685 h 1908134"/>
                    <a:gd name="connsiteX75" fmla="*/ 472835 w 1908094"/>
                    <a:gd name="connsiteY75" fmla="*/ 1778010 h 1908134"/>
                    <a:gd name="connsiteX76" fmla="*/ 479029 w 1908094"/>
                    <a:gd name="connsiteY76" fmla="*/ 1781682 h 1908134"/>
                    <a:gd name="connsiteX77" fmla="*/ 485321 w 1908094"/>
                    <a:gd name="connsiteY77" fmla="*/ 1785196 h 1908134"/>
                    <a:gd name="connsiteX78" fmla="*/ 497907 w 1908094"/>
                    <a:gd name="connsiteY78" fmla="*/ 1792223 h 1908134"/>
                    <a:gd name="connsiteX79" fmla="*/ 510632 w 1908094"/>
                    <a:gd name="connsiteY79" fmla="*/ 1798973 h 1908134"/>
                    <a:gd name="connsiteX80" fmla="*/ 562404 w 1908094"/>
                    <a:gd name="connsiteY80" fmla="*/ 1824283 h 1908134"/>
                    <a:gd name="connsiteX81" fmla="*/ 615664 w 1908094"/>
                    <a:gd name="connsiteY81" fmla="*/ 1846298 h 1908134"/>
                    <a:gd name="connsiteX82" fmla="*/ 670116 w 1908094"/>
                    <a:gd name="connsiteY82" fmla="*/ 1865157 h 1908134"/>
                    <a:gd name="connsiteX83" fmla="*/ 725660 w 1908094"/>
                    <a:gd name="connsiteY83" fmla="*/ 1880541 h 1908134"/>
                    <a:gd name="connsiteX84" fmla="*/ 839010 w 1908094"/>
                    <a:gd name="connsiteY84" fmla="*/ 1901206 h 1908134"/>
                    <a:gd name="connsiteX85" fmla="*/ 954047 w 1908094"/>
                    <a:gd name="connsiteY85" fmla="*/ 1908134 h 1908134"/>
                    <a:gd name="connsiteX86" fmla="*/ 1069085 w 1908094"/>
                    <a:gd name="connsiteY86" fmla="*/ 1901206 h 1908134"/>
                    <a:gd name="connsiteX87" fmla="*/ 1182435 w 1908094"/>
                    <a:gd name="connsiteY87" fmla="*/ 1880541 h 1908134"/>
                    <a:gd name="connsiteX88" fmla="*/ 1237979 w 1908094"/>
                    <a:gd name="connsiteY88" fmla="*/ 1865157 h 1908134"/>
                    <a:gd name="connsiteX89" fmla="*/ 1292430 w 1908094"/>
                    <a:gd name="connsiteY89" fmla="*/ 1846298 h 1908134"/>
                    <a:gd name="connsiteX90" fmla="*/ 1345691 w 1908094"/>
                    <a:gd name="connsiteY90" fmla="*/ 1824283 h 1908134"/>
                    <a:gd name="connsiteX91" fmla="*/ 1397463 w 1908094"/>
                    <a:gd name="connsiteY91" fmla="*/ 1798973 h 1908134"/>
                    <a:gd name="connsiteX92" fmla="*/ 1410188 w 1908094"/>
                    <a:gd name="connsiteY92" fmla="*/ 1792223 h 1908134"/>
                    <a:gd name="connsiteX93" fmla="*/ 1422773 w 1908094"/>
                    <a:gd name="connsiteY93" fmla="*/ 1785196 h 1908134"/>
                    <a:gd name="connsiteX94" fmla="*/ 1429066 w 1908094"/>
                    <a:gd name="connsiteY94" fmla="*/ 1781682 h 1908134"/>
                    <a:gd name="connsiteX95" fmla="*/ 1435260 w 1908094"/>
                    <a:gd name="connsiteY95" fmla="*/ 1778010 h 1908134"/>
                    <a:gd name="connsiteX96" fmla="*/ 1447667 w 1908094"/>
                    <a:gd name="connsiteY96" fmla="*/ 1770685 h 1908134"/>
                    <a:gd name="connsiteX97" fmla="*/ 1496004 w 1908094"/>
                    <a:gd name="connsiteY97" fmla="*/ 1739300 h 1908134"/>
                    <a:gd name="connsiteX98" fmla="*/ 1542436 w 1908094"/>
                    <a:gd name="connsiteY98" fmla="*/ 1705156 h 1908134"/>
                    <a:gd name="connsiteX99" fmla="*/ 1586665 w 1908094"/>
                    <a:gd name="connsiteY99" fmla="*/ 1668173 h 1908134"/>
                    <a:gd name="connsiteX100" fmla="*/ 1628689 w 1908094"/>
                    <a:gd name="connsiteY100" fmla="*/ 1628709 h 1908134"/>
                    <a:gd name="connsiteX101" fmla="*/ 1668154 w 1908094"/>
                    <a:gd name="connsiteY101" fmla="*/ 1586684 h 1908134"/>
                    <a:gd name="connsiteX102" fmla="*/ 1705136 w 1908094"/>
                    <a:gd name="connsiteY102" fmla="*/ 1542456 h 1908134"/>
                    <a:gd name="connsiteX103" fmla="*/ 1739280 w 1908094"/>
                    <a:gd name="connsiteY103" fmla="*/ 1496024 h 1908134"/>
                    <a:gd name="connsiteX104" fmla="*/ 1770665 w 1908094"/>
                    <a:gd name="connsiteY104" fmla="*/ 1447686 h 1908134"/>
                    <a:gd name="connsiteX105" fmla="*/ 1777990 w 1908094"/>
                    <a:gd name="connsiteY105" fmla="*/ 1435279 h 1908134"/>
                    <a:gd name="connsiteX106" fmla="*/ 1781663 w 1908094"/>
                    <a:gd name="connsiteY106" fmla="*/ 1429086 h 1908134"/>
                    <a:gd name="connsiteX107" fmla="*/ 1785176 w 1908094"/>
                    <a:gd name="connsiteY107" fmla="*/ 1422793 h 1908134"/>
                    <a:gd name="connsiteX108" fmla="*/ 1792204 w 1908094"/>
                    <a:gd name="connsiteY108" fmla="*/ 1410207 h 1908134"/>
                    <a:gd name="connsiteX109" fmla="*/ 1798953 w 1908094"/>
                    <a:gd name="connsiteY109" fmla="*/ 1397483 h 1908134"/>
                    <a:gd name="connsiteX110" fmla="*/ 1824263 w 1908094"/>
                    <a:gd name="connsiteY110" fmla="*/ 1345711 h 1908134"/>
                    <a:gd name="connsiteX111" fmla="*/ 1846278 w 1908094"/>
                    <a:gd name="connsiteY111" fmla="*/ 1292450 h 1908134"/>
                    <a:gd name="connsiteX112" fmla="*/ 1865137 w 1908094"/>
                    <a:gd name="connsiteY112" fmla="*/ 1237998 h 1908134"/>
                    <a:gd name="connsiteX113" fmla="*/ 1880521 w 1908094"/>
                    <a:gd name="connsiteY113" fmla="*/ 1182455 h 1908134"/>
                    <a:gd name="connsiteX114" fmla="*/ 1908095 w 1908094"/>
                    <a:gd name="connsiteY114" fmla="*/ 954067 h 1908134"/>
                    <a:gd name="connsiteX115" fmla="*/ 1880521 w 1908094"/>
                    <a:gd name="connsiteY115" fmla="*/ 725679 h 1908134"/>
                    <a:gd name="connsiteX116" fmla="*/ 1865137 w 1908094"/>
                    <a:gd name="connsiteY116" fmla="*/ 670136 h 1908134"/>
                    <a:gd name="connsiteX117" fmla="*/ 1841295 w 1908094"/>
                    <a:gd name="connsiteY117" fmla="*/ 1172827 h 1908134"/>
                    <a:gd name="connsiteX118" fmla="*/ 1826586 w 1908094"/>
                    <a:gd name="connsiteY118" fmla="*/ 1226008 h 1908134"/>
                    <a:gd name="connsiteX119" fmla="*/ 1808521 w 1908094"/>
                    <a:gd name="connsiteY119" fmla="*/ 1278138 h 1908134"/>
                    <a:gd name="connsiteX120" fmla="*/ 1787439 w 1908094"/>
                    <a:gd name="connsiteY120" fmla="*/ 1329135 h 1908134"/>
                    <a:gd name="connsiteX121" fmla="*/ 1763201 w 1908094"/>
                    <a:gd name="connsiteY121" fmla="*/ 1378704 h 1908134"/>
                    <a:gd name="connsiteX122" fmla="*/ 1756730 w 1908094"/>
                    <a:gd name="connsiteY122" fmla="*/ 1390892 h 1908134"/>
                    <a:gd name="connsiteX123" fmla="*/ 1750000 w 1908094"/>
                    <a:gd name="connsiteY123" fmla="*/ 1402942 h 1908134"/>
                    <a:gd name="connsiteX124" fmla="*/ 1746625 w 1908094"/>
                    <a:gd name="connsiteY124" fmla="*/ 1408957 h 1908134"/>
                    <a:gd name="connsiteX125" fmla="*/ 1743112 w 1908094"/>
                    <a:gd name="connsiteY125" fmla="*/ 1414892 h 1908134"/>
                    <a:gd name="connsiteX126" fmla="*/ 1736084 w 1908094"/>
                    <a:gd name="connsiteY126" fmla="*/ 1426783 h 1908134"/>
                    <a:gd name="connsiteX127" fmla="*/ 1706030 w 1908094"/>
                    <a:gd name="connsiteY127" fmla="*/ 1473076 h 1908134"/>
                    <a:gd name="connsiteX128" fmla="*/ 1673315 w 1908094"/>
                    <a:gd name="connsiteY128" fmla="*/ 1517563 h 1908134"/>
                    <a:gd name="connsiteX129" fmla="*/ 1637900 w 1908094"/>
                    <a:gd name="connsiteY129" fmla="*/ 1559925 h 1908134"/>
                    <a:gd name="connsiteX130" fmla="*/ 1600084 w 1908094"/>
                    <a:gd name="connsiteY130" fmla="*/ 1600183 h 1908134"/>
                    <a:gd name="connsiteX131" fmla="*/ 1559826 w 1908094"/>
                    <a:gd name="connsiteY131" fmla="*/ 1638000 h 1908134"/>
                    <a:gd name="connsiteX132" fmla="*/ 1517463 w 1908094"/>
                    <a:gd name="connsiteY132" fmla="*/ 1673414 h 1908134"/>
                    <a:gd name="connsiteX133" fmla="*/ 1472977 w 1908094"/>
                    <a:gd name="connsiteY133" fmla="*/ 1706129 h 1908134"/>
                    <a:gd name="connsiteX134" fmla="*/ 1426684 w 1908094"/>
                    <a:gd name="connsiteY134" fmla="*/ 1736184 h 1908134"/>
                    <a:gd name="connsiteX135" fmla="*/ 1414793 w 1908094"/>
                    <a:gd name="connsiteY135" fmla="*/ 1743211 h 1908134"/>
                    <a:gd name="connsiteX136" fmla="*/ 1408858 w 1908094"/>
                    <a:gd name="connsiteY136" fmla="*/ 1746725 h 1908134"/>
                    <a:gd name="connsiteX137" fmla="*/ 1402843 w 1908094"/>
                    <a:gd name="connsiteY137" fmla="*/ 1750099 h 1908134"/>
                    <a:gd name="connsiteX138" fmla="*/ 1390793 w 1908094"/>
                    <a:gd name="connsiteY138" fmla="*/ 1756829 h 1908134"/>
                    <a:gd name="connsiteX139" fmla="*/ 1378604 w 1908094"/>
                    <a:gd name="connsiteY139" fmla="*/ 1763300 h 1908134"/>
                    <a:gd name="connsiteX140" fmla="*/ 1329036 w 1908094"/>
                    <a:gd name="connsiteY140" fmla="*/ 1787539 h 1908134"/>
                    <a:gd name="connsiteX141" fmla="*/ 1278038 w 1908094"/>
                    <a:gd name="connsiteY141" fmla="*/ 1808620 h 1908134"/>
                    <a:gd name="connsiteX142" fmla="*/ 1225909 w 1908094"/>
                    <a:gd name="connsiteY142" fmla="*/ 1826685 h 1908134"/>
                    <a:gd name="connsiteX143" fmla="*/ 1172728 w 1908094"/>
                    <a:gd name="connsiteY143" fmla="*/ 1841395 h 1908134"/>
                    <a:gd name="connsiteX144" fmla="*/ 1064202 w 1908094"/>
                    <a:gd name="connsiteY144" fmla="*/ 1861167 h 1908134"/>
                    <a:gd name="connsiteX145" fmla="*/ 953968 w 1908094"/>
                    <a:gd name="connsiteY145" fmla="*/ 1867797 h 1908134"/>
                    <a:gd name="connsiteX146" fmla="*/ 843734 w 1908094"/>
                    <a:gd name="connsiteY146" fmla="*/ 1861167 h 1908134"/>
                    <a:gd name="connsiteX147" fmla="*/ 735208 w 1908094"/>
                    <a:gd name="connsiteY147" fmla="*/ 1841395 h 1908134"/>
                    <a:gd name="connsiteX148" fmla="*/ 682027 w 1908094"/>
                    <a:gd name="connsiteY148" fmla="*/ 1826685 h 1908134"/>
                    <a:gd name="connsiteX149" fmla="*/ 629898 w 1908094"/>
                    <a:gd name="connsiteY149" fmla="*/ 1808620 h 1908134"/>
                    <a:gd name="connsiteX150" fmla="*/ 578900 w 1908094"/>
                    <a:gd name="connsiteY150" fmla="*/ 1787539 h 1908134"/>
                    <a:gd name="connsiteX151" fmla="*/ 529332 w 1908094"/>
                    <a:gd name="connsiteY151" fmla="*/ 1763300 h 1908134"/>
                    <a:gd name="connsiteX152" fmla="*/ 517143 w 1908094"/>
                    <a:gd name="connsiteY152" fmla="*/ 1756829 h 1908134"/>
                    <a:gd name="connsiteX153" fmla="*/ 505093 w 1908094"/>
                    <a:gd name="connsiteY153" fmla="*/ 1750099 h 1908134"/>
                    <a:gd name="connsiteX154" fmla="*/ 499078 w 1908094"/>
                    <a:gd name="connsiteY154" fmla="*/ 1746725 h 1908134"/>
                    <a:gd name="connsiteX155" fmla="*/ 493143 w 1908094"/>
                    <a:gd name="connsiteY155" fmla="*/ 1743211 h 1908134"/>
                    <a:gd name="connsiteX156" fmla="*/ 481252 w 1908094"/>
                    <a:gd name="connsiteY156" fmla="*/ 1736184 h 1908134"/>
                    <a:gd name="connsiteX157" fmla="*/ 434959 w 1908094"/>
                    <a:gd name="connsiteY157" fmla="*/ 1706129 h 1908134"/>
                    <a:gd name="connsiteX158" fmla="*/ 390473 w 1908094"/>
                    <a:gd name="connsiteY158" fmla="*/ 1673414 h 1908134"/>
                    <a:gd name="connsiteX159" fmla="*/ 348110 w 1908094"/>
                    <a:gd name="connsiteY159" fmla="*/ 1638000 h 1908134"/>
                    <a:gd name="connsiteX160" fmla="*/ 307852 w 1908094"/>
                    <a:gd name="connsiteY160" fmla="*/ 1600183 h 1908134"/>
                    <a:gd name="connsiteX161" fmla="*/ 270036 w 1908094"/>
                    <a:gd name="connsiteY161" fmla="*/ 1559925 h 1908134"/>
                    <a:gd name="connsiteX162" fmla="*/ 234621 w 1908094"/>
                    <a:gd name="connsiteY162" fmla="*/ 1517563 h 1908134"/>
                    <a:gd name="connsiteX163" fmla="*/ 201906 w 1908094"/>
                    <a:gd name="connsiteY163" fmla="*/ 1473076 h 1908134"/>
                    <a:gd name="connsiteX164" fmla="*/ 171852 w 1908094"/>
                    <a:gd name="connsiteY164" fmla="*/ 1426783 h 1908134"/>
                    <a:gd name="connsiteX165" fmla="*/ 164824 w 1908094"/>
                    <a:gd name="connsiteY165" fmla="*/ 1414892 h 1908134"/>
                    <a:gd name="connsiteX166" fmla="*/ 161311 w 1908094"/>
                    <a:gd name="connsiteY166" fmla="*/ 1408957 h 1908134"/>
                    <a:gd name="connsiteX167" fmla="*/ 157936 w 1908094"/>
                    <a:gd name="connsiteY167" fmla="*/ 1402942 h 1908134"/>
                    <a:gd name="connsiteX168" fmla="*/ 151206 w 1908094"/>
                    <a:gd name="connsiteY168" fmla="*/ 1390892 h 1908134"/>
                    <a:gd name="connsiteX169" fmla="*/ 144735 w 1908094"/>
                    <a:gd name="connsiteY169" fmla="*/ 1378704 h 1908134"/>
                    <a:gd name="connsiteX170" fmla="*/ 120497 w 1908094"/>
                    <a:gd name="connsiteY170" fmla="*/ 1329135 h 1908134"/>
                    <a:gd name="connsiteX171" fmla="*/ 99415 w 1908094"/>
                    <a:gd name="connsiteY171" fmla="*/ 1278138 h 1908134"/>
                    <a:gd name="connsiteX172" fmla="*/ 81350 w 1908094"/>
                    <a:gd name="connsiteY172" fmla="*/ 1226008 h 1908134"/>
                    <a:gd name="connsiteX173" fmla="*/ 66640 w 1908094"/>
                    <a:gd name="connsiteY173" fmla="*/ 1172827 h 1908134"/>
                    <a:gd name="connsiteX174" fmla="*/ 40218 w 1908094"/>
                    <a:gd name="connsiteY174" fmla="*/ 954067 h 1908134"/>
                    <a:gd name="connsiteX175" fmla="*/ 66640 w 1908094"/>
                    <a:gd name="connsiteY175" fmla="*/ 735307 h 1908134"/>
                    <a:gd name="connsiteX176" fmla="*/ 81350 w 1908094"/>
                    <a:gd name="connsiteY176" fmla="*/ 682126 h 1908134"/>
                    <a:gd name="connsiteX177" fmla="*/ 99415 w 1908094"/>
                    <a:gd name="connsiteY177" fmla="*/ 629997 h 1908134"/>
                    <a:gd name="connsiteX178" fmla="*/ 120497 w 1908094"/>
                    <a:gd name="connsiteY178" fmla="*/ 578999 h 1908134"/>
                    <a:gd name="connsiteX179" fmla="*/ 144735 w 1908094"/>
                    <a:gd name="connsiteY179" fmla="*/ 529431 h 1908134"/>
                    <a:gd name="connsiteX180" fmla="*/ 151206 w 1908094"/>
                    <a:gd name="connsiteY180" fmla="*/ 517242 h 1908134"/>
                    <a:gd name="connsiteX181" fmla="*/ 157936 w 1908094"/>
                    <a:gd name="connsiteY181" fmla="*/ 505193 h 1908134"/>
                    <a:gd name="connsiteX182" fmla="*/ 161311 w 1908094"/>
                    <a:gd name="connsiteY182" fmla="*/ 499178 h 1908134"/>
                    <a:gd name="connsiteX183" fmla="*/ 164824 w 1908094"/>
                    <a:gd name="connsiteY183" fmla="*/ 493242 h 1908134"/>
                    <a:gd name="connsiteX184" fmla="*/ 171852 w 1908094"/>
                    <a:gd name="connsiteY184" fmla="*/ 481351 h 1908134"/>
                    <a:gd name="connsiteX185" fmla="*/ 201906 w 1908094"/>
                    <a:gd name="connsiteY185" fmla="*/ 435058 h 1908134"/>
                    <a:gd name="connsiteX186" fmla="*/ 234621 w 1908094"/>
                    <a:gd name="connsiteY186" fmla="*/ 390572 h 1908134"/>
                    <a:gd name="connsiteX187" fmla="*/ 270036 w 1908094"/>
                    <a:gd name="connsiteY187" fmla="*/ 348209 h 1908134"/>
                    <a:gd name="connsiteX188" fmla="*/ 307852 w 1908094"/>
                    <a:gd name="connsiteY188" fmla="*/ 307951 h 1908134"/>
                    <a:gd name="connsiteX189" fmla="*/ 348110 w 1908094"/>
                    <a:gd name="connsiteY189" fmla="*/ 270135 h 1908134"/>
                    <a:gd name="connsiteX190" fmla="*/ 390473 w 1908094"/>
                    <a:gd name="connsiteY190" fmla="*/ 234720 h 1908134"/>
                    <a:gd name="connsiteX191" fmla="*/ 434959 w 1908094"/>
                    <a:gd name="connsiteY191" fmla="*/ 202006 h 1908134"/>
                    <a:gd name="connsiteX192" fmla="*/ 481252 w 1908094"/>
                    <a:gd name="connsiteY192" fmla="*/ 171951 h 1908134"/>
                    <a:gd name="connsiteX193" fmla="*/ 493143 w 1908094"/>
                    <a:gd name="connsiteY193" fmla="*/ 164924 h 1908134"/>
                    <a:gd name="connsiteX194" fmla="*/ 499078 w 1908094"/>
                    <a:gd name="connsiteY194" fmla="*/ 161410 h 1908134"/>
                    <a:gd name="connsiteX195" fmla="*/ 505093 w 1908094"/>
                    <a:gd name="connsiteY195" fmla="*/ 158035 h 1908134"/>
                    <a:gd name="connsiteX196" fmla="*/ 517143 w 1908094"/>
                    <a:gd name="connsiteY196" fmla="*/ 151306 h 1908134"/>
                    <a:gd name="connsiteX197" fmla="*/ 529332 w 1908094"/>
                    <a:gd name="connsiteY197" fmla="*/ 144834 h 1908134"/>
                    <a:gd name="connsiteX198" fmla="*/ 578900 w 1908094"/>
                    <a:gd name="connsiteY198" fmla="*/ 120596 h 1908134"/>
                    <a:gd name="connsiteX199" fmla="*/ 629898 w 1908094"/>
                    <a:gd name="connsiteY199" fmla="*/ 99514 h 1908134"/>
                    <a:gd name="connsiteX200" fmla="*/ 682027 w 1908094"/>
                    <a:gd name="connsiteY200" fmla="*/ 81449 h 1908134"/>
                    <a:gd name="connsiteX201" fmla="*/ 735208 w 1908094"/>
                    <a:gd name="connsiteY201" fmla="*/ 66740 h 1908134"/>
                    <a:gd name="connsiteX202" fmla="*/ 843734 w 1908094"/>
                    <a:gd name="connsiteY202" fmla="*/ 46968 h 1908134"/>
                    <a:gd name="connsiteX203" fmla="*/ 953968 w 1908094"/>
                    <a:gd name="connsiteY203" fmla="*/ 40338 h 1908134"/>
                    <a:gd name="connsiteX204" fmla="*/ 1064202 w 1908094"/>
                    <a:gd name="connsiteY204" fmla="*/ 46968 h 1908134"/>
                    <a:gd name="connsiteX205" fmla="*/ 1172728 w 1908094"/>
                    <a:gd name="connsiteY205" fmla="*/ 66740 h 1908134"/>
                    <a:gd name="connsiteX206" fmla="*/ 1225909 w 1908094"/>
                    <a:gd name="connsiteY206" fmla="*/ 81449 h 1908134"/>
                    <a:gd name="connsiteX207" fmla="*/ 1278038 w 1908094"/>
                    <a:gd name="connsiteY207" fmla="*/ 99514 h 1908134"/>
                    <a:gd name="connsiteX208" fmla="*/ 1329036 w 1908094"/>
                    <a:gd name="connsiteY208" fmla="*/ 120596 h 1908134"/>
                    <a:gd name="connsiteX209" fmla="*/ 1378604 w 1908094"/>
                    <a:gd name="connsiteY209" fmla="*/ 144834 h 1908134"/>
                    <a:gd name="connsiteX210" fmla="*/ 1390793 w 1908094"/>
                    <a:gd name="connsiteY210" fmla="*/ 151306 h 1908134"/>
                    <a:gd name="connsiteX211" fmla="*/ 1402843 w 1908094"/>
                    <a:gd name="connsiteY211" fmla="*/ 158035 h 1908134"/>
                    <a:gd name="connsiteX212" fmla="*/ 1408858 w 1908094"/>
                    <a:gd name="connsiteY212" fmla="*/ 161410 h 1908134"/>
                    <a:gd name="connsiteX213" fmla="*/ 1414793 w 1908094"/>
                    <a:gd name="connsiteY213" fmla="*/ 164924 h 1908134"/>
                    <a:gd name="connsiteX214" fmla="*/ 1426684 w 1908094"/>
                    <a:gd name="connsiteY214" fmla="*/ 171951 h 1908134"/>
                    <a:gd name="connsiteX215" fmla="*/ 1472977 w 1908094"/>
                    <a:gd name="connsiteY215" fmla="*/ 202006 h 1908134"/>
                    <a:gd name="connsiteX216" fmla="*/ 1517463 w 1908094"/>
                    <a:gd name="connsiteY216" fmla="*/ 234720 h 1908134"/>
                    <a:gd name="connsiteX217" fmla="*/ 1559826 w 1908094"/>
                    <a:gd name="connsiteY217" fmla="*/ 270135 h 1908134"/>
                    <a:gd name="connsiteX218" fmla="*/ 1600084 w 1908094"/>
                    <a:gd name="connsiteY218" fmla="*/ 307951 h 1908134"/>
                    <a:gd name="connsiteX219" fmla="*/ 1637900 w 1908094"/>
                    <a:gd name="connsiteY219" fmla="*/ 348209 h 1908134"/>
                    <a:gd name="connsiteX220" fmla="*/ 1673315 w 1908094"/>
                    <a:gd name="connsiteY220" fmla="*/ 390572 h 1908134"/>
                    <a:gd name="connsiteX221" fmla="*/ 1706030 w 1908094"/>
                    <a:gd name="connsiteY221" fmla="*/ 435058 h 1908134"/>
                    <a:gd name="connsiteX222" fmla="*/ 1736084 w 1908094"/>
                    <a:gd name="connsiteY222" fmla="*/ 481351 h 1908134"/>
                    <a:gd name="connsiteX223" fmla="*/ 1743112 w 1908094"/>
                    <a:gd name="connsiteY223" fmla="*/ 493242 h 1908134"/>
                    <a:gd name="connsiteX224" fmla="*/ 1746625 w 1908094"/>
                    <a:gd name="connsiteY224" fmla="*/ 499178 h 1908134"/>
                    <a:gd name="connsiteX225" fmla="*/ 1750000 w 1908094"/>
                    <a:gd name="connsiteY225" fmla="*/ 505193 h 1908134"/>
                    <a:gd name="connsiteX226" fmla="*/ 1756730 w 1908094"/>
                    <a:gd name="connsiteY226" fmla="*/ 517242 h 1908134"/>
                    <a:gd name="connsiteX227" fmla="*/ 1763201 w 1908094"/>
                    <a:gd name="connsiteY227" fmla="*/ 529431 h 1908134"/>
                    <a:gd name="connsiteX228" fmla="*/ 1787439 w 1908094"/>
                    <a:gd name="connsiteY228" fmla="*/ 578999 h 1908134"/>
                    <a:gd name="connsiteX229" fmla="*/ 1808521 w 1908094"/>
                    <a:gd name="connsiteY229" fmla="*/ 629997 h 1908134"/>
                    <a:gd name="connsiteX230" fmla="*/ 1826586 w 1908094"/>
                    <a:gd name="connsiteY230" fmla="*/ 682126 h 1908134"/>
                    <a:gd name="connsiteX231" fmla="*/ 1841295 w 1908094"/>
                    <a:gd name="connsiteY231" fmla="*/ 735307 h 1908134"/>
                    <a:gd name="connsiteX232" fmla="*/ 1867717 w 1908094"/>
                    <a:gd name="connsiteY232" fmla="*/ 954067 h 1908134"/>
                    <a:gd name="connsiteX233" fmla="*/ 1841295 w 1908094"/>
                    <a:gd name="connsiteY233" fmla="*/ 1172827 h 19081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</a:cxnLst>
                  <a:rect l="l" t="t" r="r" b="b"/>
                  <a:pathLst>
                    <a:path w="1908094" h="1908134">
                      <a:moveTo>
                        <a:pt x="1865137" y="670136"/>
                      </a:moveTo>
                      <a:cubicBezTo>
                        <a:pt x="1859261" y="651853"/>
                        <a:pt x="1853206" y="633610"/>
                        <a:pt x="1846278" y="615684"/>
                      </a:cubicBezTo>
                      <a:cubicBezTo>
                        <a:pt x="1839588" y="597679"/>
                        <a:pt x="1832005" y="580012"/>
                        <a:pt x="1824263" y="562423"/>
                      </a:cubicBezTo>
                      <a:cubicBezTo>
                        <a:pt x="1816243" y="544974"/>
                        <a:pt x="1807985" y="527604"/>
                        <a:pt x="1798953" y="510652"/>
                      </a:cubicBezTo>
                      <a:cubicBezTo>
                        <a:pt x="1796690" y="506403"/>
                        <a:pt x="1794506" y="502135"/>
                        <a:pt x="1792204" y="497927"/>
                      </a:cubicBezTo>
                      <a:lnTo>
                        <a:pt x="1785176" y="485341"/>
                      </a:lnTo>
                      <a:lnTo>
                        <a:pt x="1781663" y="479048"/>
                      </a:lnTo>
                      <a:lnTo>
                        <a:pt x="1777990" y="472855"/>
                      </a:lnTo>
                      <a:lnTo>
                        <a:pt x="1770665" y="460448"/>
                      </a:lnTo>
                      <a:cubicBezTo>
                        <a:pt x="1760601" y="444091"/>
                        <a:pt x="1750298" y="427852"/>
                        <a:pt x="1739280" y="412110"/>
                      </a:cubicBezTo>
                      <a:cubicBezTo>
                        <a:pt x="1728461" y="396229"/>
                        <a:pt x="1716868" y="380884"/>
                        <a:pt x="1705136" y="365678"/>
                      </a:cubicBezTo>
                      <a:cubicBezTo>
                        <a:pt x="1693166" y="350651"/>
                        <a:pt x="1680997" y="335763"/>
                        <a:pt x="1668154" y="321450"/>
                      </a:cubicBezTo>
                      <a:cubicBezTo>
                        <a:pt x="1655508" y="306979"/>
                        <a:pt x="1642149" y="293142"/>
                        <a:pt x="1628689" y="279425"/>
                      </a:cubicBezTo>
                      <a:cubicBezTo>
                        <a:pt x="1614972" y="265966"/>
                        <a:pt x="1601136" y="252606"/>
                        <a:pt x="1586665" y="239961"/>
                      </a:cubicBezTo>
                      <a:cubicBezTo>
                        <a:pt x="1572352" y="227117"/>
                        <a:pt x="1557463" y="214968"/>
                        <a:pt x="1542436" y="202978"/>
                      </a:cubicBezTo>
                      <a:cubicBezTo>
                        <a:pt x="1527210" y="191246"/>
                        <a:pt x="1511885" y="179653"/>
                        <a:pt x="1496004" y="168834"/>
                      </a:cubicBezTo>
                      <a:cubicBezTo>
                        <a:pt x="1480262" y="157817"/>
                        <a:pt x="1464024" y="147514"/>
                        <a:pt x="1447667" y="137450"/>
                      </a:cubicBezTo>
                      <a:lnTo>
                        <a:pt x="1435260" y="130124"/>
                      </a:lnTo>
                      <a:lnTo>
                        <a:pt x="1429066" y="126452"/>
                      </a:lnTo>
                      <a:lnTo>
                        <a:pt x="1422773" y="122938"/>
                      </a:lnTo>
                      <a:lnTo>
                        <a:pt x="1410188" y="115911"/>
                      </a:lnTo>
                      <a:cubicBezTo>
                        <a:pt x="1405979" y="113608"/>
                        <a:pt x="1401691" y="111405"/>
                        <a:pt x="1397463" y="109162"/>
                      </a:cubicBezTo>
                      <a:cubicBezTo>
                        <a:pt x="1380510" y="100129"/>
                        <a:pt x="1363140" y="91851"/>
                        <a:pt x="1345691" y="83851"/>
                      </a:cubicBezTo>
                      <a:cubicBezTo>
                        <a:pt x="1328103" y="76109"/>
                        <a:pt x="1310435" y="68526"/>
                        <a:pt x="1292430" y="61836"/>
                      </a:cubicBezTo>
                      <a:cubicBezTo>
                        <a:pt x="1274505" y="54908"/>
                        <a:pt x="1256262" y="48854"/>
                        <a:pt x="1237979" y="42978"/>
                      </a:cubicBezTo>
                      <a:cubicBezTo>
                        <a:pt x="1219596" y="37419"/>
                        <a:pt x="1201135" y="32079"/>
                        <a:pt x="1182435" y="27593"/>
                      </a:cubicBezTo>
                      <a:cubicBezTo>
                        <a:pt x="1145115" y="18462"/>
                        <a:pt x="1107259" y="11414"/>
                        <a:pt x="1069085" y="6928"/>
                      </a:cubicBezTo>
                      <a:cubicBezTo>
                        <a:pt x="1030931" y="2382"/>
                        <a:pt x="992499" y="79"/>
                        <a:pt x="954047" y="0"/>
                      </a:cubicBezTo>
                      <a:cubicBezTo>
                        <a:pt x="915596" y="79"/>
                        <a:pt x="877164" y="2382"/>
                        <a:pt x="839010" y="6928"/>
                      </a:cubicBezTo>
                      <a:cubicBezTo>
                        <a:pt x="800836" y="11395"/>
                        <a:pt x="762980" y="18442"/>
                        <a:pt x="725660" y="27593"/>
                      </a:cubicBezTo>
                      <a:cubicBezTo>
                        <a:pt x="706980" y="32060"/>
                        <a:pt x="688518" y="37419"/>
                        <a:pt x="670116" y="42978"/>
                      </a:cubicBezTo>
                      <a:cubicBezTo>
                        <a:pt x="651833" y="48854"/>
                        <a:pt x="633590" y="54908"/>
                        <a:pt x="615664" y="61836"/>
                      </a:cubicBezTo>
                      <a:cubicBezTo>
                        <a:pt x="597659" y="68526"/>
                        <a:pt x="579992" y="76109"/>
                        <a:pt x="562404" y="83851"/>
                      </a:cubicBezTo>
                      <a:cubicBezTo>
                        <a:pt x="544954" y="91871"/>
                        <a:pt x="527585" y="100129"/>
                        <a:pt x="510632" y="109162"/>
                      </a:cubicBezTo>
                      <a:cubicBezTo>
                        <a:pt x="506384" y="111425"/>
                        <a:pt x="502116" y="113608"/>
                        <a:pt x="497907" y="115911"/>
                      </a:cubicBezTo>
                      <a:lnTo>
                        <a:pt x="485321" y="122938"/>
                      </a:lnTo>
                      <a:lnTo>
                        <a:pt x="479029" y="126452"/>
                      </a:lnTo>
                      <a:lnTo>
                        <a:pt x="472835" y="130124"/>
                      </a:lnTo>
                      <a:lnTo>
                        <a:pt x="460428" y="137450"/>
                      </a:lnTo>
                      <a:cubicBezTo>
                        <a:pt x="444071" y="147514"/>
                        <a:pt x="427832" y="157817"/>
                        <a:pt x="412090" y="168834"/>
                      </a:cubicBezTo>
                      <a:cubicBezTo>
                        <a:pt x="396210" y="179653"/>
                        <a:pt x="380865" y="191246"/>
                        <a:pt x="365659" y="202978"/>
                      </a:cubicBezTo>
                      <a:cubicBezTo>
                        <a:pt x="350631" y="214949"/>
                        <a:pt x="335743" y="227117"/>
                        <a:pt x="321430" y="239961"/>
                      </a:cubicBezTo>
                      <a:cubicBezTo>
                        <a:pt x="306959" y="252606"/>
                        <a:pt x="293122" y="265966"/>
                        <a:pt x="279405" y="279425"/>
                      </a:cubicBezTo>
                      <a:cubicBezTo>
                        <a:pt x="265946" y="293142"/>
                        <a:pt x="252586" y="306979"/>
                        <a:pt x="239941" y="321450"/>
                      </a:cubicBezTo>
                      <a:cubicBezTo>
                        <a:pt x="227097" y="335763"/>
                        <a:pt x="214949" y="350651"/>
                        <a:pt x="202958" y="365678"/>
                      </a:cubicBezTo>
                      <a:cubicBezTo>
                        <a:pt x="191226" y="380904"/>
                        <a:pt x="179633" y="396229"/>
                        <a:pt x="168814" y="412110"/>
                      </a:cubicBezTo>
                      <a:cubicBezTo>
                        <a:pt x="157797" y="427852"/>
                        <a:pt x="147494" y="444091"/>
                        <a:pt x="137430" y="460448"/>
                      </a:cubicBezTo>
                      <a:lnTo>
                        <a:pt x="130105" y="472855"/>
                      </a:lnTo>
                      <a:lnTo>
                        <a:pt x="126432" y="479048"/>
                      </a:lnTo>
                      <a:lnTo>
                        <a:pt x="122918" y="485341"/>
                      </a:lnTo>
                      <a:lnTo>
                        <a:pt x="115891" y="497927"/>
                      </a:lnTo>
                      <a:cubicBezTo>
                        <a:pt x="113588" y="502135"/>
                        <a:pt x="111385" y="506423"/>
                        <a:pt x="109142" y="510652"/>
                      </a:cubicBezTo>
                      <a:cubicBezTo>
                        <a:pt x="100109" y="527604"/>
                        <a:pt x="91832" y="544974"/>
                        <a:pt x="83832" y="562423"/>
                      </a:cubicBezTo>
                      <a:cubicBezTo>
                        <a:pt x="76090" y="580012"/>
                        <a:pt x="68506" y="597679"/>
                        <a:pt x="61817" y="615684"/>
                      </a:cubicBezTo>
                      <a:cubicBezTo>
                        <a:pt x="54888" y="633610"/>
                        <a:pt x="48834" y="651853"/>
                        <a:pt x="42958" y="670136"/>
                      </a:cubicBezTo>
                      <a:cubicBezTo>
                        <a:pt x="37400" y="688518"/>
                        <a:pt x="32060" y="706980"/>
                        <a:pt x="27573" y="725679"/>
                      </a:cubicBezTo>
                      <a:cubicBezTo>
                        <a:pt x="9092" y="800300"/>
                        <a:pt x="159" y="877184"/>
                        <a:pt x="0" y="954067"/>
                      </a:cubicBezTo>
                      <a:cubicBezTo>
                        <a:pt x="159" y="1030951"/>
                        <a:pt x="9112" y="1107834"/>
                        <a:pt x="27573" y="1182455"/>
                      </a:cubicBezTo>
                      <a:cubicBezTo>
                        <a:pt x="32040" y="1201135"/>
                        <a:pt x="37400" y="1219597"/>
                        <a:pt x="42958" y="1237998"/>
                      </a:cubicBezTo>
                      <a:cubicBezTo>
                        <a:pt x="48834" y="1256281"/>
                        <a:pt x="54888" y="1274525"/>
                        <a:pt x="61817" y="1292450"/>
                      </a:cubicBezTo>
                      <a:cubicBezTo>
                        <a:pt x="68506" y="1310455"/>
                        <a:pt x="76090" y="1328123"/>
                        <a:pt x="83832" y="1345711"/>
                      </a:cubicBezTo>
                      <a:cubicBezTo>
                        <a:pt x="91851" y="1363160"/>
                        <a:pt x="100109" y="1380530"/>
                        <a:pt x="109142" y="1397483"/>
                      </a:cubicBezTo>
                      <a:cubicBezTo>
                        <a:pt x="111405" y="1401731"/>
                        <a:pt x="113588" y="1405999"/>
                        <a:pt x="115891" y="1410207"/>
                      </a:cubicBezTo>
                      <a:lnTo>
                        <a:pt x="122918" y="1422793"/>
                      </a:lnTo>
                      <a:lnTo>
                        <a:pt x="126432" y="1429086"/>
                      </a:lnTo>
                      <a:lnTo>
                        <a:pt x="130105" y="1435279"/>
                      </a:lnTo>
                      <a:lnTo>
                        <a:pt x="137430" y="1447686"/>
                      </a:lnTo>
                      <a:cubicBezTo>
                        <a:pt x="147494" y="1464044"/>
                        <a:pt x="157797" y="1480282"/>
                        <a:pt x="168814" y="1496024"/>
                      </a:cubicBezTo>
                      <a:cubicBezTo>
                        <a:pt x="179633" y="1511905"/>
                        <a:pt x="191226" y="1527250"/>
                        <a:pt x="202958" y="1542456"/>
                      </a:cubicBezTo>
                      <a:cubicBezTo>
                        <a:pt x="214929" y="1557483"/>
                        <a:pt x="227097" y="1572372"/>
                        <a:pt x="239941" y="1586684"/>
                      </a:cubicBezTo>
                      <a:cubicBezTo>
                        <a:pt x="252586" y="1601156"/>
                        <a:pt x="265946" y="1614992"/>
                        <a:pt x="279405" y="1628709"/>
                      </a:cubicBezTo>
                      <a:cubicBezTo>
                        <a:pt x="293122" y="1642168"/>
                        <a:pt x="306959" y="1655528"/>
                        <a:pt x="321430" y="1668173"/>
                      </a:cubicBezTo>
                      <a:cubicBezTo>
                        <a:pt x="335743" y="1681017"/>
                        <a:pt x="350631" y="1693166"/>
                        <a:pt x="365659" y="1705156"/>
                      </a:cubicBezTo>
                      <a:cubicBezTo>
                        <a:pt x="380884" y="1716888"/>
                        <a:pt x="396210" y="1728481"/>
                        <a:pt x="412090" y="1739300"/>
                      </a:cubicBezTo>
                      <a:cubicBezTo>
                        <a:pt x="427832" y="1750318"/>
                        <a:pt x="444071" y="1760620"/>
                        <a:pt x="460428" y="1770685"/>
                      </a:cubicBezTo>
                      <a:lnTo>
                        <a:pt x="472835" y="1778010"/>
                      </a:lnTo>
                      <a:lnTo>
                        <a:pt x="479029" y="1781682"/>
                      </a:lnTo>
                      <a:lnTo>
                        <a:pt x="485321" y="1785196"/>
                      </a:lnTo>
                      <a:lnTo>
                        <a:pt x="497907" y="1792223"/>
                      </a:lnTo>
                      <a:cubicBezTo>
                        <a:pt x="502116" y="1794526"/>
                        <a:pt x="506403" y="1796730"/>
                        <a:pt x="510632" y="1798973"/>
                      </a:cubicBezTo>
                      <a:cubicBezTo>
                        <a:pt x="527585" y="1808005"/>
                        <a:pt x="544954" y="1816283"/>
                        <a:pt x="562404" y="1824283"/>
                      </a:cubicBezTo>
                      <a:cubicBezTo>
                        <a:pt x="579992" y="1832025"/>
                        <a:pt x="597659" y="1839608"/>
                        <a:pt x="615664" y="1846298"/>
                      </a:cubicBezTo>
                      <a:cubicBezTo>
                        <a:pt x="633590" y="1853226"/>
                        <a:pt x="651833" y="1859281"/>
                        <a:pt x="670116" y="1865157"/>
                      </a:cubicBezTo>
                      <a:cubicBezTo>
                        <a:pt x="688498" y="1870715"/>
                        <a:pt x="706960" y="1876055"/>
                        <a:pt x="725660" y="1880541"/>
                      </a:cubicBezTo>
                      <a:cubicBezTo>
                        <a:pt x="762980" y="1889673"/>
                        <a:pt x="800836" y="1896720"/>
                        <a:pt x="839010" y="1901206"/>
                      </a:cubicBezTo>
                      <a:cubicBezTo>
                        <a:pt x="877164" y="1905752"/>
                        <a:pt x="915596" y="1908055"/>
                        <a:pt x="954047" y="1908134"/>
                      </a:cubicBezTo>
                      <a:cubicBezTo>
                        <a:pt x="992499" y="1908055"/>
                        <a:pt x="1030931" y="1905752"/>
                        <a:pt x="1069085" y="1901206"/>
                      </a:cubicBezTo>
                      <a:cubicBezTo>
                        <a:pt x="1107259" y="1896740"/>
                        <a:pt x="1145115" y="1889693"/>
                        <a:pt x="1182435" y="1880541"/>
                      </a:cubicBezTo>
                      <a:cubicBezTo>
                        <a:pt x="1201115" y="1876075"/>
                        <a:pt x="1219577" y="1870715"/>
                        <a:pt x="1237979" y="1865157"/>
                      </a:cubicBezTo>
                      <a:cubicBezTo>
                        <a:pt x="1256262" y="1859281"/>
                        <a:pt x="1274505" y="1853226"/>
                        <a:pt x="1292430" y="1846298"/>
                      </a:cubicBezTo>
                      <a:cubicBezTo>
                        <a:pt x="1310435" y="1839608"/>
                        <a:pt x="1328103" y="1832025"/>
                        <a:pt x="1345691" y="1824283"/>
                      </a:cubicBezTo>
                      <a:cubicBezTo>
                        <a:pt x="1363140" y="1816263"/>
                        <a:pt x="1380510" y="1808005"/>
                        <a:pt x="1397463" y="1798973"/>
                      </a:cubicBezTo>
                      <a:cubicBezTo>
                        <a:pt x="1401711" y="1796710"/>
                        <a:pt x="1405979" y="1794526"/>
                        <a:pt x="1410188" y="1792223"/>
                      </a:cubicBezTo>
                      <a:lnTo>
                        <a:pt x="1422773" y="1785196"/>
                      </a:lnTo>
                      <a:lnTo>
                        <a:pt x="1429066" y="1781682"/>
                      </a:lnTo>
                      <a:lnTo>
                        <a:pt x="1435260" y="1778010"/>
                      </a:lnTo>
                      <a:lnTo>
                        <a:pt x="1447667" y="1770685"/>
                      </a:lnTo>
                      <a:cubicBezTo>
                        <a:pt x="1464024" y="1760620"/>
                        <a:pt x="1480262" y="1750318"/>
                        <a:pt x="1496004" y="1739300"/>
                      </a:cubicBezTo>
                      <a:cubicBezTo>
                        <a:pt x="1511885" y="1728481"/>
                        <a:pt x="1527230" y="1716888"/>
                        <a:pt x="1542436" y="1705156"/>
                      </a:cubicBezTo>
                      <a:cubicBezTo>
                        <a:pt x="1557463" y="1693186"/>
                        <a:pt x="1572352" y="1681017"/>
                        <a:pt x="1586665" y="1668173"/>
                      </a:cubicBezTo>
                      <a:cubicBezTo>
                        <a:pt x="1601136" y="1655528"/>
                        <a:pt x="1614972" y="1642168"/>
                        <a:pt x="1628689" y="1628709"/>
                      </a:cubicBezTo>
                      <a:cubicBezTo>
                        <a:pt x="1642149" y="1614992"/>
                        <a:pt x="1655508" y="1601156"/>
                        <a:pt x="1668154" y="1586684"/>
                      </a:cubicBezTo>
                      <a:cubicBezTo>
                        <a:pt x="1680997" y="1572372"/>
                        <a:pt x="1693146" y="1557483"/>
                        <a:pt x="1705136" y="1542456"/>
                      </a:cubicBezTo>
                      <a:cubicBezTo>
                        <a:pt x="1716868" y="1527230"/>
                        <a:pt x="1728461" y="1511905"/>
                        <a:pt x="1739280" y="1496024"/>
                      </a:cubicBezTo>
                      <a:cubicBezTo>
                        <a:pt x="1750298" y="1480282"/>
                        <a:pt x="1760601" y="1464044"/>
                        <a:pt x="1770665" y="1447686"/>
                      </a:cubicBezTo>
                      <a:lnTo>
                        <a:pt x="1777990" y="1435279"/>
                      </a:lnTo>
                      <a:lnTo>
                        <a:pt x="1781663" y="1429086"/>
                      </a:lnTo>
                      <a:lnTo>
                        <a:pt x="1785176" y="1422793"/>
                      </a:lnTo>
                      <a:lnTo>
                        <a:pt x="1792204" y="1410207"/>
                      </a:lnTo>
                      <a:cubicBezTo>
                        <a:pt x="1794506" y="1405999"/>
                        <a:pt x="1796710" y="1401711"/>
                        <a:pt x="1798953" y="1397483"/>
                      </a:cubicBezTo>
                      <a:cubicBezTo>
                        <a:pt x="1807985" y="1380530"/>
                        <a:pt x="1816263" y="1363160"/>
                        <a:pt x="1824263" y="1345711"/>
                      </a:cubicBezTo>
                      <a:cubicBezTo>
                        <a:pt x="1832005" y="1328123"/>
                        <a:pt x="1839588" y="1310455"/>
                        <a:pt x="1846278" y="1292450"/>
                      </a:cubicBezTo>
                      <a:cubicBezTo>
                        <a:pt x="1853206" y="1274525"/>
                        <a:pt x="1859261" y="1256281"/>
                        <a:pt x="1865137" y="1237998"/>
                      </a:cubicBezTo>
                      <a:cubicBezTo>
                        <a:pt x="1870695" y="1219616"/>
                        <a:pt x="1876035" y="1201155"/>
                        <a:pt x="1880521" y="1182455"/>
                      </a:cubicBezTo>
                      <a:cubicBezTo>
                        <a:pt x="1899003" y="1107834"/>
                        <a:pt x="1907936" y="1030951"/>
                        <a:pt x="1908095" y="954067"/>
                      </a:cubicBezTo>
                      <a:cubicBezTo>
                        <a:pt x="1907936" y="877184"/>
                        <a:pt x="1898983" y="800300"/>
                        <a:pt x="1880521" y="725679"/>
                      </a:cubicBezTo>
                      <a:cubicBezTo>
                        <a:pt x="1876055" y="707000"/>
                        <a:pt x="1870695" y="688538"/>
                        <a:pt x="1865137" y="670136"/>
                      </a:cubicBezTo>
                      <a:close/>
                      <a:moveTo>
                        <a:pt x="1841295" y="1172827"/>
                      </a:moveTo>
                      <a:cubicBezTo>
                        <a:pt x="1837008" y="1190713"/>
                        <a:pt x="1831886" y="1208400"/>
                        <a:pt x="1826586" y="1226008"/>
                      </a:cubicBezTo>
                      <a:cubicBezTo>
                        <a:pt x="1820968" y="1243517"/>
                        <a:pt x="1815171" y="1260986"/>
                        <a:pt x="1808521" y="1278138"/>
                      </a:cubicBezTo>
                      <a:cubicBezTo>
                        <a:pt x="1802109" y="1295388"/>
                        <a:pt x="1794864" y="1312302"/>
                        <a:pt x="1787439" y="1329135"/>
                      </a:cubicBezTo>
                      <a:cubicBezTo>
                        <a:pt x="1779757" y="1345850"/>
                        <a:pt x="1771856" y="1362465"/>
                        <a:pt x="1763201" y="1378704"/>
                      </a:cubicBezTo>
                      <a:cubicBezTo>
                        <a:pt x="1761037" y="1382773"/>
                        <a:pt x="1758953" y="1386863"/>
                        <a:pt x="1756730" y="1390892"/>
                      </a:cubicBezTo>
                      <a:lnTo>
                        <a:pt x="1750000" y="1402942"/>
                      </a:lnTo>
                      <a:lnTo>
                        <a:pt x="1746625" y="1408957"/>
                      </a:lnTo>
                      <a:lnTo>
                        <a:pt x="1743112" y="1414892"/>
                      </a:lnTo>
                      <a:lnTo>
                        <a:pt x="1736084" y="1426783"/>
                      </a:lnTo>
                      <a:cubicBezTo>
                        <a:pt x="1726437" y="1442446"/>
                        <a:pt x="1716571" y="1458009"/>
                        <a:pt x="1706030" y="1473076"/>
                      </a:cubicBezTo>
                      <a:cubicBezTo>
                        <a:pt x="1695667" y="1488302"/>
                        <a:pt x="1684551" y="1502972"/>
                        <a:pt x="1673315" y="1517563"/>
                      </a:cubicBezTo>
                      <a:cubicBezTo>
                        <a:pt x="1661841" y="1531955"/>
                        <a:pt x="1650188" y="1546228"/>
                        <a:pt x="1637900" y="1559925"/>
                      </a:cubicBezTo>
                      <a:cubicBezTo>
                        <a:pt x="1625791" y="1573781"/>
                        <a:pt x="1612987" y="1587042"/>
                        <a:pt x="1600084" y="1600183"/>
                      </a:cubicBezTo>
                      <a:cubicBezTo>
                        <a:pt x="1586942" y="1613067"/>
                        <a:pt x="1573702" y="1625871"/>
                        <a:pt x="1559826" y="1638000"/>
                      </a:cubicBezTo>
                      <a:cubicBezTo>
                        <a:pt x="1546128" y="1650307"/>
                        <a:pt x="1531855" y="1661940"/>
                        <a:pt x="1517463" y="1673414"/>
                      </a:cubicBezTo>
                      <a:cubicBezTo>
                        <a:pt x="1502873" y="1684650"/>
                        <a:pt x="1488203" y="1695767"/>
                        <a:pt x="1472977" y="1706129"/>
                      </a:cubicBezTo>
                      <a:cubicBezTo>
                        <a:pt x="1457890" y="1716690"/>
                        <a:pt x="1442347" y="1726536"/>
                        <a:pt x="1426684" y="1736184"/>
                      </a:cubicBezTo>
                      <a:lnTo>
                        <a:pt x="1414793" y="1743211"/>
                      </a:lnTo>
                      <a:lnTo>
                        <a:pt x="1408858" y="1746725"/>
                      </a:lnTo>
                      <a:lnTo>
                        <a:pt x="1402843" y="1750099"/>
                      </a:lnTo>
                      <a:lnTo>
                        <a:pt x="1390793" y="1756829"/>
                      </a:lnTo>
                      <a:cubicBezTo>
                        <a:pt x="1386763" y="1759032"/>
                        <a:pt x="1382654" y="1761136"/>
                        <a:pt x="1378604" y="1763300"/>
                      </a:cubicBezTo>
                      <a:cubicBezTo>
                        <a:pt x="1362366" y="1771955"/>
                        <a:pt x="1345751" y="1779856"/>
                        <a:pt x="1329036" y="1787539"/>
                      </a:cubicBezTo>
                      <a:cubicBezTo>
                        <a:pt x="1312202" y="1794963"/>
                        <a:pt x="1295289" y="1802209"/>
                        <a:pt x="1278038" y="1808620"/>
                      </a:cubicBezTo>
                      <a:cubicBezTo>
                        <a:pt x="1260887" y="1815251"/>
                        <a:pt x="1243418" y="1821047"/>
                        <a:pt x="1225909" y="1826685"/>
                      </a:cubicBezTo>
                      <a:cubicBezTo>
                        <a:pt x="1208301" y="1832005"/>
                        <a:pt x="1190634" y="1837127"/>
                        <a:pt x="1172728" y="1841395"/>
                      </a:cubicBezTo>
                      <a:cubicBezTo>
                        <a:pt x="1136996" y="1850149"/>
                        <a:pt x="1100767" y="1856899"/>
                        <a:pt x="1064202" y="1861167"/>
                      </a:cubicBezTo>
                      <a:cubicBezTo>
                        <a:pt x="1027655" y="1865514"/>
                        <a:pt x="990832" y="1867737"/>
                        <a:pt x="953968" y="1867797"/>
                      </a:cubicBezTo>
                      <a:cubicBezTo>
                        <a:pt x="917104" y="1867717"/>
                        <a:pt x="880300" y="1865514"/>
                        <a:pt x="843734" y="1861167"/>
                      </a:cubicBezTo>
                      <a:cubicBezTo>
                        <a:pt x="807169" y="1856879"/>
                        <a:pt x="770940" y="1850129"/>
                        <a:pt x="735208" y="1841395"/>
                      </a:cubicBezTo>
                      <a:cubicBezTo>
                        <a:pt x="717322" y="1837107"/>
                        <a:pt x="699635" y="1831985"/>
                        <a:pt x="682027" y="1826685"/>
                      </a:cubicBezTo>
                      <a:cubicBezTo>
                        <a:pt x="664518" y="1821067"/>
                        <a:pt x="647049" y="1815271"/>
                        <a:pt x="629898" y="1808620"/>
                      </a:cubicBezTo>
                      <a:cubicBezTo>
                        <a:pt x="612647" y="1802209"/>
                        <a:pt x="595734" y="1794963"/>
                        <a:pt x="578900" y="1787539"/>
                      </a:cubicBezTo>
                      <a:cubicBezTo>
                        <a:pt x="562185" y="1779856"/>
                        <a:pt x="545570" y="1771955"/>
                        <a:pt x="529332" y="1763300"/>
                      </a:cubicBezTo>
                      <a:cubicBezTo>
                        <a:pt x="525262" y="1761136"/>
                        <a:pt x="521173" y="1759052"/>
                        <a:pt x="517143" y="1756829"/>
                      </a:cubicBezTo>
                      <a:lnTo>
                        <a:pt x="505093" y="1750099"/>
                      </a:lnTo>
                      <a:lnTo>
                        <a:pt x="499078" y="1746725"/>
                      </a:lnTo>
                      <a:lnTo>
                        <a:pt x="493143" y="1743211"/>
                      </a:lnTo>
                      <a:lnTo>
                        <a:pt x="481252" y="1736184"/>
                      </a:lnTo>
                      <a:cubicBezTo>
                        <a:pt x="465589" y="1726536"/>
                        <a:pt x="450026" y="1716670"/>
                        <a:pt x="434959" y="1706129"/>
                      </a:cubicBezTo>
                      <a:cubicBezTo>
                        <a:pt x="419733" y="1695767"/>
                        <a:pt x="405063" y="1684650"/>
                        <a:pt x="390473" y="1673414"/>
                      </a:cubicBezTo>
                      <a:cubicBezTo>
                        <a:pt x="376080" y="1661940"/>
                        <a:pt x="361807" y="1650287"/>
                        <a:pt x="348110" y="1638000"/>
                      </a:cubicBezTo>
                      <a:cubicBezTo>
                        <a:pt x="334254" y="1625890"/>
                        <a:pt x="320993" y="1613086"/>
                        <a:pt x="307852" y="1600183"/>
                      </a:cubicBezTo>
                      <a:cubicBezTo>
                        <a:pt x="294969" y="1587042"/>
                        <a:pt x="282165" y="1573801"/>
                        <a:pt x="270036" y="1559925"/>
                      </a:cubicBezTo>
                      <a:cubicBezTo>
                        <a:pt x="257728" y="1546228"/>
                        <a:pt x="246095" y="1531955"/>
                        <a:pt x="234621" y="1517563"/>
                      </a:cubicBezTo>
                      <a:cubicBezTo>
                        <a:pt x="223385" y="1502992"/>
                        <a:pt x="212269" y="1488302"/>
                        <a:pt x="201906" y="1473076"/>
                      </a:cubicBezTo>
                      <a:cubicBezTo>
                        <a:pt x="191345" y="1457989"/>
                        <a:pt x="181499" y="1442446"/>
                        <a:pt x="171852" y="1426783"/>
                      </a:cubicBezTo>
                      <a:lnTo>
                        <a:pt x="164824" y="1414892"/>
                      </a:lnTo>
                      <a:lnTo>
                        <a:pt x="161311" y="1408957"/>
                      </a:lnTo>
                      <a:lnTo>
                        <a:pt x="157936" y="1402942"/>
                      </a:lnTo>
                      <a:lnTo>
                        <a:pt x="151206" y="1390892"/>
                      </a:lnTo>
                      <a:cubicBezTo>
                        <a:pt x="149003" y="1386863"/>
                        <a:pt x="146899" y="1382753"/>
                        <a:pt x="144735" y="1378704"/>
                      </a:cubicBezTo>
                      <a:cubicBezTo>
                        <a:pt x="136080" y="1362465"/>
                        <a:pt x="128179" y="1345850"/>
                        <a:pt x="120497" y="1329135"/>
                      </a:cubicBezTo>
                      <a:cubicBezTo>
                        <a:pt x="113072" y="1312302"/>
                        <a:pt x="105827" y="1295388"/>
                        <a:pt x="99415" y="1278138"/>
                      </a:cubicBezTo>
                      <a:cubicBezTo>
                        <a:pt x="92784" y="1260986"/>
                        <a:pt x="86988" y="1243517"/>
                        <a:pt x="81350" y="1226008"/>
                      </a:cubicBezTo>
                      <a:cubicBezTo>
                        <a:pt x="76030" y="1208400"/>
                        <a:pt x="70908" y="1190733"/>
                        <a:pt x="66640" y="1172827"/>
                      </a:cubicBezTo>
                      <a:cubicBezTo>
                        <a:pt x="48953" y="1101383"/>
                        <a:pt x="40397" y="1027775"/>
                        <a:pt x="40218" y="954067"/>
                      </a:cubicBezTo>
                      <a:cubicBezTo>
                        <a:pt x="40397" y="880360"/>
                        <a:pt x="48953" y="806752"/>
                        <a:pt x="66640" y="735307"/>
                      </a:cubicBezTo>
                      <a:cubicBezTo>
                        <a:pt x="70928" y="717421"/>
                        <a:pt x="76050" y="699734"/>
                        <a:pt x="81350" y="682126"/>
                      </a:cubicBezTo>
                      <a:cubicBezTo>
                        <a:pt x="86968" y="664617"/>
                        <a:pt x="92765" y="647148"/>
                        <a:pt x="99415" y="629997"/>
                      </a:cubicBezTo>
                      <a:cubicBezTo>
                        <a:pt x="105827" y="612746"/>
                        <a:pt x="113072" y="595833"/>
                        <a:pt x="120497" y="578999"/>
                      </a:cubicBezTo>
                      <a:cubicBezTo>
                        <a:pt x="128179" y="562284"/>
                        <a:pt x="136080" y="545669"/>
                        <a:pt x="144735" y="529431"/>
                      </a:cubicBezTo>
                      <a:cubicBezTo>
                        <a:pt x="146899" y="525361"/>
                        <a:pt x="148983" y="521272"/>
                        <a:pt x="151206" y="517242"/>
                      </a:cubicBezTo>
                      <a:lnTo>
                        <a:pt x="157936" y="505193"/>
                      </a:lnTo>
                      <a:lnTo>
                        <a:pt x="161311" y="499178"/>
                      </a:lnTo>
                      <a:lnTo>
                        <a:pt x="164824" y="493242"/>
                      </a:lnTo>
                      <a:lnTo>
                        <a:pt x="171852" y="481351"/>
                      </a:lnTo>
                      <a:cubicBezTo>
                        <a:pt x="181499" y="465689"/>
                        <a:pt x="191365" y="450125"/>
                        <a:pt x="201906" y="435058"/>
                      </a:cubicBezTo>
                      <a:cubicBezTo>
                        <a:pt x="212269" y="419832"/>
                        <a:pt x="223385" y="405162"/>
                        <a:pt x="234621" y="390572"/>
                      </a:cubicBezTo>
                      <a:cubicBezTo>
                        <a:pt x="246095" y="376180"/>
                        <a:pt x="257748" y="361907"/>
                        <a:pt x="270036" y="348209"/>
                      </a:cubicBezTo>
                      <a:cubicBezTo>
                        <a:pt x="282145" y="334353"/>
                        <a:pt x="294949" y="321093"/>
                        <a:pt x="307852" y="307951"/>
                      </a:cubicBezTo>
                      <a:cubicBezTo>
                        <a:pt x="320993" y="295068"/>
                        <a:pt x="334234" y="282264"/>
                        <a:pt x="348110" y="270135"/>
                      </a:cubicBezTo>
                      <a:cubicBezTo>
                        <a:pt x="361807" y="257827"/>
                        <a:pt x="376080" y="246194"/>
                        <a:pt x="390473" y="234720"/>
                      </a:cubicBezTo>
                      <a:cubicBezTo>
                        <a:pt x="405063" y="223485"/>
                        <a:pt x="419733" y="212368"/>
                        <a:pt x="434959" y="202006"/>
                      </a:cubicBezTo>
                      <a:cubicBezTo>
                        <a:pt x="450046" y="191445"/>
                        <a:pt x="465589" y="181599"/>
                        <a:pt x="481252" y="171951"/>
                      </a:cubicBezTo>
                      <a:lnTo>
                        <a:pt x="493143" y="164924"/>
                      </a:lnTo>
                      <a:lnTo>
                        <a:pt x="499078" y="161410"/>
                      </a:lnTo>
                      <a:lnTo>
                        <a:pt x="505093" y="158035"/>
                      </a:lnTo>
                      <a:lnTo>
                        <a:pt x="517143" y="151306"/>
                      </a:lnTo>
                      <a:cubicBezTo>
                        <a:pt x="521173" y="149102"/>
                        <a:pt x="525282" y="146998"/>
                        <a:pt x="529332" y="144834"/>
                      </a:cubicBezTo>
                      <a:cubicBezTo>
                        <a:pt x="545570" y="136179"/>
                        <a:pt x="562185" y="128278"/>
                        <a:pt x="578900" y="120596"/>
                      </a:cubicBezTo>
                      <a:cubicBezTo>
                        <a:pt x="595734" y="113172"/>
                        <a:pt x="612647" y="105926"/>
                        <a:pt x="629898" y="99514"/>
                      </a:cubicBezTo>
                      <a:cubicBezTo>
                        <a:pt x="647049" y="92884"/>
                        <a:pt x="664518" y="87087"/>
                        <a:pt x="682027" y="81449"/>
                      </a:cubicBezTo>
                      <a:cubicBezTo>
                        <a:pt x="699635" y="76129"/>
                        <a:pt x="717302" y="71008"/>
                        <a:pt x="735208" y="66740"/>
                      </a:cubicBezTo>
                      <a:cubicBezTo>
                        <a:pt x="770940" y="57985"/>
                        <a:pt x="807169" y="51236"/>
                        <a:pt x="843734" y="46968"/>
                      </a:cubicBezTo>
                      <a:cubicBezTo>
                        <a:pt x="880280" y="42620"/>
                        <a:pt x="917104" y="40397"/>
                        <a:pt x="953968" y="40338"/>
                      </a:cubicBezTo>
                      <a:cubicBezTo>
                        <a:pt x="990832" y="40417"/>
                        <a:pt x="1027636" y="42620"/>
                        <a:pt x="1064202" y="46968"/>
                      </a:cubicBezTo>
                      <a:cubicBezTo>
                        <a:pt x="1100767" y="51256"/>
                        <a:pt x="1136996" y="58005"/>
                        <a:pt x="1172728" y="66740"/>
                      </a:cubicBezTo>
                      <a:cubicBezTo>
                        <a:pt x="1190614" y="71028"/>
                        <a:pt x="1208301" y="76149"/>
                        <a:pt x="1225909" y="81449"/>
                      </a:cubicBezTo>
                      <a:cubicBezTo>
                        <a:pt x="1243418" y="87067"/>
                        <a:pt x="1260887" y="92864"/>
                        <a:pt x="1278038" y="99514"/>
                      </a:cubicBezTo>
                      <a:cubicBezTo>
                        <a:pt x="1295289" y="105926"/>
                        <a:pt x="1312202" y="113172"/>
                        <a:pt x="1329036" y="120596"/>
                      </a:cubicBezTo>
                      <a:cubicBezTo>
                        <a:pt x="1345751" y="128278"/>
                        <a:pt x="1362366" y="136179"/>
                        <a:pt x="1378604" y="144834"/>
                      </a:cubicBezTo>
                      <a:cubicBezTo>
                        <a:pt x="1382674" y="146998"/>
                        <a:pt x="1386763" y="149082"/>
                        <a:pt x="1390793" y="151306"/>
                      </a:cubicBezTo>
                      <a:lnTo>
                        <a:pt x="1402843" y="158035"/>
                      </a:lnTo>
                      <a:lnTo>
                        <a:pt x="1408858" y="161410"/>
                      </a:lnTo>
                      <a:lnTo>
                        <a:pt x="1414793" y="164924"/>
                      </a:lnTo>
                      <a:lnTo>
                        <a:pt x="1426684" y="171951"/>
                      </a:lnTo>
                      <a:cubicBezTo>
                        <a:pt x="1442347" y="181599"/>
                        <a:pt x="1457910" y="191465"/>
                        <a:pt x="1472977" y="202006"/>
                      </a:cubicBezTo>
                      <a:cubicBezTo>
                        <a:pt x="1488203" y="212368"/>
                        <a:pt x="1502873" y="223485"/>
                        <a:pt x="1517463" y="234720"/>
                      </a:cubicBezTo>
                      <a:cubicBezTo>
                        <a:pt x="1531855" y="246194"/>
                        <a:pt x="1546128" y="257847"/>
                        <a:pt x="1559826" y="270135"/>
                      </a:cubicBezTo>
                      <a:cubicBezTo>
                        <a:pt x="1573682" y="282244"/>
                        <a:pt x="1586942" y="295048"/>
                        <a:pt x="1600084" y="307951"/>
                      </a:cubicBezTo>
                      <a:cubicBezTo>
                        <a:pt x="1612967" y="321093"/>
                        <a:pt x="1625771" y="334333"/>
                        <a:pt x="1637900" y="348209"/>
                      </a:cubicBezTo>
                      <a:cubicBezTo>
                        <a:pt x="1650208" y="361907"/>
                        <a:pt x="1661841" y="376180"/>
                        <a:pt x="1673315" y="390572"/>
                      </a:cubicBezTo>
                      <a:cubicBezTo>
                        <a:pt x="1684551" y="405162"/>
                        <a:pt x="1695667" y="419832"/>
                        <a:pt x="1706030" y="435058"/>
                      </a:cubicBezTo>
                      <a:cubicBezTo>
                        <a:pt x="1716591" y="450145"/>
                        <a:pt x="1726437" y="465689"/>
                        <a:pt x="1736084" y="481351"/>
                      </a:cubicBezTo>
                      <a:lnTo>
                        <a:pt x="1743112" y="493242"/>
                      </a:lnTo>
                      <a:lnTo>
                        <a:pt x="1746625" y="499178"/>
                      </a:lnTo>
                      <a:lnTo>
                        <a:pt x="1750000" y="505193"/>
                      </a:lnTo>
                      <a:lnTo>
                        <a:pt x="1756730" y="517242"/>
                      </a:lnTo>
                      <a:cubicBezTo>
                        <a:pt x="1758933" y="521272"/>
                        <a:pt x="1761037" y="525381"/>
                        <a:pt x="1763201" y="529431"/>
                      </a:cubicBezTo>
                      <a:cubicBezTo>
                        <a:pt x="1771856" y="545669"/>
                        <a:pt x="1779757" y="562284"/>
                        <a:pt x="1787439" y="578999"/>
                      </a:cubicBezTo>
                      <a:cubicBezTo>
                        <a:pt x="1794864" y="595833"/>
                        <a:pt x="1802109" y="612746"/>
                        <a:pt x="1808521" y="629997"/>
                      </a:cubicBezTo>
                      <a:cubicBezTo>
                        <a:pt x="1815152" y="647148"/>
                        <a:pt x="1820948" y="664617"/>
                        <a:pt x="1826586" y="682126"/>
                      </a:cubicBezTo>
                      <a:cubicBezTo>
                        <a:pt x="1831906" y="699734"/>
                        <a:pt x="1837028" y="717402"/>
                        <a:pt x="1841295" y="735307"/>
                      </a:cubicBezTo>
                      <a:cubicBezTo>
                        <a:pt x="1858983" y="806732"/>
                        <a:pt x="1867539" y="880360"/>
                        <a:pt x="1867717" y="954067"/>
                      </a:cubicBezTo>
                      <a:cubicBezTo>
                        <a:pt x="1867539" y="1027775"/>
                        <a:pt x="1858983" y="1101383"/>
                        <a:pt x="1841295" y="1172827"/>
                      </a:cubicBezTo>
                      <a:close/>
                    </a:path>
                  </a:pathLst>
                </a:custGeom>
                <a:solidFill>
                  <a:srgbClr val="7BA0FF"/>
                </a:solidFill>
                <a:ln w="197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13161E"/>
                    </a:solidFill>
                    <a:latin typeface="Microsoft Sans Serif"/>
                  </a:endParaRPr>
                </a:p>
              </p:txBody>
            </p:sp>
            <p:sp>
              <p:nvSpPr>
                <p:cNvPr id="673" name="Freeform 15">
                  <a:extLst>
                    <a:ext uri="{FF2B5EF4-FFF2-40B4-BE49-F238E27FC236}">
                      <a16:creationId xmlns:a16="http://schemas.microsoft.com/office/drawing/2014/main" id="{4D8D3AE7-F096-DC38-B9A7-B261E7173C46}"/>
                    </a:ext>
                  </a:extLst>
                </p:cNvPr>
                <p:cNvSpPr/>
                <p:nvPr/>
              </p:nvSpPr>
              <p:spPr>
                <a:xfrm>
                  <a:off x="12934438" y="4169991"/>
                  <a:ext cx="858308" cy="858284"/>
                </a:xfrm>
                <a:custGeom>
                  <a:avLst/>
                  <a:gdLst>
                    <a:gd name="connsiteX0" fmla="*/ 2037147 w 2067023"/>
                    <a:gd name="connsiteY0" fmla="*/ 786146 h 2066963"/>
                    <a:gd name="connsiteX1" fmla="*/ 2020472 w 2067023"/>
                    <a:gd name="connsiteY1" fmla="*/ 725957 h 2066963"/>
                    <a:gd name="connsiteX2" fmla="*/ 2000026 w 2067023"/>
                    <a:gd name="connsiteY2" fmla="*/ 666940 h 2066963"/>
                    <a:gd name="connsiteX3" fmla="*/ 1976164 w 2067023"/>
                    <a:gd name="connsiteY3" fmla="*/ 609213 h 2066963"/>
                    <a:gd name="connsiteX4" fmla="*/ 1948730 w 2067023"/>
                    <a:gd name="connsiteY4" fmla="*/ 553113 h 2066963"/>
                    <a:gd name="connsiteX5" fmla="*/ 1941405 w 2067023"/>
                    <a:gd name="connsiteY5" fmla="*/ 539317 h 2066963"/>
                    <a:gd name="connsiteX6" fmla="*/ 1933782 w 2067023"/>
                    <a:gd name="connsiteY6" fmla="*/ 525679 h 2066963"/>
                    <a:gd name="connsiteX7" fmla="*/ 1929971 w 2067023"/>
                    <a:gd name="connsiteY7" fmla="*/ 518870 h 2066963"/>
                    <a:gd name="connsiteX8" fmla="*/ 1926000 w 2067023"/>
                    <a:gd name="connsiteY8" fmla="*/ 512140 h 2066963"/>
                    <a:gd name="connsiteX9" fmla="*/ 1918060 w 2067023"/>
                    <a:gd name="connsiteY9" fmla="*/ 498701 h 2066963"/>
                    <a:gd name="connsiteX10" fmla="*/ 1884075 w 2067023"/>
                    <a:gd name="connsiteY10" fmla="*/ 446334 h 2066963"/>
                    <a:gd name="connsiteX11" fmla="*/ 1847092 w 2067023"/>
                    <a:gd name="connsiteY11" fmla="*/ 396051 h 2066963"/>
                    <a:gd name="connsiteX12" fmla="*/ 1807052 w 2067023"/>
                    <a:gd name="connsiteY12" fmla="*/ 348170 h 2066963"/>
                    <a:gd name="connsiteX13" fmla="*/ 1764313 w 2067023"/>
                    <a:gd name="connsiteY13" fmla="*/ 302691 h 2066963"/>
                    <a:gd name="connsiteX14" fmla="*/ 1718834 w 2067023"/>
                    <a:gd name="connsiteY14" fmla="*/ 259951 h 2066963"/>
                    <a:gd name="connsiteX15" fmla="*/ 1670953 w 2067023"/>
                    <a:gd name="connsiteY15" fmla="*/ 219911 h 2066963"/>
                    <a:gd name="connsiteX16" fmla="*/ 1620670 w 2067023"/>
                    <a:gd name="connsiteY16" fmla="*/ 182929 h 2066963"/>
                    <a:gd name="connsiteX17" fmla="*/ 1568302 w 2067023"/>
                    <a:gd name="connsiteY17" fmla="*/ 148943 h 2066963"/>
                    <a:gd name="connsiteX18" fmla="*/ 1554863 w 2067023"/>
                    <a:gd name="connsiteY18" fmla="*/ 141003 h 2066963"/>
                    <a:gd name="connsiteX19" fmla="*/ 1548133 w 2067023"/>
                    <a:gd name="connsiteY19" fmla="*/ 137033 h 2066963"/>
                    <a:gd name="connsiteX20" fmla="*/ 1541324 w 2067023"/>
                    <a:gd name="connsiteY20" fmla="*/ 133221 h 2066963"/>
                    <a:gd name="connsiteX21" fmla="*/ 1527687 w 2067023"/>
                    <a:gd name="connsiteY21" fmla="*/ 125598 h 2066963"/>
                    <a:gd name="connsiteX22" fmla="*/ 1513890 w 2067023"/>
                    <a:gd name="connsiteY22" fmla="*/ 118273 h 2066963"/>
                    <a:gd name="connsiteX23" fmla="*/ 1457791 w 2067023"/>
                    <a:gd name="connsiteY23" fmla="*/ 90839 h 2066963"/>
                    <a:gd name="connsiteX24" fmla="*/ 1400064 w 2067023"/>
                    <a:gd name="connsiteY24" fmla="*/ 66978 h 2066963"/>
                    <a:gd name="connsiteX25" fmla="*/ 1341046 w 2067023"/>
                    <a:gd name="connsiteY25" fmla="*/ 46531 h 2066963"/>
                    <a:gd name="connsiteX26" fmla="*/ 1280857 w 2067023"/>
                    <a:gd name="connsiteY26" fmla="*/ 29856 h 2066963"/>
                    <a:gd name="connsiteX27" fmla="*/ 1158038 w 2067023"/>
                    <a:gd name="connsiteY27" fmla="*/ 7484 h 2066963"/>
                    <a:gd name="connsiteX28" fmla="*/ 1033512 w 2067023"/>
                    <a:gd name="connsiteY28" fmla="*/ 0 h 2066963"/>
                    <a:gd name="connsiteX29" fmla="*/ 908985 w 2067023"/>
                    <a:gd name="connsiteY29" fmla="*/ 7484 h 2066963"/>
                    <a:gd name="connsiteX30" fmla="*/ 786166 w 2067023"/>
                    <a:gd name="connsiteY30" fmla="*/ 29856 h 2066963"/>
                    <a:gd name="connsiteX31" fmla="*/ 725977 w 2067023"/>
                    <a:gd name="connsiteY31" fmla="*/ 46531 h 2066963"/>
                    <a:gd name="connsiteX32" fmla="*/ 666960 w 2067023"/>
                    <a:gd name="connsiteY32" fmla="*/ 66978 h 2066963"/>
                    <a:gd name="connsiteX33" fmla="*/ 609232 w 2067023"/>
                    <a:gd name="connsiteY33" fmla="*/ 90839 h 2066963"/>
                    <a:gd name="connsiteX34" fmla="*/ 553133 w 2067023"/>
                    <a:gd name="connsiteY34" fmla="*/ 118273 h 2066963"/>
                    <a:gd name="connsiteX35" fmla="*/ 539337 w 2067023"/>
                    <a:gd name="connsiteY35" fmla="*/ 125598 h 2066963"/>
                    <a:gd name="connsiteX36" fmla="*/ 525699 w 2067023"/>
                    <a:gd name="connsiteY36" fmla="*/ 133221 h 2066963"/>
                    <a:gd name="connsiteX37" fmla="*/ 518890 w 2067023"/>
                    <a:gd name="connsiteY37" fmla="*/ 137033 h 2066963"/>
                    <a:gd name="connsiteX38" fmla="*/ 512160 w 2067023"/>
                    <a:gd name="connsiteY38" fmla="*/ 141003 h 2066963"/>
                    <a:gd name="connsiteX39" fmla="*/ 498721 w 2067023"/>
                    <a:gd name="connsiteY39" fmla="*/ 148943 h 2066963"/>
                    <a:gd name="connsiteX40" fmla="*/ 446354 w 2067023"/>
                    <a:gd name="connsiteY40" fmla="*/ 182929 h 2066963"/>
                    <a:gd name="connsiteX41" fmla="*/ 396071 w 2067023"/>
                    <a:gd name="connsiteY41" fmla="*/ 219911 h 2066963"/>
                    <a:gd name="connsiteX42" fmla="*/ 348190 w 2067023"/>
                    <a:gd name="connsiteY42" fmla="*/ 259951 h 2066963"/>
                    <a:gd name="connsiteX43" fmla="*/ 302711 w 2067023"/>
                    <a:gd name="connsiteY43" fmla="*/ 302691 h 2066963"/>
                    <a:gd name="connsiteX44" fmla="*/ 259971 w 2067023"/>
                    <a:gd name="connsiteY44" fmla="*/ 348170 h 2066963"/>
                    <a:gd name="connsiteX45" fmla="*/ 219931 w 2067023"/>
                    <a:gd name="connsiteY45" fmla="*/ 396051 h 2066963"/>
                    <a:gd name="connsiteX46" fmla="*/ 182948 w 2067023"/>
                    <a:gd name="connsiteY46" fmla="*/ 446334 h 2066963"/>
                    <a:gd name="connsiteX47" fmla="*/ 148963 w 2067023"/>
                    <a:gd name="connsiteY47" fmla="*/ 498701 h 2066963"/>
                    <a:gd name="connsiteX48" fmla="*/ 141023 w 2067023"/>
                    <a:gd name="connsiteY48" fmla="*/ 512140 h 2066963"/>
                    <a:gd name="connsiteX49" fmla="*/ 137053 w 2067023"/>
                    <a:gd name="connsiteY49" fmla="*/ 518870 h 2066963"/>
                    <a:gd name="connsiteX50" fmla="*/ 133241 w 2067023"/>
                    <a:gd name="connsiteY50" fmla="*/ 525679 h 2066963"/>
                    <a:gd name="connsiteX51" fmla="*/ 125618 w 2067023"/>
                    <a:gd name="connsiteY51" fmla="*/ 539317 h 2066963"/>
                    <a:gd name="connsiteX52" fmla="*/ 118293 w 2067023"/>
                    <a:gd name="connsiteY52" fmla="*/ 553113 h 2066963"/>
                    <a:gd name="connsiteX53" fmla="*/ 90859 w 2067023"/>
                    <a:gd name="connsiteY53" fmla="*/ 609213 h 2066963"/>
                    <a:gd name="connsiteX54" fmla="*/ 66998 w 2067023"/>
                    <a:gd name="connsiteY54" fmla="*/ 666940 h 2066963"/>
                    <a:gd name="connsiteX55" fmla="*/ 46551 w 2067023"/>
                    <a:gd name="connsiteY55" fmla="*/ 725957 h 2066963"/>
                    <a:gd name="connsiteX56" fmla="*/ 29876 w 2067023"/>
                    <a:gd name="connsiteY56" fmla="*/ 786146 h 2066963"/>
                    <a:gd name="connsiteX57" fmla="*/ 0 w 2067023"/>
                    <a:gd name="connsiteY57" fmla="*/ 1033492 h 2066963"/>
                    <a:gd name="connsiteX58" fmla="*/ 29876 w 2067023"/>
                    <a:gd name="connsiteY58" fmla="*/ 1280817 h 2066963"/>
                    <a:gd name="connsiteX59" fmla="*/ 46551 w 2067023"/>
                    <a:gd name="connsiteY59" fmla="*/ 1341006 h 2066963"/>
                    <a:gd name="connsiteX60" fmla="*/ 66998 w 2067023"/>
                    <a:gd name="connsiteY60" fmla="*/ 1400024 h 2066963"/>
                    <a:gd name="connsiteX61" fmla="*/ 90859 w 2067023"/>
                    <a:gd name="connsiteY61" fmla="*/ 1457751 h 2066963"/>
                    <a:gd name="connsiteX62" fmla="*/ 118293 w 2067023"/>
                    <a:gd name="connsiteY62" fmla="*/ 1513850 h 2066963"/>
                    <a:gd name="connsiteX63" fmla="*/ 125618 w 2067023"/>
                    <a:gd name="connsiteY63" fmla="*/ 1527647 h 2066963"/>
                    <a:gd name="connsiteX64" fmla="*/ 133241 w 2067023"/>
                    <a:gd name="connsiteY64" fmla="*/ 1541285 h 2066963"/>
                    <a:gd name="connsiteX65" fmla="*/ 137053 w 2067023"/>
                    <a:gd name="connsiteY65" fmla="*/ 1548094 h 2066963"/>
                    <a:gd name="connsiteX66" fmla="*/ 141023 w 2067023"/>
                    <a:gd name="connsiteY66" fmla="*/ 1554823 h 2066963"/>
                    <a:gd name="connsiteX67" fmla="*/ 148963 w 2067023"/>
                    <a:gd name="connsiteY67" fmla="*/ 1568263 h 2066963"/>
                    <a:gd name="connsiteX68" fmla="*/ 182948 w 2067023"/>
                    <a:gd name="connsiteY68" fmla="*/ 1620630 h 2066963"/>
                    <a:gd name="connsiteX69" fmla="*/ 219931 w 2067023"/>
                    <a:gd name="connsiteY69" fmla="*/ 1670913 h 2066963"/>
                    <a:gd name="connsiteX70" fmla="*/ 259971 w 2067023"/>
                    <a:gd name="connsiteY70" fmla="*/ 1718794 h 2066963"/>
                    <a:gd name="connsiteX71" fmla="*/ 302711 w 2067023"/>
                    <a:gd name="connsiteY71" fmla="*/ 1764273 h 2066963"/>
                    <a:gd name="connsiteX72" fmla="*/ 348190 w 2067023"/>
                    <a:gd name="connsiteY72" fmla="*/ 1807012 h 2066963"/>
                    <a:gd name="connsiteX73" fmla="*/ 396071 w 2067023"/>
                    <a:gd name="connsiteY73" fmla="*/ 1847052 h 2066963"/>
                    <a:gd name="connsiteX74" fmla="*/ 446354 w 2067023"/>
                    <a:gd name="connsiteY74" fmla="*/ 1884035 h 2066963"/>
                    <a:gd name="connsiteX75" fmla="*/ 498721 w 2067023"/>
                    <a:gd name="connsiteY75" fmla="*/ 1918020 h 2066963"/>
                    <a:gd name="connsiteX76" fmla="*/ 512160 w 2067023"/>
                    <a:gd name="connsiteY76" fmla="*/ 1925961 h 2066963"/>
                    <a:gd name="connsiteX77" fmla="*/ 518890 w 2067023"/>
                    <a:gd name="connsiteY77" fmla="*/ 1929931 h 2066963"/>
                    <a:gd name="connsiteX78" fmla="*/ 525699 w 2067023"/>
                    <a:gd name="connsiteY78" fmla="*/ 1933742 h 2066963"/>
                    <a:gd name="connsiteX79" fmla="*/ 539337 w 2067023"/>
                    <a:gd name="connsiteY79" fmla="*/ 1941365 h 2066963"/>
                    <a:gd name="connsiteX80" fmla="*/ 553133 w 2067023"/>
                    <a:gd name="connsiteY80" fmla="*/ 1948690 h 2066963"/>
                    <a:gd name="connsiteX81" fmla="*/ 609232 w 2067023"/>
                    <a:gd name="connsiteY81" fmla="*/ 1976125 h 2066963"/>
                    <a:gd name="connsiteX82" fmla="*/ 666960 w 2067023"/>
                    <a:gd name="connsiteY82" fmla="*/ 1999986 h 2066963"/>
                    <a:gd name="connsiteX83" fmla="*/ 725977 w 2067023"/>
                    <a:gd name="connsiteY83" fmla="*/ 2020432 h 2066963"/>
                    <a:gd name="connsiteX84" fmla="*/ 786166 w 2067023"/>
                    <a:gd name="connsiteY84" fmla="*/ 2037107 h 2066963"/>
                    <a:gd name="connsiteX85" fmla="*/ 908985 w 2067023"/>
                    <a:gd name="connsiteY85" fmla="*/ 2059480 h 2066963"/>
                    <a:gd name="connsiteX86" fmla="*/ 1033512 w 2067023"/>
                    <a:gd name="connsiteY86" fmla="*/ 2066964 h 2066963"/>
                    <a:gd name="connsiteX87" fmla="*/ 1158038 w 2067023"/>
                    <a:gd name="connsiteY87" fmla="*/ 2059480 h 2066963"/>
                    <a:gd name="connsiteX88" fmla="*/ 1280857 w 2067023"/>
                    <a:gd name="connsiteY88" fmla="*/ 2037107 h 2066963"/>
                    <a:gd name="connsiteX89" fmla="*/ 1341046 w 2067023"/>
                    <a:gd name="connsiteY89" fmla="*/ 2020432 h 2066963"/>
                    <a:gd name="connsiteX90" fmla="*/ 1400064 w 2067023"/>
                    <a:gd name="connsiteY90" fmla="*/ 1999986 h 2066963"/>
                    <a:gd name="connsiteX91" fmla="*/ 1457791 w 2067023"/>
                    <a:gd name="connsiteY91" fmla="*/ 1976125 h 2066963"/>
                    <a:gd name="connsiteX92" fmla="*/ 1513890 w 2067023"/>
                    <a:gd name="connsiteY92" fmla="*/ 1948690 h 2066963"/>
                    <a:gd name="connsiteX93" fmla="*/ 1527687 w 2067023"/>
                    <a:gd name="connsiteY93" fmla="*/ 1941365 h 2066963"/>
                    <a:gd name="connsiteX94" fmla="*/ 1541324 w 2067023"/>
                    <a:gd name="connsiteY94" fmla="*/ 1933742 h 2066963"/>
                    <a:gd name="connsiteX95" fmla="*/ 1548133 w 2067023"/>
                    <a:gd name="connsiteY95" fmla="*/ 1929931 h 2066963"/>
                    <a:gd name="connsiteX96" fmla="*/ 1554863 w 2067023"/>
                    <a:gd name="connsiteY96" fmla="*/ 1925961 h 2066963"/>
                    <a:gd name="connsiteX97" fmla="*/ 1568302 w 2067023"/>
                    <a:gd name="connsiteY97" fmla="*/ 1918020 h 2066963"/>
                    <a:gd name="connsiteX98" fmla="*/ 1620670 w 2067023"/>
                    <a:gd name="connsiteY98" fmla="*/ 1884035 h 2066963"/>
                    <a:gd name="connsiteX99" fmla="*/ 1670953 w 2067023"/>
                    <a:gd name="connsiteY99" fmla="*/ 1847052 h 2066963"/>
                    <a:gd name="connsiteX100" fmla="*/ 1718834 w 2067023"/>
                    <a:gd name="connsiteY100" fmla="*/ 1807012 h 2066963"/>
                    <a:gd name="connsiteX101" fmla="*/ 1764313 w 2067023"/>
                    <a:gd name="connsiteY101" fmla="*/ 1764273 h 2066963"/>
                    <a:gd name="connsiteX102" fmla="*/ 1807052 w 2067023"/>
                    <a:gd name="connsiteY102" fmla="*/ 1718794 h 2066963"/>
                    <a:gd name="connsiteX103" fmla="*/ 1847092 w 2067023"/>
                    <a:gd name="connsiteY103" fmla="*/ 1670913 h 2066963"/>
                    <a:gd name="connsiteX104" fmla="*/ 1884075 w 2067023"/>
                    <a:gd name="connsiteY104" fmla="*/ 1620630 h 2066963"/>
                    <a:gd name="connsiteX105" fmla="*/ 1918060 w 2067023"/>
                    <a:gd name="connsiteY105" fmla="*/ 1568263 h 2066963"/>
                    <a:gd name="connsiteX106" fmla="*/ 1926000 w 2067023"/>
                    <a:gd name="connsiteY106" fmla="*/ 1554823 h 2066963"/>
                    <a:gd name="connsiteX107" fmla="*/ 1929971 w 2067023"/>
                    <a:gd name="connsiteY107" fmla="*/ 1548094 h 2066963"/>
                    <a:gd name="connsiteX108" fmla="*/ 1933782 w 2067023"/>
                    <a:gd name="connsiteY108" fmla="*/ 1541285 h 2066963"/>
                    <a:gd name="connsiteX109" fmla="*/ 1941405 w 2067023"/>
                    <a:gd name="connsiteY109" fmla="*/ 1527647 h 2066963"/>
                    <a:gd name="connsiteX110" fmla="*/ 1948730 w 2067023"/>
                    <a:gd name="connsiteY110" fmla="*/ 1513850 h 2066963"/>
                    <a:gd name="connsiteX111" fmla="*/ 1976164 w 2067023"/>
                    <a:gd name="connsiteY111" fmla="*/ 1457751 h 2066963"/>
                    <a:gd name="connsiteX112" fmla="*/ 2000026 w 2067023"/>
                    <a:gd name="connsiteY112" fmla="*/ 1400024 h 2066963"/>
                    <a:gd name="connsiteX113" fmla="*/ 2020472 w 2067023"/>
                    <a:gd name="connsiteY113" fmla="*/ 1341006 h 2066963"/>
                    <a:gd name="connsiteX114" fmla="*/ 2037147 w 2067023"/>
                    <a:gd name="connsiteY114" fmla="*/ 1280817 h 2066963"/>
                    <a:gd name="connsiteX115" fmla="*/ 2067023 w 2067023"/>
                    <a:gd name="connsiteY115" fmla="*/ 1033492 h 2066963"/>
                    <a:gd name="connsiteX116" fmla="*/ 2037147 w 2067023"/>
                    <a:gd name="connsiteY116" fmla="*/ 786166 h 2066963"/>
                    <a:gd name="connsiteX117" fmla="*/ 1981921 w 2067023"/>
                    <a:gd name="connsiteY117" fmla="*/ 1329016 h 2066963"/>
                    <a:gd name="connsiteX118" fmla="*/ 1962288 w 2067023"/>
                    <a:gd name="connsiteY118" fmla="*/ 1385711 h 2066963"/>
                    <a:gd name="connsiteX119" fmla="*/ 1939360 w 2067023"/>
                    <a:gd name="connsiteY119" fmla="*/ 1441155 h 2066963"/>
                    <a:gd name="connsiteX120" fmla="*/ 1912998 w 2067023"/>
                    <a:gd name="connsiteY120" fmla="*/ 1495051 h 2066963"/>
                    <a:gd name="connsiteX121" fmla="*/ 1905971 w 2067023"/>
                    <a:gd name="connsiteY121" fmla="*/ 1508292 h 2066963"/>
                    <a:gd name="connsiteX122" fmla="*/ 1898646 w 2067023"/>
                    <a:gd name="connsiteY122" fmla="*/ 1521394 h 2066963"/>
                    <a:gd name="connsiteX123" fmla="*/ 1894973 w 2067023"/>
                    <a:gd name="connsiteY123" fmla="*/ 1527945 h 2066963"/>
                    <a:gd name="connsiteX124" fmla="*/ 1891162 w 2067023"/>
                    <a:gd name="connsiteY124" fmla="*/ 1534396 h 2066963"/>
                    <a:gd name="connsiteX125" fmla="*/ 1883519 w 2067023"/>
                    <a:gd name="connsiteY125" fmla="*/ 1547319 h 2066963"/>
                    <a:gd name="connsiteX126" fmla="*/ 1850844 w 2067023"/>
                    <a:gd name="connsiteY126" fmla="*/ 1597642 h 2066963"/>
                    <a:gd name="connsiteX127" fmla="*/ 1815291 w 2067023"/>
                    <a:gd name="connsiteY127" fmla="*/ 1645980 h 2066963"/>
                    <a:gd name="connsiteX128" fmla="*/ 1776819 w 2067023"/>
                    <a:gd name="connsiteY128" fmla="*/ 1692015 h 2066963"/>
                    <a:gd name="connsiteX129" fmla="*/ 1735747 w 2067023"/>
                    <a:gd name="connsiteY129" fmla="*/ 1735727 h 2066963"/>
                    <a:gd name="connsiteX130" fmla="*/ 1692035 w 2067023"/>
                    <a:gd name="connsiteY130" fmla="*/ 1776799 h 2066963"/>
                    <a:gd name="connsiteX131" fmla="*/ 1646000 w 2067023"/>
                    <a:gd name="connsiteY131" fmla="*/ 1815271 h 2066963"/>
                    <a:gd name="connsiteX132" fmla="*/ 1597662 w 2067023"/>
                    <a:gd name="connsiteY132" fmla="*/ 1850824 h 2066963"/>
                    <a:gd name="connsiteX133" fmla="*/ 1547339 w 2067023"/>
                    <a:gd name="connsiteY133" fmla="*/ 1883499 h 2066963"/>
                    <a:gd name="connsiteX134" fmla="*/ 1534416 w 2067023"/>
                    <a:gd name="connsiteY134" fmla="*/ 1891142 h 2066963"/>
                    <a:gd name="connsiteX135" fmla="*/ 1527965 w 2067023"/>
                    <a:gd name="connsiteY135" fmla="*/ 1894953 h 2066963"/>
                    <a:gd name="connsiteX136" fmla="*/ 1521414 w 2067023"/>
                    <a:gd name="connsiteY136" fmla="*/ 1898626 h 2066963"/>
                    <a:gd name="connsiteX137" fmla="*/ 1508312 w 2067023"/>
                    <a:gd name="connsiteY137" fmla="*/ 1905951 h 2066963"/>
                    <a:gd name="connsiteX138" fmla="*/ 1495071 w 2067023"/>
                    <a:gd name="connsiteY138" fmla="*/ 1912978 h 2066963"/>
                    <a:gd name="connsiteX139" fmla="*/ 1441175 w 2067023"/>
                    <a:gd name="connsiteY139" fmla="*/ 1939340 h 2066963"/>
                    <a:gd name="connsiteX140" fmla="*/ 1385731 w 2067023"/>
                    <a:gd name="connsiteY140" fmla="*/ 1962269 h 2066963"/>
                    <a:gd name="connsiteX141" fmla="*/ 1329036 w 2067023"/>
                    <a:gd name="connsiteY141" fmla="*/ 1981901 h 2066963"/>
                    <a:gd name="connsiteX142" fmla="*/ 1271210 w 2067023"/>
                    <a:gd name="connsiteY142" fmla="*/ 1997921 h 2066963"/>
                    <a:gd name="connsiteX143" fmla="*/ 1153214 w 2067023"/>
                    <a:gd name="connsiteY143" fmla="*/ 2019420 h 2066963"/>
                    <a:gd name="connsiteX144" fmla="*/ 1033512 w 2067023"/>
                    <a:gd name="connsiteY144" fmla="*/ 2026626 h 2066963"/>
                    <a:gd name="connsiteX145" fmla="*/ 913809 w 2067023"/>
                    <a:gd name="connsiteY145" fmla="*/ 2019420 h 2066963"/>
                    <a:gd name="connsiteX146" fmla="*/ 795814 w 2067023"/>
                    <a:gd name="connsiteY146" fmla="*/ 1997921 h 2066963"/>
                    <a:gd name="connsiteX147" fmla="*/ 737987 w 2067023"/>
                    <a:gd name="connsiteY147" fmla="*/ 1981901 h 2066963"/>
                    <a:gd name="connsiteX148" fmla="*/ 681292 w 2067023"/>
                    <a:gd name="connsiteY148" fmla="*/ 1962269 h 2066963"/>
                    <a:gd name="connsiteX149" fmla="*/ 625848 w 2067023"/>
                    <a:gd name="connsiteY149" fmla="*/ 1939340 h 2066963"/>
                    <a:gd name="connsiteX150" fmla="*/ 571952 w 2067023"/>
                    <a:gd name="connsiteY150" fmla="*/ 1912978 h 2066963"/>
                    <a:gd name="connsiteX151" fmla="*/ 558711 w 2067023"/>
                    <a:gd name="connsiteY151" fmla="*/ 1905951 h 2066963"/>
                    <a:gd name="connsiteX152" fmla="*/ 545610 w 2067023"/>
                    <a:gd name="connsiteY152" fmla="*/ 1898626 h 2066963"/>
                    <a:gd name="connsiteX153" fmla="*/ 539059 w 2067023"/>
                    <a:gd name="connsiteY153" fmla="*/ 1894953 h 2066963"/>
                    <a:gd name="connsiteX154" fmla="*/ 532607 w 2067023"/>
                    <a:gd name="connsiteY154" fmla="*/ 1891142 h 2066963"/>
                    <a:gd name="connsiteX155" fmla="*/ 519684 w 2067023"/>
                    <a:gd name="connsiteY155" fmla="*/ 1883499 h 2066963"/>
                    <a:gd name="connsiteX156" fmla="*/ 469361 w 2067023"/>
                    <a:gd name="connsiteY156" fmla="*/ 1850824 h 2066963"/>
                    <a:gd name="connsiteX157" fmla="*/ 421024 w 2067023"/>
                    <a:gd name="connsiteY157" fmla="*/ 1815271 h 2066963"/>
                    <a:gd name="connsiteX158" fmla="*/ 374989 w 2067023"/>
                    <a:gd name="connsiteY158" fmla="*/ 1776799 h 2066963"/>
                    <a:gd name="connsiteX159" fmla="*/ 331276 w 2067023"/>
                    <a:gd name="connsiteY159" fmla="*/ 1735727 h 2066963"/>
                    <a:gd name="connsiteX160" fmla="*/ 290204 w 2067023"/>
                    <a:gd name="connsiteY160" fmla="*/ 1692015 h 2066963"/>
                    <a:gd name="connsiteX161" fmla="*/ 251733 w 2067023"/>
                    <a:gd name="connsiteY161" fmla="*/ 1645980 h 2066963"/>
                    <a:gd name="connsiteX162" fmla="*/ 216179 w 2067023"/>
                    <a:gd name="connsiteY162" fmla="*/ 1597642 h 2066963"/>
                    <a:gd name="connsiteX163" fmla="*/ 183504 w 2067023"/>
                    <a:gd name="connsiteY163" fmla="*/ 1547319 h 2066963"/>
                    <a:gd name="connsiteX164" fmla="*/ 175862 w 2067023"/>
                    <a:gd name="connsiteY164" fmla="*/ 1534396 h 2066963"/>
                    <a:gd name="connsiteX165" fmla="*/ 172050 w 2067023"/>
                    <a:gd name="connsiteY165" fmla="*/ 1527945 h 2066963"/>
                    <a:gd name="connsiteX166" fmla="*/ 168378 w 2067023"/>
                    <a:gd name="connsiteY166" fmla="*/ 1521394 h 2066963"/>
                    <a:gd name="connsiteX167" fmla="*/ 161053 w 2067023"/>
                    <a:gd name="connsiteY167" fmla="*/ 1508292 h 2066963"/>
                    <a:gd name="connsiteX168" fmla="*/ 154025 w 2067023"/>
                    <a:gd name="connsiteY168" fmla="*/ 1495051 h 2066963"/>
                    <a:gd name="connsiteX169" fmla="*/ 127663 w 2067023"/>
                    <a:gd name="connsiteY169" fmla="*/ 1441155 h 2066963"/>
                    <a:gd name="connsiteX170" fmla="*/ 104735 w 2067023"/>
                    <a:gd name="connsiteY170" fmla="*/ 1385711 h 2066963"/>
                    <a:gd name="connsiteX171" fmla="*/ 85102 w 2067023"/>
                    <a:gd name="connsiteY171" fmla="*/ 1329016 h 2066963"/>
                    <a:gd name="connsiteX172" fmla="*/ 69082 w 2067023"/>
                    <a:gd name="connsiteY172" fmla="*/ 1271190 h 2066963"/>
                    <a:gd name="connsiteX173" fmla="*/ 40377 w 2067023"/>
                    <a:gd name="connsiteY173" fmla="*/ 1033492 h 2066963"/>
                    <a:gd name="connsiteX174" fmla="*/ 69082 w 2067023"/>
                    <a:gd name="connsiteY174" fmla="*/ 795794 h 2066963"/>
                    <a:gd name="connsiteX175" fmla="*/ 85102 w 2067023"/>
                    <a:gd name="connsiteY175" fmla="*/ 737967 h 2066963"/>
                    <a:gd name="connsiteX176" fmla="*/ 104735 w 2067023"/>
                    <a:gd name="connsiteY176" fmla="*/ 681272 h 2066963"/>
                    <a:gd name="connsiteX177" fmla="*/ 127663 w 2067023"/>
                    <a:gd name="connsiteY177" fmla="*/ 625828 h 2066963"/>
                    <a:gd name="connsiteX178" fmla="*/ 154025 w 2067023"/>
                    <a:gd name="connsiteY178" fmla="*/ 571932 h 2066963"/>
                    <a:gd name="connsiteX179" fmla="*/ 161053 w 2067023"/>
                    <a:gd name="connsiteY179" fmla="*/ 558691 h 2066963"/>
                    <a:gd name="connsiteX180" fmla="*/ 168378 w 2067023"/>
                    <a:gd name="connsiteY180" fmla="*/ 545590 h 2066963"/>
                    <a:gd name="connsiteX181" fmla="*/ 172050 w 2067023"/>
                    <a:gd name="connsiteY181" fmla="*/ 539039 h 2066963"/>
                    <a:gd name="connsiteX182" fmla="*/ 175862 w 2067023"/>
                    <a:gd name="connsiteY182" fmla="*/ 532587 h 2066963"/>
                    <a:gd name="connsiteX183" fmla="*/ 183504 w 2067023"/>
                    <a:gd name="connsiteY183" fmla="*/ 519664 h 2066963"/>
                    <a:gd name="connsiteX184" fmla="*/ 216179 w 2067023"/>
                    <a:gd name="connsiteY184" fmla="*/ 469341 h 2066963"/>
                    <a:gd name="connsiteX185" fmla="*/ 251733 w 2067023"/>
                    <a:gd name="connsiteY185" fmla="*/ 421004 h 2066963"/>
                    <a:gd name="connsiteX186" fmla="*/ 290204 w 2067023"/>
                    <a:gd name="connsiteY186" fmla="*/ 374969 h 2066963"/>
                    <a:gd name="connsiteX187" fmla="*/ 331276 w 2067023"/>
                    <a:gd name="connsiteY187" fmla="*/ 331257 h 2066963"/>
                    <a:gd name="connsiteX188" fmla="*/ 374989 w 2067023"/>
                    <a:gd name="connsiteY188" fmla="*/ 290184 h 2066963"/>
                    <a:gd name="connsiteX189" fmla="*/ 421024 w 2067023"/>
                    <a:gd name="connsiteY189" fmla="*/ 251713 h 2066963"/>
                    <a:gd name="connsiteX190" fmla="*/ 469361 w 2067023"/>
                    <a:gd name="connsiteY190" fmla="*/ 216159 h 2066963"/>
                    <a:gd name="connsiteX191" fmla="*/ 519684 w 2067023"/>
                    <a:gd name="connsiteY191" fmla="*/ 183484 h 2066963"/>
                    <a:gd name="connsiteX192" fmla="*/ 532607 w 2067023"/>
                    <a:gd name="connsiteY192" fmla="*/ 175842 h 2066963"/>
                    <a:gd name="connsiteX193" fmla="*/ 539059 w 2067023"/>
                    <a:gd name="connsiteY193" fmla="*/ 172030 h 2066963"/>
                    <a:gd name="connsiteX194" fmla="*/ 545610 w 2067023"/>
                    <a:gd name="connsiteY194" fmla="*/ 168358 h 2066963"/>
                    <a:gd name="connsiteX195" fmla="*/ 558711 w 2067023"/>
                    <a:gd name="connsiteY195" fmla="*/ 161033 h 2066963"/>
                    <a:gd name="connsiteX196" fmla="*/ 571952 w 2067023"/>
                    <a:gd name="connsiteY196" fmla="*/ 154005 h 2066963"/>
                    <a:gd name="connsiteX197" fmla="*/ 625848 w 2067023"/>
                    <a:gd name="connsiteY197" fmla="*/ 127643 h 2066963"/>
                    <a:gd name="connsiteX198" fmla="*/ 681292 w 2067023"/>
                    <a:gd name="connsiteY198" fmla="*/ 104715 h 2066963"/>
                    <a:gd name="connsiteX199" fmla="*/ 737987 w 2067023"/>
                    <a:gd name="connsiteY199" fmla="*/ 85082 h 2066963"/>
                    <a:gd name="connsiteX200" fmla="*/ 795814 w 2067023"/>
                    <a:gd name="connsiteY200" fmla="*/ 69062 h 2066963"/>
                    <a:gd name="connsiteX201" fmla="*/ 913809 w 2067023"/>
                    <a:gd name="connsiteY201" fmla="*/ 47563 h 2066963"/>
                    <a:gd name="connsiteX202" fmla="*/ 1033512 w 2067023"/>
                    <a:gd name="connsiteY202" fmla="*/ 40357 h 2066963"/>
                    <a:gd name="connsiteX203" fmla="*/ 1153214 w 2067023"/>
                    <a:gd name="connsiteY203" fmla="*/ 47563 h 2066963"/>
                    <a:gd name="connsiteX204" fmla="*/ 1271210 w 2067023"/>
                    <a:gd name="connsiteY204" fmla="*/ 69062 h 2066963"/>
                    <a:gd name="connsiteX205" fmla="*/ 1329036 w 2067023"/>
                    <a:gd name="connsiteY205" fmla="*/ 85082 h 2066963"/>
                    <a:gd name="connsiteX206" fmla="*/ 1385731 w 2067023"/>
                    <a:gd name="connsiteY206" fmla="*/ 104715 h 2066963"/>
                    <a:gd name="connsiteX207" fmla="*/ 1441175 w 2067023"/>
                    <a:gd name="connsiteY207" fmla="*/ 127643 h 2066963"/>
                    <a:gd name="connsiteX208" fmla="*/ 1495071 w 2067023"/>
                    <a:gd name="connsiteY208" fmla="*/ 154005 h 2066963"/>
                    <a:gd name="connsiteX209" fmla="*/ 1508312 w 2067023"/>
                    <a:gd name="connsiteY209" fmla="*/ 161033 h 2066963"/>
                    <a:gd name="connsiteX210" fmla="*/ 1521414 w 2067023"/>
                    <a:gd name="connsiteY210" fmla="*/ 168358 h 2066963"/>
                    <a:gd name="connsiteX211" fmla="*/ 1527965 w 2067023"/>
                    <a:gd name="connsiteY211" fmla="*/ 172030 h 2066963"/>
                    <a:gd name="connsiteX212" fmla="*/ 1534416 w 2067023"/>
                    <a:gd name="connsiteY212" fmla="*/ 175842 h 2066963"/>
                    <a:gd name="connsiteX213" fmla="*/ 1547339 w 2067023"/>
                    <a:gd name="connsiteY213" fmla="*/ 183484 h 2066963"/>
                    <a:gd name="connsiteX214" fmla="*/ 1597662 w 2067023"/>
                    <a:gd name="connsiteY214" fmla="*/ 216159 h 2066963"/>
                    <a:gd name="connsiteX215" fmla="*/ 1646000 w 2067023"/>
                    <a:gd name="connsiteY215" fmla="*/ 251713 h 2066963"/>
                    <a:gd name="connsiteX216" fmla="*/ 1692035 w 2067023"/>
                    <a:gd name="connsiteY216" fmla="*/ 290184 h 2066963"/>
                    <a:gd name="connsiteX217" fmla="*/ 1735747 w 2067023"/>
                    <a:gd name="connsiteY217" fmla="*/ 331257 h 2066963"/>
                    <a:gd name="connsiteX218" fmla="*/ 1776819 w 2067023"/>
                    <a:gd name="connsiteY218" fmla="*/ 374969 h 2066963"/>
                    <a:gd name="connsiteX219" fmla="*/ 1815291 w 2067023"/>
                    <a:gd name="connsiteY219" fmla="*/ 421004 h 2066963"/>
                    <a:gd name="connsiteX220" fmla="*/ 1850844 w 2067023"/>
                    <a:gd name="connsiteY220" fmla="*/ 469341 h 2066963"/>
                    <a:gd name="connsiteX221" fmla="*/ 1883519 w 2067023"/>
                    <a:gd name="connsiteY221" fmla="*/ 519664 h 2066963"/>
                    <a:gd name="connsiteX222" fmla="*/ 1891162 w 2067023"/>
                    <a:gd name="connsiteY222" fmla="*/ 532587 h 2066963"/>
                    <a:gd name="connsiteX223" fmla="*/ 1894973 w 2067023"/>
                    <a:gd name="connsiteY223" fmla="*/ 539039 h 2066963"/>
                    <a:gd name="connsiteX224" fmla="*/ 1898646 w 2067023"/>
                    <a:gd name="connsiteY224" fmla="*/ 545590 h 2066963"/>
                    <a:gd name="connsiteX225" fmla="*/ 1905971 w 2067023"/>
                    <a:gd name="connsiteY225" fmla="*/ 558691 h 2066963"/>
                    <a:gd name="connsiteX226" fmla="*/ 1912998 w 2067023"/>
                    <a:gd name="connsiteY226" fmla="*/ 571932 h 2066963"/>
                    <a:gd name="connsiteX227" fmla="*/ 1939360 w 2067023"/>
                    <a:gd name="connsiteY227" fmla="*/ 625828 h 2066963"/>
                    <a:gd name="connsiteX228" fmla="*/ 1962288 w 2067023"/>
                    <a:gd name="connsiteY228" fmla="*/ 681272 h 2066963"/>
                    <a:gd name="connsiteX229" fmla="*/ 1981921 w 2067023"/>
                    <a:gd name="connsiteY229" fmla="*/ 737967 h 2066963"/>
                    <a:gd name="connsiteX230" fmla="*/ 1997941 w 2067023"/>
                    <a:gd name="connsiteY230" fmla="*/ 795794 h 2066963"/>
                    <a:gd name="connsiteX231" fmla="*/ 2026646 w 2067023"/>
                    <a:gd name="connsiteY231" fmla="*/ 1033492 h 2066963"/>
                    <a:gd name="connsiteX232" fmla="*/ 1997941 w 2067023"/>
                    <a:gd name="connsiteY232" fmla="*/ 1271190 h 2066963"/>
                    <a:gd name="connsiteX233" fmla="*/ 1981921 w 2067023"/>
                    <a:gd name="connsiteY233" fmla="*/ 1329016 h 2066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</a:cxnLst>
                  <a:rect l="l" t="t" r="r" b="b"/>
                  <a:pathLst>
                    <a:path w="2067023" h="2066963">
                      <a:moveTo>
                        <a:pt x="2037147" y="786146"/>
                      </a:moveTo>
                      <a:cubicBezTo>
                        <a:pt x="2032284" y="765898"/>
                        <a:pt x="2026507" y="745868"/>
                        <a:pt x="2020472" y="725957"/>
                      </a:cubicBezTo>
                      <a:cubicBezTo>
                        <a:pt x="2014120" y="706126"/>
                        <a:pt x="2007529" y="686354"/>
                        <a:pt x="2000026" y="666940"/>
                      </a:cubicBezTo>
                      <a:cubicBezTo>
                        <a:pt x="1992760" y="647426"/>
                        <a:pt x="1984561" y="628270"/>
                        <a:pt x="1976164" y="609213"/>
                      </a:cubicBezTo>
                      <a:cubicBezTo>
                        <a:pt x="1967489" y="590294"/>
                        <a:pt x="1958517" y="571495"/>
                        <a:pt x="1948730" y="553113"/>
                      </a:cubicBezTo>
                      <a:cubicBezTo>
                        <a:pt x="1946288" y="548528"/>
                        <a:pt x="1943906" y="543882"/>
                        <a:pt x="1941405" y="539317"/>
                      </a:cubicBezTo>
                      <a:lnTo>
                        <a:pt x="1933782" y="525679"/>
                      </a:lnTo>
                      <a:lnTo>
                        <a:pt x="1929971" y="518870"/>
                      </a:lnTo>
                      <a:lnTo>
                        <a:pt x="1926000" y="512140"/>
                      </a:lnTo>
                      <a:lnTo>
                        <a:pt x="1918060" y="498701"/>
                      </a:lnTo>
                      <a:cubicBezTo>
                        <a:pt x="1907162" y="480974"/>
                        <a:pt x="1895985" y="463386"/>
                        <a:pt x="1884075" y="446334"/>
                      </a:cubicBezTo>
                      <a:cubicBezTo>
                        <a:pt x="1872343" y="429143"/>
                        <a:pt x="1859797" y="412527"/>
                        <a:pt x="1847092" y="396051"/>
                      </a:cubicBezTo>
                      <a:cubicBezTo>
                        <a:pt x="1834129" y="379773"/>
                        <a:pt x="1820948" y="363654"/>
                        <a:pt x="1807052" y="348170"/>
                      </a:cubicBezTo>
                      <a:cubicBezTo>
                        <a:pt x="1793335" y="332507"/>
                        <a:pt x="1778903" y="317520"/>
                        <a:pt x="1764313" y="302691"/>
                      </a:cubicBezTo>
                      <a:cubicBezTo>
                        <a:pt x="1749484" y="288100"/>
                        <a:pt x="1734476" y="273668"/>
                        <a:pt x="1718834" y="259951"/>
                      </a:cubicBezTo>
                      <a:cubicBezTo>
                        <a:pt x="1703330" y="246055"/>
                        <a:pt x="1687231" y="232874"/>
                        <a:pt x="1670953" y="219911"/>
                      </a:cubicBezTo>
                      <a:cubicBezTo>
                        <a:pt x="1654476" y="207187"/>
                        <a:pt x="1637861" y="194661"/>
                        <a:pt x="1620670" y="182929"/>
                      </a:cubicBezTo>
                      <a:cubicBezTo>
                        <a:pt x="1603617" y="170998"/>
                        <a:pt x="1586029" y="159842"/>
                        <a:pt x="1568302" y="148943"/>
                      </a:cubicBezTo>
                      <a:lnTo>
                        <a:pt x="1554863" y="141003"/>
                      </a:lnTo>
                      <a:lnTo>
                        <a:pt x="1548133" y="137033"/>
                      </a:lnTo>
                      <a:lnTo>
                        <a:pt x="1541324" y="133221"/>
                      </a:lnTo>
                      <a:lnTo>
                        <a:pt x="1527687" y="125598"/>
                      </a:lnTo>
                      <a:cubicBezTo>
                        <a:pt x="1523121" y="123097"/>
                        <a:pt x="1518496" y="120715"/>
                        <a:pt x="1513890" y="118273"/>
                      </a:cubicBezTo>
                      <a:cubicBezTo>
                        <a:pt x="1495508" y="108487"/>
                        <a:pt x="1476709" y="99514"/>
                        <a:pt x="1457791" y="90839"/>
                      </a:cubicBezTo>
                      <a:cubicBezTo>
                        <a:pt x="1438753" y="82422"/>
                        <a:pt x="1419597" y="74243"/>
                        <a:pt x="1400064" y="66978"/>
                      </a:cubicBezTo>
                      <a:cubicBezTo>
                        <a:pt x="1380629" y="59474"/>
                        <a:pt x="1360877" y="52884"/>
                        <a:pt x="1341046" y="46531"/>
                      </a:cubicBezTo>
                      <a:cubicBezTo>
                        <a:pt x="1321115" y="40496"/>
                        <a:pt x="1301105" y="34720"/>
                        <a:pt x="1280857" y="29856"/>
                      </a:cubicBezTo>
                      <a:cubicBezTo>
                        <a:pt x="1240400" y="19950"/>
                        <a:pt x="1199388" y="12328"/>
                        <a:pt x="1158038" y="7484"/>
                      </a:cubicBezTo>
                      <a:cubicBezTo>
                        <a:pt x="1116708" y="2561"/>
                        <a:pt x="1075100" y="60"/>
                        <a:pt x="1033512" y="0"/>
                      </a:cubicBezTo>
                      <a:cubicBezTo>
                        <a:pt x="991923" y="79"/>
                        <a:pt x="950335" y="2561"/>
                        <a:pt x="908985" y="7484"/>
                      </a:cubicBezTo>
                      <a:cubicBezTo>
                        <a:pt x="867635" y="12347"/>
                        <a:pt x="826623" y="19950"/>
                        <a:pt x="786166" y="29856"/>
                      </a:cubicBezTo>
                      <a:cubicBezTo>
                        <a:pt x="765918" y="34720"/>
                        <a:pt x="745908" y="40496"/>
                        <a:pt x="725977" y="46531"/>
                      </a:cubicBezTo>
                      <a:cubicBezTo>
                        <a:pt x="706146" y="52884"/>
                        <a:pt x="686374" y="59474"/>
                        <a:pt x="666960" y="66978"/>
                      </a:cubicBezTo>
                      <a:cubicBezTo>
                        <a:pt x="647446" y="74243"/>
                        <a:pt x="628290" y="82442"/>
                        <a:pt x="609232" y="90839"/>
                      </a:cubicBezTo>
                      <a:cubicBezTo>
                        <a:pt x="590314" y="99514"/>
                        <a:pt x="571515" y="108487"/>
                        <a:pt x="553133" y="118273"/>
                      </a:cubicBezTo>
                      <a:cubicBezTo>
                        <a:pt x="548547" y="120715"/>
                        <a:pt x="543902" y="123097"/>
                        <a:pt x="539337" y="125598"/>
                      </a:cubicBezTo>
                      <a:lnTo>
                        <a:pt x="525699" y="133221"/>
                      </a:lnTo>
                      <a:lnTo>
                        <a:pt x="518890" y="137033"/>
                      </a:lnTo>
                      <a:lnTo>
                        <a:pt x="512160" y="141003"/>
                      </a:lnTo>
                      <a:lnTo>
                        <a:pt x="498721" y="148943"/>
                      </a:lnTo>
                      <a:cubicBezTo>
                        <a:pt x="480994" y="159842"/>
                        <a:pt x="463406" y="171018"/>
                        <a:pt x="446354" y="182929"/>
                      </a:cubicBezTo>
                      <a:cubicBezTo>
                        <a:pt x="429163" y="194661"/>
                        <a:pt x="412547" y="207207"/>
                        <a:pt x="396071" y="219911"/>
                      </a:cubicBezTo>
                      <a:cubicBezTo>
                        <a:pt x="379793" y="232874"/>
                        <a:pt x="363673" y="246055"/>
                        <a:pt x="348190" y="259951"/>
                      </a:cubicBezTo>
                      <a:cubicBezTo>
                        <a:pt x="332527" y="273668"/>
                        <a:pt x="317539" y="288100"/>
                        <a:pt x="302711" y="302691"/>
                      </a:cubicBezTo>
                      <a:cubicBezTo>
                        <a:pt x="288120" y="317520"/>
                        <a:pt x="273688" y="332527"/>
                        <a:pt x="259971" y="348170"/>
                      </a:cubicBezTo>
                      <a:cubicBezTo>
                        <a:pt x="246075" y="363673"/>
                        <a:pt x="232894" y="379773"/>
                        <a:pt x="219931" y="396051"/>
                      </a:cubicBezTo>
                      <a:cubicBezTo>
                        <a:pt x="207207" y="412527"/>
                        <a:pt x="194680" y="429143"/>
                        <a:pt x="182948" y="446334"/>
                      </a:cubicBezTo>
                      <a:cubicBezTo>
                        <a:pt x="171018" y="463386"/>
                        <a:pt x="159861" y="480974"/>
                        <a:pt x="148963" y="498701"/>
                      </a:cubicBezTo>
                      <a:lnTo>
                        <a:pt x="141023" y="512140"/>
                      </a:lnTo>
                      <a:lnTo>
                        <a:pt x="137053" y="518870"/>
                      </a:lnTo>
                      <a:lnTo>
                        <a:pt x="133241" y="525679"/>
                      </a:lnTo>
                      <a:lnTo>
                        <a:pt x="125618" y="539317"/>
                      </a:lnTo>
                      <a:cubicBezTo>
                        <a:pt x="123117" y="543882"/>
                        <a:pt x="120735" y="548508"/>
                        <a:pt x="118293" y="553113"/>
                      </a:cubicBezTo>
                      <a:cubicBezTo>
                        <a:pt x="108507" y="571495"/>
                        <a:pt x="99534" y="590294"/>
                        <a:pt x="90859" y="609213"/>
                      </a:cubicBezTo>
                      <a:cubicBezTo>
                        <a:pt x="82442" y="628250"/>
                        <a:pt x="74263" y="647406"/>
                        <a:pt x="66998" y="666940"/>
                      </a:cubicBezTo>
                      <a:cubicBezTo>
                        <a:pt x="59494" y="686374"/>
                        <a:pt x="52903" y="706126"/>
                        <a:pt x="46551" y="725957"/>
                      </a:cubicBezTo>
                      <a:cubicBezTo>
                        <a:pt x="40516" y="745888"/>
                        <a:pt x="34740" y="765898"/>
                        <a:pt x="29876" y="786146"/>
                      </a:cubicBezTo>
                      <a:cubicBezTo>
                        <a:pt x="9866" y="867020"/>
                        <a:pt x="159" y="950335"/>
                        <a:pt x="0" y="1033492"/>
                      </a:cubicBezTo>
                      <a:cubicBezTo>
                        <a:pt x="159" y="1116648"/>
                        <a:pt x="9866" y="1199964"/>
                        <a:pt x="29876" y="1280817"/>
                      </a:cubicBezTo>
                      <a:cubicBezTo>
                        <a:pt x="34740" y="1301066"/>
                        <a:pt x="40516" y="1321076"/>
                        <a:pt x="46551" y="1341006"/>
                      </a:cubicBezTo>
                      <a:cubicBezTo>
                        <a:pt x="52903" y="1360838"/>
                        <a:pt x="59494" y="1380609"/>
                        <a:pt x="66998" y="1400024"/>
                      </a:cubicBezTo>
                      <a:cubicBezTo>
                        <a:pt x="74263" y="1419537"/>
                        <a:pt x="82462" y="1438694"/>
                        <a:pt x="90859" y="1457751"/>
                      </a:cubicBezTo>
                      <a:cubicBezTo>
                        <a:pt x="99534" y="1476669"/>
                        <a:pt x="108507" y="1495468"/>
                        <a:pt x="118293" y="1513850"/>
                      </a:cubicBezTo>
                      <a:cubicBezTo>
                        <a:pt x="120735" y="1518436"/>
                        <a:pt x="123117" y="1523081"/>
                        <a:pt x="125618" y="1527647"/>
                      </a:cubicBezTo>
                      <a:lnTo>
                        <a:pt x="133241" y="1541285"/>
                      </a:lnTo>
                      <a:lnTo>
                        <a:pt x="137053" y="1548094"/>
                      </a:lnTo>
                      <a:lnTo>
                        <a:pt x="141023" y="1554823"/>
                      </a:lnTo>
                      <a:lnTo>
                        <a:pt x="148963" y="1568263"/>
                      </a:lnTo>
                      <a:cubicBezTo>
                        <a:pt x="159861" y="1585990"/>
                        <a:pt x="171038" y="1603578"/>
                        <a:pt x="182948" y="1620630"/>
                      </a:cubicBezTo>
                      <a:cubicBezTo>
                        <a:pt x="194680" y="1637821"/>
                        <a:pt x="207226" y="1654436"/>
                        <a:pt x="219931" y="1670913"/>
                      </a:cubicBezTo>
                      <a:cubicBezTo>
                        <a:pt x="232894" y="1687191"/>
                        <a:pt x="246075" y="1703310"/>
                        <a:pt x="259971" y="1718794"/>
                      </a:cubicBezTo>
                      <a:cubicBezTo>
                        <a:pt x="273688" y="1734456"/>
                        <a:pt x="288120" y="1749444"/>
                        <a:pt x="302711" y="1764273"/>
                      </a:cubicBezTo>
                      <a:cubicBezTo>
                        <a:pt x="317539" y="1778864"/>
                        <a:pt x="332547" y="1793295"/>
                        <a:pt x="348190" y="1807012"/>
                      </a:cubicBezTo>
                      <a:cubicBezTo>
                        <a:pt x="363693" y="1820908"/>
                        <a:pt x="379793" y="1834090"/>
                        <a:pt x="396071" y="1847052"/>
                      </a:cubicBezTo>
                      <a:cubicBezTo>
                        <a:pt x="412547" y="1859777"/>
                        <a:pt x="429163" y="1872303"/>
                        <a:pt x="446354" y="1884035"/>
                      </a:cubicBezTo>
                      <a:cubicBezTo>
                        <a:pt x="463406" y="1895966"/>
                        <a:pt x="480994" y="1907122"/>
                        <a:pt x="498721" y="1918020"/>
                      </a:cubicBezTo>
                      <a:lnTo>
                        <a:pt x="512160" y="1925961"/>
                      </a:lnTo>
                      <a:lnTo>
                        <a:pt x="518890" y="1929931"/>
                      </a:lnTo>
                      <a:lnTo>
                        <a:pt x="525699" y="1933742"/>
                      </a:lnTo>
                      <a:lnTo>
                        <a:pt x="539337" y="1941365"/>
                      </a:lnTo>
                      <a:cubicBezTo>
                        <a:pt x="543902" y="1943866"/>
                        <a:pt x="548528" y="1946249"/>
                        <a:pt x="553133" y="1948690"/>
                      </a:cubicBezTo>
                      <a:cubicBezTo>
                        <a:pt x="571515" y="1958477"/>
                        <a:pt x="590314" y="1967450"/>
                        <a:pt x="609232" y="1976125"/>
                      </a:cubicBezTo>
                      <a:cubicBezTo>
                        <a:pt x="628270" y="1984542"/>
                        <a:pt x="647426" y="1992720"/>
                        <a:pt x="666960" y="1999986"/>
                      </a:cubicBezTo>
                      <a:cubicBezTo>
                        <a:pt x="686394" y="2007490"/>
                        <a:pt x="706146" y="2014080"/>
                        <a:pt x="725977" y="2020432"/>
                      </a:cubicBezTo>
                      <a:cubicBezTo>
                        <a:pt x="745908" y="2026467"/>
                        <a:pt x="765918" y="2032244"/>
                        <a:pt x="786166" y="2037107"/>
                      </a:cubicBezTo>
                      <a:cubicBezTo>
                        <a:pt x="826623" y="2047013"/>
                        <a:pt x="867635" y="2054636"/>
                        <a:pt x="908985" y="2059480"/>
                      </a:cubicBezTo>
                      <a:cubicBezTo>
                        <a:pt x="950315" y="2064403"/>
                        <a:pt x="991923" y="2066904"/>
                        <a:pt x="1033512" y="2066964"/>
                      </a:cubicBezTo>
                      <a:cubicBezTo>
                        <a:pt x="1075100" y="2066884"/>
                        <a:pt x="1116688" y="2064403"/>
                        <a:pt x="1158038" y="2059480"/>
                      </a:cubicBezTo>
                      <a:cubicBezTo>
                        <a:pt x="1199388" y="2054616"/>
                        <a:pt x="1240400" y="2047013"/>
                        <a:pt x="1280857" y="2037107"/>
                      </a:cubicBezTo>
                      <a:cubicBezTo>
                        <a:pt x="1301105" y="2032244"/>
                        <a:pt x="1321115" y="2026467"/>
                        <a:pt x="1341046" y="2020432"/>
                      </a:cubicBezTo>
                      <a:cubicBezTo>
                        <a:pt x="1360877" y="2014080"/>
                        <a:pt x="1380649" y="2007490"/>
                        <a:pt x="1400064" y="1999986"/>
                      </a:cubicBezTo>
                      <a:cubicBezTo>
                        <a:pt x="1419577" y="1992720"/>
                        <a:pt x="1438734" y="1984522"/>
                        <a:pt x="1457791" y="1976125"/>
                      </a:cubicBezTo>
                      <a:cubicBezTo>
                        <a:pt x="1476709" y="1967450"/>
                        <a:pt x="1495508" y="1958477"/>
                        <a:pt x="1513890" y="1948690"/>
                      </a:cubicBezTo>
                      <a:cubicBezTo>
                        <a:pt x="1518476" y="1946249"/>
                        <a:pt x="1523121" y="1943866"/>
                        <a:pt x="1527687" y="1941365"/>
                      </a:cubicBezTo>
                      <a:lnTo>
                        <a:pt x="1541324" y="1933742"/>
                      </a:lnTo>
                      <a:lnTo>
                        <a:pt x="1548133" y="1929931"/>
                      </a:lnTo>
                      <a:lnTo>
                        <a:pt x="1554863" y="1925961"/>
                      </a:lnTo>
                      <a:lnTo>
                        <a:pt x="1568302" y="1918020"/>
                      </a:lnTo>
                      <a:cubicBezTo>
                        <a:pt x="1586029" y="1907122"/>
                        <a:pt x="1603617" y="1895946"/>
                        <a:pt x="1620670" y="1884035"/>
                      </a:cubicBezTo>
                      <a:cubicBezTo>
                        <a:pt x="1637861" y="1872303"/>
                        <a:pt x="1654476" y="1859757"/>
                        <a:pt x="1670953" y="1847052"/>
                      </a:cubicBezTo>
                      <a:cubicBezTo>
                        <a:pt x="1687231" y="1834090"/>
                        <a:pt x="1703350" y="1820908"/>
                        <a:pt x="1718834" y="1807012"/>
                      </a:cubicBezTo>
                      <a:cubicBezTo>
                        <a:pt x="1734496" y="1793295"/>
                        <a:pt x="1749484" y="1778864"/>
                        <a:pt x="1764313" y="1764273"/>
                      </a:cubicBezTo>
                      <a:cubicBezTo>
                        <a:pt x="1778903" y="1749444"/>
                        <a:pt x="1793335" y="1734437"/>
                        <a:pt x="1807052" y="1718794"/>
                      </a:cubicBezTo>
                      <a:cubicBezTo>
                        <a:pt x="1820948" y="1703290"/>
                        <a:pt x="1834129" y="1687191"/>
                        <a:pt x="1847092" y="1670913"/>
                      </a:cubicBezTo>
                      <a:cubicBezTo>
                        <a:pt x="1859817" y="1654436"/>
                        <a:pt x="1872343" y="1637821"/>
                        <a:pt x="1884075" y="1620630"/>
                      </a:cubicBezTo>
                      <a:cubicBezTo>
                        <a:pt x="1896005" y="1603578"/>
                        <a:pt x="1907162" y="1585990"/>
                        <a:pt x="1918060" y="1568263"/>
                      </a:cubicBezTo>
                      <a:lnTo>
                        <a:pt x="1926000" y="1554823"/>
                      </a:lnTo>
                      <a:lnTo>
                        <a:pt x="1929971" y="1548094"/>
                      </a:lnTo>
                      <a:lnTo>
                        <a:pt x="1933782" y="1541285"/>
                      </a:lnTo>
                      <a:lnTo>
                        <a:pt x="1941405" y="1527647"/>
                      </a:lnTo>
                      <a:cubicBezTo>
                        <a:pt x="1943906" y="1523081"/>
                        <a:pt x="1946288" y="1518456"/>
                        <a:pt x="1948730" y="1513850"/>
                      </a:cubicBezTo>
                      <a:cubicBezTo>
                        <a:pt x="1958517" y="1495468"/>
                        <a:pt x="1967489" y="1476669"/>
                        <a:pt x="1976164" y="1457751"/>
                      </a:cubicBezTo>
                      <a:cubicBezTo>
                        <a:pt x="1984581" y="1438714"/>
                        <a:pt x="1992760" y="1419557"/>
                        <a:pt x="2000026" y="1400024"/>
                      </a:cubicBezTo>
                      <a:cubicBezTo>
                        <a:pt x="2007529" y="1380589"/>
                        <a:pt x="2014120" y="1360838"/>
                        <a:pt x="2020472" y="1341006"/>
                      </a:cubicBezTo>
                      <a:cubicBezTo>
                        <a:pt x="2026507" y="1321076"/>
                        <a:pt x="2032284" y="1301066"/>
                        <a:pt x="2037147" y="1280817"/>
                      </a:cubicBezTo>
                      <a:cubicBezTo>
                        <a:pt x="2057157" y="1199944"/>
                        <a:pt x="2066864" y="1116629"/>
                        <a:pt x="2067023" y="1033492"/>
                      </a:cubicBezTo>
                      <a:cubicBezTo>
                        <a:pt x="2066864" y="950335"/>
                        <a:pt x="2057157" y="867020"/>
                        <a:pt x="2037147" y="786166"/>
                      </a:cubicBezTo>
                      <a:close/>
                      <a:moveTo>
                        <a:pt x="1981921" y="1329016"/>
                      </a:moveTo>
                      <a:cubicBezTo>
                        <a:pt x="1975807" y="1348073"/>
                        <a:pt x="1969494" y="1367051"/>
                        <a:pt x="1962288" y="1385711"/>
                      </a:cubicBezTo>
                      <a:cubicBezTo>
                        <a:pt x="1955321" y="1404470"/>
                        <a:pt x="1947440" y="1422873"/>
                        <a:pt x="1939360" y="1441155"/>
                      </a:cubicBezTo>
                      <a:cubicBezTo>
                        <a:pt x="1931023" y="1459339"/>
                        <a:pt x="1922407" y="1477404"/>
                        <a:pt x="1912998" y="1495051"/>
                      </a:cubicBezTo>
                      <a:cubicBezTo>
                        <a:pt x="1910655" y="1499458"/>
                        <a:pt x="1908373" y="1503925"/>
                        <a:pt x="1905971" y="1508292"/>
                      </a:cubicBezTo>
                      <a:lnTo>
                        <a:pt x="1898646" y="1521394"/>
                      </a:lnTo>
                      <a:lnTo>
                        <a:pt x="1894973" y="1527945"/>
                      </a:lnTo>
                      <a:lnTo>
                        <a:pt x="1891162" y="1534396"/>
                      </a:lnTo>
                      <a:lnTo>
                        <a:pt x="1883519" y="1547319"/>
                      </a:lnTo>
                      <a:cubicBezTo>
                        <a:pt x="1873037" y="1564352"/>
                        <a:pt x="1862318" y="1581245"/>
                        <a:pt x="1850844" y="1597642"/>
                      </a:cubicBezTo>
                      <a:cubicBezTo>
                        <a:pt x="1839568" y="1614178"/>
                        <a:pt x="1827519" y="1630139"/>
                        <a:pt x="1815291" y="1645980"/>
                      </a:cubicBezTo>
                      <a:cubicBezTo>
                        <a:pt x="1802824" y="1661623"/>
                        <a:pt x="1790159" y="1677106"/>
                        <a:pt x="1776819" y="1692015"/>
                      </a:cubicBezTo>
                      <a:cubicBezTo>
                        <a:pt x="1763638" y="1707062"/>
                        <a:pt x="1749762" y="1721474"/>
                        <a:pt x="1735747" y="1735727"/>
                      </a:cubicBezTo>
                      <a:cubicBezTo>
                        <a:pt x="1721494" y="1749742"/>
                        <a:pt x="1707082" y="1763638"/>
                        <a:pt x="1692035" y="1776799"/>
                      </a:cubicBezTo>
                      <a:cubicBezTo>
                        <a:pt x="1677146" y="1790159"/>
                        <a:pt x="1661642" y="1802824"/>
                        <a:pt x="1646000" y="1815271"/>
                      </a:cubicBezTo>
                      <a:cubicBezTo>
                        <a:pt x="1630158" y="1827479"/>
                        <a:pt x="1614198" y="1839549"/>
                        <a:pt x="1597662" y="1850824"/>
                      </a:cubicBezTo>
                      <a:cubicBezTo>
                        <a:pt x="1581265" y="1862278"/>
                        <a:pt x="1564372" y="1873018"/>
                        <a:pt x="1547339" y="1883499"/>
                      </a:cubicBezTo>
                      <a:lnTo>
                        <a:pt x="1534416" y="1891142"/>
                      </a:lnTo>
                      <a:lnTo>
                        <a:pt x="1527965" y="1894953"/>
                      </a:lnTo>
                      <a:lnTo>
                        <a:pt x="1521414" y="1898626"/>
                      </a:lnTo>
                      <a:lnTo>
                        <a:pt x="1508312" y="1905951"/>
                      </a:lnTo>
                      <a:cubicBezTo>
                        <a:pt x="1503925" y="1908353"/>
                        <a:pt x="1499478" y="1910636"/>
                        <a:pt x="1495071" y="1912978"/>
                      </a:cubicBezTo>
                      <a:cubicBezTo>
                        <a:pt x="1477424" y="1922388"/>
                        <a:pt x="1459339" y="1930983"/>
                        <a:pt x="1441175" y="1939340"/>
                      </a:cubicBezTo>
                      <a:cubicBezTo>
                        <a:pt x="1422873" y="1947420"/>
                        <a:pt x="1404470" y="1955301"/>
                        <a:pt x="1385731" y="1962269"/>
                      </a:cubicBezTo>
                      <a:cubicBezTo>
                        <a:pt x="1367071" y="1969475"/>
                        <a:pt x="1348073" y="1975807"/>
                        <a:pt x="1329036" y="1981901"/>
                      </a:cubicBezTo>
                      <a:cubicBezTo>
                        <a:pt x="1309880" y="1987698"/>
                        <a:pt x="1290664" y="1993256"/>
                        <a:pt x="1271210" y="1997921"/>
                      </a:cubicBezTo>
                      <a:cubicBezTo>
                        <a:pt x="1232361" y="2007450"/>
                        <a:pt x="1192936" y="2014755"/>
                        <a:pt x="1153214" y="2019420"/>
                      </a:cubicBezTo>
                      <a:cubicBezTo>
                        <a:pt x="1113492" y="2024164"/>
                        <a:pt x="1073492" y="2026547"/>
                        <a:pt x="1033512" y="2026626"/>
                      </a:cubicBezTo>
                      <a:cubicBezTo>
                        <a:pt x="993531" y="2026547"/>
                        <a:pt x="953531" y="2024164"/>
                        <a:pt x="913809" y="2019420"/>
                      </a:cubicBezTo>
                      <a:cubicBezTo>
                        <a:pt x="874067" y="2014755"/>
                        <a:pt x="834662" y="2007430"/>
                        <a:pt x="795814" y="1997921"/>
                      </a:cubicBezTo>
                      <a:cubicBezTo>
                        <a:pt x="776360" y="1993256"/>
                        <a:pt x="757124" y="1987698"/>
                        <a:pt x="737987" y="1981901"/>
                      </a:cubicBezTo>
                      <a:cubicBezTo>
                        <a:pt x="718930" y="1975787"/>
                        <a:pt x="699952" y="1969475"/>
                        <a:pt x="681292" y="1962269"/>
                      </a:cubicBezTo>
                      <a:cubicBezTo>
                        <a:pt x="662533" y="1955301"/>
                        <a:pt x="644131" y="1947420"/>
                        <a:pt x="625848" y="1939340"/>
                      </a:cubicBezTo>
                      <a:cubicBezTo>
                        <a:pt x="607664" y="1931003"/>
                        <a:pt x="589600" y="1922388"/>
                        <a:pt x="571952" y="1912978"/>
                      </a:cubicBezTo>
                      <a:cubicBezTo>
                        <a:pt x="567545" y="1910636"/>
                        <a:pt x="563079" y="1908353"/>
                        <a:pt x="558711" y="1905951"/>
                      </a:cubicBezTo>
                      <a:lnTo>
                        <a:pt x="545610" y="1898626"/>
                      </a:lnTo>
                      <a:lnTo>
                        <a:pt x="539059" y="1894953"/>
                      </a:lnTo>
                      <a:lnTo>
                        <a:pt x="532607" y="1891142"/>
                      </a:lnTo>
                      <a:lnTo>
                        <a:pt x="519684" y="1883499"/>
                      </a:lnTo>
                      <a:cubicBezTo>
                        <a:pt x="502652" y="1873018"/>
                        <a:pt x="485758" y="1862298"/>
                        <a:pt x="469361" y="1850824"/>
                      </a:cubicBezTo>
                      <a:cubicBezTo>
                        <a:pt x="452825" y="1839549"/>
                        <a:pt x="436865" y="1827499"/>
                        <a:pt x="421024" y="1815271"/>
                      </a:cubicBezTo>
                      <a:cubicBezTo>
                        <a:pt x="405381" y="1802804"/>
                        <a:pt x="389897" y="1790139"/>
                        <a:pt x="374989" y="1776799"/>
                      </a:cubicBezTo>
                      <a:cubicBezTo>
                        <a:pt x="359941" y="1763618"/>
                        <a:pt x="345530" y="1749742"/>
                        <a:pt x="331276" y="1735727"/>
                      </a:cubicBezTo>
                      <a:cubicBezTo>
                        <a:pt x="317261" y="1721474"/>
                        <a:pt x="303366" y="1707062"/>
                        <a:pt x="290204" y="1692015"/>
                      </a:cubicBezTo>
                      <a:cubicBezTo>
                        <a:pt x="276844" y="1677126"/>
                        <a:pt x="264179" y="1661623"/>
                        <a:pt x="251733" y="1645980"/>
                      </a:cubicBezTo>
                      <a:cubicBezTo>
                        <a:pt x="239524" y="1630139"/>
                        <a:pt x="227455" y="1614178"/>
                        <a:pt x="216179" y="1597642"/>
                      </a:cubicBezTo>
                      <a:cubicBezTo>
                        <a:pt x="204725" y="1581245"/>
                        <a:pt x="193986" y="1564352"/>
                        <a:pt x="183504" y="1547319"/>
                      </a:cubicBezTo>
                      <a:lnTo>
                        <a:pt x="175862" y="1534396"/>
                      </a:lnTo>
                      <a:lnTo>
                        <a:pt x="172050" y="1527945"/>
                      </a:lnTo>
                      <a:lnTo>
                        <a:pt x="168378" y="1521394"/>
                      </a:lnTo>
                      <a:lnTo>
                        <a:pt x="161053" y="1508292"/>
                      </a:lnTo>
                      <a:cubicBezTo>
                        <a:pt x="158651" y="1503905"/>
                        <a:pt x="156368" y="1499458"/>
                        <a:pt x="154025" y="1495051"/>
                      </a:cubicBezTo>
                      <a:cubicBezTo>
                        <a:pt x="144616" y="1477404"/>
                        <a:pt x="136020" y="1459319"/>
                        <a:pt x="127663" y="1441155"/>
                      </a:cubicBezTo>
                      <a:cubicBezTo>
                        <a:pt x="119583" y="1422853"/>
                        <a:pt x="111703" y="1404451"/>
                        <a:pt x="104735" y="1385711"/>
                      </a:cubicBezTo>
                      <a:cubicBezTo>
                        <a:pt x="97529" y="1367051"/>
                        <a:pt x="91196" y="1348054"/>
                        <a:pt x="85102" y="1329016"/>
                      </a:cubicBezTo>
                      <a:cubicBezTo>
                        <a:pt x="79305" y="1309860"/>
                        <a:pt x="73747" y="1290644"/>
                        <a:pt x="69082" y="1271190"/>
                      </a:cubicBezTo>
                      <a:cubicBezTo>
                        <a:pt x="49846" y="1193492"/>
                        <a:pt x="40536" y="1113452"/>
                        <a:pt x="40377" y="1033492"/>
                      </a:cubicBezTo>
                      <a:cubicBezTo>
                        <a:pt x="40536" y="953531"/>
                        <a:pt x="49846" y="873471"/>
                        <a:pt x="69082" y="795794"/>
                      </a:cubicBezTo>
                      <a:cubicBezTo>
                        <a:pt x="73747" y="776340"/>
                        <a:pt x="79305" y="757104"/>
                        <a:pt x="85102" y="737967"/>
                      </a:cubicBezTo>
                      <a:cubicBezTo>
                        <a:pt x="91216" y="718910"/>
                        <a:pt x="97529" y="699933"/>
                        <a:pt x="104735" y="681272"/>
                      </a:cubicBezTo>
                      <a:cubicBezTo>
                        <a:pt x="111703" y="662513"/>
                        <a:pt x="119583" y="644111"/>
                        <a:pt x="127663" y="625828"/>
                      </a:cubicBezTo>
                      <a:cubicBezTo>
                        <a:pt x="136000" y="607644"/>
                        <a:pt x="144616" y="589580"/>
                        <a:pt x="154025" y="571932"/>
                      </a:cubicBezTo>
                      <a:cubicBezTo>
                        <a:pt x="156368" y="567525"/>
                        <a:pt x="158651" y="563059"/>
                        <a:pt x="161053" y="558691"/>
                      </a:cubicBezTo>
                      <a:lnTo>
                        <a:pt x="168378" y="545590"/>
                      </a:lnTo>
                      <a:lnTo>
                        <a:pt x="172050" y="539039"/>
                      </a:lnTo>
                      <a:lnTo>
                        <a:pt x="175862" y="532587"/>
                      </a:lnTo>
                      <a:lnTo>
                        <a:pt x="183504" y="519664"/>
                      </a:lnTo>
                      <a:cubicBezTo>
                        <a:pt x="193986" y="502632"/>
                        <a:pt x="204705" y="485738"/>
                        <a:pt x="216179" y="469341"/>
                      </a:cubicBezTo>
                      <a:cubicBezTo>
                        <a:pt x="227455" y="452805"/>
                        <a:pt x="239504" y="436845"/>
                        <a:pt x="251733" y="421004"/>
                      </a:cubicBezTo>
                      <a:cubicBezTo>
                        <a:pt x="264199" y="405361"/>
                        <a:pt x="276864" y="389877"/>
                        <a:pt x="290204" y="374969"/>
                      </a:cubicBezTo>
                      <a:cubicBezTo>
                        <a:pt x="303385" y="359922"/>
                        <a:pt x="317261" y="345510"/>
                        <a:pt x="331276" y="331257"/>
                      </a:cubicBezTo>
                      <a:cubicBezTo>
                        <a:pt x="345530" y="317242"/>
                        <a:pt x="359941" y="303346"/>
                        <a:pt x="374989" y="290184"/>
                      </a:cubicBezTo>
                      <a:cubicBezTo>
                        <a:pt x="389877" y="276825"/>
                        <a:pt x="405381" y="264160"/>
                        <a:pt x="421024" y="251713"/>
                      </a:cubicBezTo>
                      <a:cubicBezTo>
                        <a:pt x="436865" y="239504"/>
                        <a:pt x="452825" y="227435"/>
                        <a:pt x="469361" y="216159"/>
                      </a:cubicBezTo>
                      <a:cubicBezTo>
                        <a:pt x="485758" y="204705"/>
                        <a:pt x="502652" y="193966"/>
                        <a:pt x="519684" y="183484"/>
                      </a:cubicBezTo>
                      <a:lnTo>
                        <a:pt x="532607" y="175842"/>
                      </a:lnTo>
                      <a:lnTo>
                        <a:pt x="539059" y="172030"/>
                      </a:lnTo>
                      <a:lnTo>
                        <a:pt x="545610" y="168358"/>
                      </a:lnTo>
                      <a:lnTo>
                        <a:pt x="558711" y="161033"/>
                      </a:lnTo>
                      <a:cubicBezTo>
                        <a:pt x="563098" y="158631"/>
                        <a:pt x="567545" y="156348"/>
                        <a:pt x="571952" y="154005"/>
                      </a:cubicBezTo>
                      <a:cubicBezTo>
                        <a:pt x="589600" y="144596"/>
                        <a:pt x="607684" y="136000"/>
                        <a:pt x="625848" y="127643"/>
                      </a:cubicBezTo>
                      <a:cubicBezTo>
                        <a:pt x="644151" y="119564"/>
                        <a:pt x="662553" y="111683"/>
                        <a:pt x="681292" y="104715"/>
                      </a:cubicBezTo>
                      <a:cubicBezTo>
                        <a:pt x="699952" y="97509"/>
                        <a:pt x="718950" y="91176"/>
                        <a:pt x="737987" y="85082"/>
                      </a:cubicBezTo>
                      <a:cubicBezTo>
                        <a:pt x="757144" y="79286"/>
                        <a:pt x="776360" y="73727"/>
                        <a:pt x="795814" y="69062"/>
                      </a:cubicBezTo>
                      <a:cubicBezTo>
                        <a:pt x="834662" y="59554"/>
                        <a:pt x="874087" y="52228"/>
                        <a:pt x="913809" y="47563"/>
                      </a:cubicBezTo>
                      <a:cubicBezTo>
                        <a:pt x="953531" y="42819"/>
                        <a:pt x="993531" y="40437"/>
                        <a:pt x="1033512" y="40357"/>
                      </a:cubicBezTo>
                      <a:cubicBezTo>
                        <a:pt x="1073492" y="40437"/>
                        <a:pt x="1113492" y="42819"/>
                        <a:pt x="1153214" y="47563"/>
                      </a:cubicBezTo>
                      <a:cubicBezTo>
                        <a:pt x="1192956" y="52228"/>
                        <a:pt x="1232361" y="59554"/>
                        <a:pt x="1271210" y="69062"/>
                      </a:cubicBezTo>
                      <a:cubicBezTo>
                        <a:pt x="1290664" y="73727"/>
                        <a:pt x="1309899" y="79286"/>
                        <a:pt x="1329036" y="85082"/>
                      </a:cubicBezTo>
                      <a:cubicBezTo>
                        <a:pt x="1348093" y="91196"/>
                        <a:pt x="1367071" y="97509"/>
                        <a:pt x="1385731" y="104715"/>
                      </a:cubicBezTo>
                      <a:cubicBezTo>
                        <a:pt x="1404490" y="111683"/>
                        <a:pt x="1422892" y="119564"/>
                        <a:pt x="1441175" y="127643"/>
                      </a:cubicBezTo>
                      <a:cubicBezTo>
                        <a:pt x="1459359" y="135981"/>
                        <a:pt x="1477424" y="144596"/>
                        <a:pt x="1495071" y="154005"/>
                      </a:cubicBezTo>
                      <a:cubicBezTo>
                        <a:pt x="1499478" y="156348"/>
                        <a:pt x="1503945" y="158631"/>
                        <a:pt x="1508312" y="161033"/>
                      </a:cubicBezTo>
                      <a:lnTo>
                        <a:pt x="1521414" y="168358"/>
                      </a:lnTo>
                      <a:lnTo>
                        <a:pt x="1527965" y="172030"/>
                      </a:lnTo>
                      <a:lnTo>
                        <a:pt x="1534416" y="175842"/>
                      </a:lnTo>
                      <a:lnTo>
                        <a:pt x="1547339" y="183484"/>
                      </a:lnTo>
                      <a:cubicBezTo>
                        <a:pt x="1564372" y="193966"/>
                        <a:pt x="1581265" y="204685"/>
                        <a:pt x="1597662" y="216159"/>
                      </a:cubicBezTo>
                      <a:cubicBezTo>
                        <a:pt x="1614198" y="227435"/>
                        <a:pt x="1630158" y="239485"/>
                        <a:pt x="1646000" y="251713"/>
                      </a:cubicBezTo>
                      <a:cubicBezTo>
                        <a:pt x="1661642" y="264179"/>
                        <a:pt x="1677126" y="276844"/>
                        <a:pt x="1692035" y="290184"/>
                      </a:cubicBezTo>
                      <a:cubicBezTo>
                        <a:pt x="1707082" y="303366"/>
                        <a:pt x="1721494" y="317242"/>
                        <a:pt x="1735747" y="331257"/>
                      </a:cubicBezTo>
                      <a:cubicBezTo>
                        <a:pt x="1749762" y="345510"/>
                        <a:pt x="1763658" y="359922"/>
                        <a:pt x="1776819" y="374969"/>
                      </a:cubicBezTo>
                      <a:cubicBezTo>
                        <a:pt x="1790179" y="389857"/>
                        <a:pt x="1802844" y="405361"/>
                        <a:pt x="1815291" y="421004"/>
                      </a:cubicBezTo>
                      <a:cubicBezTo>
                        <a:pt x="1827499" y="436845"/>
                        <a:pt x="1839568" y="452805"/>
                        <a:pt x="1850844" y="469341"/>
                      </a:cubicBezTo>
                      <a:cubicBezTo>
                        <a:pt x="1862298" y="485738"/>
                        <a:pt x="1873037" y="502632"/>
                        <a:pt x="1883519" y="519664"/>
                      </a:cubicBezTo>
                      <a:lnTo>
                        <a:pt x="1891162" y="532587"/>
                      </a:lnTo>
                      <a:lnTo>
                        <a:pt x="1894973" y="539039"/>
                      </a:lnTo>
                      <a:lnTo>
                        <a:pt x="1898646" y="545590"/>
                      </a:lnTo>
                      <a:lnTo>
                        <a:pt x="1905971" y="558691"/>
                      </a:lnTo>
                      <a:cubicBezTo>
                        <a:pt x="1908373" y="563079"/>
                        <a:pt x="1910655" y="567525"/>
                        <a:pt x="1912998" y="571932"/>
                      </a:cubicBezTo>
                      <a:cubicBezTo>
                        <a:pt x="1922407" y="589580"/>
                        <a:pt x="1931003" y="607664"/>
                        <a:pt x="1939360" y="625828"/>
                      </a:cubicBezTo>
                      <a:cubicBezTo>
                        <a:pt x="1947440" y="644131"/>
                        <a:pt x="1955321" y="662533"/>
                        <a:pt x="1962288" y="681272"/>
                      </a:cubicBezTo>
                      <a:cubicBezTo>
                        <a:pt x="1969494" y="699933"/>
                        <a:pt x="1975827" y="718930"/>
                        <a:pt x="1981921" y="737967"/>
                      </a:cubicBezTo>
                      <a:cubicBezTo>
                        <a:pt x="1987718" y="757124"/>
                        <a:pt x="1993276" y="776340"/>
                        <a:pt x="1997941" y="795794"/>
                      </a:cubicBezTo>
                      <a:cubicBezTo>
                        <a:pt x="2017177" y="873491"/>
                        <a:pt x="2026487" y="953531"/>
                        <a:pt x="2026646" y="1033492"/>
                      </a:cubicBezTo>
                      <a:cubicBezTo>
                        <a:pt x="2026487" y="1113452"/>
                        <a:pt x="2017177" y="1193512"/>
                        <a:pt x="1997941" y="1271190"/>
                      </a:cubicBezTo>
                      <a:cubicBezTo>
                        <a:pt x="1993276" y="1290644"/>
                        <a:pt x="1987718" y="1309880"/>
                        <a:pt x="1981921" y="1329016"/>
                      </a:cubicBezTo>
                      <a:close/>
                    </a:path>
                  </a:pathLst>
                </a:custGeom>
                <a:solidFill>
                  <a:srgbClr val="7BA0FF"/>
                </a:solidFill>
                <a:ln w="197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13161E"/>
                    </a:solidFill>
                    <a:latin typeface="Microsoft Sans Serif"/>
                  </a:endParaRPr>
                </a:p>
              </p:txBody>
            </p:sp>
          </p:grpSp>
          <p:grpSp>
            <p:nvGrpSpPr>
              <p:cNvPr id="661" name="Group 660">
                <a:extLst>
                  <a:ext uri="{FF2B5EF4-FFF2-40B4-BE49-F238E27FC236}">
                    <a16:creationId xmlns:a16="http://schemas.microsoft.com/office/drawing/2014/main" id="{9518D763-5E13-6A83-59A1-A131F1F30AA3}"/>
                  </a:ext>
                </a:extLst>
              </p:cNvPr>
              <p:cNvGrpSpPr/>
              <p:nvPr/>
            </p:nvGrpSpPr>
            <p:grpSpPr>
              <a:xfrm>
                <a:off x="5403610" y="2917215"/>
                <a:ext cx="1367499" cy="764099"/>
                <a:chOff x="4543873" y="1621652"/>
                <a:chExt cx="3098588" cy="1731358"/>
              </a:xfrm>
            </p:grpSpPr>
            <p:sp>
              <p:nvSpPr>
                <p:cNvPr id="663" name="Freeform: Shape 662">
                  <a:extLst>
                    <a:ext uri="{FF2B5EF4-FFF2-40B4-BE49-F238E27FC236}">
                      <a16:creationId xmlns:a16="http://schemas.microsoft.com/office/drawing/2014/main" id="{5B212245-1AAE-A51E-AFC5-A8A1310195B6}"/>
                    </a:ext>
                  </a:extLst>
                </p:cNvPr>
                <p:cNvSpPr/>
                <p:nvPr/>
              </p:nvSpPr>
              <p:spPr>
                <a:xfrm>
                  <a:off x="5717796" y="2629338"/>
                  <a:ext cx="2764" cy="1759"/>
                </a:xfrm>
                <a:custGeom>
                  <a:avLst/>
                  <a:gdLst>
                    <a:gd name="connsiteX0" fmla="*/ 2547 w 2764"/>
                    <a:gd name="connsiteY0" fmla="*/ 1519 h 1759"/>
                    <a:gd name="connsiteX1" fmla="*/ -92 w 2764"/>
                    <a:gd name="connsiteY1" fmla="*/ 1519 h 1759"/>
                    <a:gd name="connsiteX2" fmla="*/ 1165 w 2764"/>
                    <a:gd name="connsiteY2" fmla="*/ -114 h 1759"/>
                    <a:gd name="connsiteX3" fmla="*/ 2673 w 2764"/>
                    <a:gd name="connsiteY3" fmla="*/ 1645 h 1759"/>
                    <a:gd name="connsiteX4" fmla="*/ 2673 w 2764"/>
                    <a:gd name="connsiteY4" fmla="*/ 1645 h 1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64" h="1759">
                      <a:moveTo>
                        <a:pt x="2547" y="1519"/>
                      </a:moveTo>
                      <a:lnTo>
                        <a:pt x="-92" y="1519"/>
                      </a:lnTo>
                      <a:lnTo>
                        <a:pt x="1165" y="-114"/>
                      </a:lnTo>
                      <a:lnTo>
                        <a:pt x="2673" y="1645"/>
                      </a:lnTo>
                      <a:lnTo>
                        <a:pt x="2673" y="1645"/>
                      </a:lnTo>
                    </a:path>
                  </a:pathLst>
                </a:custGeom>
                <a:solidFill>
                  <a:srgbClr val="F7F8FA"/>
                </a:solidFill>
                <a:ln w="1253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13161E"/>
                    </a:solidFill>
                    <a:latin typeface="Microsoft Sans Serif"/>
                  </a:endParaRPr>
                </a:p>
              </p:txBody>
            </p:sp>
            <p:sp>
              <p:nvSpPr>
                <p:cNvPr id="664" name="Freeform: Shape 663">
                  <a:extLst>
                    <a:ext uri="{FF2B5EF4-FFF2-40B4-BE49-F238E27FC236}">
                      <a16:creationId xmlns:a16="http://schemas.microsoft.com/office/drawing/2014/main" id="{1B24DE7C-897C-84DD-4ED8-467B56B215E6}"/>
                    </a:ext>
                  </a:extLst>
                </p:cNvPr>
                <p:cNvSpPr/>
                <p:nvPr/>
              </p:nvSpPr>
              <p:spPr>
                <a:xfrm>
                  <a:off x="5717796" y="2629338"/>
                  <a:ext cx="2764" cy="1759"/>
                </a:xfrm>
                <a:custGeom>
                  <a:avLst/>
                  <a:gdLst>
                    <a:gd name="connsiteX0" fmla="*/ 2547 w 2764"/>
                    <a:gd name="connsiteY0" fmla="*/ 1519 h 1759"/>
                    <a:gd name="connsiteX1" fmla="*/ -92 w 2764"/>
                    <a:gd name="connsiteY1" fmla="*/ 1519 h 1759"/>
                    <a:gd name="connsiteX2" fmla="*/ 1165 w 2764"/>
                    <a:gd name="connsiteY2" fmla="*/ -114 h 1759"/>
                    <a:gd name="connsiteX3" fmla="*/ 2673 w 2764"/>
                    <a:gd name="connsiteY3" fmla="*/ 1645 h 1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764" h="1759">
                      <a:moveTo>
                        <a:pt x="2547" y="1519"/>
                      </a:moveTo>
                      <a:lnTo>
                        <a:pt x="-92" y="1519"/>
                      </a:lnTo>
                      <a:lnTo>
                        <a:pt x="1165" y="-114"/>
                      </a:lnTo>
                      <a:lnTo>
                        <a:pt x="2673" y="1645"/>
                      </a:lnTo>
                      <a:close/>
                    </a:path>
                  </a:pathLst>
                </a:custGeom>
                <a:solidFill>
                  <a:srgbClr val="F7F8FA"/>
                </a:solidFill>
                <a:ln w="251" cap="flat">
                  <a:solidFill>
                    <a:srgbClr val="40404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13161E"/>
                    </a:solidFill>
                    <a:latin typeface="Microsoft Sans Serif"/>
                  </a:endParaRPr>
                </a:p>
              </p:txBody>
            </p:sp>
            <p:sp>
              <p:nvSpPr>
                <p:cNvPr id="665" name="Freeform: Shape 664">
                  <a:extLst>
                    <a:ext uri="{FF2B5EF4-FFF2-40B4-BE49-F238E27FC236}">
                      <a16:creationId xmlns:a16="http://schemas.microsoft.com/office/drawing/2014/main" id="{3D1CBD5E-7F79-B2F0-84FE-48F63328097B}"/>
                    </a:ext>
                  </a:extLst>
                </p:cNvPr>
                <p:cNvSpPr/>
                <p:nvPr/>
              </p:nvSpPr>
              <p:spPr>
                <a:xfrm>
                  <a:off x="4543873" y="2175525"/>
                  <a:ext cx="1839611" cy="1177485"/>
                </a:xfrm>
                <a:custGeom>
                  <a:avLst/>
                  <a:gdLst>
                    <a:gd name="connsiteX0" fmla="*/ 950680 w 1839611"/>
                    <a:gd name="connsiteY0" fmla="*/ 791820 h 1177485"/>
                    <a:gd name="connsiteX1" fmla="*/ 681163 w 1839611"/>
                    <a:gd name="connsiteY1" fmla="*/ 1120140 h 1177485"/>
                    <a:gd name="connsiteX2" fmla="*/ 344801 w 1839611"/>
                    <a:gd name="connsiteY2" fmla="*/ 1175300 h 1177485"/>
                    <a:gd name="connsiteX3" fmla="*/ 168892 w 1839611"/>
                    <a:gd name="connsiteY3" fmla="*/ 1137605 h 1177485"/>
                    <a:gd name="connsiteX4" fmla="*/ 523 w 1839611"/>
                    <a:gd name="connsiteY4" fmla="*/ 891585 h 1177485"/>
                    <a:gd name="connsiteX5" fmla="*/ 523 w 1839611"/>
                    <a:gd name="connsiteY5" fmla="*/ 816196 h 1177485"/>
                    <a:gd name="connsiteX6" fmla="*/ 15600 w 1839611"/>
                    <a:gd name="connsiteY6" fmla="*/ 802123 h 1177485"/>
                    <a:gd name="connsiteX7" fmla="*/ 272301 w 1839611"/>
                    <a:gd name="connsiteY7" fmla="*/ 802123 h 1177485"/>
                    <a:gd name="connsiteX8" fmla="*/ 284866 w 1839611"/>
                    <a:gd name="connsiteY8" fmla="*/ 816573 h 1177485"/>
                    <a:gd name="connsiteX9" fmla="*/ 332487 w 1839611"/>
                    <a:gd name="connsiteY9" fmla="*/ 912191 h 1177485"/>
                    <a:gd name="connsiteX10" fmla="*/ 560917 w 1839611"/>
                    <a:gd name="connsiteY10" fmla="*/ 919228 h 1177485"/>
                    <a:gd name="connsiteX11" fmla="*/ 674001 w 1839611"/>
                    <a:gd name="connsiteY11" fmla="*/ 673584 h 1177485"/>
                    <a:gd name="connsiteX12" fmla="*/ 583785 w 1839611"/>
                    <a:gd name="connsiteY12" fmla="*/ 577714 h 1177485"/>
                    <a:gd name="connsiteX13" fmla="*/ 402222 w 1839611"/>
                    <a:gd name="connsiteY13" fmla="*/ 592918 h 1177485"/>
                    <a:gd name="connsiteX14" fmla="*/ 330602 w 1839611"/>
                    <a:gd name="connsiteY14" fmla="*/ 649711 h 1177485"/>
                    <a:gd name="connsiteX15" fmla="*/ 315524 w 1839611"/>
                    <a:gd name="connsiteY15" fmla="*/ 657878 h 1177485"/>
                    <a:gd name="connsiteX16" fmla="*/ 66865 w 1839611"/>
                    <a:gd name="connsiteY16" fmla="*/ 657878 h 1177485"/>
                    <a:gd name="connsiteX17" fmla="*/ 98403 w 1839611"/>
                    <a:gd name="connsiteY17" fmla="*/ 566154 h 1177485"/>
                    <a:gd name="connsiteX18" fmla="*/ 289766 w 1839611"/>
                    <a:gd name="connsiteY18" fmla="*/ 17823 h 1177485"/>
                    <a:gd name="connsiteX19" fmla="*/ 313891 w 1839611"/>
                    <a:gd name="connsiteY19" fmla="*/ 106 h 1177485"/>
                    <a:gd name="connsiteX20" fmla="*/ 1013378 w 1839611"/>
                    <a:gd name="connsiteY20" fmla="*/ 106 h 1177485"/>
                    <a:gd name="connsiteX21" fmla="*/ 1027954 w 1839611"/>
                    <a:gd name="connsiteY21" fmla="*/ 16818 h 1177485"/>
                    <a:gd name="connsiteX22" fmla="*/ 990259 w 1839611"/>
                    <a:gd name="connsiteY22" fmla="*/ 230421 h 1177485"/>
                    <a:gd name="connsiteX23" fmla="*/ 971663 w 1839611"/>
                    <a:gd name="connsiteY23" fmla="*/ 240598 h 1177485"/>
                    <a:gd name="connsiteX24" fmla="*/ 491810 w 1839611"/>
                    <a:gd name="connsiteY24" fmla="*/ 240598 h 1177485"/>
                    <a:gd name="connsiteX25" fmla="*/ 464670 w 1839611"/>
                    <a:gd name="connsiteY25" fmla="*/ 259320 h 1177485"/>
                    <a:gd name="connsiteX26" fmla="*/ 395688 w 1839611"/>
                    <a:gd name="connsiteY26" fmla="*/ 441888 h 1177485"/>
                    <a:gd name="connsiteX27" fmla="*/ 394306 w 1839611"/>
                    <a:gd name="connsiteY27" fmla="*/ 452316 h 1177485"/>
                    <a:gd name="connsiteX28" fmla="*/ 523096 w 1839611"/>
                    <a:gd name="connsiteY28" fmla="*/ 384466 h 1177485"/>
                    <a:gd name="connsiteX29" fmla="*/ 817743 w 1839611"/>
                    <a:gd name="connsiteY29" fmla="*/ 404696 h 1177485"/>
                    <a:gd name="connsiteX30" fmla="*/ 966763 w 1839611"/>
                    <a:gd name="connsiteY30" fmla="*/ 625963 h 1177485"/>
                    <a:gd name="connsiteX31" fmla="*/ 969276 w 1839611"/>
                    <a:gd name="connsiteY31" fmla="*/ 671699 h 1177485"/>
                    <a:gd name="connsiteX32" fmla="*/ 979830 w 1839611"/>
                    <a:gd name="connsiteY32" fmla="*/ 641669 h 1177485"/>
                    <a:gd name="connsiteX33" fmla="*/ 1366954 w 1839611"/>
                    <a:gd name="connsiteY33" fmla="*/ 256932 h 1177485"/>
                    <a:gd name="connsiteX34" fmla="*/ 1630817 w 1839611"/>
                    <a:gd name="connsiteY34" fmla="*/ 261330 h 1177485"/>
                    <a:gd name="connsiteX35" fmla="*/ 1831855 w 1839611"/>
                    <a:gd name="connsiteY35" fmla="*/ 491519 h 1177485"/>
                    <a:gd name="connsiteX36" fmla="*/ 1839520 w 1839611"/>
                    <a:gd name="connsiteY36" fmla="*/ 563013 h 1177485"/>
                    <a:gd name="connsiteX37" fmla="*/ 1827709 w 1839611"/>
                    <a:gd name="connsiteY37" fmla="*/ 575578 h 1177485"/>
                    <a:gd name="connsiteX38" fmla="*/ 1587720 w 1839611"/>
                    <a:gd name="connsiteY38" fmla="*/ 575578 h 1177485"/>
                    <a:gd name="connsiteX39" fmla="*/ 1575155 w 1839611"/>
                    <a:gd name="connsiteY39" fmla="*/ 564772 h 1177485"/>
                    <a:gd name="connsiteX40" fmla="*/ 1441464 w 1839611"/>
                    <a:gd name="connsiteY40" fmla="*/ 464881 h 1177485"/>
                    <a:gd name="connsiteX41" fmla="*/ 1275733 w 1839611"/>
                    <a:gd name="connsiteY41" fmla="*/ 586635 h 1177485"/>
                    <a:gd name="connsiteX42" fmla="*/ 1231631 w 1839611"/>
                    <a:gd name="connsiteY42" fmla="*/ 794081 h 1177485"/>
                    <a:gd name="connsiteX43" fmla="*/ 1290183 w 1839611"/>
                    <a:gd name="connsiteY43" fmla="*/ 923751 h 1177485"/>
                    <a:gd name="connsiteX44" fmla="*/ 1554046 w 1839611"/>
                    <a:gd name="connsiteY44" fmla="*/ 862057 h 1177485"/>
                    <a:gd name="connsiteX45" fmla="*/ 1555931 w 1839611"/>
                    <a:gd name="connsiteY45" fmla="*/ 855775 h 1177485"/>
                    <a:gd name="connsiteX46" fmla="*/ 1448501 w 1839611"/>
                    <a:gd name="connsiteY46" fmla="*/ 855775 h 1177485"/>
                    <a:gd name="connsiteX47" fmla="*/ 1437569 w 1839611"/>
                    <a:gd name="connsiteY47" fmla="*/ 841953 h 1177485"/>
                    <a:gd name="connsiteX48" fmla="*/ 1466217 w 1839611"/>
                    <a:gd name="connsiteY48" fmla="*/ 678610 h 1177485"/>
                    <a:gd name="connsiteX49" fmla="*/ 1480416 w 1839611"/>
                    <a:gd name="connsiteY49" fmla="*/ 663407 h 1177485"/>
                    <a:gd name="connsiteX50" fmla="*/ 1825950 w 1839611"/>
                    <a:gd name="connsiteY50" fmla="*/ 663407 h 1177485"/>
                    <a:gd name="connsiteX51" fmla="*/ 1834745 w 1839611"/>
                    <a:gd name="connsiteY51" fmla="*/ 664286 h 1177485"/>
                    <a:gd name="connsiteX52" fmla="*/ 1792904 w 1839611"/>
                    <a:gd name="connsiteY52" fmla="*/ 901888 h 1177485"/>
                    <a:gd name="connsiteX53" fmla="*/ 1750938 w 1839611"/>
                    <a:gd name="connsiteY53" fmla="*/ 1140621 h 1177485"/>
                    <a:gd name="connsiteX54" fmla="*/ 1734352 w 1839611"/>
                    <a:gd name="connsiteY54" fmla="*/ 1155573 h 1177485"/>
                    <a:gd name="connsiteX55" fmla="*/ 1588348 w 1839611"/>
                    <a:gd name="connsiteY55" fmla="*/ 1155573 h 1177485"/>
                    <a:gd name="connsiteX56" fmla="*/ 1575155 w 1839611"/>
                    <a:gd name="connsiteY56" fmla="*/ 1140244 h 1177485"/>
                    <a:gd name="connsiteX57" fmla="*/ 1580558 w 1839611"/>
                    <a:gd name="connsiteY57" fmla="*/ 1066237 h 1177485"/>
                    <a:gd name="connsiteX58" fmla="*/ 1542235 w 1839611"/>
                    <a:gd name="connsiteY58" fmla="*/ 1099157 h 1177485"/>
                    <a:gd name="connsiteX59" fmla="*/ 1269954 w 1839611"/>
                    <a:gd name="connsiteY59" fmla="*/ 1174546 h 1177485"/>
                    <a:gd name="connsiteX60" fmla="*/ 1087386 w 1839611"/>
                    <a:gd name="connsiteY60" fmla="*/ 1111722 h 1177485"/>
                    <a:gd name="connsiteX61" fmla="*/ 958721 w 1839611"/>
                    <a:gd name="connsiteY61" fmla="*/ 894223 h 1177485"/>
                    <a:gd name="connsiteX62" fmla="*/ 952062 w 1839611"/>
                    <a:gd name="connsiteY62" fmla="*/ 790689 h 1177485"/>
                    <a:gd name="connsiteX63" fmla="*/ 952062 w 1839611"/>
                    <a:gd name="connsiteY63" fmla="*/ 785537 h 1177485"/>
                    <a:gd name="connsiteX64" fmla="*/ 949549 w 1839611"/>
                    <a:gd name="connsiteY64" fmla="*/ 791066 h 11774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</a:cxnLst>
                  <a:rect l="l" t="t" r="r" b="b"/>
                  <a:pathLst>
                    <a:path w="1839611" h="1177485">
                      <a:moveTo>
                        <a:pt x="950680" y="791820"/>
                      </a:moveTo>
                      <a:cubicBezTo>
                        <a:pt x="912105" y="943352"/>
                        <a:pt x="822392" y="1053295"/>
                        <a:pt x="681163" y="1120140"/>
                      </a:cubicBezTo>
                      <a:cubicBezTo>
                        <a:pt x="574487" y="1170400"/>
                        <a:pt x="461277" y="1182964"/>
                        <a:pt x="344801" y="1175300"/>
                      </a:cubicBezTo>
                      <a:cubicBezTo>
                        <a:pt x="284451" y="1172850"/>
                        <a:pt x="224957" y="1160096"/>
                        <a:pt x="168892" y="1137605"/>
                      </a:cubicBezTo>
                      <a:cubicBezTo>
                        <a:pt x="60834" y="1091241"/>
                        <a:pt x="7182" y="1007182"/>
                        <a:pt x="523" y="891585"/>
                      </a:cubicBezTo>
                      <a:cubicBezTo>
                        <a:pt x="-860" y="866455"/>
                        <a:pt x="523" y="841325"/>
                        <a:pt x="523" y="816196"/>
                      </a:cubicBezTo>
                      <a:cubicBezTo>
                        <a:pt x="523" y="806144"/>
                        <a:pt x="4166" y="801997"/>
                        <a:pt x="15600" y="802123"/>
                      </a:cubicBezTo>
                      <a:cubicBezTo>
                        <a:pt x="101209" y="802626"/>
                        <a:pt x="186772" y="802626"/>
                        <a:pt x="272301" y="802123"/>
                      </a:cubicBezTo>
                      <a:cubicBezTo>
                        <a:pt x="284238" y="802123"/>
                        <a:pt x="285746" y="806269"/>
                        <a:pt x="284866" y="816573"/>
                      </a:cubicBezTo>
                      <a:cubicBezTo>
                        <a:pt x="281084" y="854946"/>
                        <a:pt x="299592" y="892087"/>
                        <a:pt x="332487" y="912191"/>
                      </a:cubicBezTo>
                      <a:cubicBezTo>
                        <a:pt x="406620" y="961697"/>
                        <a:pt x="484397" y="958807"/>
                        <a:pt x="560917" y="919228"/>
                      </a:cubicBezTo>
                      <a:cubicBezTo>
                        <a:pt x="657541" y="868968"/>
                        <a:pt x="691340" y="760784"/>
                        <a:pt x="674001" y="673584"/>
                      </a:cubicBezTo>
                      <a:cubicBezTo>
                        <a:pt x="666336" y="626202"/>
                        <a:pt x="630614" y="588243"/>
                        <a:pt x="583785" y="577714"/>
                      </a:cubicBezTo>
                      <a:cubicBezTo>
                        <a:pt x="523335" y="561530"/>
                        <a:pt x="459141" y="566908"/>
                        <a:pt x="402222" y="592918"/>
                      </a:cubicBezTo>
                      <a:cubicBezTo>
                        <a:pt x="374391" y="606249"/>
                        <a:pt x="349915" y="625649"/>
                        <a:pt x="330602" y="649711"/>
                      </a:cubicBezTo>
                      <a:cubicBezTo>
                        <a:pt x="327310" y="654850"/>
                        <a:pt x="321618" y="657928"/>
                        <a:pt x="315524" y="657878"/>
                      </a:cubicBezTo>
                      <a:cubicBezTo>
                        <a:pt x="233476" y="657878"/>
                        <a:pt x="151176" y="657878"/>
                        <a:pt x="66865" y="657878"/>
                      </a:cubicBezTo>
                      <a:cubicBezTo>
                        <a:pt x="77671" y="626466"/>
                        <a:pt x="87849" y="596310"/>
                        <a:pt x="98403" y="566154"/>
                      </a:cubicBezTo>
                      <a:cubicBezTo>
                        <a:pt x="162233" y="383373"/>
                        <a:pt x="226025" y="200604"/>
                        <a:pt x="289766" y="17823"/>
                      </a:cubicBezTo>
                      <a:cubicBezTo>
                        <a:pt x="291639" y="6326"/>
                        <a:pt x="302369" y="-1552"/>
                        <a:pt x="313891" y="106"/>
                      </a:cubicBezTo>
                      <a:cubicBezTo>
                        <a:pt x="547095" y="697"/>
                        <a:pt x="780262" y="697"/>
                        <a:pt x="1013378" y="106"/>
                      </a:cubicBezTo>
                      <a:cubicBezTo>
                        <a:pt x="1027074" y="106"/>
                        <a:pt x="1030844" y="1488"/>
                        <a:pt x="1027954" y="16818"/>
                      </a:cubicBezTo>
                      <a:cubicBezTo>
                        <a:pt x="1014384" y="88060"/>
                        <a:pt x="1002824" y="159429"/>
                        <a:pt x="990259" y="230421"/>
                      </a:cubicBezTo>
                      <a:cubicBezTo>
                        <a:pt x="987997" y="243739"/>
                        <a:pt x="979453" y="240598"/>
                        <a:pt x="971663" y="240598"/>
                      </a:cubicBezTo>
                      <a:cubicBezTo>
                        <a:pt x="811712" y="240598"/>
                        <a:pt x="651761" y="240598"/>
                        <a:pt x="491810" y="240598"/>
                      </a:cubicBezTo>
                      <a:cubicBezTo>
                        <a:pt x="479220" y="238588"/>
                        <a:pt x="467258" y="246830"/>
                        <a:pt x="464670" y="259320"/>
                      </a:cubicBezTo>
                      <a:cubicBezTo>
                        <a:pt x="442430" y="320385"/>
                        <a:pt x="418808" y="381074"/>
                        <a:pt x="395688" y="441888"/>
                      </a:cubicBezTo>
                      <a:cubicBezTo>
                        <a:pt x="394558" y="444903"/>
                        <a:pt x="391919" y="447668"/>
                        <a:pt x="394306" y="452316"/>
                      </a:cubicBezTo>
                      <a:cubicBezTo>
                        <a:pt x="431725" y="420502"/>
                        <a:pt x="475702" y="397332"/>
                        <a:pt x="523096" y="384466"/>
                      </a:cubicBezTo>
                      <a:cubicBezTo>
                        <a:pt x="620663" y="356559"/>
                        <a:pt x="724914" y="363709"/>
                        <a:pt x="817743" y="404696"/>
                      </a:cubicBezTo>
                      <a:cubicBezTo>
                        <a:pt x="912105" y="447039"/>
                        <a:pt x="957967" y="524690"/>
                        <a:pt x="966763" y="625963"/>
                      </a:cubicBezTo>
                      <a:cubicBezTo>
                        <a:pt x="968019" y="640413"/>
                        <a:pt x="968396" y="654862"/>
                        <a:pt x="969276" y="671699"/>
                      </a:cubicBezTo>
                      <a:cubicBezTo>
                        <a:pt x="974390" y="662326"/>
                        <a:pt x="977958" y="652186"/>
                        <a:pt x="979830" y="641669"/>
                      </a:cubicBezTo>
                      <a:cubicBezTo>
                        <a:pt x="1040644" y="444777"/>
                        <a:pt x="1165791" y="311967"/>
                        <a:pt x="1366954" y="256932"/>
                      </a:cubicBezTo>
                      <a:cubicBezTo>
                        <a:pt x="1453489" y="232883"/>
                        <a:pt x="1545137" y="234404"/>
                        <a:pt x="1630817" y="261330"/>
                      </a:cubicBezTo>
                      <a:cubicBezTo>
                        <a:pt x="1744655" y="296638"/>
                        <a:pt x="1808987" y="376173"/>
                        <a:pt x="1831855" y="491519"/>
                      </a:cubicBezTo>
                      <a:cubicBezTo>
                        <a:pt x="1836354" y="515103"/>
                        <a:pt x="1838917" y="539014"/>
                        <a:pt x="1839520" y="563013"/>
                      </a:cubicBezTo>
                      <a:cubicBezTo>
                        <a:pt x="1839520" y="572563"/>
                        <a:pt x="1837384" y="575578"/>
                        <a:pt x="1827709" y="575578"/>
                      </a:cubicBezTo>
                      <a:cubicBezTo>
                        <a:pt x="1747633" y="575578"/>
                        <a:pt x="1667632" y="575578"/>
                        <a:pt x="1587720" y="575578"/>
                      </a:cubicBezTo>
                      <a:cubicBezTo>
                        <a:pt x="1579427" y="575578"/>
                        <a:pt x="1575909" y="573819"/>
                        <a:pt x="1575155" y="564772"/>
                      </a:cubicBezTo>
                      <a:cubicBezTo>
                        <a:pt x="1571511" y="497927"/>
                        <a:pt x="1514215" y="456588"/>
                        <a:pt x="1441464" y="464881"/>
                      </a:cubicBezTo>
                      <a:cubicBezTo>
                        <a:pt x="1362054" y="474054"/>
                        <a:pt x="1308653" y="516900"/>
                        <a:pt x="1275733" y="586635"/>
                      </a:cubicBezTo>
                      <a:cubicBezTo>
                        <a:pt x="1244799" y="651307"/>
                        <a:pt x="1229683" y="722411"/>
                        <a:pt x="1231631" y="794081"/>
                      </a:cubicBezTo>
                      <a:cubicBezTo>
                        <a:pt x="1233013" y="844341"/>
                        <a:pt x="1247462" y="891082"/>
                        <a:pt x="1290183" y="923751"/>
                      </a:cubicBezTo>
                      <a:cubicBezTo>
                        <a:pt x="1358787" y="976523"/>
                        <a:pt x="1508435" y="965466"/>
                        <a:pt x="1554046" y="862057"/>
                      </a:cubicBezTo>
                      <a:cubicBezTo>
                        <a:pt x="1554674" y="860550"/>
                        <a:pt x="1554925" y="859042"/>
                        <a:pt x="1555931" y="855775"/>
                      </a:cubicBezTo>
                      <a:cubicBezTo>
                        <a:pt x="1519492" y="855775"/>
                        <a:pt x="1484059" y="855775"/>
                        <a:pt x="1448501" y="855775"/>
                      </a:cubicBezTo>
                      <a:cubicBezTo>
                        <a:pt x="1437192" y="855775"/>
                        <a:pt x="1435307" y="853639"/>
                        <a:pt x="1437569" y="841953"/>
                      </a:cubicBezTo>
                      <a:cubicBezTo>
                        <a:pt x="1447872" y="787799"/>
                        <a:pt x="1456668" y="733267"/>
                        <a:pt x="1466217" y="678610"/>
                      </a:cubicBezTo>
                      <a:cubicBezTo>
                        <a:pt x="1467599" y="670945"/>
                        <a:pt x="1467474" y="663281"/>
                        <a:pt x="1480416" y="663407"/>
                      </a:cubicBezTo>
                      <a:cubicBezTo>
                        <a:pt x="1595510" y="664035"/>
                        <a:pt x="1710730" y="663407"/>
                        <a:pt x="1825950" y="663407"/>
                      </a:cubicBezTo>
                      <a:cubicBezTo>
                        <a:pt x="1828890" y="663545"/>
                        <a:pt x="1831830" y="663834"/>
                        <a:pt x="1834745" y="664286"/>
                      </a:cubicBezTo>
                      <a:cubicBezTo>
                        <a:pt x="1820673" y="743822"/>
                        <a:pt x="1806851" y="822855"/>
                        <a:pt x="1792904" y="901888"/>
                      </a:cubicBezTo>
                      <a:cubicBezTo>
                        <a:pt x="1778957" y="980921"/>
                        <a:pt x="1764633" y="1061085"/>
                        <a:pt x="1750938" y="1140621"/>
                      </a:cubicBezTo>
                      <a:cubicBezTo>
                        <a:pt x="1749179" y="1151427"/>
                        <a:pt x="1746037" y="1155699"/>
                        <a:pt x="1734352" y="1155573"/>
                      </a:cubicBezTo>
                      <a:cubicBezTo>
                        <a:pt x="1685600" y="1154819"/>
                        <a:pt x="1636936" y="1154819"/>
                        <a:pt x="1588348" y="1155573"/>
                      </a:cubicBezTo>
                      <a:cubicBezTo>
                        <a:pt x="1575783" y="1155573"/>
                        <a:pt x="1573773" y="1152055"/>
                        <a:pt x="1575155" y="1140244"/>
                      </a:cubicBezTo>
                      <a:cubicBezTo>
                        <a:pt x="1577919" y="1116622"/>
                        <a:pt x="1578799" y="1092749"/>
                        <a:pt x="1580558" y="1066237"/>
                      </a:cubicBezTo>
                      <a:cubicBezTo>
                        <a:pt x="1566485" y="1078802"/>
                        <a:pt x="1554800" y="1089482"/>
                        <a:pt x="1542235" y="1099157"/>
                      </a:cubicBezTo>
                      <a:cubicBezTo>
                        <a:pt x="1461819" y="1161227"/>
                        <a:pt x="1369845" y="1182336"/>
                        <a:pt x="1269954" y="1174546"/>
                      </a:cubicBezTo>
                      <a:cubicBezTo>
                        <a:pt x="1204377" y="1171317"/>
                        <a:pt x="1141063" y="1149529"/>
                        <a:pt x="1087386" y="1111722"/>
                      </a:cubicBezTo>
                      <a:cubicBezTo>
                        <a:pt x="1013630" y="1057818"/>
                        <a:pt x="974302" y="982806"/>
                        <a:pt x="958721" y="894223"/>
                      </a:cubicBezTo>
                      <a:cubicBezTo>
                        <a:pt x="953180" y="860009"/>
                        <a:pt x="950944" y="825330"/>
                        <a:pt x="952062" y="790689"/>
                      </a:cubicBezTo>
                      <a:cubicBezTo>
                        <a:pt x="950303" y="789181"/>
                        <a:pt x="952062" y="787171"/>
                        <a:pt x="952062" y="785537"/>
                      </a:cubicBezTo>
                      <a:cubicBezTo>
                        <a:pt x="951534" y="787510"/>
                        <a:pt x="950692" y="789369"/>
                        <a:pt x="949549" y="791066"/>
                      </a:cubicBezTo>
                    </a:path>
                  </a:pathLst>
                </a:custGeom>
                <a:solidFill>
                  <a:srgbClr val="F7F8FA"/>
                </a:solidFill>
                <a:ln w="1253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13161E"/>
                    </a:solidFill>
                    <a:latin typeface="Microsoft Sans Serif"/>
                  </a:endParaRPr>
                </a:p>
              </p:txBody>
            </p:sp>
            <p:sp>
              <p:nvSpPr>
                <p:cNvPr id="666" name="Freeform: Shape 665">
                  <a:extLst>
                    <a:ext uri="{FF2B5EF4-FFF2-40B4-BE49-F238E27FC236}">
                      <a16:creationId xmlns:a16="http://schemas.microsoft.com/office/drawing/2014/main" id="{9C6E648F-0515-A8CD-4E1D-EB52C768CEB9}"/>
                    </a:ext>
                  </a:extLst>
                </p:cNvPr>
                <p:cNvSpPr/>
                <p:nvPr/>
              </p:nvSpPr>
              <p:spPr>
                <a:xfrm>
                  <a:off x="5458066" y="2962433"/>
                  <a:ext cx="6337" cy="11057"/>
                </a:xfrm>
                <a:custGeom>
                  <a:avLst/>
                  <a:gdLst>
                    <a:gd name="connsiteX0" fmla="*/ 174 w 6337"/>
                    <a:gd name="connsiteY0" fmla="*/ 10943 h 11057"/>
                    <a:gd name="connsiteX1" fmla="*/ 5074 w 6337"/>
                    <a:gd name="connsiteY1" fmla="*/ -114 h 11057"/>
                    <a:gd name="connsiteX2" fmla="*/ 3315 w 6337"/>
                    <a:gd name="connsiteY2" fmla="*/ 10566 h 11057"/>
                    <a:gd name="connsiteX3" fmla="*/ 1682 w 6337"/>
                    <a:gd name="connsiteY3" fmla="*/ 10566 h 11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337" h="11057">
                      <a:moveTo>
                        <a:pt x="174" y="10943"/>
                      </a:moveTo>
                      <a:cubicBezTo>
                        <a:pt x="-957" y="6043"/>
                        <a:pt x="1682" y="3027"/>
                        <a:pt x="5074" y="-114"/>
                      </a:cubicBezTo>
                      <a:cubicBezTo>
                        <a:pt x="7839" y="4284"/>
                        <a:pt x="5074" y="7299"/>
                        <a:pt x="3315" y="10566"/>
                      </a:cubicBezTo>
                      <a:lnTo>
                        <a:pt x="1682" y="10566"/>
                      </a:lnTo>
                      <a:close/>
                    </a:path>
                  </a:pathLst>
                </a:custGeom>
                <a:solidFill>
                  <a:srgbClr val="F7F8FA"/>
                </a:solidFill>
                <a:ln w="1253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13161E"/>
                    </a:solidFill>
                    <a:latin typeface="Microsoft Sans Serif"/>
                  </a:endParaRPr>
                </a:p>
              </p:txBody>
            </p:sp>
            <p:sp>
              <p:nvSpPr>
                <p:cNvPr id="667" name="Freeform: Shape 666">
                  <a:extLst>
                    <a:ext uri="{FF2B5EF4-FFF2-40B4-BE49-F238E27FC236}">
                      <a16:creationId xmlns:a16="http://schemas.microsoft.com/office/drawing/2014/main" id="{FDED23CB-2078-247E-E692-C63215DA2F66}"/>
                    </a:ext>
                  </a:extLst>
                </p:cNvPr>
                <p:cNvSpPr/>
                <p:nvPr/>
              </p:nvSpPr>
              <p:spPr>
                <a:xfrm>
                  <a:off x="6656645" y="2629225"/>
                  <a:ext cx="985816" cy="118408"/>
                </a:xfrm>
                <a:custGeom>
                  <a:avLst/>
                  <a:gdLst>
                    <a:gd name="connsiteX0" fmla="*/ 89370 w 985816"/>
                    <a:gd name="connsiteY0" fmla="*/ 2763 h 118408"/>
                    <a:gd name="connsiteX1" fmla="*/ 26546 w 985816"/>
                    <a:gd name="connsiteY1" fmla="*/ 2763 h 118408"/>
                    <a:gd name="connsiteX2" fmla="*/ -92 w 985816"/>
                    <a:gd name="connsiteY2" fmla="*/ 115847 h 118408"/>
                    <a:gd name="connsiteX3" fmla="*/ 64492 w 985816"/>
                    <a:gd name="connsiteY3" fmla="*/ 115847 h 118408"/>
                    <a:gd name="connsiteX4" fmla="*/ 131840 w 985816"/>
                    <a:gd name="connsiteY4" fmla="*/ 57923 h 118408"/>
                    <a:gd name="connsiteX5" fmla="*/ 89999 w 985816"/>
                    <a:gd name="connsiteY5" fmla="*/ 3140 h 118408"/>
                    <a:gd name="connsiteX6" fmla="*/ 113244 w 985816"/>
                    <a:gd name="connsiteY6" fmla="*/ 58174 h 118408"/>
                    <a:gd name="connsiteX7" fmla="*/ 67005 w 985816"/>
                    <a:gd name="connsiteY7" fmla="*/ 101272 h 118408"/>
                    <a:gd name="connsiteX8" fmla="*/ 21897 w 985816"/>
                    <a:gd name="connsiteY8" fmla="*/ 101272 h 118408"/>
                    <a:gd name="connsiteX9" fmla="*/ 41749 w 985816"/>
                    <a:gd name="connsiteY9" fmla="*/ 17715 h 118408"/>
                    <a:gd name="connsiteX10" fmla="*/ 83339 w 985816"/>
                    <a:gd name="connsiteY10" fmla="*/ 17715 h 118408"/>
                    <a:gd name="connsiteX11" fmla="*/ 113244 w 985816"/>
                    <a:gd name="connsiteY11" fmla="*/ 58174 h 118408"/>
                    <a:gd name="connsiteX12" fmla="*/ 266535 w 985816"/>
                    <a:gd name="connsiteY12" fmla="*/ 2763 h 118408"/>
                    <a:gd name="connsiteX13" fmla="*/ 199565 w 985816"/>
                    <a:gd name="connsiteY13" fmla="*/ 98131 h 118408"/>
                    <a:gd name="connsiteX14" fmla="*/ 177073 w 985816"/>
                    <a:gd name="connsiteY14" fmla="*/ 2763 h 118408"/>
                    <a:gd name="connsiteX15" fmla="*/ 155964 w 985816"/>
                    <a:gd name="connsiteY15" fmla="*/ 2763 h 118408"/>
                    <a:gd name="connsiteX16" fmla="*/ 185115 w 985816"/>
                    <a:gd name="connsiteY16" fmla="*/ 115847 h 118408"/>
                    <a:gd name="connsiteX17" fmla="*/ 204967 w 985816"/>
                    <a:gd name="connsiteY17" fmla="*/ 115847 h 118408"/>
                    <a:gd name="connsiteX18" fmla="*/ 286513 w 985816"/>
                    <a:gd name="connsiteY18" fmla="*/ 2763 h 118408"/>
                    <a:gd name="connsiteX19" fmla="*/ 344940 w 985816"/>
                    <a:gd name="connsiteY19" fmla="*/ 2763 h 118408"/>
                    <a:gd name="connsiteX20" fmla="*/ 261635 w 985816"/>
                    <a:gd name="connsiteY20" fmla="*/ 115847 h 118408"/>
                    <a:gd name="connsiteX21" fmla="*/ 281613 w 985816"/>
                    <a:gd name="connsiteY21" fmla="*/ 115847 h 118408"/>
                    <a:gd name="connsiteX22" fmla="*/ 305361 w 985816"/>
                    <a:gd name="connsiteY22" fmla="*/ 83053 h 118408"/>
                    <a:gd name="connsiteX23" fmla="*/ 367054 w 985816"/>
                    <a:gd name="connsiteY23" fmla="*/ 83053 h 118408"/>
                    <a:gd name="connsiteX24" fmla="*/ 375222 w 985816"/>
                    <a:gd name="connsiteY24" fmla="*/ 115847 h 118408"/>
                    <a:gd name="connsiteX25" fmla="*/ 396456 w 985816"/>
                    <a:gd name="connsiteY25" fmla="*/ 115847 h 118408"/>
                    <a:gd name="connsiteX26" fmla="*/ 366426 w 985816"/>
                    <a:gd name="connsiteY26" fmla="*/ 2763 h 118408"/>
                    <a:gd name="connsiteX27" fmla="*/ 315790 w 985816"/>
                    <a:gd name="connsiteY27" fmla="*/ 68101 h 118408"/>
                    <a:gd name="connsiteX28" fmla="*/ 351097 w 985816"/>
                    <a:gd name="connsiteY28" fmla="*/ 17841 h 118408"/>
                    <a:gd name="connsiteX29" fmla="*/ 363662 w 985816"/>
                    <a:gd name="connsiteY29" fmla="*/ 68101 h 118408"/>
                    <a:gd name="connsiteX30" fmla="*/ 522734 w 985816"/>
                    <a:gd name="connsiteY30" fmla="*/ 92351 h 118408"/>
                    <a:gd name="connsiteX31" fmla="*/ 522734 w 985816"/>
                    <a:gd name="connsiteY31" fmla="*/ 92351 h 118408"/>
                    <a:gd name="connsiteX32" fmla="*/ 463427 w 985816"/>
                    <a:gd name="connsiteY32" fmla="*/ 2763 h 118408"/>
                    <a:gd name="connsiteX33" fmla="*/ 441816 w 985816"/>
                    <a:gd name="connsiteY33" fmla="*/ 2763 h 118408"/>
                    <a:gd name="connsiteX34" fmla="*/ 415178 w 985816"/>
                    <a:gd name="connsiteY34" fmla="*/ 115847 h 118408"/>
                    <a:gd name="connsiteX35" fmla="*/ 433774 w 985816"/>
                    <a:gd name="connsiteY35" fmla="*/ 115847 h 118408"/>
                    <a:gd name="connsiteX36" fmla="*/ 454883 w 985816"/>
                    <a:gd name="connsiteY36" fmla="*/ 26259 h 118408"/>
                    <a:gd name="connsiteX37" fmla="*/ 454883 w 985816"/>
                    <a:gd name="connsiteY37" fmla="*/ 26259 h 118408"/>
                    <a:gd name="connsiteX38" fmla="*/ 514315 w 985816"/>
                    <a:gd name="connsiteY38" fmla="*/ 115847 h 118408"/>
                    <a:gd name="connsiteX39" fmla="*/ 535801 w 985816"/>
                    <a:gd name="connsiteY39" fmla="*/ 115847 h 118408"/>
                    <a:gd name="connsiteX40" fmla="*/ 562438 w 985816"/>
                    <a:gd name="connsiteY40" fmla="*/ 2763 h 118408"/>
                    <a:gd name="connsiteX41" fmla="*/ 543843 w 985816"/>
                    <a:gd name="connsiteY41" fmla="*/ 2763 h 118408"/>
                    <a:gd name="connsiteX42" fmla="*/ 653157 w 985816"/>
                    <a:gd name="connsiteY42" fmla="*/ -1 h 118408"/>
                    <a:gd name="connsiteX43" fmla="*/ 573621 w 985816"/>
                    <a:gd name="connsiteY43" fmla="*/ 58802 h 118408"/>
                    <a:gd name="connsiteX44" fmla="*/ 625389 w 985816"/>
                    <a:gd name="connsiteY44" fmla="*/ 118235 h 118408"/>
                    <a:gd name="connsiteX45" fmla="*/ 698893 w 985816"/>
                    <a:gd name="connsiteY45" fmla="*/ 72373 h 118408"/>
                    <a:gd name="connsiteX46" fmla="*/ 680297 w 985816"/>
                    <a:gd name="connsiteY46" fmla="*/ 72373 h 118408"/>
                    <a:gd name="connsiteX47" fmla="*/ 629033 w 985816"/>
                    <a:gd name="connsiteY47" fmla="*/ 103785 h 118408"/>
                    <a:gd name="connsiteX48" fmla="*/ 591338 w 985816"/>
                    <a:gd name="connsiteY48" fmla="*/ 60562 h 118408"/>
                    <a:gd name="connsiteX49" fmla="*/ 650644 w 985816"/>
                    <a:gd name="connsiteY49" fmla="*/ 14448 h 118408"/>
                    <a:gd name="connsiteX50" fmla="*/ 686580 w 985816"/>
                    <a:gd name="connsiteY50" fmla="*/ 43348 h 118408"/>
                    <a:gd name="connsiteX51" fmla="*/ 706307 w 985816"/>
                    <a:gd name="connsiteY51" fmla="*/ 43348 h 118408"/>
                    <a:gd name="connsiteX52" fmla="*/ 653785 w 985816"/>
                    <a:gd name="connsiteY52" fmla="*/ -1 h 118408"/>
                    <a:gd name="connsiteX53" fmla="*/ 720631 w 985816"/>
                    <a:gd name="connsiteY53" fmla="*/ 115470 h 118408"/>
                    <a:gd name="connsiteX54" fmla="*/ 823160 w 985816"/>
                    <a:gd name="connsiteY54" fmla="*/ 115470 h 118408"/>
                    <a:gd name="connsiteX55" fmla="*/ 826553 w 985816"/>
                    <a:gd name="connsiteY55" fmla="*/ 100895 h 118408"/>
                    <a:gd name="connsiteX56" fmla="*/ 742745 w 985816"/>
                    <a:gd name="connsiteY56" fmla="*/ 100895 h 118408"/>
                    <a:gd name="connsiteX57" fmla="*/ 751289 w 985816"/>
                    <a:gd name="connsiteY57" fmla="*/ 64457 h 118408"/>
                    <a:gd name="connsiteX58" fmla="*/ 830950 w 985816"/>
                    <a:gd name="connsiteY58" fmla="*/ 64457 h 118408"/>
                    <a:gd name="connsiteX59" fmla="*/ 834343 w 985816"/>
                    <a:gd name="connsiteY59" fmla="*/ 50007 h 118408"/>
                    <a:gd name="connsiteX60" fmla="*/ 754681 w 985816"/>
                    <a:gd name="connsiteY60" fmla="*/ 50007 h 118408"/>
                    <a:gd name="connsiteX61" fmla="*/ 762472 w 985816"/>
                    <a:gd name="connsiteY61" fmla="*/ 17339 h 118408"/>
                    <a:gd name="connsiteX62" fmla="*/ 844520 w 985816"/>
                    <a:gd name="connsiteY62" fmla="*/ 17339 h 118408"/>
                    <a:gd name="connsiteX63" fmla="*/ 848038 w 985816"/>
                    <a:gd name="connsiteY63" fmla="*/ 2763 h 118408"/>
                    <a:gd name="connsiteX64" fmla="*/ 747519 w 985816"/>
                    <a:gd name="connsiteY64" fmla="*/ 2763 h 118408"/>
                    <a:gd name="connsiteX65" fmla="*/ 941772 w 985816"/>
                    <a:gd name="connsiteY65" fmla="*/ 2386 h 118408"/>
                    <a:gd name="connsiteX66" fmla="*/ 878320 w 985816"/>
                    <a:gd name="connsiteY66" fmla="*/ 2386 h 118408"/>
                    <a:gd name="connsiteX67" fmla="*/ 851682 w 985816"/>
                    <a:gd name="connsiteY67" fmla="*/ 115470 h 118408"/>
                    <a:gd name="connsiteX68" fmla="*/ 916266 w 985816"/>
                    <a:gd name="connsiteY68" fmla="*/ 115470 h 118408"/>
                    <a:gd name="connsiteX69" fmla="*/ 983614 w 985816"/>
                    <a:gd name="connsiteY69" fmla="*/ 57546 h 118408"/>
                    <a:gd name="connsiteX70" fmla="*/ 941772 w 985816"/>
                    <a:gd name="connsiteY70" fmla="*/ 2763 h 118408"/>
                    <a:gd name="connsiteX71" fmla="*/ 965018 w 985816"/>
                    <a:gd name="connsiteY71" fmla="*/ 57797 h 118408"/>
                    <a:gd name="connsiteX72" fmla="*/ 918779 w 985816"/>
                    <a:gd name="connsiteY72" fmla="*/ 100895 h 118408"/>
                    <a:gd name="connsiteX73" fmla="*/ 873671 w 985816"/>
                    <a:gd name="connsiteY73" fmla="*/ 100895 h 118408"/>
                    <a:gd name="connsiteX74" fmla="*/ 893523 w 985816"/>
                    <a:gd name="connsiteY74" fmla="*/ 17339 h 118408"/>
                    <a:gd name="connsiteX75" fmla="*/ 935113 w 985816"/>
                    <a:gd name="connsiteY75" fmla="*/ 17339 h 118408"/>
                    <a:gd name="connsiteX76" fmla="*/ 965018 w 985816"/>
                    <a:gd name="connsiteY76" fmla="*/ 57797 h 118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</a:cxnLst>
                  <a:rect l="l" t="t" r="r" b="b"/>
                  <a:pathLst>
                    <a:path w="985816" h="118408">
                      <a:moveTo>
                        <a:pt x="89370" y="2763"/>
                      </a:moveTo>
                      <a:lnTo>
                        <a:pt x="26546" y="2763"/>
                      </a:lnTo>
                      <a:lnTo>
                        <a:pt x="-92" y="115847"/>
                      </a:lnTo>
                      <a:lnTo>
                        <a:pt x="64492" y="115847"/>
                      </a:lnTo>
                      <a:cubicBezTo>
                        <a:pt x="102941" y="115847"/>
                        <a:pt x="124426" y="89335"/>
                        <a:pt x="131840" y="57923"/>
                      </a:cubicBezTo>
                      <a:cubicBezTo>
                        <a:pt x="139253" y="26511"/>
                        <a:pt x="127568" y="3140"/>
                        <a:pt x="89999" y="3140"/>
                      </a:cubicBezTo>
                      <a:moveTo>
                        <a:pt x="113244" y="58174"/>
                      </a:moveTo>
                      <a:cubicBezTo>
                        <a:pt x="108469" y="78278"/>
                        <a:pt x="97537" y="101272"/>
                        <a:pt x="67005" y="101272"/>
                      </a:cubicBezTo>
                      <a:lnTo>
                        <a:pt x="21897" y="101272"/>
                      </a:lnTo>
                      <a:lnTo>
                        <a:pt x="41749" y="17715"/>
                      </a:lnTo>
                      <a:lnTo>
                        <a:pt x="83339" y="17715"/>
                      </a:lnTo>
                      <a:cubicBezTo>
                        <a:pt x="115505" y="17715"/>
                        <a:pt x="117893" y="38447"/>
                        <a:pt x="113244" y="58174"/>
                      </a:cubicBezTo>
                      <a:moveTo>
                        <a:pt x="266535" y="2763"/>
                      </a:moveTo>
                      <a:lnTo>
                        <a:pt x="199565" y="98131"/>
                      </a:lnTo>
                      <a:lnTo>
                        <a:pt x="177073" y="2763"/>
                      </a:lnTo>
                      <a:lnTo>
                        <a:pt x="155964" y="2763"/>
                      </a:lnTo>
                      <a:lnTo>
                        <a:pt x="185115" y="115847"/>
                      </a:lnTo>
                      <a:lnTo>
                        <a:pt x="204967" y="115847"/>
                      </a:lnTo>
                      <a:lnTo>
                        <a:pt x="286513" y="2763"/>
                      </a:lnTo>
                      <a:close/>
                      <a:moveTo>
                        <a:pt x="344940" y="2763"/>
                      </a:moveTo>
                      <a:lnTo>
                        <a:pt x="261635" y="115847"/>
                      </a:lnTo>
                      <a:lnTo>
                        <a:pt x="281613" y="115847"/>
                      </a:lnTo>
                      <a:lnTo>
                        <a:pt x="305361" y="83053"/>
                      </a:lnTo>
                      <a:lnTo>
                        <a:pt x="367054" y="83053"/>
                      </a:lnTo>
                      <a:lnTo>
                        <a:pt x="375222" y="115847"/>
                      </a:lnTo>
                      <a:lnTo>
                        <a:pt x="396456" y="115847"/>
                      </a:lnTo>
                      <a:lnTo>
                        <a:pt x="366426" y="2763"/>
                      </a:lnTo>
                      <a:close/>
                      <a:moveTo>
                        <a:pt x="315790" y="68101"/>
                      </a:moveTo>
                      <a:lnTo>
                        <a:pt x="351097" y="17841"/>
                      </a:lnTo>
                      <a:lnTo>
                        <a:pt x="363662" y="68101"/>
                      </a:lnTo>
                      <a:close/>
                      <a:moveTo>
                        <a:pt x="522734" y="92351"/>
                      </a:moveTo>
                      <a:lnTo>
                        <a:pt x="522734" y="92351"/>
                      </a:lnTo>
                      <a:lnTo>
                        <a:pt x="463427" y="2763"/>
                      </a:lnTo>
                      <a:lnTo>
                        <a:pt x="441816" y="2763"/>
                      </a:lnTo>
                      <a:lnTo>
                        <a:pt x="415178" y="115847"/>
                      </a:lnTo>
                      <a:lnTo>
                        <a:pt x="433774" y="115847"/>
                      </a:lnTo>
                      <a:lnTo>
                        <a:pt x="454883" y="26259"/>
                      </a:lnTo>
                      <a:lnTo>
                        <a:pt x="454883" y="26259"/>
                      </a:lnTo>
                      <a:lnTo>
                        <a:pt x="514315" y="115847"/>
                      </a:lnTo>
                      <a:lnTo>
                        <a:pt x="535801" y="115847"/>
                      </a:lnTo>
                      <a:lnTo>
                        <a:pt x="562438" y="2763"/>
                      </a:lnTo>
                      <a:lnTo>
                        <a:pt x="543843" y="2763"/>
                      </a:lnTo>
                      <a:close/>
                      <a:moveTo>
                        <a:pt x="653157" y="-1"/>
                      </a:moveTo>
                      <a:cubicBezTo>
                        <a:pt x="615978" y="-1999"/>
                        <a:pt x="582605" y="22666"/>
                        <a:pt x="573621" y="58802"/>
                      </a:cubicBezTo>
                      <a:cubicBezTo>
                        <a:pt x="563318" y="102654"/>
                        <a:pt x="593851" y="118235"/>
                        <a:pt x="625389" y="118235"/>
                      </a:cubicBezTo>
                      <a:cubicBezTo>
                        <a:pt x="656977" y="119478"/>
                        <a:pt x="686127" y="101297"/>
                        <a:pt x="698893" y="72373"/>
                      </a:cubicBezTo>
                      <a:lnTo>
                        <a:pt x="680297" y="72373"/>
                      </a:lnTo>
                      <a:cubicBezTo>
                        <a:pt x="671288" y="92376"/>
                        <a:pt x="650946" y="104840"/>
                        <a:pt x="629033" y="103785"/>
                      </a:cubicBezTo>
                      <a:cubicBezTo>
                        <a:pt x="594479" y="103785"/>
                        <a:pt x="586814" y="81796"/>
                        <a:pt x="591338" y="60562"/>
                      </a:cubicBezTo>
                      <a:cubicBezTo>
                        <a:pt x="596565" y="32379"/>
                        <a:pt x="622046" y="12564"/>
                        <a:pt x="650644" y="14448"/>
                      </a:cubicBezTo>
                      <a:cubicBezTo>
                        <a:pt x="676905" y="14448"/>
                        <a:pt x="687585" y="27767"/>
                        <a:pt x="686580" y="43348"/>
                      </a:cubicBezTo>
                      <a:lnTo>
                        <a:pt x="706307" y="43348"/>
                      </a:lnTo>
                      <a:cubicBezTo>
                        <a:pt x="711207" y="9548"/>
                        <a:pt x="678915" y="-1"/>
                        <a:pt x="653785" y="-1"/>
                      </a:cubicBezTo>
                      <a:moveTo>
                        <a:pt x="720631" y="115470"/>
                      </a:moveTo>
                      <a:lnTo>
                        <a:pt x="823160" y="115470"/>
                      </a:lnTo>
                      <a:lnTo>
                        <a:pt x="826553" y="100895"/>
                      </a:lnTo>
                      <a:lnTo>
                        <a:pt x="742745" y="100895"/>
                      </a:lnTo>
                      <a:lnTo>
                        <a:pt x="751289" y="64457"/>
                      </a:lnTo>
                      <a:lnTo>
                        <a:pt x="830950" y="64457"/>
                      </a:lnTo>
                      <a:lnTo>
                        <a:pt x="834343" y="50007"/>
                      </a:lnTo>
                      <a:lnTo>
                        <a:pt x="754681" y="50007"/>
                      </a:lnTo>
                      <a:lnTo>
                        <a:pt x="762472" y="17339"/>
                      </a:lnTo>
                      <a:lnTo>
                        <a:pt x="844520" y="17339"/>
                      </a:lnTo>
                      <a:lnTo>
                        <a:pt x="848038" y="2763"/>
                      </a:lnTo>
                      <a:lnTo>
                        <a:pt x="747519" y="2763"/>
                      </a:lnTo>
                      <a:close/>
                      <a:moveTo>
                        <a:pt x="941772" y="2386"/>
                      </a:moveTo>
                      <a:lnTo>
                        <a:pt x="878320" y="2386"/>
                      </a:lnTo>
                      <a:lnTo>
                        <a:pt x="851682" y="115470"/>
                      </a:lnTo>
                      <a:lnTo>
                        <a:pt x="916266" y="115470"/>
                      </a:lnTo>
                      <a:cubicBezTo>
                        <a:pt x="954714" y="115470"/>
                        <a:pt x="976201" y="88958"/>
                        <a:pt x="983614" y="57546"/>
                      </a:cubicBezTo>
                      <a:cubicBezTo>
                        <a:pt x="991027" y="26134"/>
                        <a:pt x="979342" y="2763"/>
                        <a:pt x="941772" y="2763"/>
                      </a:cubicBezTo>
                      <a:moveTo>
                        <a:pt x="965018" y="57797"/>
                      </a:moveTo>
                      <a:cubicBezTo>
                        <a:pt x="960243" y="77901"/>
                        <a:pt x="949311" y="100895"/>
                        <a:pt x="918779" y="100895"/>
                      </a:cubicBezTo>
                      <a:lnTo>
                        <a:pt x="873671" y="100895"/>
                      </a:lnTo>
                      <a:lnTo>
                        <a:pt x="893523" y="17339"/>
                      </a:lnTo>
                      <a:lnTo>
                        <a:pt x="935113" y="17339"/>
                      </a:lnTo>
                      <a:cubicBezTo>
                        <a:pt x="967405" y="17339"/>
                        <a:pt x="969667" y="38071"/>
                        <a:pt x="965018" y="57797"/>
                      </a:cubicBezTo>
                    </a:path>
                  </a:pathLst>
                </a:custGeom>
                <a:solidFill>
                  <a:srgbClr val="F7F8FA"/>
                </a:solidFill>
                <a:ln w="1253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13161E"/>
                    </a:solidFill>
                    <a:latin typeface="Microsoft Sans Serif"/>
                  </a:endParaRPr>
                </a:p>
              </p:txBody>
            </p:sp>
            <p:sp>
              <p:nvSpPr>
                <p:cNvPr id="668" name="Freeform: Shape 667">
                  <a:extLst>
                    <a:ext uri="{FF2B5EF4-FFF2-40B4-BE49-F238E27FC236}">
                      <a16:creationId xmlns:a16="http://schemas.microsoft.com/office/drawing/2014/main" id="{40B899DC-DA62-3B00-2F20-6629A013E9E0}"/>
                    </a:ext>
                  </a:extLst>
                </p:cNvPr>
                <p:cNvSpPr/>
                <p:nvPr/>
              </p:nvSpPr>
              <p:spPr>
                <a:xfrm>
                  <a:off x="6496443" y="2632102"/>
                  <a:ext cx="134569" cy="113083"/>
                </a:xfrm>
                <a:custGeom>
                  <a:avLst/>
                  <a:gdLst>
                    <a:gd name="connsiteX0" fmla="*/ 104448 w 134569"/>
                    <a:gd name="connsiteY0" fmla="*/ -114 h 113083"/>
                    <a:gd name="connsiteX1" fmla="*/ 83214 w 134569"/>
                    <a:gd name="connsiteY1" fmla="*/ -114 h 113083"/>
                    <a:gd name="connsiteX2" fmla="*/ -92 w 134569"/>
                    <a:gd name="connsiteY2" fmla="*/ 112970 h 113083"/>
                    <a:gd name="connsiteX3" fmla="*/ 19886 w 134569"/>
                    <a:gd name="connsiteY3" fmla="*/ 112970 h 113083"/>
                    <a:gd name="connsiteX4" fmla="*/ 43634 w 134569"/>
                    <a:gd name="connsiteY4" fmla="*/ 80175 h 113083"/>
                    <a:gd name="connsiteX5" fmla="*/ 105076 w 134569"/>
                    <a:gd name="connsiteY5" fmla="*/ 80175 h 113083"/>
                    <a:gd name="connsiteX6" fmla="*/ 113244 w 134569"/>
                    <a:gd name="connsiteY6" fmla="*/ 112970 h 113083"/>
                    <a:gd name="connsiteX7" fmla="*/ 134478 w 134569"/>
                    <a:gd name="connsiteY7" fmla="*/ 112970 h 113083"/>
                    <a:gd name="connsiteX8" fmla="*/ 54189 w 134569"/>
                    <a:gd name="connsiteY8" fmla="*/ 65223 h 113083"/>
                    <a:gd name="connsiteX9" fmla="*/ 89496 w 134569"/>
                    <a:gd name="connsiteY9" fmla="*/ 14964 h 113083"/>
                    <a:gd name="connsiteX10" fmla="*/ 102061 w 134569"/>
                    <a:gd name="connsiteY10" fmla="*/ 65223 h 1130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34569" h="113083">
                      <a:moveTo>
                        <a:pt x="104448" y="-114"/>
                      </a:moveTo>
                      <a:lnTo>
                        <a:pt x="83214" y="-114"/>
                      </a:lnTo>
                      <a:lnTo>
                        <a:pt x="-92" y="112970"/>
                      </a:lnTo>
                      <a:lnTo>
                        <a:pt x="19886" y="112970"/>
                      </a:lnTo>
                      <a:lnTo>
                        <a:pt x="43634" y="80175"/>
                      </a:lnTo>
                      <a:lnTo>
                        <a:pt x="105076" y="80175"/>
                      </a:lnTo>
                      <a:lnTo>
                        <a:pt x="113244" y="112970"/>
                      </a:lnTo>
                      <a:lnTo>
                        <a:pt x="134478" y="112970"/>
                      </a:lnTo>
                      <a:close/>
                      <a:moveTo>
                        <a:pt x="54189" y="65223"/>
                      </a:moveTo>
                      <a:lnTo>
                        <a:pt x="89496" y="14964"/>
                      </a:lnTo>
                      <a:lnTo>
                        <a:pt x="102061" y="65223"/>
                      </a:lnTo>
                      <a:close/>
                    </a:path>
                  </a:pathLst>
                </a:custGeom>
                <a:solidFill>
                  <a:srgbClr val="F7F8FA"/>
                </a:solidFill>
                <a:ln w="1253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13161E"/>
                    </a:solidFill>
                    <a:latin typeface="Microsoft Sans Serif"/>
                  </a:endParaRPr>
                </a:p>
              </p:txBody>
            </p:sp>
            <p:sp>
              <p:nvSpPr>
                <p:cNvPr id="669" name="Freeform: Shape 668">
                  <a:extLst>
                    <a:ext uri="{FF2B5EF4-FFF2-40B4-BE49-F238E27FC236}">
                      <a16:creationId xmlns:a16="http://schemas.microsoft.com/office/drawing/2014/main" id="{5FF7B41D-5A90-6FBD-94EF-65B24A970CAB}"/>
                    </a:ext>
                  </a:extLst>
                </p:cNvPr>
                <p:cNvSpPr/>
                <p:nvPr/>
              </p:nvSpPr>
              <p:spPr>
                <a:xfrm>
                  <a:off x="5654218" y="2173638"/>
                  <a:ext cx="999662" cy="280168"/>
                </a:xfrm>
                <a:custGeom>
                  <a:avLst/>
                  <a:gdLst>
                    <a:gd name="connsiteX0" fmla="*/ -92 w 999662"/>
                    <a:gd name="connsiteY0" fmla="*/ 280054 h 280168"/>
                    <a:gd name="connsiteX1" fmla="*/ 832207 w 999662"/>
                    <a:gd name="connsiteY1" fmla="*/ 278044 h 280168"/>
                    <a:gd name="connsiteX2" fmla="*/ 999571 w 999662"/>
                    <a:gd name="connsiteY2" fmla="*/ 167347 h 280168"/>
                    <a:gd name="connsiteX3" fmla="*/ -92 w 999662"/>
                    <a:gd name="connsiteY3" fmla="*/ 280054 h 2801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9662" h="280168">
                      <a:moveTo>
                        <a:pt x="-92" y="280054"/>
                      </a:moveTo>
                      <a:cubicBezTo>
                        <a:pt x="422340" y="-91489"/>
                        <a:pt x="800795" y="249145"/>
                        <a:pt x="832207" y="278044"/>
                      </a:cubicBezTo>
                      <a:cubicBezTo>
                        <a:pt x="832207" y="278044"/>
                        <a:pt x="947175" y="194613"/>
                        <a:pt x="999571" y="167347"/>
                      </a:cubicBezTo>
                      <a:cubicBezTo>
                        <a:pt x="615588" y="-135215"/>
                        <a:pt x="288901" y="14935"/>
                        <a:pt x="-92" y="280054"/>
                      </a:cubicBezTo>
                    </a:path>
                  </a:pathLst>
                </a:custGeom>
                <a:solidFill>
                  <a:srgbClr val="F7F8FA"/>
                </a:solidFill>
                <a:ln w="1253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13161E"/>
                    </a:solidFill>
                    <a:latin typeface="Microsoft Sans Serif"/>
                  </a:endParaRPr>
                </a:p>
              </p:txBody>
            </p:sp>
            <p:sp>
              <p:nvSpPr>
                <p:cNvPr id="670" name="Freeform: Shape 669">
                  <a:extLst>
                    <a:ext uri="{FF2B5EF4-FFF2-40B4-BE49-F238E27FC236}">
                      <a16:creationId xmlns:a16="http://schemas.microsoft.com/office/drawing/2014/main" id="{A6DBA1E3-8386-AAE9-C335-B08BFEF9C56D}"/>
                    </a:ext>
                  </a:extLst>
                </p:cNvPr>
                <p:cNvSpPr/>
                <p:nvPr/>
              </p:nvSpPr>
              <p:spPr>
                <a:xfrm>
                  <a:off x="5691913" y="1933401"/>
                  <a:ext cx="1299712" cy="382820"/>
                </a:xfrm>
                <a:custGeom>
                  <a:avLst/>
                  <a:gdLst>
                    <a:gd name="connsiteX0" fmla="*/ -92 w 1299712"/>
                    <a:gd name="connsiteY0" fmla="*/ 382706 h 382820"/>
                    <a:gd name="connsiteX1" fmla="*/ 1049328 w 1299712"/>
                    <a:gd name="connsiteY1" fmla="*/ 355943 h 382820"/>
                    <a:gd name="connsiteX2" fmla="*/ 1299621 w 1299712"/>
                    <a:gd name="connsiteY2" fmla="*/ 188578 h 382820"/>
                    <a:gd name="connsiteX3" fmla="*/ -92 w 1299712"/>
                    <a:gd name="connsiteY3" fmla="*/ 382706 h 3828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99712" h="382820">
                      <a:moveTo>
                        <a:pt x="-92" y="382706"/>
                      </a:moveTo>
                      <a:cubicBezTo>
                        <a:pt x="510294" y="-121272"/>
                        <a:pt x="1044805" y="352424"/>
                        <a:pt x="1049328" y="355943"/>
                      </a:cubicBezTo>
                      <a:cubicBezTo>
                        <a:pt x="1049328" y="355943"/>
                        <a:pt x="1246848" y="217101"/>
                        <a:pt x="1299621" y="188578"/>
                      </a:cubicBezTo>
                      <a:cubicBezTo>
                        <a:pt x="902193" y="-97021"/>
                        <a:pt x="422717" y="-78425"/>
                        <a:pt x="-92" y="382706"/>
                      </a:cubicBezTo>
                    </a:path>
                  </a:pathLst>
                </a:custGeom>
                <a:solidFill>
                  <a:srgbClr val="F7F8FA"/>
                </a:solidFill>
                <a:ln w="1253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13161E"/>
                    </a:solidFill>
                    <a:latin typeface="Microsoft Sans Serif"/>
                  </a:endParaRPr>
                </a:p>
              </p:txBody>
            </p:sp>
            <p:sp>
              <p:nvSpPr>
                <p:cNvPr id="671" name="Freeform: Shape 670">
                  <a:extLst>
                    <a:ext uri="{FF2B5EF4-FFF2-40B4-BE49-F238E27FC236}">
                      <a16:creationId xmlns:a16="http://schemas.microsoft.com/office/drawing/2014/main" id="{591F0074-3D2C-7163-FC97-2D1F17A7ACA4}"/>
                    </a:ext>
                  </a:extLst>
                </p:cNvPr>
                <p:cNvSpPr/>
                <p:nvPr/>
              </p:nvSpPr>
              <p:spPr>
                <a:xfrm>
                  <a:off x="5680981" y="1621652"/>
                  <a:ext cx="1782580" cy="568920"/>
                </a:xfrm>
                <a:custGeom>
                  <a:avLst/>
                  <a:gdLst>
                    <a:gd name="connsiteX0" fmla="*/ 411 w 1782580"/>
                    <a:gd name="connsiteY0" fmla="*/ 568806 h 568920"/>
                    <a:gd name="connsiteX1" fmla="*/ 1395114 w 1782580"/>
                    <a:gd name="connsiteY1" fmla="*/ 449691 h 568920"/>
                    <a:gd name="connsiteX2" fmla="*/ 1782489 w 1782580"/>
                    <a:gd name="connsiteY2" fmla="*/ 208445 h 568920"/>
                    <a:gd name="connsiteX3" fmla="*/ -92 w 1782580"/>
                    <a:gd name="connsiteY3" fmla="*/ 568806 h 568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782580" h="568920">
                      <a:moveTo>
                        <a:pt x="411" y="568806"/>
                      </a:moveTo>
                      <a:cubicBezTo>
                        <a:pt x="680172" y="-128922"/>
                        <a:pt x="1395114" y="449691"/>
                        <a:pt x="1395114" y="449691"/>
                      </a:cubicBezTo>
                      <a:lnTo>
                        <a:pt x="1782489" y="208445"/>
                      </a:lnTo>
                      <a:cubicBezTo>
                        <a:pt x="1267329" y="-145508"/>
                        <a:pt x="477123" y="-63961"/>
                        <a:pt x="-92" y="568806"/>
                      </a:cubicBezTo>
                    </a:path>
                  </a:pathLst>
                </a:custGeom>
                <a:solidFill>
                  <a:srgbClr val="F7F8FA"/>
                </a:solidFill>
                <a:ln w="1253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13161E"/>
                    </a:solidFill>
                    <a:latin typeface="Microsoft Sans Serif"/>
                  </a:endParaRPr>
                </a:p>
              </p:txBody>
            </p:sp>
          </p:grpSp>
          <p:sp>
            <p:nvSpPr>
              <p:cNvPr id="662" name="TextBox 661">
                <a:extLst>
                  <a:ext uri="{FF2B5EF4-FFF2-40B4-BE49-F238E27FC236}">
                    <a16:creationId xmlns:a16="http://schemas.microsoft.com/office/drawing/2014/main" id="{E11FAC42-0F24-22DE-5B6B-2F0F6F24DD87}"/>
                  </a:ext>
                </a:extLst>
              </p:cNvPr>
              <p:cNvSpPr txBox="1"/>
              <p:nvPr/>
            </p:nvSpPr>
            <p:spPr>
              <a:xfrm>
                <a:off x="5521560" y="3758132"/>
                <a:ext cx="1148884" cy="162726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743407">
                  <a:lnSpc>
                    <a:spcPct val="90000"/>
                  </a:lnSpc>
                  <a:defRPr/>
                </a:pPr>
                <a:r>
                  <a:rPr lang="en-US" sz="1138" b="1" kern="0">
                    <a:solidFill>
                      <a:srgbClr val="F7F8FA"/>
                    </a:solidFill>
                    <a:latin typeface="Microsoft Sans Serif"/>
                    <a:cs typeface="Microsoft Sans Serif" panose="020B0604020202020204" pitchFamily="34" charset="0"/>
                  </a:rPr>
                  <a:t>Release 19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20920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6AD414-EA56-EF49-BE3B-D059F853C8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7744" y="570192"/>
            <a:ext cx="8536512" cy="403455"/>
          </a:xfrm>
        </p:spPr>
        <p:txBody>
          <a:bodyPr/>
          <a:lstStyle/>
          <a:p>
            <a:r>
              <a:rPr lang="en-US" sz="4000"/>
              <a:t>RAN1-Led Rel-19 Projects: More Details</a:t>
            </a:r>
            <a:endParaRPr lang="en-US" sz="4000">
              <a:solidFill>
                <a:schemeClr val="tx1"/>
              </a:solidFill>
            </a:endParaRPr>
          </a:p>
        </p:txBody>
      </p:sp>
      <p:graphicFrame>
        <p:nvGraphicFramePr>
          <p:cNvPr id="4" name="Content Placeholder 5">
            <a:extLst>
              <a:ext uri="{FF2B5EF4-FFF2-40B4-BE49-F238E27FC236}">
                <a16:creationId xmlns:a16="http://schemas.microsoft.com/office/drawing/2014/main" id="{D6DDFD08-0BA0-48A0-91F7-3281389640BC}"/>
              </a:ext>
            </a:extLst>
          </p:cNvPr>
          <p:cNvGraphicFramePr>
            <a:graphicFrameLocks/>
          </p:cNvGraphicFramePr>
          <p:nvPr/>
        </p:nvGraphicFramePr>
        <p:xfrm>
          <a:off x="71367" y="1322158"/>
          <a:ext cx="12049267" cy="4478875"/>
        </p:xfrm>
        <a:graphic>
          <a:graphicData uri="http://schemas.openxmlformats.org/drawingml/2006/table">
            <a:tbl>
              <a:tblPr firstRow="1" firstCol="1" bandRow="1"/>
              <a:tblGrid>
                <a:gridCol w="2680774">
                  <a:extLst>
                    <a:ext uri="{9D8B030D-6E8A-4147-A177-3AD203B41FA5}">
                      <a16:colId xmlns:a16="http://schemas.microsoft.com/office/drawing/2014/main" val="1251844333"/>
                    </a:ext>
                  </a:extLst>
                </a:gridCol>
                <a:gridCol w="975686">
                  <a:extLst>
                    <a:ext uri="{9D8B030D-6E8A-4147-A177-3AD203B41FA5}">
                      <a16:colId xmlns:a16="http://schemas.microsoft.com/office/drawing/2014/main" val="553163195"/>
                    </a:ext>
                  </a:extLst>
                </a:gridCol>
                <a:gridCol w="8392807">
                  <a:extLst>
                    <a:ext uri="{9D8B030D-6E8A-4147-A177-3AD203B41FA5}">
                      <a16:colId xmlns:a16="http://schemas.microsoft.com/office/drawing/2014/main" val="3135080420"/>
                    </a:ext>
                  </a:extLst>
                </a:gridCol>
              </a:tblGrid>
              <a:tr h="31949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effectLst/>
                          <a:latin typeface="Calibri"/>
                          <a:ea typeface="Calibri" panose="020F0502020204030204" pitchFamily="34" charset="0"/>
                          <a:cs typeface="Times New Roman"/>
                        </a:rPr>
                        <a:t>Projects</a:t>
                      </a:r>
                    </a:p>
                  </a:txBody>
                  <a:tcPr marL="55758" marR="5575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effectLst/>
                          <a:latin typeface="Calibri"/>
                          <a:ea typeface="Calibri" panose="020F0502020204030204" pitchFamily="34" charset="0"/>
                          <a:cs typeface="Times New Roman"/>
                        </a:rPr>
                        <a:t>SID/WID</a:t>
                      </a:r>
                    </a:p>
                  </a:txBody>
                  <a:tcPr marL="55758" marR="5575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effectLst/>
                          <a:latin typeface="Calibri"/>
                          <a:ea typeface="Calibri" panose="020F0502020204030204" pitchFamily="34" charset="0"/>
                          <a:cs typeface="Times New Roman"/>
                        </a:rPr>
                        <a:t>Notes</a:t>
                      </a:r>
                    </a:p>
                  </a:txBody>
                  <a:tcPr marL="55758" marR="5575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0786719"/>
                  </a:ext>
                </a:extLst>
              </a:tr>
              <a:tr h="33170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effectLst/>
                          <a:highlight>
                            <a:srgbClr val="00FFFF"/>
                          </a:highlight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hannel model for 7-24GHz, SI</a:t>
                      </a:r>
                      <a:endParaRPr lang="en-US" sz="1300" b="0" kern="1200">
                        <a:solidFill>
                          <a:schemeClr val="tx1"/>
                        </a:solidFill>
                        <a:effectLst/>
                        <a:highlight>
                          <a:srgbClr val="00FFFF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u="sng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hlinkClick r:id="rId3"/>
                        </a:rPr>
                        <a:t>RP-234</a:t>
                      </a:r>
                      <a:r>
                        <a:rPr lang="en-US" sz="1500" u="sng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hlinkClick r:id="rId4"/>
                        </a:rPr>
                        <a:t>0</a:t>
                      </a:r>
                      <a:r>
                        <a:rPr lang="en-US" sz="1500" u="sng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hlinkClick r:id="rId5"/>
                        </a:rPr>
                        <a:t>18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Study for the entire release. Validate using measurements channel model in TR38.901 at least for 7-24GHz</a:t>
                      </a:r>
                      <a:endParaRPr lang="en-US" sz="13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4088333"/>
                  </a:ext>
                </a:extLst>
              </a:tr>
              <a:tr h="50276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effectLst/>
                          <a:highlight>
                            <a:srgbClr val="00FFFF"/>
                          </a:highlight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hannel model for ISAC, SI</a:t>
                      </a:r>
                      <a:endParaRPr lang="en-US" sz="1300" b="0" kern="1200">
                        <a:solidFill>
                          <a:schemeClr val="tx1"/>
                        </a:solidFill>
                        <a:effectLst/>
                        <a:highlight>
                          <a:srgbClr val="00FFFF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u="sng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hlinkClick r:id="rId6"/>
                        </a:rPr>
                        <a:t>RP-240799</a:t>
                      </a:r>
                      <a:endParaRPr lang="en-US" sz="1500" u="sng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Study for the entire release, focusing on channel modeling with frequency range 0.5-52.6GHz, to support object detection and/or tracking. Possible scope expansion beyond channel modeling to be checked in 09/24</a:t>
                      </a:r>
                      <a:endParaRPr lang="en-US" sz="13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3797018"/>
                  </a:ext>
                </a:extLst>
              </a:tr>
              <a:tr h="63471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effectLst/>
                          <a:highlight>
                            <a:srgbClr val="00FFFF"/>
                          </a:highlight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mbient IOT, SI</a:t>
                      </a:r>
                      <a:endParaRPr lang="en-US" sz="1300" b="0" kern="1200">
                        <a:solidFill>
                          <a:schemeClr val="tx1"/>
                        </a:solidFill>
                        <a:effectLst/>
                        <a:highlight>
                          <a:srgbClr val="00FFFF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u="sng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</a:t>
                      </a:r>
                      <a:r>
                        <a:rPr lang="en-US" sz="1500" u="sng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26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Study till Dec’24 for possible WI conversion. </a:t>
                      </a:r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Harmonized design for backscattered (up to ~1</a:t>
                      </a:r>
                      <a:r>
                        <a:rPr lang="en-US" sz="1300" b="0"/>
                        <a:t>µW</a:t>
                      </a:r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) &amp; active transmission (</a:t>
                      </a:r>
                      <a:r>
                        <a:rPr lang="en-US" sz="1300" b="0"/>
                        <a:t>≤ a few hundred µW)</a:t>
                      </a:r>
                      <a:r>
                        <a:rPr lang="en-US" sz="1300" b="0">
                          <a:solidFill>
                            <a:schemeClr val="tx1"/>
                          </a:solidFill>
                        </a:rPr>
                        <a:t> Licensed FR1 FDD. Focusing on two topologies: BS directly to tags, and UE as an intermediate node under network control. 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8358861"/>
                  </a:ext>
                </a:extLst>
              </a:tr>
              <a:tr h="63471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R MIMO Phase 5, WI</a:t>
                      </a:r>
                      <a:endParaRPr lang="en-US" sz="1300" b="0" kern="12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u="sng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087</a:t>
                      </a:r>
                      <a:endParaRPr lang="en-US" sz="1500" u="sng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UE initiated/event-driven beam management; CSI support or up to 128 CSI-RS ports; UE reporting enhancements or cohere joint-transmission under non-ideal sync and backhaul; non-coherent UL codebook for 3Tx; enhanced asymmetric TRP operations</a:t>
                      </a:r>
                      <a:endParaRPr lang="en-US" sz="1300">
                        <a:solidFill>
                          <a:schemeClr val="tx1"/>
                        </a:solidFill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3705761"/>
                  </a:ext>
                </a:extLst>
              </a:tr>
              <a:tr h="63471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R duplex operation Evo, WI</a:t>
                      </a:r>
                      <a:endParaRPr lang="en-US" sz="1300" b="0" kern="12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u="sng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hlinkClick r:id="rId9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789</a:t>
                      </a:r>
                      <a:endParaRPr lang="en-US" sz="1500" u="sng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A continuation from Rel-18 study, now converting to specifications. </a:t>
                      </a:r>
                      <a:r>
                        <a:rPr lang="en-US" sz="130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Subband</a:t>
                      </a: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 full-duplex operation at the </a:t>
                      </a:r>
                      <a:r>
                        <a:rPr lang="en-US" sz="130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gNB</a:t>
                      </a: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 side, including </a:t>
                      </a:r>
                      <a:r>
                        <a:rPr lang="en-US" sz="130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signalling</a:t>
                      </a: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/resource management, random access enhancements, measurement, and cross-link interference enhancements</a:t>
                      </a:r>
                      <a:endParaRPr lang="en-US" sz="1300">
                        <a:solidFill>
                          <a:schemeClr val="tx1"/>
                        </a:solidFill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6108507"/>
                  </a:ext>
                </a:extLst>
              </a:tr>
              <a:tr h="63471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I/ML for NR air interface, WI</a:t>
                      </a:r>
                      <a:endParaRPr lang="en-US" sz="1300" b="0" kern="12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u="sng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hlinkClick r:id="rId1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774</a:t>
                      </a:r>
                      <a:endParaRPr lang="en-US" sz="1500" u="sng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Largest project in Rel-19; a continuation from Rel-18 study, now converting to specifications, including normative work on one</a:t>
                      </a:r>
                      <a:r>
                        <a:rPr lang="en-US" sz="1300">
                          <a:solidFill>
                            <a:schemeClr val="tx1"/>
                          </a:solidFill>
                        </a:rPr>
                        <a:t>-sided general framework, beam management and positioning, while continuing study two-sided modeling, data collection, and testing</a:t>
                      </a: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 </a:t>
                      </a:r>
                      <a:endParaRPr lang="en-US" sz="13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297333"/>
                  </a:ext>
                </a:extLst>
              </a:tr>
              <a:tr h="28328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ow Power WUS/WUR, WI</a:t>
                      </a:r>
                      <a:endParaRPr lang="en-US" sz="1300" b="0" kern="12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u="sng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hlinkClick r:id="rId11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801</a:t>
                      </a:r>
                      <a:endParaRPr lang="en-US" sz="1500" u="sng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A continuation from Rel-18 study, now converting to specifications, including w</a:t>
                      </a:r>
                      <a:r>
                        <a:rPr lang="en-US" sz="1300">
                          <a:solidFill>
                            <a:schemeClr val="tx1"/>
                          </a:solidFill>
                        </a:rPr>
                        <a:t>aveform, low-power sync signal, RRM etc.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2492680"/>
                  </a:ext>
                </a:extLst>
              </a:tr>
              <a:tr h="50276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twork Energy Savings </a:t>
                      </a:r>
                      <a:r>
                        <a:rPr lang="en-US" sz="1300" b="0" kern="120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nh</a:t>
                      </a:r>
                      <a:r>
                        <a:rPr lang="en-US" sz="1300" b="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 WI</a:t>
                      </a:r>
                      <a:endParaRPr lang="en-US" sz="1300" b="0" kern="12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500" u="sng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hlinkClick r:id="rId1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170</a:t>
                      </a:r>
                      <a:endParaRPr lang="en-US" sz="1500" u="sng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Continuation of Rel-18 enhancements, including o</a:t>
                      </a:r>
                      <a:r>
                        <a:rPr lang="en-US" sz="1300">
                          <a:solidFill>
                            <a:schemeClr val="tx1"/>
                          </a:solidFill>
                        </a:rPr>
                        <a:t>n-demand SSB </a:t>
                      </a:r>
                      <a:r>
                        <a:rPr lang="en-US" sz="1300" err="1">
                          <a:solidFill>
                            <a:schemeClr val="tx1"/>
                          </a:solidFill>
                        </a:rPr>
                        <a:t>Scell</a:t>
                      </a:r>
                      <a:r>
                        <a:rPr lang="en-US" sz="1300">
                          <a:solidFill>
                            <a:schemeClr val="tx1"/>
                          </a:solidFill>
                        </a:rPr>
                        <a:t>, adapt </a:t>
                      </a:r>
                      <a:r>
                        <a:rPr lang="en-US" sz="1300" err="1">
                          <a:solidFill>
                            <a:schemeClr val="tx1"/>
                          </a:solidFill>
                        </a:rPr>
                        <a:t>tx</a:t>
                      </a:r>
                      <a:r>
                        <a:rPr lang="en-US" sz="1300">
                          <a:solidFill>
                            <a:schemeClr val="tx1"/>
                          </a:solidFill>
                        </a:rPr>
                        <a:t> signal/channel, and study of on-demand SIB1 for idle UEs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3505508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85FE7764-BB32-EF52-EF6B-D75886F8B9AC}"/>
              </a:ext>
            </a:extLst>
          </p:cNvPr>
          <p:cNvSpPr txBox="1"/>
          <p:nvPr/>
        </p:nvSpPr>
        <p:spPr>
          <a:xfrm>
            <a:off x="2478154" y="5856145"/>
            <a:ext cx="4315605" cy="2299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43407"/>
            <a:r>
              <a:rPr lang="en-US" sz="894">
                <a:solidFill>
                  <a:srgbClr val="FF0000"/>
                </a:solidFill>
                <a:latin typeface="Calibri"/>
              </a:rPr>
              <a:t>* Additional new &amp; small project(s) may be approved in September 2024, see </a:t>
            </a:r>
            <a:r>
              <a:rPr lang="en-US" sz="894">
                <a:solidFill>
                  <a:srgbClr val="FF0000"/>
                </a:solidFill>
                <a:latin typeface="Calibri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P</a:t>
            </a:r>
            <a:r>
              <a:rPr lang="en-US" sz="894">
                <a:solidFill>
                  <a:srgbClr val="FF0000"/>
                </a:solidFill>
                <a:latin typeface="Calibri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</a:t>
            </a:r>
            <a:r>
              <a:rPr lang="en-US" sz="894">
                <a:solidFill>
                  <a:srgbClr val="FF0000"/>
                </a:solidFill>
                <a:latin typeface="Calibri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32745</a:t>
            </a:r>
            <a:endParaRPr lang="en-US" sz="894">
              <a:solidFill>
                <a:srgbClr val="FF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241712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6AD414-EA56-EF49-BE3B-D059F853C8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6510" y="393069"/>
            <a:ext cx="8658981" cy="929308"/>
          </a:xfrm>
        </p:spPr>
        <p:txBody>
          <a:bodyPr/>
          <a:lstStyle/>
          <a:p>
            <a:r>
              <a:rPr lang="en-US" sz="4000"/>
              <a:t>RAN2-Led Rel-19 Projects: More Details</a:t>
            </a:r>
            <a:endParaRPr lang="en-US" sz="4000">
              <a:solidFill>
                <a:schemeClr val="tx1"/>
              </a:solidFill>
            </a:endParaRPr>
          </a:p>
        </p:txBody>
      </p:sp>
      <p:graphicFrame>
        <p:nvGraphicFramePr>
          <p:cNvPr id="8" name="Content Placeholder 5">
            <a:extLst>
              <a:ext uri="{FF2B5EF4-FFF2-40B4-BE49-F238E27FC236}">
                <a16:creationId xmlns:a16="http://schemas.microsoft.com/office/drawing/2014/main" id="{8934321D-7DFD-4A63-B85F-B6D7116FAF7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34993911"/>
              </p:ext>
            </p:extLst>
          </p:nvPr>
        </p:nvGraphicFramePr>
        <p:xfrm>
          <a:off x="216429" y="1583985"/>
          <a:ext cx="11759142" cy="2939499"/>
        </p:xfrm>
        <a:graphic>
          <a:graphicData uri="http://schemas.openxmlformats.org/drawingml/2006/table">
            <a:tbl>
              <a:tblPr firstRow="1" firstCol="1" bandRow="1"/>
              <a:tblGrid>
                <a:gridCol w="2311936">
                  <a:extLst>
                    <a:ext uri="{9D8B030D-6E8A-4147-A177-3AD203B41FA5}">
                      <a16:colId xmlns:a16="http://schemas.microsoft.com/office/drawing/2014/main" val="1251844333"/>
                    </a:ext>
                  </a:extLst>
                </a:gridCol>
                <a:gridCol w="1087970">
                  <a:extLst>
                    <a:ext uri="{9D8B030D-6E8A-4147-A177-3AD203B41FA5}">
                      <a16:colId xmlns:a16="http://schemas.microsoft.com/office/drawing/2014/main" val="553163195"/>
                    </a:ext>
                  </a:extLst>
                </a:gridCol>
                <a:gridCol w="8359236">
                  <a:extLst>
                    <a:ext uri="{9D8B030D-6E8A-4147-A177-3AD203B41FA5}">
                      <a16:colId xmlns:a16="http://schemas.microsoft.com/office/drawing/2014/main" val="3135080420"/>
                    </a:ext>
                  </a:extLst>
                </a:gridCol>
              </a:tblGrid>
              <a:tr h="28255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effectLst/>
                          <a:latin typeface="Calibri"/>
                          <a:ea typeface="Calibri" panose="020F0502020204030204" pitchFamily="34" charset="0"/>
                          <a:cs typeface="Times New Roman"/>
                        </a:rPr>
                        <a:t>RAN2-led</a:t>
                      </a:r>
                    </a:p>
                  </a:txBody>
                  <a:tcPr marL="55758" marR="5575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effectLst/>
                          <a:latin typeface="Calibri"/>
                          <a:ea typeface="Calibri" panose="020F0502020204030204" pitchFamily="34" charset="0"/>
                          <a:cs typeface="Times New Roman"/>
                        </a:rPr>
                        <a:t>SID/WID</a:t>
                      </a:r>
                    </a:p>
                  </a:txBody>
                  <a:tcPr marL="55758" marR="5575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effectLst/>
                          <a:latin typeface="Calibri"/>
                          <a:ea typeface="Calibri" panose="020F0502020204030204" pitchFamily="34" charset="0"/>
                          <a:cs typeface="Times New Roman"/>
                        </a:rPr>
                        <a:t>Notes</a:t>
                      </a:r>
                    </a:p>
                  </a:txBody>
                  <a:tcPr marL="55758" marR="5575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0786719"/>
                  </a:ext>
                </a:extLst>
              </a:tr>
              <a:tr h="44462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chemeClr val="tx1"/>
                          </a:solidFill>
                          <a:effectLst/>
                          <a:highlight>
                            <a:srgbClr val="00FFFF"/>
                          </a:highlight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I/ML for Mobility, SI</a:t>
                      </a:r>
                      <a:endParaRPr lang="en-US" sz="1300">
                        <a:solidFill>
                          <a:schemeClr val="tx1"/>
                        </a:solidFill>
                        <a:effectLst/>
                        <a:highlight>
                          <a:srgbClr val="00FFFF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u="sng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082</a:t>
                      </a:r>
                      <a:endParaRPr lang="en-US" sz="1300" u="sng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New full release study expanding from Rel-18 for AI/ML, focusing on n</a:t>
                      </a:r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etwork triggered layer 3 mobility only.  AI/ML based RRM measurement and event prediction.</a:t>
                      </a:r>
                      <a:endParaRPr lang="en-US" sz="110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92941"/>
                  </a:ext>
                </a:extLst>
              </a:tr>
              <a:tr h="44462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R Mobility enh Phase 4, WI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u="sng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299</a:t>
                      </a:r>
                      <a:endParaRPr lang="en-US" sz="1300" u="sng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Continuation from earlier release; focusing on further enhancements to layer 1/2 triggered mobility (LTM), including i</a:t>
                      </a: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nter-CU LTM, measurement enhancements for LTM, conditional LTM, and related RRM enhancements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3705761"/>
                  </a:ext>
                </a:extLst>
              </a:tr>
              <a:tr h="44462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XR for NR Phase 3, WI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u="sng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791</a:t>
                      </a:r>
                      <a:endParaRPr lang="en-US" sz="1300" u="sng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Continuation from earlier releases, focusing on study of potential m</a:t>
                      </a: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ulti-modality within a UE, enhancements related to measurement gap/scheduling restriction, study of uplink scheduling using delay/deadline information, and user plane latency reduction.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6108507"/>
                  </a:ext>
                </a:extLst>
              </a:tr>
              <a:tr h="44462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TN for NR Phase 3, WI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u="sng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775</a:t>
                      </a:r>
                      <a:endParaRPr lang="en-US" sz="1300" u="sng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Continuation from earlier releases, focusing on </a:t>
                      </a: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DL coverage enhancements, UL capacity enhancements, regenerative payload, </a:t>
                      </a:r>
                      <a:r>
                        <a:rPr lang="en-US" sz="1100" err="1">
                          <a:solidFill>
                            <a:schemeClr val="tx1"/>
                          </a:solidFill>
                        </a:rPr>
                        <a:t>RedCap</a:t>
                      </a: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 full-duplex/half-duplex. Including also a spin-off as in </a:t>
                      </a:r>
                      <a:r>
                        <a:rPr lang="en-US" sz="1100" u="non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846</a:t>
                      </a:r>
                      <a:r>
                        <a:rPr lang="en-US" sz="1100" u="none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(Inter RAT mobility support from E-UTRAN TN to NR-NTN)</a:t>
                      </a:r>
                      <a:endParaRPr lang="en-US" sz="1100" u="non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3220663"/>
                  </a:ext>
                </a:extLst>
              </a:tr>
              <a:tr h="44462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TN for IoT Phase 3, WI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u="sng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776</a:t>
                      </a:r>
                      <a:endParaRPr lang="en-US" sz="1300" u="sng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Continuation from earlier releases, focusing on s</a:t>
                      </a: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tore &amp; forward, and UL capacity enhancements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3505508"/>
                  </a:ext>
                </a:extLst>
              </a:tr>
              <a:tr h="43382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Times New Roman"/>
                        </a:rPr>
                        <a:t>Multi-hop Sidelink Relays, WI</a:t>
                      </a:r>
                    </a:p>
                  </a:txBody>
                  <a:tcPr marL="55758" marR="5575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Times New Roman"/>
                        </a:rPr>
                        <a:t>N/A</a:t>
                      </a:r>
                    </a:p>
                  </a:txBody>
                  <a:tcPr marL="55758" marR="5575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/>
                        </a:rPr>
                        <a:t>WID to be available soon, focusing on layer 2 U2N Relay. Starting with one additional hop, limited service continuity.</a:t>
                      </a:r>
                    </a:p>
                  </a:txBody>
                  <a:tcPr marL="55758" marR="5575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62102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ABEDD71-4449-5D33-6DB4-142FC8A7BE81}"/>
              </a:ext>
            </a:extLst>
          </p:cNvPr>
          <p:cNvSpPr txBox="1"/>
          <p:nvPr/>
        </p:nvSpPr>
        <p:spPr>
          <a:xfrm>
            <a:off x="2838613" y="4523482"/>
            <a:ext cx="526297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43407"/>
            <a:r>
              <a:rPr lang="en-US" sz="1100">
                <a:solidFill>
                  <a:srgbClr val="FF0000"/>
                </a:solidFill>
                <a:latin typeface="Calibri"/>
              </a:rPr>
              <a:t>* Additional new &amp; small project(s) may be approved in September 2024, see </a:t>
            </a:r>
            <a:r>
              <a:rPr lang="en-US" sz="1100">
                <a:solidFill>
                  <a:srgbClr val="FF0000"/>
                </a:solidFill>
                <a:latin typeface="Calibri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P</a:t>
            </a:r>
            <a:r>
              <a:rPr lang="en-US" sz="1100">
                <a:solidFill>
                  <a:srgbClr val="FF0000"/>
                </a:solidFill>
                <a:latin typeface="Calibri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</a:t>
            </a:r>
            <a:r>
              <a:rPr lang="en-US" sz="1100">
                <a:solidFill>
                  <a:srgbClr val="FF0000"/>
                </a:solidFill>
                <a:latin typeface="Calibri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32745</a:t>
            </a:r>
            <a:endParaRPr lang="en-US" sz="1100">
              <a:solidFill>
                <a:srgbClr val="FF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680580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9E97E0-3EAD-FE59-45F5-8B0FE30BB2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EBEB00-3716-0EE5-0E5A-895D361AAF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4672" y="674281"/>
            <a:ext cx="8542655" cy="403455"/>
          </a:xfrm>
        </p:spPr>
        <p:txBody>
          <a:bodyPr/>
          <a:lstStyle/>
          <a:p>
            <a:r>
              <a:rPr lang="en-US" sz="4000"/>
              <a:t>RAN3-Led Rel-19 Projects: More Details</a:t>
            </a:r>
            <a:endParaRPr lang="en-US" sz="4000">
              <a:solidFill>
                <a:schemeClr val="tx1"/>
              </a:solidFill>
            </a:endParaRPr>
          </a:p>
        </p:txBody>
      </p:sp>
      <p:graphicFrame>
        <p:nvGraphicFramePr>
          <p:cNvPr id="3" name="Content Placeholder 5">
            <a:extLst>
              <a:ext uri="{FF2B5EF4-FFF2-40B4-BE49-F238E27FC236}">
                <a16:creationId xmlns:a16="http://schemas.microsoft.com/office/drawing/2014/main" id="{D1F2B774-760E-2B13-A5E8-C12637D70C50}"/>
              </a:ext>
            </a:extLst>
          </p:cNvPr>
          <p:cNvGraphicFramePr>
            <a:graphicFrameLocks/>
          </p:cNvGraphicFramePr>
          <p:nvPr/>
        </p:nvGraphicFramePr>
        <p:xfrm>
          <a:off x="295048" y="1657409"/>
          <a:ext cx="11601905" cy="2105476"/>
        </p:xfrm>
        <a:graphic>
          <a:graphicData uri="http://schemas.openxmlformats.org/drawingml/2006/table">
            <a:tbl>
              <a:tblPr firstRow="1" firstCol="1" bandRow="1"/>
              <a:tblGrid>
                <a:gridCol w="2818368">
                  <a:extLst>
                    <a:ext uri="{9D8B030D-6E8A-4147-A177-3AD203B41FA5}">
                      <a16:colId xmlns:a16="http://schemas.microsoft.com/office/drawing/2014/main" val="1251844333"/>
                    </a:ext>
                  </a:extLst>
                </a:gridCol>
                <a:gridCol w="1109948">
                  <a:extLst>
                    <a:ext uri="{9D8B030D-6E8A-4147-A177-3AD203B41FA5}">
                      <a16:colId xmlns:a16="http://schemas.microsoft.com/office/drawing/2014/main" val="553163195"/>
                    </a:ext>
                  </a:extLst>
                </a:gridCol>
                <a:gridCol w="7673589">
                  <a:extLst>
                    <a:ext uri="{9D8B030D-6E8A-4147-A177-3AD203B41FA5}">
                      <a16:colId xmlns:a16="http://schemas.microsoft.com/office/drawing/2014/main" val="3135080420"/>
                    </a:ext>
                  </a:extLst>
                </a:gridCol>
              </a:tblGrid>
              <a:tr h="38435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effectLst/>
                          <a:latin typeface="Calibri"/>
                          <a:ea typeface="Calibri" panose="020F0502020204030204" pitchFamily="34" charset="0"/>
                          <a:cs typeface="Times New Roman"/>
                        </a:rPr>
                        <a:t>RAN3-led</a:t>
                      </a:r>
                    </a:p>
                  </a:txBody>
                  <a:tcPr marL="55758" marR="5575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effectLst/>
                          <a:latin typeface="Calibri"/>
                          <a:ea typeface="Calibri" panose="020F0502020204030204" pitchFamily="34" charset="0"/>
                          <a:cs typeface="Times New Roman"/>
                        </a:rPr>
                        <a:t>SID/WID</a:t>
                      </a:r>
                    </a:p>
                  </a:txBody>
                  <a:tcPr marL="55758" marR="5575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effectLst/>
                          <a:latin typeface="Calibri"/>
                          <a:ea typeface="Calibri" panose="020F0502020204030204" pitchFamily="34" charset="0"/>
                          <a:cs typeface="Times New Roman"/>
                        </a:rPr>
                        <a:t>Notes</a:t>
                      </a:r>
                    </a:p>
                  </a:txBody>
                  <a:tcPr marL="55758" marR="5575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0786719"/>
                  </a:ext>
                </a:extLst>
              </a:tr>
              <a:tr h="548597">
                <a:tc>
                  <a:txBody>
                    <a:bodyPr/>
                    <a:lstStyle/>
                    <a:p>
                      <a:r>
                        <a:rPr lang="en-US" sz="1300"/>
                        <a:t>AI/ML for NG-RAN, </a:t>
                      </a:r>
                      <a:r>
                        <a:rPr lang="en-US" sz="1300">
                          <a:highlight>
                            <a:srgbClr val="00FFFF"/>
                          </a:highlight>
                        </a:rPr>
                        <a:t>SI-</a:t>
                      </a:r>
                      <a:r>
                        <a:rPr lang="en-US" sz="1300"/>
                        <a:t>&gt;WI</a:t>
                      </a:r>
                    </a:p>
                  </a:txBody>
                  <a:tcPr marL="74345" marR="74345" marT="37172" marB="3717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u="sng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hlinkClick r:id="rId3"/>
                        </a:rPr>
                        <a:t>RP-240323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Continuation from previous release; two new use cases – network slicing &amp; coverage and capacity optimizations (COOs). Also Rel-18 leftovers.  6 months study followed by WI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9379972"/>
                  </a:ext>
                </a:extLst>
              </a:tr>
              <a:tr h="567711">
                <a:tc>
                  <a:txBody>
                    <a:bodyPr/>
                    <a:lstStyle/>
                    <a:p>
                      <a:r>
                        <a:rPr lang="en-US" sz="1300">
                          <a:highlight>
                            <a:srgbClr val="00FFFF"/>
                          </a:highlight>
                        </a:rPr>
                        <a:t>Topological </a:t>
                      </a:r>
                      <a:r>
                        <a:rPr lang="en-US" sz="1300" err="1">
                          <a:highlight>
                            <a:srgbClr val="00FFFF"/>
                          </a:highlight>
                        </a:rPr>
                        <a:t>Enh</a:t>
                      </a:r>
                      <a:r>
                        <a:rPr lang="en-US" sz="1300">
                          <a:highlight>
                            <a:srgbClr val="00FFFF"/>
                          </a:highlight>
                        </a:rPr>
                        <a:t>, SI-&gt;WI</a:t>
                      </a:r>
                    </a:p>
                  </a:txBody>
                  <a:tcPr marL="74345" marR="74345" marT="37172" marB="3717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u="sng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hlinkClick r:id="rId4"/>
                        </a:rPr>
                        <a:t>RP-240319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New project. 6 months study followed by WI, focusing on wireless access backhaul (WAB) and 5G </a:t>
                      </a:r>
                      <a:r>
                        <a:rPr lang="en-US" sz="110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femto</a:t>
                      </a:r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 cells</a:t>
                      </a:r>
                      <a:endParaRPr lang="en-US" sz="1100">
                        <a:solidFill>
                          <a:schemeClr val="tx1"/>
                        </a:solidFill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7371863"/>
                  </a:ext>
                </a:extLst>
              </a:tr>
              <a:tr h="604818">
                <a:tc>
                  <a:txBody>
                    <a:bodyPr/>
                    <a:lstStyle/>
                    <a:p>
                      <a:r>
                        <a:rPr lang="en-US" sz="1300"/>
                        <a:t>SON/MDT </a:t>
                      </a:r>
                      <a:r>
                        <a:rPr lang="en-US" sz="1300" err="1"/>
                        <a:t>Enh</a:t>
                      </a:r>
                      <a:r>
                        <a:rPr lang="en-US" sz="1300"/>
                        <a:t>, WI</a:t>
                      </a:r>
                    </a:p>
                  </a:txBody>
                  <a:tcPr marL="74345" marR="74345" marT="37172" marB="37172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u="sng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hlinkClick r:id="rId5"/>
                        </a:rPr>
                        <a:t>RP-234038</a:t>
                      </a:r>
                      <a:endParaRPr lang="en-US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Continuation from previous releases; mobility robustness optimization, intra-NTN mobility and network slicing. R18 leftovers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370576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B400B58-2584-4D1F-3D4A-86F09D435299}"/>
              </a:ext>
            </a:extLst>
          </p:cNvPr>
          <p:cNvSpPr txBox="1"/>
          <p:nvPr/>
        </p:nvSpPr>
        <p:spPr>
          <a:xfrm>
            <a:off x="2996314" y="3841205"/>
            <a:ext cx="526297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43407"/>
            <a:r>
              <a:rPr lang="en-US" sz="1100">
                <a:solidFill>
                  <a:srgbClr val="FF0000"/>
                </a:solidFill>
                <a:latin typeface="Calibri"/>
              </a:rPr>
              <a:t>* Additional new &amp; small project(s) may be approved in September 2024, see </a:t>
            </a:r>
            <a:r>
              <a:rPr lang="en-US" sz="1100">
                <a:solidFill>
                  <a:srgbClr val="FF0000"/>
                </a:solidFill>
                <a:latin typeface="Calibri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P</a:t>
            </a:r>
            <a:r>
              <a:rPr lang="en-US" sz="1100">
                <a:solidFill>
                  <a:srgbClr val="FF0000"/>
                </a:solidFill>
                <a:latin typeface="Calibri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</a:t>
            </a:r>
            <a:r>
              <a:rPr lang="en-US" sz="1100">
                <a:solidFill>
                  <a:srgbClr val="FF0000"/>
                </a:solidFill>
                <a:latin typeface="Calibri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32745</a:t>
            </a:r>
            <a:endParaRPr lang="en-US" sz="1100">
              <a:solidFill>
                <a:srgbClr val="FF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885589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688A14-5F16-4C9A-7D63-2110653522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7AA5B4-711F-71C2-509E-EADDFDFF4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3880" y="604216"/>
            <a:ext cx="8324241" cy="229030"/>
          </a:xfrm>
        </p:spPr>
        <p:txBody>
          <a:bodyPr/>
          <a:lstStyle/>
          <a:p>
            <a:r>
              <a:rPr lang="en-US" sz="4000"/>
              <a:t>RAN4-led Rel-19 Projects: More Details</a:t>
            </a:r>
            <a:endParaRPr lang="en-US" sz="4000">
              <a:solidFill>
                <a:schemeClr val="tx1"/>
              </a:solidFill>
            </a:endParaRPr>
          </a:p>
        </p:txBody>
      </p:sp>
      <p:graphicFrame>
        <p:nvGraphicFramePr>
          <p:cNvPr id="5" name="Content Placeholder 5">
            <a:extLst>
              <a:ext uri="{FF2B5EF4-FFF2-40B4-BE49-F238E27FC236}">
                <a16:creationId xmlns:a16="http://schemas.microsoft.com/office/drawing/2014/main" id="{C9ADF7B1-54A4-3759-B360-02F65A2CC2C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332627"/>
              </p:ext>
            </p:extLst>
          </p:nvPr>
        </p:nvGraphicFramePr>
        <p:xfrm>
          <a:off x="255156" y="1207728"/>
          <a:ext cx="11681689" cy="4605809"/>
        </p:xfrm>
        <a:graphic>
          <a:graphicData uri="http://schemas.openxmlformats.org/drawingml/2006/table">
            <a:tbl>
              <a:tblPr firstRow="1" firstCol="1" bandRow="1"/>
              <a:tblGrid>
                <a:gridCol w="2527031">
                  <a:extLst>
                    <a:ext uri="{9D8B030D-6E8A-4147-A177-3AD203B41FA5}">
                      <a16:colId xmlns:a16="http://schemas.microsoft.com/office/drawing/2014/main" val="1251844333"/>
                    </a:ext>
                  </a:extLst>
                </a:gridCol>
                <a:gridCol w="1094879">
                  <a:extLst>
                    <a:ext uri="{9D8B030D-6E8A-4147-A177-3AD203B41FA5}">
                      <a16:colId xmlns:a16="http://schemas.microsoft.com/office/drawing/2014/main" val="553163195"/>
                    </a:ext>
                  </a:extLst>
                </a:gridCol>
                <a:gridCol w="8059779">
                  <a:extLst>
                    <a:ext uri="{9D8B030D-6E8A-4147-A177-3AD203B41FA5}">
                      <a16:colId xmlns:a16="http://schemas.microsoft.com/office/drawing/2014/main" val="3135080420"/>
                    </a:ext>
                  </a:extLst>
                </a:gridCol>
              </a:tblGrid>
              <a:tr h="21866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effectLst/>
                          <a:latin typeface="Calibri"/>
                          <a:ea typeface="Calibri" panose="020F0502020204030204" pitchFamily="34" charset="0"/>
                          <a:cs typeface="Times New Roman"/>
                        </a:rPr>
                        <a:t>RAN4-led</a:t>
                      </a:r>
                    </a:p>
                  </a:txBody>
                  <a:tcPr marL="55758" marR="5575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effectLst/>
                          <a:latin typeface="Calibri"/>
                          <a:ea typeface="Calibri" panose="020F0502020204030204" pitchFamily="34" charset="0"/>
                          <a:cs typeface="Times New Roman"/>
                        </a:rPr>
                        <a:t>SID/WID</a:t>
                      </a:r>
                    </a:p>
                  </a:txBody>
                  <a:tcPr marL="55758" marR="5575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>
                          <a:effectLst/>
                          <a:latin typeface="Calibri"/>
                          <a:ea typeface="Calibri" panose="020F0502020204030204" pitchFamily="34" charset="0"/>
                          <a:cs typeface="Times New Roman"/>
                        </a:rPr>
                        <a:t>Notes</a:t>
                      </a:r>
                    </a:p>
                  </a:txBody>
                  <a:tcPr marL="55758" marR="5575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0786719"/>
                  </a:ext>
                </a:extLst>
              </a:tr>
              <a:tr h="28104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UE RF enhancements, WI</a:t>
                      </a:r>
                      <a:endParaRPr lang="en-US" sz="1300" b="0" kern="120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ja-JP" sz="1300" u="sng" kern="120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828</a:t>
                      </a:r>
                      <a:endParaRPr lang="en-US" sz="130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+mj-lt"/>
                          <a:ea typeface="MS Mincho" panose="02020609040205080304" pitchFamily="49" charset="-128"/>
                          <a:cs typeface="Arial" panose="020B0604020202020204" pitchFamily="34" charset="0"/>
                        </a:rPr>
                        <a:t>Higher UE Tx power for CA, power reduction (MPR/A-MPR) reduction enhancements, 6Rx requirements </a:t>
                      </a:r>
                      <a:endParaRPr lang="en-US" sz="130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9379972"/>
                  </a:ext>
                </a:extLst>
              </a:tr>
              <a:tr h="22701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ase Station RF enhancements, WI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829</a:t>
                      </a:r>
                      <a:endParaRPr lang="en-US" sz="130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/>
                          </a:solidFill>
                          <a:latin typeface="+mj-lt"/>
                        </a:rPr>
                        <a:t>EIRP mask definition for 6GHz based on ITU definition and OTA test reduction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3705761"/>
                  </a:ext>
                </a:extLst>
              </a:tr>
              <a:tr h="4225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TN enhancements, WI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857</a:t>
                      </a:r>
                      <a:endParaRPr lang="en-US" sz="130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/>
                          </a:solidFill>
                          <a:latin typeface="+mj-lt"/>
                        </a:rPr>
                        <a:t>Higher UE power classes, enhanced channel models with varying Dopplers for testing, 3MHz channel bandwidth for NTN FR1 bands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6108507"/>
                  </a:ext>
                </a:extLst>
              </a:tr>
              <a:tr h="4225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RM enhancements, WI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830</a:t>
                      </a:r>
                      <a:endParaRPr lang="en-US" sz="130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/>
                          </a:solidFill>
                          <a:latin typeface="+mj-lt"/>
                        </a:rPr>
                        <a:t>Measurement delay reduction for FR2 for CA and UEs capable of multi-Rx, faster </a:t>
                      </a:r>
                      <a:r>
                        <a:rPr lang="en-US" sz="1300" err="1">
                          <a:solidFill>
                            <a:schemeClr val="tx1"/>
                          </a:solidFill>
                          <a:latin typeface="+mj-lt"/>
                        </a:rPr>
                        <a:t>SCell</a:t>
                      </a:r>
                      <a:r>
                        <a:rPr lang="en-US" sz="1300">
                          <a:solidFill>
                            <a:schemeClr val="tx1"/>
                          </a:solidFill>
                          <a:latin typeface="+mj-lt"/>
                        </a:rPr>
                        <a:t> activation with early measurement report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3220663"/>
                  </a:ext>
                </a:extLst>
              </a:tr>
              <a:tr h="22701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20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mod</a:t>
                      </a:r>
                      <a:r>
                        <a:rPr lang="en-US" sz="1300" b="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enhancements, WI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831</a:t>
                      </a:r>
                      <a:endParaRPr lang="en-US" sz="130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/>
                          </a:solidFill>
                          <a:latin typeface="+mj-lt"/>
                        </a:rPr>
                        <a:t>8Rx enhancements with MMSE-IRC and Base Station </a:t>
                      </a:r>
                      <a:r>
                        <a:rPr lang="en-US" sz="1300" err="1">
                          <a:solidFill>
                            <a:schemeClr val="tx1"/>
                          </a:solidFill>
                          <a:latin typeface="+mj-lt"/>
                        </a:rPr>
                        <a:t>demod</a:t>
                      </a:r>
                      <a:r>
                        <a:rPr lang="en-US" sz="1300">
                          <a:solidFill>
                            <a:schemeClr val="tx1"/>
                          </a:solidFill>
                          <a:latin typeface="+mj-lt"/>
                        </a:rPr>
                        <a:t> requirements with MMSE IRC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3505508"/>
                  </a:ext>
                </a:extLst>
              </a:tr>
              <a:tr h="4225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TA enhancements, WI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841</a:t>
                      </a:r>
                      <a:endParaRPr lang="en-US" sz="130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/>
                          </a:solidFill>
                          <a:latin typeface="+mj-lt"/>
                        </a:rPr>
                        <a:t>Test methodology for head-worn XR devices, test methodology for FR1 NTN, MIMO OTA with dynamic channel for FR1, TRP/TRS and MIMO OTA requirements for more bands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2137435"/>
                  </a:ext>
                </a:extLst>
              </a:tr>
              <a:tr h="42257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effectLst/>
                          <a:highlight>
                            <a:srgbClr val="00FFFF"/>
                          </a:highlight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TA enhancements, SI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hlinkClick r:id="rId9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856</a:t>
                      </a:r>
                      <a:endParaRPr lang="en-US" sz="130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est methodology for FR2 UE simultaneous Tx on multiple panels (</a:t>
                      </a:r>
                      <a:r>
                        <a:rPr lang="en-US" sz="130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TxMP</a:t>
                      </a: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); check in 09/24 for potentially new FR2 test methodology for AI/ML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621023"/>
                  </a:ext>
                </a:extLst>
              </a:tr>
              <a:tr h="22701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20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idelink</a:t>
                      </a:r>
                      <a:r>
                        <a:rPr lang="en-US" sz="1300" b="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WI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hlinkClick r:id="rId1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849</a:t>
                      </a:r>
                      <a:endParaRPr lang="en-US" sz="130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ntiguous and non-contiguous CA in n48, PC2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2618687"/>
                  </a:ext>
                </a:extLst>
              </a:tr>
              <a:tr h="22701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n-Collocated CA/DC, WI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hlinkClick r:id="rId11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838</a:t>
                      </a:r>
                      <a:endParaRPr lang="en-US" sz="130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equirements for non-collocated deployments with 4 layer MIMO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3198587"/>
                  </a:ext>
                </a:extLst>
              </a:tr>
              <a:tr h="22701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&lt;5MHz for TN, WI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hlinkClick r:id="rId1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832</a:t>
                      </a:r>
                      <a:endParaRPr lang="en-US" sz="130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nter-band CA for 3MHz channel BW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6480516"/>
                  </a:ext>
                </a:extLst>
              </a:tr>
              <a:tr h="21043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TG enhancements, WI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hlinkClick r:id="rId1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839</a:t>
                      </a:r>
                      <a:endParaRPr lang="en-US" sz="1300">
                        <a:solidFill>
                          <a:srgbClr val="0000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 for ATG (intra-band and inter-band), 2Tx UL MIMO 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401771"/>
                  </a:ext>
                </a:extLst>
              </a:tr>
              <a:tr h="21043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effectLst/>
                          <a:highlight>
                            <a:srgbClr val="00FFFF"/>
                          </a:highlight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udy on IMT parameters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33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u="none" strike="noStrike">
                          <a:effectLst/>
                          <a:hlinkClick r:id="rId14"/>
                        </a:rPr>
                        <a:t>RP-240787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riggered by ITU WP5D request, IMT parameters for 4400-4800 MHz, 7125-8400 MHz and 14.8-15.35 GHz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3874849"/>
                  </a:ext>
                </a:extLst>
              </a:tr>
              <a:tr h="34409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effectLst/>
                          <a:highlight>
                            <a:srgbClr val="00FFFF"/>
                          </a:highlight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atial channel model study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/>
                        <a:t>N/A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33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tudy new channel models with a spatial component to be used for </a:t>
                      </a:r>
                      <a:r>
                        <a:rPr lang="en-US" sz="130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emod</a:t>
                      </a:r>
                      <a:r>
                        <a:rPr lang="en-US" sz="130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tests, see </a:t>
                      </a:r>
                      <a:r>
                        <a:rPr lang="en-US" sz="130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hlinkClick r:id="rId1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792</a:t>
                      </a:r>
                      <a:r>
                        <a:rPr lang="en-US" sz="130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 </a:t>
                      </a:r>
                      <a:r>
                        <a:rPr lang="en-US" sz="1300"/>
                        <a:t>SID available soon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4658821"/>
                  </a:ext>
                </a:extLst>
              </a:tr>
              <a:tr h="515745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kern="1200">
                          <a:solidFill>
                            <a:schemeClr val="tx1"/>
                          </a:solidFill>
                          <a:effectLst/>
                          <a:highlight>
                            <a:srgbClr val="00FFFF"/>
                          </a:highlight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udy on Fragmented Spectrum/Carriers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/>
                        <a:t>N/A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33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30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tudy ways to reduce the number of Rx chains used to aggregate non-contiguous CCs in a single band (aggregated BW&lt;100MHz)</a:t>
                      </a:r>
                      <a:r>
                        <a:rPr lang="en-US" altLang="ja-JP" sz="13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, see </a:t>
                      </a:r>
                      <a:r>
                        <a:rPr lang="en-US" sz="130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hlinkClick r:id="rId1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P-240768</a:t>
                      </a:r>
                      <a:r>
                        <a:rPr lang="en-US" sz="130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 </a:t>
                      </a:r>
                      <a:r>
                        <a:rPr lang="en-US" sz="1300"/>
                        <a:t>SID available soon.</a:t>
                      </a:r>
                    </a:p>
                  </a:txBody>
                  <a:tcPr marL="55758" marR="55758" marT="7744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0878347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7E4C361-B16B-9EDA-9D4C-45EB64D1AD80}"/>
              </a:ext>
            </a:extLst>
          </p:cNvPr>
          <p:cNvSpPr txBox="1"/>
          <p:nvPr/>
        </p:nvSpPr>
        <p:spPr>
          <a:xfrm>
            <a:off x="1850961" y="5877659"/>
            <a:ext cx="101667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43407"/>
            <a:r>
              <a:rPr lang="en-US" sz="1100">
                <a:solidFill>
                  <a:srgbClr val="FF0000"/>
                </a:solidFill>
                <a:latin typeface="Calibri"/>
              </a:rPr>
              <a:t>* New spectrum items are to be discussed/approved in June 2024. Additional new &amp; small non-spectrum project(s) may be approved in December 2024, see </a:t>
            </a:r>
            <a:r>
              <a:rPr lang="en-US" sz="1100">
                <a:solidFill>
                  <a:srgbClr val="FF0000"/>
                </a:solidFill>
                <a:latin typeface="Calibri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P</a:t>
            </a:r>
            <a:r>
              <a:rPr lang="en-US" sz="1100">
                <a:solidFill>
                  <a:srgbClr val="FF0000"/>
                </a:solidFill>
                <a:latin typeface="Calibri"/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</a:t>
            </a:r>
            <a:r>
              <a:rPr lang="en-US" sz="1100">
                <a:solidFill>
                  <a:srgbClr val="FF0000"/>
                </a:solidFill>
                <a:latin typeface="Calibri"/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40019</a:t>
            </a:r>
            <a:endParaRPr lang="en-US" sz="1100">
              <a:solidFill>
                <a:srgbClr val="FF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679063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>
            <a:extLst>
              <a:ext uri="{FF2B5EF4-FFF2-40B4-BE49-F238E27FC236}">
                <a16:creationId xmlns:a16="http://schemas.microsoft.com/office/drawing/2014/main" id="{C8E64718-DD55-4EA1-9EC0-F0F5CA5A8F10}"/>
              </a:ext>
            </a:extLst>
          </p:cNvPr>
          <p:cNvSpPr>
            <a:spLocks/>
          </p:cNvSpPr>
          <p:nvPr/>
        </p:nvSpPr>
        <p:spPr bwMode="ltGray">
          <a:xfrm>
            <a:off x="6061166" y="1091891"/>
            <a:ext cx="4588441" cy="4612215"/>
          </a:xfrm>
          <a:prstGeom prst="ellipse">
            <a:avLst/>
          </a:prstGeom>
          <a:gradFill>
            <a:gsLst>
              <a:gs pos="100000">
                <a:srgbClr val="13344D"/>
              </a:gs>
              <a:gs pos="21000">
                <a:schemeClr val="tx2"/>
              </a:gs>
            </a:gsLst>
            <a:lin ang="18900000" scaled="0"/>
          </a:gradFill>
          <a:ln w="25400" cap="flat" cmpd="sng" algn="ctr">
            <a:noFill/>
            <a:prstDash val="solid"/>
          </a:ln>
          <a:effectLst>
            <a:innerShdw blurRad="127000" dist="114300">
              <a:schemeClr val="bg1">
                <a:lumMod val="10000"/>
                <a:alpha val="75000"/>
              </a:schemeClr>
            </a:innerShdw>
            <a:softEdge rad="0"/>
          </a:effectLst>
        </p:spPr>
        <p:txBody>
          <a:bodyPr rot="0" spcFirstLastPara="0" vertOverflow="overflow" horzOverflow="overflow" vert="horz" wrap="square" lIns="74345" tIns="37172" rIns="74345" bIns="371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3407"/>
            <a:endParaRPr lang="en-US" sz="1463" kern="0">
              <a:solidFill>
                <a:prstClr val="white"/>
              </a:solidFill>
              <a:latin typeface="Microsoft Sans Serif"/>
            </a:endParaRPr>
          </a:p>
        </p:txBody>
      </p:sp>
      <p:sp>
        <p:nvSpPr>
          <p:cNvPr id="31" name="Title 37">
            <a:extLst>
              <a:ext uri="{FF2B5EF4-FFF2-40B4-BE49-F238E27FC236}">
                <a16:creationId xmlns:a16="http://schemas.microsoft.com/office/drawing/2014/main" id="{257BED3A-949F-4F17-AAA3-B2F8DDDCA538}"/>
              </a:ext>
            </a:extLst>
          </p:cNvPr>
          <p:cNvSpPr txBox="1">
            <a:spLocks/>
          </p:cNvSpPr>
          <p:nvPr/>
        </p:nvSpPr>
        <p:spPr>
          <a:xfrm>
            <a:off x="1482661" y="2634738"/>
            <a:ext cx="3768566" cy="1611660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defTabSz="914400" rtl="0" eaLnBrk="1" latinLnBrk="0" hangingPunct="1">
              <a:lnSpc>
                <a:spcPct val="84000"/>
              </a:lnSpc>
              <a:spcBef>
                <a:spcPct val="0"/>
              </a:spcBef>
              <a:buNone/>
              <a:defRPr sz="3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43407"/>
            <a:r>
              <a:rPr lang="en-US" sz="3902" b="1">
                <a:solidFill>
                  <a:prstClr val="white"/>
                </a:solidFill>
                <a:latin typeface="Calibri"/>
              </a:rPr>
              <a:t>Initial </a:t>
            </a:r>
          </a:p>
          <a:p>
            <a:pPr defTabSz="743407"/>
            <a:r>
              <a:rPr lang="en-US" sz="3902" b="1">
                <a:solidFill>
                  <a:prstClr val="white"/>
                </a:solidFill>
                <a:latin typeface="Calibri"/>
              </a:rPr>
              <a:t>6G</a:t>
            </a:r>
          </a:p>
          <a:p>
            <a:pPr defTabSz="743407"/>
            <a:r>
              <a:rPr lang="en-US" sz="3902" b="1">
                <a:solidFill>
                  <a:prstClr val="white"/>
                </a:solidFill>
                <a:latin typeface="Calibri"/>
              </a:rPr>
              <a:t>Discussion </a:t>
            </a:r>
          </a:p>
        </p:txBody>
      </p:sp>
      <p:sp>
        <p:nvSpPr>
          <p:cNvPr id="42" name="Subtitle 11">
            <a:extLst>
              <a:ext uri="{FF2B5EF4-FFF2-40B4-BE49-F238E27FC236}">
                <a16:creationId xmlns:a16="http://schemas.microsoft.com/office/drawing/2014/main" id="{1C05FA98-C0D8-4536-B2AB-45B6D29C841F}"/>
              </a:ext>
            </a:extLst>
          </p:cNvPr>
          <p:cNvSpPr txBox="1">
            <a:spLocks/>
          </p:cNvSpPr>
          <p:nvPr/>
        </p:nvSpPr>
        <p:spPr>
          <a:xfrm>
            <a:off x="6719504" y="4276648"/>
            <a:ext cx="3271765" cy="1501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90500" indent="-190500" algn="l" defTabSz="914400" rtl="0" eaLnBrk="1" latinLnBrk="0" hangingPunct="1">
              <a:lnSpc>
                <a:spcPct val="107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463" indent="-163513" algn="l" defTabSz="91440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9913" indent="-163513" algn="l" defTabSz="91440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tx1">
                  <a:lumMod val="85000"/>
                  <a:lumOff val="15000"/>
                </a:schemeClr>
              </a:buClr>
              <a:buFont typeface="Microsoft Sans Serif" panose="020B0604020202020204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2950" indent="-163513" algn="l" defTabSz="914400" rtl="0" eaLnBrk="1" latinLnBrk="0" hangingPunct="1">
              <a:lnSpc>
                <a:spcPct val="107000"/>
              </a:lnSpc>
              <a:spcBef>
                <a:spcPts val="0"/>
              </a:spcBef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6000"/>
              </a:lnSpc>
              <a:spcBef>
                <a:spcPts val="1800"/>
              </a:spcBef>
              <a:buClr>
                <a:srgbClr val="595959"/>
              </a:buClr>
              <a:buFont typeface="Microsoft Sans Serif" panose="020B0604020202020204" pitchFamily="34" charset="0"/>
              <a:buChar char="​"/>
              <a:tabLst/>
              <a:defRPr sz="2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6000"/>
              </a:lnSpc>
              <a:spcBef>
                <a:spcPts val="0"/>
              </a:spcBef>
              <a:buFont typeface="Microsoft Sans Serif" panose="020B0604020202020204" pitchFamily="34" charset="0"/>
              <a:buChar char="​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7000"/>
              </a:lnSpc>
              <a:spcBef>
                <a:spcPts val="1200"/>
              </a:spcBef>
              <a:buFont typeface="Microsoft Sans Serif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87000"/>
              </a:lnSpc>
              <a:spcBef>
                <a:spcPts val="1800"/>
              </a:spcBef>
              <a:buSzPct val="100000"/>
              <a:buFont typeface="Microsoft Sans Serif" panose="020B0604020202020204" pitchFamily="34" charset="0"/>
              <a:buChar char="​"/>
              <a:defRPr lang="en-US" sz="55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7000"/>
              </a:lnSpc>
              <a:spcBef>
                <a:spcPts val="1800"/>
              </a:spcBef>
              <a:buFont typeface="Microsoft Sans Serif" panose="020B0604020202020204" pitchFamily="34" charset="0"/>
              <a:buChar char="​"/>
              <a:defRPr sz="6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743407">
              <a:lnSpc>
                <a:spcPct val="85000"/>
              </a:lnSpc>
              <a:spcBef>
                <a:spcPts val="0"/>
              </a:spcBef>
              <a:buClr>
                <a:srgbClr val="4F81BD"/>
              </a:buClr>
              <a:buNone/>
            </a:pPr>
            <a:r>
              <a:rPr lang="en-GB" sz="1138">
                <a:solidFill>
                  <a:prstClr val="white"/>
                </a:solidFill>
                <a:latin typeface="Calibri"/>
              </a:rPr>
              <a:t>Continued evolution towards 6G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095C399-E7AD-4C17-BF6E-80E0E02456FC}"/>
              </a:ext>
            </a:extLst>
          </p:cNvPr>
          <p:cNvGrpSpPr/>
          <p:nvPr/>
        </p:nvGrpSpPr>
        <p:grpSpPr>
          <a:xfrm flipH="1">
            <a:off x="8051654" y="3269532"/>
            <a:ext cx="607460" cy="211495"/>
            <a:chOff x="1361123" y="2215176"/>
            <a:chExt cx="305429" cy="106339"/>
          </a:xfrm>
          <a:solidFill>
            <a:schemeClr val="bg2"/>
          </a:solidFill>
        </p:grpSpPr>
        <p:sp>
          <p:nvSpPr>
            <p:cNvPr id="57" name="Graphic 33">
              <a:extLst>
                <a:ext uri="{FF2B5EF4-FFF2-40B4-BE49-F238E27FC236}">
                  <a16:creationId xmlns:a16="http://schemas.microsoft.com/office/drawing/2014/main" id="{3AAF84FB-1B99-4592-A452-64782A23D49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361123" y="2215176"/>
              <a:ext cx="57007" cy="106339"/>
            </a:xfrm>
            <a:custGeom>
              <a:avLst/>
              <a:gdLst>
                <a:gd name="connsiteX0" fmla="*/ 1244137 w 1244495"/>
                <a:gd name="connsiteY0" fmla="*/ 2162778 h 2321439"/>
                <a:gd name="connsiteX1" fmla="*/ 1011346 w 1244495"/>
                <a:gd name="connsiteY1" fmla="*/ 2272030 h 2321439"/>
                <a:gd name="connsiteX2" fmla="*/ 57036 w 1244495"/>
                <a:gd name="connsiteY2" fmla="*/ 1299432 h 2321439"/>
                <a:gd name="connsiteX3" fmla="*/ 24747 w 1244495"/>
                <a:gd name="connsiteY3" fmla="*/ 1093501 h 2321439"/>
                <a:gd name="connsiteX4" fmla="*/ 1011346 w 1244495"/>
                <a:gd name="connsiteY4" fmla="*/ 49371 h 2321439"/>
                <a:gd name="connsiteX5" fmla="*/ 1244137 w 1244495"/>
                <a:gd name="connsiteY5" fmla="*/ 153194 h 2321439"/>
                <a:gd name="connsiteX6" fmla="*/ 1244137 w 1244495"/>
                <a:gd name="connsiteY6" fmla="*/ 2162969 h 232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4495" h="2321439">
                  <a:moveTo>
                    <a:pt x="1244137" y="2162778"/>
                  </a:moveTo>
                  <a:cubicBezTo>
                    <a:pt x="1244137" y="2304224"/>
                    <a:pt x="1111549" y="2375852"/>
                    <a:pt x="1011346" y="2272030"/>
                  </a:cubicBezTo>
                  <a:lnTo>
                    <a:pt x="57036" y="1299432"/>
                  </a:lnTo>
                  <a:cubicBezTo>
                    <a:pt x="-12877" y="1227804"/>
                    <a:pt x="-12877" y="1125791"/>
                    <a:pt x="24747" y="1093501"/>
                  </a:cubicBezTo>
                  <a:lnTo>
                    <a:pt x="1011346" y="49371"/>
                  </a:lnTo>
                  <a:cubicBezTo>
                    <a:pt x="1111549" y="-54547"/>
                    <a:pt x="1244137" y="17081"/>
                    <a:pt x="1244137" y="153194"/>
                  </a:cubicBezTo>
                  <a:lnTo>
                    <a:pt x="1244137" y="216296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/>
              <a:endParaRPr lang="en-US" sz="146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9D09B77D-AEA4-4E7A-84DC-A782300B87C2}"/>
                </a:ext>
              </a:extLst>
            </p:cNvPr>
            <p:cNvSpPr/>
            <p:nvPr/>
          </p:nvSpPr>
          <p:spPr>
            <a:xfrm flipH="1" flipV="1">
              <a:off x="1392232" y="2252395"/>
              <a:ext cx="274320" cy="31902"/>
            </a:xfrm>
            <a:prstGeom prst="roundRect">
              <a:avLst>
                <a:gd name="adj" fmla="val 3086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407">
                <a:lnSpc>
                  <a:spcPct val="96000"/>
                </a:lnSpc>
              </a:pPr>
              <a:endParaRPr lang="en-US" sz="1463" err="1">
                <a:solidFill>
                  <a:prstClr val="white"/>
                </a:solidFill>
                <a:latin typeface="Microsoft Sans Serif"/>
                <a:cs typeface="Microsoft Sans Serif" panose="020B0604020202020204" pitchFamily="34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81E3A35-C37C-138B-9354-015F4057F5DB}"/>
              </a:ext>
            </a:extLst>
          </p:cNvPr>
          <p:cNvGrpSpPr>
            <a:grpSpLocks noChangeAspect="1"/>
          </p:cNvGrpSpPr>
          <p:nvPr/>
        </p:nvGrpSpPr>
        <p:grpSpPr>
          <a:xfrm>
            <a:off x="8718393" y="2538875"/>
            <a:ext cx="1670214" cy="1670172"/>
            <a:chOff x="6142984" y="4636433"/>
            <a:chExt cx="551752" cy="551737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65E6A36F-4C1E-7998-03DF-0F71A96EE7B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167792" y="4660455"/>
              <a:ext cx="502136" cy="503691"/>
            </a:xfrm>
            <a:prstGeom prst="ellipse">
              <a:avLst/>
            </a:prstGeom>
            <a:gradFill>
              <a:gsLst>
                <a:gs pos="4000">
                  <a:srgbClr val="82CBD7"/>
                </a:gs>
                <a:gs pos="35000">
                  <a:srgbClr val="82CBD7"/>
                </a:gs>
                <a:gs pos="100000">
                  <a:srgbClr val="39A3B5"/>
                </a:gs>
              </a:gsLst>
              <a:lin ang="2700000" scaled="1"/>
            </a:gradFill>
            <a:ln w="10795" cap="flat" cmpd="sng" algn="ctr">
              <a:noFill/>
              <a:prstDash val="solid"/>
            </a:ln>
            <a:effectLst>
              <a:innerShdw blurRad="38100" dist="25400" dir="13500000">
                <a:srgbClr val="0B2742">
                  <a:alpha val="50000"/>
                </a:srgbClr>
              </a:innerShdw>
              <a:softEdge rad="0"/>
            </a:effectLst>
          </p:spPr>
          <p:txBody>
            <a:bodyPr rot="0" spcFirstLastPara="0" vertOverflow="overflow" horzOverflow="overflow" vert="horz" wrap="none" lIns="63193" tIns="31596" rIns="63193" bIns="3159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3407">
                <a:defRPr/>
              </a:pPr>
              <a:endParaRPr lang="en-US" sz="4878" b="1" kern="0">
                <a:solidFill>
                  <a:srgbClr val="4A5A74"/>
                </a:solidFill>
                <a:effectLst>
                  <a:innerShdw blurRad="63500" dist="50800" dir="13500000">
                    <a:srgbClr val="314FD5">
                      <a:lumMod val="50000"/>
                      <a:alpha val="15000"/>
                    </a:srgbClr>
                  </a:innerShdw>
                </a:effectLst>
                <a:latin typeface="Microsoft Sans Serif" panose="020B0604020202020204" pitchFamily="34" charset="0"/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6F383D7D-3C4A-D184-E732-B6F5A3343B5B}"/>
                </a:ext>
              </a:extLst>
            </p:cNvPr>
            <p:cNvGrpSpPr/>
            <p:nvPr/>
          </p:nvGrpSpPr>
          <p:grpSpPr>
            <a:xfrm>
              <a:off x="6142984" y="4636433"/>
              <a:ext cx="551752" cy="551737"/>
              <a:chOff x="6142984" y="4636433"/>
              <a:chExt cx="551752" cy="551737"/>
            </a:xfrm>
          </p:grpSpPr>
          <p:sp>
            <p:nvSpPr>
              <p:cNvPr id="21" name="Freeform 14">
                <a:extLst>
                  <a:ext uri="{FF2B5EF4-FFF2-40B4-BE49-F238E27FC236}">
                    <a16:creationId xmlns:a16="http://schemas.microsoft.com/office/drawing/2014/main" id="{13E3B31E-04DB-5EDF-FFE8-1F226C57A59B}"/>
                  </a:ext>
                </a:extLst>
              </p:cNvPr>
              <p:cNvSpPr/>
              <p:nvPr/>
            </p:nvSpPr>
            <p:spPr>
              <a:xfrm>
                <a:off x="6164503" y="4658370"/>
                <a:ext cx="509329" cy="509341"/>
              </a:xfrm>
              <a:custGeom>
                <a:avLst/>
                <a:gdLst>
                  <a:gd name="connsiteX0" fmla="*/ 1865137 w 1908094"/>
                  <a:gd name="connsiteY0" fmla="*/ 670136 h 1908134"/>
                  <a:gd name="connsiteX1" fmla="*/ 1846278 w 1908094"/>
                  <a:gd name="connsiteY1" fmla="*/ 615684 h 1908134"/>
                  <a:gd name="connsiteX2" fmla="*/ 1824263 w 1908094"/>
                  <a:gd name="connsiteY2" fmla="*/ 562423 h 1908134"/>
                  <a:gd name="connsiteX3" fmla="*/ 1798953 w 1908094"/>
                  <a:gd name="connsiteY3" fmla="*/ 510652 h 1908134"/>
                  <a:gd name="connsiteX4" fmla="*/ 1792204 w 1908094"/>
                  <a:gd name="connsiteY4" fmla="*/ 497927 h 1908134"/>
                  <a:gd name="connsiteX5" fmla="*/ 1785176 w 1908094"/>
                  <a:gd name="connsiteY5" fmla="*/ 485341 h 1908134"/>
                  <a:gd name="connsiteX6" fmla="*/ 1781663 w 1908094"/>
                  <a:gd name="connsiteY6" fmla="*/ 479048 h 1908134"/>
                  <a:gd name="connsiteX7" fmla="*/ 1777990 w 1908094"/>
                  <a:gd name="connsiteY7" fmla="*/ 472855 h 1908134"/>
                  <a:gd name="connsiteX8" fmla="*/ 1770665 w 1908094"/>
                  <a:gd name="connsiteY8" fmla="*/ 460448 h 1908134"/>
                  <a:gd name="connsiteX9" fmla="*/ 1739280 w 1908094"/>
                  <a:gd name="connsiteY9" fmla="*/ 412110 h 1908134"/>
                  <a:gd name="connsiteX10" fmla="*/ 1705136 w 1908094"/>
                  <a:gd name="connsiteY10" fmla="*/ 365678 h 1908134"/>
                  <a:gd name="connsiteX11" fmla="*/ 1668154 w 1908094"/>
                  <a:gd name="connsiteY11" fmla="*/ 321450 h 1908134"/>
                  <a:gd name="connsiteX12" fmla="*/ 1628689 w 1908094"/>
                  <a:gd name="connsiteY12" fmla="*/ 279425 h 1908134"/>
                  <a:gd name="connsiteX13" fmla="*/ 1586665 w 1908094"/>
                  <a:gd name="connsiteY13" fmla="*/ 239961 h 1908134"/>
                  <a:gd name="connsiteX14" fmla="*/ 1542436 w 1908094"/>
                  <a:gd name="connsiteY14" fmla="*/ 202978 h 1908134"/>
                  <a:gd name="connsiteX15" fmla="*/ 1496004 w 1908094"/>
                  <a:gd name="connsiteY15" fmla="*/ 168834 h 1908134"/>
                  <a:gd name="connsiteX16" fmla="*/ 1447667 w 1908094"/>
                  <a:gd name="connsiteY16" fmla="*/ 137450 h 1908134"/>
                  <a:gd name="connsiteX17" fmla="*/ 1435260 w 1908094"/>
                  <a:gd name="connsiteY17" fmla="*/ 130124 h 1908134"/>
                  <a:gd name="connsiteX18" fmla="*/ 1429066 w 1908094"/>
                  <a:gd name="connsiteY18" fmla="*/ 126452 h 1908134"/>
                  <a:gd name="connsiteX19" fmla="*/ 1422773 w 1908094"/>
                  <a:gd name="connsiteY19" fmla="*/ 122938 h 1908134"/>
                  <a:gd name="connsiteX20" fmla="*/ 1410188 w 1908094"/>
                  <a:gd name="connsiteY20" fmla="*/ 115911 h 1908134"/>
                  <a:gd name="connsiteX21" fmla="*/ 1397463 w 1908094"/>
                  <a:gd name="connsiteY21" fmla="*/ 109162 h 1908134"/>
                  <a:gd name="connsiteX22" fmla="*/ 1345691 w 1908094"/>
                  <a:gd name="connsiteY22" fmla="*/ 83851 h 1908134"/>
                  <a:gd name="connsiteX23" fmla="*/ 1292430 w 1908094"/>
                  <a:gd name="connsiteY23" fmla="*/ 61836 h 1908134"/>
                  <a:gd name="connsiteX24" fmla="*/ 1237979 w 1908094"/>
                  <a:gd name="connsiteY24" fmla="*/ 42978 h 1908134"/>
                  <a:gd name="connsiteX25" fmla="*/ 1182435 w 1908094"/>
                  <a:gd name="connsiteY25" fmla="*/ 27593 h 1908134"/>
                  <a:gd name="connsiteX26" fmla="*/ 1069085 w 1908094"/>
                  <a:gd name="connsiteY26" fmla="*/ 6928 h 1908134"/>
                  <a:gd name="connsiteX27" fmla="*/ 954047 w 1908094"/>
                  <a:gd name="connsiteY27" fmla="*/ 0 h 1908134"/>
                  <a:gd name="connsiteX28" fmla="*/ 839010 w 1908094"/>
                  <a:gd name="connsiteY28" fmla="*/ 6928 h 1908134"/>
                  <a:gd name="connsiteX29" fmla="*/ 725660 w 1908094"/>
                  <a:gd name="connsiteY29" fmla="*/ 27593 h 1908134"/>
                  <a:gd name="connsiteX30" fmla="*/ 670116 w 1908094"/>
                  <a:gd name="connsiteY30" fmla="*/ 42978 h 1908134"/>
                  <a:gd name="connsiteX31" fmla="*/ 615664 w 1908094"/>
                  <a:gd name="connsiteY31" fmla="*/ 61836 h 1908134"/>
                  <a:gd name="connsiteX32" fmla="*/ 562404 w 1908094"/>
                  <a:gd name="connsiteY32" fmla="*/ 83851 h 1908134"/>
                  <a:gd name="connsiteX33" fmla="*/ 510632 w 1908094"/>
                  <a:gd name="connsiteY33" fmla="*/ 109162 h 1908134"/>
                  <a:gd name="connsiteX34" fmla="*/ 497907 w 1908094"/>
                  <a:gd name="connsiteY34" fmla="*/ 115911 h 1908134"/>
                  <a:gd name="connsiteX35" fmla="*/ 485321 w 1908094"/>
                  <a:gd name="connsiteY35" fmla="*/ 122938 h 1908134"/>
                  <a:gd name="connsiteX36" fmla="*/ 479029 w 1908094"/>
                  <a:gd name="connsiteY36" fmla="*/ 126452 h 1908134"/>
                  <a:gd name="connsiteX37" fmla="*/ 472835 w 1908094"/>
                  <a:gd name="connsiteY37" fmla="*/ 130124 h 1908134"/>
                  <a:gd name="connsiteX38" fmla="*/ 460428 w 1908094"/>
                  <a:gd name="connsiteY38" fmla="*/ 137450 h 1908134"/>
                  <a:gd name="connsiteX39" fmla="*/ 412090 w 1908094"/>
                  <a:gd name="connsiteY39" fmla="*/ 168834 h 1908134"/>
                  <a:gd name="connsiteX40" fmla="*/ 365659 w 1908094"/>
                  <a:gd name="connsiteY40" fmla="*/ 202978 h 1908134"/>
                  <a:gd name="connsiteX41" fmla="*/ 321430 w 1908094"/>
                  <a:gd name="connsiteY41" fmla="*/ 239961 h 1908134"/>
                  <a:gd name="connsiteX42" fmla="*/ 279405 w 1908094"/>
                  <a:gd name="connsiteY42" fmla="*/ 279425 h 1908134"/>
                  <a:gd name="connsiteX43" fmla="*/ 239941 w 1908094"/>
                  <a:gd name="connsiteY43" fmla="*/ 321450 h 1908134"/>
                  <a:gd name="connsiteX44" fmla="*/ 202958 w 1908094"/>
                  <a:gd name="connsiteY44" fmla="*/ 365678 h 1908134"/>
                  <a:gd name="connsiteX45" fmla="*/ 168814 w 1908094"/>
                  <a:gd name="connsiteY45" fmla="*/ 412110 h 1908134"/>
                  <a:gd name="connsiteX46" fmla="*/ 137430 w 1908094"/>
                  <a:gd name="connsiteY46" fmla="*/ 460448 h 1908134"/>
                  <a:gd name="connsiteX47" fmla="*/ 130105 w 1908094"/>
                  <a:gd name="connsiteY47" fmla="*/ 472855 h 1908134"/>
                  <a:gd name="connsiteX48" fmla="*/ 126432 w 1908094"/>
                  <a:gd name="connsiteY48" fmla="*/ 479048 h 1908134"/>
                  <a:gd name="connsiteX49" fmla="*/ 122918 w 1908094"/>
                  <a:gd name="connsiteY49" fmla="*/ 485341 h 1908134"/>
                  <a:gd name="connsiteX50" fmla="*/ 115891 w 1908094"/>
                  <a:gd name="connsiteY50" fmla="*/ 497927 h 1908134"/>
                  <a:gd name="connsiteX51" fmla="*/ 109142 w 1908094"/>
                  <a:gd name="connsiteY51" fmla="*/ 510652 h 1908134"/>
                  <a:gd name="connsiteX52" fmla="*/ 83832 w 1908094"/>
                  <a:gd name="connsiteY52" fmla="*/ 562423 h 1908134"/>
                  <a:gd name="connsiteX53" fmla="*/ 61817 w 1908094"/>
                  <a:gd name="connsiteY53" fmla="*/ 615684 h 1908134"/>
                  <a:gd name="connsiteX54" fmla="*/ 42958 w 1908094"/>
                  <a:gd name="connsiteY54" fmla="*/ 670136 h 1908134"/>
                  <a:gd name="connsiteX55" fmla="*/ 27573 w 1908094"/>
                  <a:gd name="connsiteY55" fmla="*/ 725679 h 1908134"/>
                  <a:gd name="connsiteX56" fmla="*/ 0 w 1908094"/>
                  <a:gd name="connsiteY56" fmla="*/ 954067 h 1908134"/>
                  <a:gd name="connsiteX57" fmla="*/ 27573 w 1908094"/>
                  <a:gd name="connsiteY57" fmla="*/ 1182455 h 1908134"/>
                  <a:gd name="connsiteX58" fmla="*/ 42958 w 1908094"/>
                  <a:gd name="connsiteY58" fmla="*/ 1237998 h 1908134"/>
                  <a:gd name="connsiteX59" fmla="*/ 61817 w 1908094"/>
                  <a:gd name="connsiteY59" fmla="*/ 1292450 h 1908134"/>
                  <a:gd name="connsiteX60" fmla="*/ 83832 w 1908094"/>
                  <a:gd name="connsiteY60" fmla="*/ 1345711 h 1908134"/>
                  <a:gd name="connsiteX61" fmla="*/ 109142 w 1908094"/>
                  <a:gd name="connsiteY61" fmla="*/ 1397483 h 1908134"/>
                  <a:gd name="connsiteX62" fmla="*/ 115891 w 1908094"/>
                  <a:gd name="connsiteY62" fmla="*/ 1410207 h 1908134"/>
                  <a:gd name="connsiteX63" fmla="*/ 122918 w 1908094"/>
                  <a:gd name="connsiteY63" fmla="*/ 1422793 h 1908134"/>
                  <a:gd name="connsiteX64" fmla="*/ 126432 w 1908094"/>
                  <a:gd name="connsiteY64" fmla="*/ 1429086 h 1908134"/>
                  <a:gd name="connsiteX65" fmla="*/ 130105 w 1908094"/>
                  <a:gd name="connsiteY65" fmla="*/ 1435279 h 1908134"/>
                  <a:gd name="connsiteX66" fmla="*/ 137430 w 1908094"/>
                  <a:gd name="connsiteY66" fmla="*/ 1447686 h 1908134"/>
                  <a:gd name="connsiteX67" fmla="*/ 168814 w 1908094"/>
                  <a:gd name="connsiteY67" fmla="*/ 1496024 h 1908134"/>
                  <a:gd name="connsiteX68" fmla="*/ 202958 w 1908094"/>
                  <a:gd name="connsiteY68" fmla="*/ 1542456 h 1908134"/>
                  <a:gd name="connsiteX69" fmla="*/ 239941 w 1908094"/>
                  <a:gd name="connsiteY69" fmla="*/ 1586684 h 1908134"/>
                  <a:gd name="connsiteX70" fmla="*/ 279405 w 1908094"/>
                  <a:gd name="connsiteY70" fmla="*/ 1628709 h 1908134"/>
                  <a:gd name="connsiteX71" fmla="*/ 321430 w 1908094"/>
                  <a:gd name="connsiteY71" fmla="*/ 1668173 h 1908134"/>
                  <a:gd name="connsiteX72" fmla="*/ 365659 w 1908094"/>
                  <a:gd name="connsiteY72" fmla="*/ 1705156 h 1908134"/>
                  <a:gd name="connsiteX73" fmla="*/ 412090 w 1908094"/>
                  <a:gd name="connsiteY73" fmla="*/ 1739300 h 1908134"/>
                  <a:gd name="connsiteX74" fmla="*/ 460428 w 1908094"/>
                  <a:gd name="connsiteY74" fmla="*/ 1770685 h 1908134"/>
                  <a:gd name="connsiteX75" fmla="*/ 472835 w 1908094"/>
                  <a:gd name="connsiteY75" fmla="*/ 1778010 h 1908134"/>
                  <a:gd name="connsiteX76" fmla="*/ 479029 w 1908094"/>
                  <a:gd name="connsiteY76" fmla="*/ 1781682 h 1908134"/>
                  <a:gd name="connsiteX77" fmla="*/ 485321 w 1908094"/>
                  <a:gd name="connsiteY77" fmla="*/ 1785196 h 1908134"/>
                  <a:gd name="connsiteX78" fmla="*/ 497907 w 1908094"/>
                  <a:gd name="connsiteY78" fmla="*/ 1792223 h 1908134"/>
                  <a:gd name="connsiteX79" fmla="*/ 510632 w 1908094"/>
                  <a:gd name="connsiteY79" fmla="*/ 1798973 h 1908134"/>
                  <a:gd name="connsiteX80" fmla="*/ 562404 w 1908094"/>
                  <a:gd name="connsiteY80" fmla="*/ 1824283 h 1908134"/>
                  <a:gd name="connsiteX81" fmla="*/ 615664 w 1908094"/>
                  <a:gd name="connsiteY81" fmla="*/ 1846298 h 1908134"/>
                  <a:gd name="connsiteX82" fmla="*/ 670116 w 1908094"/>
                  <a:gd name="connsiteY82" fmla="*/ 1865157 h 1908134"/>
                  <a:gd name="connsiteX83" fmla="*/ 725660 w 1908094"/>
                  <a:gd name="connsiteY83" fmla="*/ 1880541 h 1908134"/>
                  <a:gd name="connsiteX84" fmla="*/ 839010 w 1908094"/>
                  <a:gd name="connsiteY84" fmla="*/ 1901206 h 1908134"/>
                  <a:gd name="connsiteX85" fmla="*/ 954047 w 1908094"/>
                  <a:gd name="connsiteY85" fmla="*/ 1908134 h 1908134"/>
                  <a:gd name="connsiteX86" fmla="*/ 1069085 w 1908094"/>
                  <a:gd name="connsiteY86" fmla="*/ 1901206 h 1908134"/>
                  <a:gd name="connsiteX87" fmla="*/ 1182435 w 1908094"/>
                  <a:gd name="connsiteY87" fmla="*/ 1880541 h 1908134"/>
                  <a:gd name="connsiteX88" fmla="*/ 1237979 w 1908094"/>
                  <a:gd name="connsiteY88" fmla="*/ 1865157 h 1908134"/>
                  <a:gd name="connsiteX89" fmla="*/ 1292430 w 1908094"/>
                  <a:gd name="connsiteY89" fmla="*/ 1846298 h 1908134"/>
                  <a:gd name="connsiteX90" fmla="*/ 1345691 w 1908094"/>
                  <a:gd name="connsiteY90" fmla="*/ 1824283 h 1908134"/>
                  <a:gd name="connsiteX91" fmla="*/ 1397463 w 1908094"/>
                  <a:gd name="connsiteY91" fmla="*/ 1798973 h 1908134"/>
                  <a:gd name="connsiteX92" fmla="*/ 1410188 w 1908094"/>
                  <a:gd name="connsiteY92" fmla="*/ 1792223 h 1908134"/>
                  <a:gd name="connsiteX93" fmla="*/ 1422773 w 1908094"/>
                  <a:gd name="connsiteY93" fmla="*/ 1785196 h 1908134"/>
                  <a:gd name="connsiteX94" fmla="*/ 1429066 w 1908094"/>
                  <a:gd name="connsiteY94" fmla="*/ 1781682 h 1908134"/>
                  <a:gd name="connsiteX95" fmla="*/ 1435260 w 1908094"/>
                  <a:gd name="connsiteY95" fmla="*/ 1778010 h 1908134"/>
                  <a:gd name="connsiteX96" fmla="*/ 1447667 w 1908094"/>
                  <a:gd name="connsiteY96" fmla="*/ 1770685 h 1908134"/>
                  <a:gd name="connsiteX97" fmla="*/ 1496004 w 1908094"/>
                  <a:gd name="connsiteY97" fmla="*/ 1739300 h 1908134"/>
                  <a:gd name="connsiteX98" fmla="*/ 1542436 w 1908094"/>
                  <a:gd name="connsiteY98" fmla="*/ 1705156 h 1908134"/>
                  <a:gd name="connsiteX99" fmla="*/ 1586665 w 1908094"/>
                  <a:gd name="connsiteY99" fmla="*/ 1668173 h 1908134"/>
                  <a:gd name="connsiteX100" fmla="*/ 1628689 w 1908094"/>
                  <a:gd name="connsiteY100" fmla="*/ 1628709 h 1908134"/>
                  <a:gd name="connsiteX101" fmla="*/ 1668154 w 1908094"/>
                  <a:gd name="connsiteY101" fmla="*/ 1586684 h 1908134"/>
                  <a:gd name="connsiteX102" fmla="*/ 1705136 w 1908094"/>
                  <a:gd name="connsiteY102" fmla="*/ 1542456 h 1908134"/>
                  <a:gd name="connsiteX103" fmla="*/ 1739280 w 1908094"/>
                  <a:gd name="connsiteY103" fmla="*/ 1496024 h 1908134"/>
                  <a:gd name="connsiteX104" fmla="*/ 1770665 w 1908094"/>
                  <a:gd name="connsiteY104" fmla="*/ 1447686 h 1908134"/>
                  <a:gd name="connsiteX105" fmla="*/ 1777990 w 1908094"/>
                  <a:gd name="connsiteY105" fmla="*/ 1435279 h 1908134"/>
                  <a:gd name="connsiteX106" fmla="*/ 1781663 w 1908094"/>
                  <a:gd name="connsiteY106" fmla="*/ 1429086 h 1908134"/>
                  <a:gd name="connsiteX107" fmla="*/ 1785176 w 1908094"/>
                  <a:gd name="connsiteY107" fmla="*/ 1422793 h 1908134"/>
                  <a:gd name="connsiteX108" fmla="*/ 1792204 w 1908094"/>
                  <a:gd name="connsiteY108" fmla="*/ 1410207 h 1908134"/>
                  <a:gd name="connsiteX109" fmla="*/ 1798953 w 1908094"/>
                  <a:gd name="connsiteY109" fmla="*/ 1397483 h 1908134"/>
                  <a:gd name="connsiteX110" fmla="*/ 1824263 w 1908094"/>
                  <a:gd name="connsiteY110" fmla="*/ 1345711 h 1908134"/>
                  <a:gd name="connsiteX111" fmla="*/ 1846278 w 1908094"/>
                  <a:gd name="connsiteY111" fmla="*/ 1292450 h 1908134"/>
                  <a:gd name="connsiteX112" fmla="*/ 1865137 w 1908094"/>
                  <a:gd name="connsiteY112" fmla="*/ 1237998 h 1908134"/>
                  <a:gd name="connsiteX113" fmla="*/ 1880521 w 1908094"/>
                  <a:gd name="connsiteY113" fmla="*/ 1182455 h 1908134"/>
                  <a:gd name="connsiteX114" fmla="*/ 1908095 w 1908094"/>
                  <a:gd name="connsiteY114" fmla="*/ 954067 h 1908134"/>
                  <a:gd name="connsiteX115" fmla="*/ 1880521 w 1908094"/>
                  <a:gd name="connsiteY115" fmla="*/ 725679 h 1908134"/>
                  <a:gd name="connsiteX116" fmla="*/ 1865137 w 1908094"/>
                  <a:gd name="connsiteY116" fmla="*/ 670136 h 1908134"/>
                  <a:gd name="connsiteX117" fmla="*/ 1841295 w 1908094"/>
                  <a:gd name="connsiteY117" fmla="*/ 1172827 h 1908134"/>
                  <a:gd name="connsiteX118" fmla="*/ 1826586 w 1908094"/>
                  <a:gd name="connsiteY118" fmla="*/ 1226008 h 1908134"/>
                  <a:gd name="connsiteX119" fmla="*/ 1808521 w 1908094"/>
                  <a:gd name="connsiteY119" fmla="*/ 1278138 h 1908134"/>
                  <a:gd name="connsiteX120" fmla="*/ 1787439 w 1908094"/>
                  <a:gd name="connsiteY120" fmla="*/ 1329135 h 1908134"/>
                  <a:gd name="connsiteX121" fmla="*/ 1763201 w 1908094"/>
                  <a:gd name="connsiteY121" fmla="*/ 1378704 h 1908134"/>
                  <a:gd name="connsiteX122" fmla="*/ 1756730 w 1908094"/>
                  <a:gd name="connsiteY122" fmla="*/ 1390892 h 1908134"/>
                  <a:gd name="connsiteX123" fmla="*/ 1750000 w 1908094"/>
                  <a:gd name="connsiteY123" fmla="*/ 1402942 h 1908134"/>
                  <a:gd name="connsiteX124" fmla="*/ 1746625 w 1908094"/>
                  <a:gd name="connsiteY124" fmla="*/ 1408957 h 1908134"/>
                  <a:gd name="connsiteX125" fmla="*/ 1743112 w 1908094"/>
                  <a:gd name="connsiteY125" fmla="*/ 1414892 h 1908134"/>
                  <a:gd name="connsiteX126" fmla="*/ 1736084 w 1908094"/>
                  <a:gd name="connsiteY126" fmla="*/ 1426783 h 1908134"/>
                  <a:gd name="connsiteX127" fmla="*/ 1706030 w 1908094"/>
                  <a:gd name="connsiteY127" fmla="*/ 1473076 h 1908134"/>
                  <a:gd name="connsiteX128" fmla="*/ 1673315 w 1908094"/>
                  <a:gd name="connsiteY128" fmla="*/ 1517563 h 1908134"/>
                  <a:gd name="connsiteX129" fmla="*/ 1637900 w 1908094"/>
                  <a:gd name="connsiteY129" fmla="*/ 1559925 h 1908134"/>
                  <a:gd name="connsiteX130" fmla="*/ 1600084 w 1908094"/>
                  <a:gd name="connsiteY130" fmla="*/ 1600183 h 1908134"/>
                  <a:gd name="connsiteX131" fmla="*/ 1559826 w 1908094"/>
                  <a:gd name="connsiteY131" fmla="*/ 1638000 h 1908134"/>
                  <a:gd name="connsiteX132" fmla="*/ 1517463 w 1908094"/>
                  <a:gd name="connsiteY132" fmla="*/ 1673414 h 1908134"/>
                  <a:gd name="connsiteX133" fmla="*/ 1472977 w 1908094"/>
                  <a:gd name="connsiteY133" fmla="*/ 1706129 h 1908134"/>
                  <a:gd name="connsiteX134" fmla="*/ 1426684 w 1908094"/>
                  <a:gd name="connsiteY134" fmla="*/ 1736184 h 1908134"/>
                  <a:gd name="connsiteX135" fmla="*/ 1414793 w 1908094"/>
                  <a:gd name="connsiteY135" fmla="*/ 1743211 h 1908134"/>
                  <a:gd name="connsiteX136" fmla="*/ 1408858 w 1908094"/>
                  <a:gd name="connsiteY136" fmla="*/ 1746725 h 1908134"/>
                  <a:gd name="connsiteX137" fmla="*/ 1402843 w 1908094"/>
                  <a:gd name="connsiteY137" fmla="*/ 1750099 h 1908134"/>
                  <a:gd name="connsiteX138" fmla="*/ 1390793 w 1908094"/>
                  <a:gd name="connsiteY138" fmla="*/ 1756829 h 1908134"/>
                  <a:gd name="connsiteX139" fmla="*/ 1378604 w 1908094"/>
                  <a:gd name="connsiteY139" fmla="*/ 1763300 h 1908134"/>
                  <a:gd name="connsiteX140" fmla="*/ 1329036 w 1908094"/>
                  <a:gd name="connsiteY140" fmla="*/ 1787539 h 1908134"/>
                  <a:gd name="connsiteX141" fmla="*/ 1278038 w 1908094"/>
                  <a:gd name="connsiteY141" fmla="*/ 1808620 h 1908134"/>
                  <a:gd name="connsiteX142" fmla="*/ 1225909 w 1908094"/>
                  <a:gd name="connsiteY142" fmla="*/ 1826685 h 1908134"/>
                  <a:gd name="connsiteX143" fmla="*/ 1172728 w 1908094"/>
                  <a:gd name="connsiteY143" fmla="*/ 1841395 h 1908134"/>
                  <a:gd name="connsiteX144" fmla="*/ 1064202 w 1908094"/>
                  <a:gd name="connsiteY144" fmla="*/ 1861167 h 1908134"/>
                  <a:gd name="connsiteX145" fmla="*/ 953968 w 1908094"/>
                  <a:gd name="connsiteY145" fmla="*/ 1867797 h 1908134"/>
                  <a:gd name="connsiteX146" fmla="*/ 843734 w 1908094"/>
                  <a:gd name="connsiteY146" fmla="*/ 1861167 h 1908134"/>
                  <a:gd name="connsiteX147" fmla="*/ 735208 w 1908094"/>
                  <a:gd name="connsiteY147" fmla="*/ 1841395 h 1908134"/>
                  <a:gd name="connsiteX148" fmla="*/ 682027 w 1908094"/>
                  <a:gd name="connsiteY148" fmla="*/ 1826685 h 1908134"/>
                  <a:gd name="connsiteX149" fmla="*/ 629898 w 1908094"/>
                  <a:gd name="connsiteY149" fmla="*/ 1808620 h 1908134"/>
                  <a:gd name="connsiteX150" fmla="*/ 578900 w 1908094"/>
                  <a:gd name="connsiteY150" fmla="*/ 1787539 h 1908134"/>
                  <a:gd name="connsiteX151" fmla="*/ 529332 w 1908094"/>
                  <a:gd name="connsiteY151" fmla="*/ 1763300 h 1908134"/>
                  <a:gd name="connsiteX152" fmla="*/ 517143 w 1908094"/>
                  <a:gd name="connsiteY152" fmla="*/ 1756829 h 1908134"/>
                  <a:gd name="connsiteX153" fmla="*/ 505093 w 1908094"/>
                  <a:gd name="connsiteY153" fmla="*/ 1750099 h 1908134"/>
                  <a:gd name="connsiteX154" fmla="*/ 499078 w 1908094"/>
                  <a:gd name="connsiteY154" fmla="*/ 1746725 h 1908134"/>
                  <a:gd name="connsiteX155" fmla="*/ 493143 w 1908094"/>
                  <a:gd name="connsiteY155" fmla="*/ 1743211 h 1908134"/>
                  <a:gd name="connsiteX156" fmla="*/ 481252 w 1908094"/>
                  <a:gd name="connsiteY156" fmla="*/ 1736184 h 1908134"/>
                  <a:gd name="connsiteX157" fmla="*/ 434959 w 1908094"/>
                  <a:gd name="connsiteY157" fmla="*/ 1706129 h 1908134"/>
                  <a:gd name="connsiteX158" fmla="*/ 390473 w 1908094"/>
                  <a:gd name="connsiteY158" fmla="*/ 1673414 h 1908134"/>
                  <a:gd name="connsiteX159" fmla="*/ 348110 w 1908094"/>
                  <a:gd name="connsiteY159" fmla="*/ 1638000 h 1908134"/>
                  <a:gd name="connsiteX160" fmla="*/ 307852 w 1908094"/>
                  <a:gd name="connsiteY160" fmla="*/ 1600183 h 1908134"/>
                  <a:gd name="connsiteX161" fmla="*/ 270036 w 1908094"/>
                  <a:gd name="connsiteY161" fmla="*/ 1559925 h 1908134"/>
                  <a:gd name="connsiteX162" fmla="*/ 234621 w 1908094"/>
                  <a:gd name="connsiteY162" fmla="*/ 1517563 h 1908134"/>
                  <a:gd name="connsiteX163" fmla="*/ 201906 w 1908094"/>
                  <a:gd name="connsiteY163" fmla="*/ 1473076 h 1908134"/>
                  <a:gd name="connsiteX164" fmla="*/ 171852 w 1908094"/>
                  <a:gd name="connsiteY164" fmla="*/ 1426783 h 1908134"/>
                  <a:gd name="connsiteX165" fmla="*/ 164824 w 1908094"/>
                  <a:gd name="connsiteY165" fmla="*/ 1414892 h 1908134"/>
                  <a:gd name="connsiteX166" fmla="*/ 161311 w 1908094"/>
                  <a:gd name="connsiteY166" fmla="*/ 1408957 h 1908134"/>
                  <a:gd name="connsiteX167" fmla="*/ 157936 w 1908094"/>
                  <a:gd name="connsiteY167" fmla="*/ 1402942 h 1908134"/>
                  <a:gd name="connsiteX168" fmla="*/ 151206 w 1908094"/>
                  <a:gd name="connsiteY168" fmla="*/ 1390892 h 1908134"/>
                  <a:gd name="connsiteX169" fmla="*/ 144735 w 1908094"/>
                  <a:gd name="connsiteY169" fmla="*/ 1378704 h 1908134"/>
                  <a:gd name="connsiteX170" fmla="*/ 120497 w 1908094"/>
                  <a:gd name="connsiteY170" fmla="*/ 1329135 h 1908134"/>
                  <a:gd name="connsiteX171" fmla="*/ 99415 w 1908094"/>
                  <a:gd name="connsiteY171" fmla="*/ 1278138 h 1908134"/>
                  <a:gd name="connsiteX172" fmla="*/ 81350 w 1908094"/>
                  <a:gd name="connsiteY172" fmla="*/ 1226008 h 1908134"/>
                  <a:gd name="connsiteX173" fmla="*/ 66640 w 1908094"/>
                  <a:gd name="connsiteY173" fmla="*/ 1172827 h 1908134"/>
                  <a:gd name="connsiteX174" fmla="*/ 40218 w 1908094"/>
                  <a:gd name="connsiteY174" fmla="*/ 954067 h 1908134"/>
                  <a:gd name="connsiteX175" fmla="*/ 66640 w 1908094"/>
                  <a:gd name="connsiteY175" fmla="*/ 735307 h 1908134"/>
                  <a:gd name="connsiteX176" fmla="*/ 81350 w 1908094"/>
                  <a:gd name="connsiteY176" fmla="*/ 682126 h 1908134"/>
                  <a:gd name="connsiteX177" fmla="*/ 99415 w 1908094"/>
                  <a:gd name="connsiteY177" fmla="*/ 629997 h 1908134"/>
                  <a:gd name="connsiteX178" fmla="*/ 120497 w 1908094"/>
                  <a:gd name="connsiteY178" fmla="*/ 578999 h 1908134"/>
                  <a:gd name="connsiteX179" fmla="*/ 144735 w 1908094"/>
                  <a:gd name="connsiteY179" fmla="*/ 529431 h 1908134"/>
                  <a:gd name="connsiteX180" fmla="*/ 151206 w 1908094"/>
                  <a:gd name="connsiteY180" fmla="*/ 517242 h 1908134"/>
                  <a:gd name="connsiteX181" fmla="*/ 157936 w 1908094"/>
                  <a:gd name="connsiteY181" fmla="*/ 505193 h 1908134"/>
                  <a:gd name="connsiteX182" fmla="*/ 161311 w 1908094"/>
                  <a:gd name="connsiteY182" fmla="*/ 499178 h 1908134"/>
                  <a:gd name="connsiteX183" fmla="*/ 164824 w 1908094"/>
                  <a:gd name="connsiteY183" fmla="*/ 493242 h 1908134"/>
                  <a:gd name="connsiteX184" fmla="*/ 171852 w 1908094"/>
                  <a:gd name="connsiteY184" fmla="*/ 481351 h 1908134"/>
                  <a:gd name="connsiteX185" fmla="*/ 201906 w 1908094"/>
                  <a:gd name="connsiteY185" fmla="*/ 435058 h 1908134"/>
                  <a:gd name="connsiteX186" fmla="*/ 234621 w 1908094"/>
                  <a:gd name="connsiteY186" fmla="*/ 390572 h 1908134"/>
                  <a:gd name="connsiteX187" fmla="*/ 270036 w 1908094"/>
                  <a:gd name="connsiteY187" fmla="*/ 348209 h 1908134"/>
                  <a:gd name="connsiteX188" fmla="*/ 307852 w 1908094"/>
                  <a:gd name="connsiteY188" fmla="*/ 307951 h 1908134"/>
                  <a:gd name="connsiteX189" fmla="*/ 348110 w 1908094"/>
                  <a:gd name="connsiteY189" fmla="*/ 270135 h 1908134"/>
                  <a:gd name="connsiteX190" fmla="*/ 390473 w 1908094"/>
                  <a:gd name="connsiteY190" fmla="*/ 234720 h 1908134"/>
                  <a:gd name="connsiteX191" fmla="*/ 434959 w 1908094"/>
                  <a:gd name="connsiteY191" fmla="*/ 202006 h 1908134"/>
                  <a:gd name="connsiteX192" fmla="*/ 481252 w 1908094"/>
                  <a:gd name="connsiteY192" fmla="*/ 171951 h 1908134"/>
                  <a:gd name="connsiteX193" fmla="*/ 493143 w 1908094"/>
                  <a:gd name="connsiteY193" fmla="*/ 164924 h 1908134"/>
                  <a:gd name="connsiteX194" fmla="*/ 499078 w 1908094"/>
                  <a:gd name="connsiteY194" fmla="*/ 161410 h 1908134"/>
                  <a:gd name="connsiteX195" fmla="*/ 505093 w 1908094"/>
                  <a:gd name="connsiteY195" fmla="*/ 158035 h 1908134"/>
                  <a:gd name="connsiteX196" fmla="*/ 517143 w 1908094"/>
                  <a:gd name="connsiteY196" fmla="*/ 151306 h 1908134"/>
                  <a:gd name="connsiteX197" fmla="*/ 529332 w 1908094"/>
                  <a:gd name="connsiteY197" fmla="*/ 144834 h 1908134"/>
                  <a:gd name="connsiteX198" fmla="*/ 578900 w 1908094"/>
                  <a:gd name="connsiteY198" fmla="*/ 120596 h 1908134"/>
                  <a:gd name="connsiteX199" fmla="*/ 629898 w 1908094"/>
                  <a:gd name="connsiteY199" fmla="*/ 99514 h 1908134"/>
                  <a:gd name="connsiteX200" fmla="*/ 682027 w 1908094"/>
                  <a:gd name="connsiteY200" fmla="*/ 81449 h 1908134"/>
                  <a:gd name="connsiteX201" fmla="*/ 735208 w 1908094"/>
                  <a:gd name="connsiteY201" fmla="*/ 66740 h 1908134"/>
                  <a:gd name="connsiteX202" fmla="*/ 843734 w 1908094"/>
                  <a:gd name="connsiteY202" fmla="*/ 46968 h 1908134"/>
                  <a:gd name="connsiteX203" fmla="*/ 953968 w 1908094"/>
                  <a:gd name="connsiteY203" fmla="*/ 40338 h 1908134"/>
                  <a:gd name="connsiteX204" fmla="*/ 1064202 w 1908094"/>
                  <a:gd name="connsiteY204" fmla="*/ 46968 h 1908134"/>
                  <a:gd name="connsiteX205" fmla="*/ 1172728 w 1908094"/>
                  <a:gd name="connsiteY205" fmla="*/ 66740 h 1908134"/>
                  <a:gd name="connsiteX206" fmla="*/ 1225909 w 1908094"/>
                  <a:gd name="connsiteY206" fmla="*/ 81449 h 1908134"/>
                  <a:gd name="connsiteX207" fmla="*/ 1278038 w 1908094"/>
                  <a:gd name="connsiteY207" fmla="*/ 99514 h 1908134"/>
                  <a:gd name="connsiteX208" fmla="*/ 1329036 w 1908094"/>
                  <a:gd name="connsiteY208" fmla="*/ 120596 h 1908134"/>
                  <a:gd name="connsiteX209" fmla="*/ 1378604 w 1908094"/>
                  <a:gd name="connsiteY209" fmla="*/ 144834 h 1908134"/>
                  <a:gd name="connsiteX210" fmla="*/ 1390793 w 1908094"/>
                  <a:gd name="connsiteY210" fmla="*/ 151306 h 1908134"/>
                  <a:gd name="connsiteX211" fmla="*/ 1402843 w 1908094"/>
                  <a:gd name="connsiteY211" fmla="*/ 158035 h 1908134"/>
                  <a:gd name="connsiteX212" fmla="*/ 1408858 w 1908094"/>
                  <a:gd name="connsiteY212" fmla="*/ 161410 h 1908134"/>
                  <a:gd name="connsiteX213" fmla="*/ 1414793 w 1908094"/>
                  <a:gd name="connsiteY213" fmla="*/ 164924 h 1908134"/>
                  <a:gd name="connsiteX214" fmla="*/ 1426684 w 1908094"/>
                  <a:gd name="connsiteY214" fmla="*/ 171951 h 1908134"/>
                  <a:gd name="connsiteX215" fmla="*/ 1472977 w 1908094"/>
                  <a:gd name="connsiteY215" fmla="*/ 202006 h 1908134"/>
                  <a:gd name="connsiteX216" fmla="*/ 1517463 w 1908094"/>
                  <a:gd name="connsiteY216" fmla="*/ 234720 h 1908134"/>
                  <a:gd name="connsiteX217" fmla="*/ 1559826 w 1908094"/>
                  <a:gd name="connsiteY217" fmla="*/ 270135 h 1908134"/>
                  <a:gd name="connsiteX218" fmla="*/ 1600084 w 1908094"/>
                  <a:gd name="connsiteY218" fmla="*/ 307951 h 1908134"/>
                  <a:gd name="connsiteX219" fmla="*/ 1637900 w 1908094"/>
                  <a:gd name="connsiteY219" fmla="*/ 348209 h 1908134"/>
                  <a:gd name="connsiteX220" fmla="*/ 1673315 w 1908094"/>
                  <a:gd name="connsiteY220" fmla="*/ 390572 h 1908134"/>
                  <a:gd name="connsiteX221" fmla="*/ 1706030 w 1908094"/>
                  <a:gd name="connsiteY221" fmla="*/ 435058 h 1908134"/>
                  <a:gd name="connsiteX222" fmla="*/ 1736084 w 1908094"/>
                  <a:gd name="connsiteY222" fmla="*/ 481351 h 1908134"/>
                  <a:gd name="connsiteX223" fmla="*/ 1743112 w 1908094"/>
                  <a:gd name="connsiteY223" fmla="*/ 493242 h 1908134"/>
                  <a:gd name="connsiteX224" fmla="*/ 1746625 w 1908094"/>
                  <a:gd name="connsiteY224" fmla="*/ 499178 h 1908134"/>
                  <a:gd name="connsiteX225" fmla="*/ 1750000 w 1908094"/>
                  <a:gd name="connsiteY225" fmla="*/ 505193 h 1908134"/>
                  <a:gd name="connsiteX226" fmla="*/ 1756730 w 1908094"/>
                  <a:gd name="connsiteY226" fmla="*/ 517242 h 1908134"/>
                  <a:gd name="connsiteX227" fmla="*/ 1763201 w 1908094"/>
                  <a:gd name="connsiteY227" fmla="*/ 529431 h 1908134"/>
                  <a:gd name="connsiteX228" fmla="*/ 1787439 w 1908094"/>
                  <a:gd name="connsiteY228" fmla="*/ 578999 h 1908134"/>
                  <a:gd name="connsiteX229" fmla="*/ 1808521 w 1908094"/>
                  <a:gd name="connsiteY229" fmla="*/ 629997 h 1908134"/>
                  <a:gd name="connsiteX230" fmla="*/ 1826586 w 1908094"/>
                  <a:gd name="connsiteY230" fmla="*/ 682126 h 1908134"/>
                  <a:gd name="connsiteX231" fmla="*/ 1841295 w 1908094"/>
                  <a:gd name="connsiteY231" fmla="*/ 735307 h 1908134"/>
                  <a:gd name="connsiteX232" fmla="*/ 1867717 w 1908094"/>
                  <a:gd name="connsiteY232" fmla="*/ 954067 h 1908134"/>
                  <a:gd name="connsiteX233" fmla="*/ 1841295 w 1908094"/>
                  <a:gd name="connsiteY233" fmla="*/ 1172827 h 1908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</a:cxnLst>
                <a:rect l="l" t="t" r="r" b="b"/>
                <a:pathLst>
                  <a:path w="1908094" h="1908134">
                    <a:moveTo>
                      <a:pt x="1865137" y="670136"/>
                    </a:moveTo>
                    <a:cubicBezTo>
                      <a:pt x="1859261" y="651853"/>
                      <a:pt x="1853206" y="633610"/>
                      <a:pt x="1846278" y="615684"/>
                    </a:cubicBezTo>
                    <a:cubicBezTo>
                      <a:pt x="1839588" y="597679"/>
                      <a:pt x="1832005" y="580012"/>
                      <a:pt x="1824263" y="562423"/>
                    </a:cubicBezTo>
                    <a:cubicBezTo>
                      <a:pt x="1816243" y="544974"/>
                      <a:pt x="1807985" y="527604"/>
                      <a:pt x="1798953" y="510652"/>
                    </a:cubicBezTo>
                    <a:cubicBezTo>
                      <a:pt x="1796690" y="506403"/>
                      <a:pt x="1794506" y="502135"/>
                      <a:pt x="1792204" y="497927"/>
                    </a:cubicBezTo>
                    <a:lnTo>
                      <a:pt x="1785176" y="485341"/>
                    </a:lnTo>
                    <a:lnTo>
                      <a:pt x="1781663" y="479048"/>
                    </a:lnTo>
                    <a:lnTo>
                      <a:pt x="1777990" y="472855"/>
                    </a:lnTo>
                    <a:lnTo>
                      <a:pt x="1770665" y="460448"/>
                    </a:lnTo>
                    <a:cubicBezTo>
                      <a:pt x="1760601" y="444091"/>
                      <a:pt x="1750298" y="427852"/>
                      <a:pt x="1739280" y="412110"/>
                    </a:cubicBezTo>
                    <a:cubicBezTo>
                      <a:pt x="1728461" y="396229"/>
                      <a:pt x="1716868" y="380884"/>
                      <a:pt x="1705136" y="365678"/>
                    </a:cubicBezTo>
                    <a:cubicBezTo>
                      <a:pt x="1693166" y="350651"/>
                      <a:pt x="1680997" y="335763"/>
                      <a:pt x="1668154" y="321450"/>
                    </a:cubicBezTo>
                    <a:cubicBezTo>
                      <a:pt x="1655508" y="306979"/>
                      <a:pt x="1642149" y="293142"/>
                      <a:pt x="1628689" y="279425"/>
                    </a:cubicBezTo>
                    <a:cubicBezTo>
                      <a:pt x="1614972" y="265966"/>
                      <a:pt x="1601136" y="252606"/>
                      <a:pt x="1586665" y="239961"/>
                    </a:cubicBezTo>
                    <a:cubicBezTo>
                      <a:pt x="1572352" y="227117"/>
                      <a:pt x="1557463" y="214968"/>
                      <a:pt x="1542436" y="202978"/>
                    </a:cubicBezTo>
                    <a:cubicBezTo>
                      <a:pt x="1527210" y="191246"/>
                      <a:pt x="1511885" y="179653"/>
                      <a:pt x="1496004" y="168834"/>
                    </a:cubicBezTo>
                    <a:cubicBezTo>
                      <a:pt x="1480262" y="157817"/>
                      <a:pt x="1464024" y="147514"/>
                      <a:pt x="1447667" y="137450"/>
                    </a:cubicBezTo>
                    <a:lnTo>
                      <a:pt x="1435260" y="130124"/>
                    </a:lnTo>
                    <a:lnTo>
                      <a:pt x="1429066" y="126452"/>
                    </a:lnTo>
                    <a:lnTo>
                      <a:pt x="1422773" y="122938"/>
                    </a:lnTo>
                    <a:lnTo>
                      <a:pt x="1410188" y="115911"/>
                    </a:lnTo>
                    <a:cubicBezTo>
                      <a:pt x="1405979" y="113608"/>
                      <a:pt x="1401691" y="111405"/>
                      <a:pt x="1397463" y="109162"/>
                    </a:cubicBezTo>
                    <a:cubicBezTo>
                      <a:pt x="1380510" y="100129"/>
                      <a:pt x="1363140" y="91851"/>
                      <a:pt x="1345691" y="83851"/>
                    </a:cubicBezTo>
                    <a:cubicBezTo>
                      <a:pt x="1328103" y="76109"/>
                      <a:pt x="1310435" y="68526"/>
                      <a:pt x="1292430" y="61836"/>
                    </a:cubicBezTo>
                    <a:cubicBezTo>
                      <a:pt x="1274505" y="54908"/>
                      <a:pt x="1256262" y="48854"/>
                      <a:pt x="1237979" y="42978"/>
                    </a:cubicBezTo>
                    <a:cubicBezTo>
                      <a:pt x="1219596" y="37419"/>
                      <a:pt x="1201135" y="32079"/>
                      <a:pt x="1182435" y="27593"/>
                    </a:cubicBezTo>
                    <a:cubicBezTo>
                      <a:pt x="1145115" y="18462"/>
                      <a:pt x="1107259" y="11414"/>
                      <a:pt x="1069085" y="6928"/>
                    </a:cubicBezTo>
                    <a:cubicBezTo>
                      <a:pt x="1030931" y="2382"/>
                      <a:pt x="992499" y="79"/>
                      <a:pt x="954047" y="0"/>
                    </a:cubicBezTo>
                    <a:cubicBezTo>
                      <a:pt x="915596" y="79"/>
                      <a:pt x="877164" y="2382"/>
                      <a:pt x="839010" y="6928"/>
                    </a:cubicBezTo>
                    <a:cubicBezTo>
                      <a:pt x="800836" y="11395"/>
                      <a:pt x="762980" y="18442"/>
                      <a:pt x="725660" y="27593"/>
                    </a:cubicBezTo>
                    <a:cubicBezTo>
                      <a:pt x="706980" y="32060"/>
                      <a:pt x="688518" y="37419"/>
                      <a:pt x="670116" y="42978"/>
                    </a:cubicBezTo>
                    <a:cubicBezTo>
                      <a:pt x="651833" y="48854"/>
                      <a:pt x="633590" y="54908"/>
                      <a:pt x="615664" y="61836"/>
                    </a:cubicBezTo>
                    <a:cubicBezTo>
                      <a:pt x="597659" y="68526"/>
                      <a:pt x="579992" y="76109"/>
                      <a:pt x="562404" y="83851"/>
                    </a:cubicBezTo>
                    <a:cubicBezTo>
                      <a:pt x="544954" y="91871"/>
                      <a:pt x="527585" y="100129"/>
                      <a:pt x="510632" y="109162"/>
                    </a:cubicBezTo>
                    <a:cubicBezTo>
                      <a:pt x="506384" y="111425"/>
                      <a:pt x="502116" y="113608"/>
                      <a:pt x="497907" y="115911"/>
                    </a:cubicBezTo>
                    <a:lnTo>
                      <a:pt x="485321" y="122938"/>
                    </a:lnTo>
                    <a:lnTo>
                      <a:pt x="479029" y="126452"/>
                    </a:lnTo>
                    <a:lnTo>
                      <a:pt x="472835" y="130124"/>
                    </a:lnTo>
                    <a:lnTo>
                      <a:pt x="460428" y="137450"/>
                    </a:lnTo>
                    <a:cubicBezTo>
                      <a:pt x="444071" y="147514"/>
                      <a:pt x="427832" y="157817"/>
                      <a:pt x="412090" y="168834"/>
                    </a:cubicBezTo>
                    <a:cubicBezTo>
                      <a:pt x="396210" y="179653"/>
                      <a:pt x="380865" y="191246"/>
                      <a:pt x="365659" y="202978"/>
                    </a:cubicBezTo>
                    <a:cubicBezTo>
                      <a:pt x="350631" y="214949"/>
                      <a:pt x="335743" y="227117"/>
                      <a:pt x="321430" y="239961"/>
                    </a:cubicBezTo>
                    <a:cubicBezTo>
                      <a:pt x="306959" y="252606"/>
                      <a:pt x="293122" y="265966"/>
                      <a:pt x="279405" y="279425"/>
                    </a:cubicBezTo>
                    <a:cubicBezTo>
                      <a:pt x="265946" y="293142"/>
                      <a:pt x="252586" y="306979"/>
                      <a:pt x="239941" y="321450"/>
                    </a:cubicBezTo>
                    <a:cubicBezTo>
                      <a:pt x="227097" y="335763"/>
                      <a:pt x="214949" y="350651"/>
                      <a:pt x="202958" y="365678"/>
                    </a:cubicBezTo>
                    <a:cubicBezTo>
                      <a:pt x="191226" y="380904"/>
                      <a:pt x="179633" y="396229"/>
                      <a:pt x="168814" y="412110"/>
                    </a:cubicBezTo>
                    <a:cubicBezTo>
                      <a:pt x="157797" y="427852"/>
                      <a:pt x="147494" y="444091"/>
                      <a:pt x="137430" y="460448"/>
                    </a:cubicBezTo>
                    <a:lnTo>
                      <a:pt x="130105" y="472855"/>
                    </a:lnTo>
                    <a:lnTo>
                      <a:pt x="126432" y="479048"/>
                    </a:lnTo>
                    <a:lnTo>
                      <a:pt x="122918" y="485341"/>
                    </a:lnTo>
                    <a:lnTo>
                      <a:pt x="115891" y="497927"/>
                    </a:lnTo>
                    <a:cubicBezTo>
                      <a:pt x="113588" y="502135"/>
                      <a:pt x="111385" y="506423"/>
                      <a:pt x="109142" y="510652"/>
                    </a:cubicBezTo>
                    <a:cubicBezTo>
                      <a:pt x="100109" y="527604"/>
                      <a:pt x="91832" y="544974"/>
                      <a:pt x="83832" y="562423"/>
                    </a:cubicBezTo>
                    <a:cubicBezTo>
                      <a:pt x="76090" y="580012"/>
                      <a:pt x="68506" y="597679"/>
                      <a:pt x="61817" y="615684"/>
                    </a:cubicBezTo>
                    <a:cubicBezTo>
                      <a:pt x="54888" y="633610"/>
                      <a:pt x="48834" y="651853"/>
                      <a:pt x="42958" y="670136"/>
                    </a:cubicBezTo>
                    <a:cubicBezTo>
                      <a:pt x="37400" y="688518"/>
                      <a:pt x="32060" y="706980"/>
                      <a:pt x="27573" y="725679"/>
                    </a:cubicBezTo>
                    <a:cubicBezTo>
                      <a:pt x="9092" y="800300"/>
                      <a:pt x="159" y="877184"/>
                      <a:pt x="0" y="954067"/>
                    </a:cubicBezTo>
                    <a:cubicBezTo>
                      <a:pt x="159" y="1030951"/>
                      <a:pt x="9112" y="1107834"/>
                      <a:pt x="27573" y="1182455"/>
                    </a:cubicBezTo>
                    <a:cubicBezTo>
                      <a:pt x="32040" y="1201135"/>
                      <a:pt x="37400" y="1219597"/>
                      <a:pt x="42958" y="1237998"/>
                    </a:cubicBezTo>
                    <a:cubicBezTo>
                      <a:pt x="48834" y="1256281"/>
                      <a:pt x="54888" y="1274525"/>
                      <a:pt x="61817" y="1292450"/>
                    </a:cubicBezTo>
                    <a:cubicBezTo>
                      <a:pt x="68506" y="1310455"/>
                      <a:pt x="76090" y="1328123"/>
                      <a:pt x="83832" y="1345711"/>
                    </a:cubicBezTo>
                    <a:cubicBezTo>
                      <a:pt x="91851" y="1363160"/>
                      <a:pt x="100109" y="1380530"/>
                      <a:pt x="109142" y="1397483"/>
                    </a:cubicBezTo>
                    <a:cubicBezTo>
                      <a:pt x="111405" y="1401731"/>
                      <a:pt x="113588" y="1405999"/>
                      <a:pt x="115891" y="1410207"/>
                    </a:cubicBezTo>
                    <a:lnTo>
                      <a:pt x="122918" y="1422793"/>
                    </a:lnTo>
                    <a:lnTo>
                      <a:pt x="126432" y="1429086"/>
                    </a:lnTo>
                    <a:lnTo>
                      <a:pt x="130105" y="1435279"/>
                    </a:lnTo>
                    <a:lnTo>
                      <a:pt x="137430" y="1447686"/>
                    </a:lnTo>
                    <a:cubicBezTo>
                      <a:pt x="147494" y="1464044"/>
                      <a:pt x="157797" y="1480282"/>
                      <a:pt x="168814" y="1496024"/>
                    </a:cubicBezTo>
                    <a:cubicBezTo>
                      <a:pt x="179633" y="1511905"/>
                      <a:pt x="191226" y="1527250"/>
                      <a:pt x="202958" y="1542456"/>
                    </a:cubicBezTo>
                    <a:cubicBezTo>
                      <a:pt x="214929" y="1557483"/>
                      <a:pt x="227097" y="1572372"/>
                      <a:pt x="239941" y="1586684"/>
                    </a:cubicBezTo>
                    <a:cubicBezTo>
                      <a:pt x="252586" y="1601156"/>
                      <a:pt x="265946" y="1614992"/>
                      <a:pt x="279405" y="1628709"/>
                    </a:cubicBezTo>
                    <a:cubicBezTo>
                      <a:pt x="293122" y="1642168"/>
                      <a:pt x="306959" y="1655528"/>
                      <a:pt x="321430" y="1668173"/>
                    </a:cubicBezTo>
                    <a:cubicBezTo>
                      <a:pt x="335743" y="1681017"/>
                      <a:pt x="350631" y="1693166"/>
                      <a:pt x="365659" y="1705156"/>
                    </a:cubicBezTo>
                    <a:cubicBezTo>
                      <a:pt x="380884" y="1716888"/>
                      <a:pt x="396210" y="1728481"/>
                      <a:pt x="412090" y="1739300"/>
                    </a:cubicBezTo>
                    <a:cubicBezTo>
                      <a:pt x="427832" y="1750318"/>
                      <a:pt x="444071" y="1760620"/>
                      <a:pt x="460428" y="1770685"/>
                    </a:cubicBezTo>
                    <a:lnTo>
                      <a:pt x="472835" y="1778010"/>
                    </a:lnTo>
                    <a:lnTo>
                      <a:pt x="479029" y="1781682"/>
                    </a:lnTo>
                    <a:lnTo>
                      <a:pt x="485321" y="1785196"/>
                    </a:lnTo>
                    <a:lnTo>
                      <a:pt x="497907" y="1792223"/>
                    </a:lnTo>
                    <a:cubicBezTo>
                      <a:pt x="502116" y="1794526"/>
                      <a:pt x="506403" y="1796730"/>
                      <a:pt x="510632" y="1798973"/>
                    </a:cubicBezTo>
                    <a:cubicBezTo>
                      <a:pt x="527585" y="1808005"/>
                      <a:pt x="544954" y="1816283"/>
                      <a:pt x="562404" y="1824283"/>
                    </a:cubicBezTo>
                    <a:cubicBezTo>
                      <a:pt x="579992" y="1832025"/>
                      <a:pt x="597659" y="1839608"/>
                      <a:pt x="615664" y="1846298"/>
                    </a:cubicBezTo>
                    <a:cubicBezTo>
                      <a:pt x="633590" y="1853226"/>
                      <a:pt x="651833" y="1859281"/>
                      <a:pt x="670116" y="1865157"/>
                    </a:cubicBezTo>
                    <a:cubicBezTo>
                      <a:pt x="688498" y="1870715"/>
                      <a:pt x="706960" y="1876055"/>
                      <a:pt x="725660" y="1880541"/>
                    </a:cubicBezTo>
                    <a:cubicBezTo>
                      <a:pt x="762980" y="1889673"/>
                      <a:pt x="800836" y="1896720"/>
                      <a:pt x="839010" y="1901206"/>
                    </a:cubicBezTo>
                    <a:cubicBezTo>
                      <a:pt x="877164" y="1905752"/>
                      <a:pt x="915596" y="1908055"/>
                      <a:pt x="954047" y="1908134"/>
                    </a:cubicBezTo>
                    <a:cubicBezTo>
                      <a:pt x="992499" y="1908055"/>
                      <a:pt x="1030931" y="1905752"/>
                      <a:pt x="1069085" y="1901206"/>
                    </a:cubicBezTo>
                    <a:cubicBezTo>
                      <a:pt x="1107259" y="1896740"/>
                      <a:pt x="1145115" y="1889693"/>
                      <a:pt x="1182435" y="1880541"/>
                    </a:cubicBezTo>
                    <a:cubicBezTo>
                      <a:pt x="1201115" y="1876075"/>
                      <a:pt x="1219577" y="1870715"/>
                      <a:pt x="1237979" y="1865157"/>
                    </a:cubicBezTo>
                    <a:cubicBezTo>
                      <a:pt x="1256262" y="1859281"/>
                      <a:pt x="1274505" y="1853226"/>
                      <a:pt x="1292430" y="1846298"/>
                    </a:cubicBezTo>
                    <a:cubicBezTo>
                      <a:pt x="1310435" y="1839608"/>
                      <a:pt x="1328103" y="1832025"/>
                      <a:pt x="1345691" y="1824283"/>
                    </a:cubicBezTo>
                    <a:cubicBezTo>
                      <a:pt x="1363140" y="1816263"/>
                      <a:pt x="1380510" y="1808005"/>
                      <a:pt x="1397463" y="1798973"/>
                    </a:cubicBezTo>
                    <a:cubicBezTo>
                      <a:pt x="1401711" y="1796710"/>
                      <a:pt x="1405979" y="1794526"/>
                      <a:pt x="1410188" y="1792223"/>
                    </a:cubicBezTo>
                    <a:lnTo>
                      <a:pt x="1422773" y="1785196"/>
                    </a:lnTo>
                    <a:lnTo>
                      <a:pt x="1429066" y="1781682"/>
                    </a:lnTo>
                    <a:lnTo>
                      <a:pt x="1435260" y="1778010"/>
                    </a:lnTo>
                    <a:lnTo>
                      <a:pt x="1447667" y="1770685"/>
                    </a:lnTo>
                    <a:cubicBezTo>
                      <a:pt x="1464024" y="1760620"/>
                      <a:pt x="1480262" y="1750318"/>
                      <a:pt x="1496004" y="1739300"/>
                    </a:cubicBezTo>
                    <a:cubicBezTo>
                      <a:pt x="1511885" y="1728481"/>
                      <a:pt x="1527230" y="1716888"/>
                      <a:pt x="1542436" y="1705156"/>
                    </a:cubicBezTo>
                    <a:cubicBezTo>
                      <a:pt x="1557463" y="1693186"/>
                      <a:pt x="1572352" y="1681017"/>
                      <a:pt x="1586665" y="1668173"/>
                    </a:cubicBezTo>
                    <a:cubicBezTo>
                      <a:pt x="1601136" y="1655528"/>
                      <a:pt x="1614972" y="1642168"/>
                      <a:pt x="1628689" y="1628709"/>
                    </a:cubicBezTo>
                    <a:cubicBezTo>
                      <a:pt x="1642149" y="1614992"/>
                      <a:pt x="1655508" y="1601156"/>
                      <a:pt x="1668154" y="1586684"/>
                    </a:cubicBezTo>
                    <a:cubicBezTo>
                      <a:pt x="1680997" y="1572372"/>
                      <a:pt x="1693146" y="1557483"/>
                      <a:pt x="1705136" y="1542456"/>
                    </a:cubicBezTo>
                    <a:cubicBezTo>
                      <a:pt x="1716868" y="1527230"/>
                      <a:pt x="1728461" y="1511905"/>
                      <a:pt x="1739280" y="1496024"/>
                    </a:cubicBezTo>
                    <a:cubicBezTo>
                      <a:pt x="1750298" y="1480282"/>
                      <a:pt x="1760601" y="1464044"/>
                      <a:pt x="1770665" y="1447686"/>
                    </a:cubicBezTo>
                    <a:lnTo>
                      <a:pt x="1777990" y="1435279"/>
                    </a:lnTo>
                    <a:lnTo>
                      <a:pt x="1781663" y="1429086"/>
                    </a:lnTo>
                    <a:lnTo>
                      <a:pt x="1785176" y="1422793"/>
                    </a:lnTo>
                    <a:lnTo>
                      <a:pt x="1792204" y="1410207"/>
                    </a:lnTo>
                    <a:cubicBezTo>
                      <a:pt x="1794506" y="1405999"/>
                      <a:pt x="1796710" y="1401711"/>
                      <a:pt x="1798953" y="1397483"/>
                    </a:cubicBezTo>
                    <a:cubicBezTo>
                      <a:pt x="1807985" y="1380530"/>
                      <a:pt x="1816263" y="1363160"/>
                      <a:pt x="1824263" y="1345711"/>
                    </a:cubicBezTo>
                    <a:cubicBezTo>
                      <a:pt x="1832005" y="1328123"/>
                      <a:pt x="1839588" y="1310455"/>
                      <a:pt x="1846278" y="1292450"/>
                    </a:cubicBezTo>
                    <a:cubicBezTo>
                      <a:pt x="1853206" y="1274525"/>
                      <a:pt x="1859261" y="1256281"/>
                      <a:pt x="1865137" y="1237998"/>
                    </a:cubicBezTo>
                    <a:cubicBezTo>
                      <a:pt x="1870695" y="1219616"/>
                      <a:pt x="1876035" y="1201155"/>
                      <a:pt x="1880521" y="1182455"/>
                    </a:cubicBezTo>
                    <a:cubicBezTo>
                      <a:pt x="1899003" y="1107834"/>
                      <a:pt x="1907936" y="1030951"/>
                      <a:pt x="1908095" y="954067"/>
                    </a:cubicBezTo>
                    <a:cubicBezTo>
                      <a:pt x="1907936" y="877184"/>
                      <a:pt x="1898983" y="800300"/>
                      <a:pt x="1880521" y="725679"/>
                    </a:cubicBezTo>
                    <a:cubicBezTo>
                      <a:pt x="1876055" y="707000"/>
                      <a:pt x="1870695" y="688538"/>
                      <a:pt x="1865137" y="670136"/>
                    </a:cubicBezTo>
                    <a:close/>
                    <a:moveTo>
                      <a:pt x="1841295" y="1172827"/>
                    </a:moveTo>
                    <a:cubicBezTo>
                      <a:pt x="1837008" y="1190713"/>
                      <a:pt x="1831886" y="1208400"/>
                      <a:pt x="1826586" y="1226008"/>
                    </a:cubicBezTo>
                    <a:cubicBezTo>
                      <a:pt x="1820968" y="1243517"/>
                      <a:pt x="1815171" y="1260986"/>
                      <a:pt x="1808521" y="1278138"/>
                    </a:cubicBezTo>
                    <a:cubicBezTo>
                      <a:pt x="1802109" y="1295388"/>
                      <a:pt x="1794864" y="1312302"/>
                      <a:pt x="1787439" y="1329135"/>
                    </a:cubicBezTo>
                    <a:cubicBezTo>
                      <a:pt x="1779757" y="1345850"/>
                      <a:pt x="1771856" y="1362465"/>
                      <a:pt x="1763201" y="1378704"/>
                    </a:cubicBezTo>
                    <a:cubicBezTo>
                      <a:pt x="1761037" y="1382773"/>
                      <a:pt x="1758953" y="1386863"/>
                      <a:pt x="1756730" y="1390892"/>
                    </a:cubicBezTo>
                    <a:lnTo>
                      <a:pt x="1750000" y="1402942"/>
                    </a:lnTo>
                    <a:lnTo>
                      <a:pt x="1746625" y="1408957"/>
                    </a:lnTo>
                    <a:lnTo>
                      <a:pt x="1743112" y="1414892"/>
                    </a:lnTo>
                    <a:lnTo>
                      <a:pt x="1736084" y="1426783"/>
                    </a:lnTo>
                    <a:cubicBezTo>
                      <a:pt x="1726437" y="1442446"/>
                      <a:pt x="1716571" y="1458009"/>
                      <a:pt x="1706030" y="1473076"/>
                    </a:cubicBezTo>
                    <a:cubicBezTo>
                      <a:pt x="1695667" y="1488302"/>
                      <a:pt x="1684551" y="1502972"/>
                      <a:pt x="1673315" y="1517563"/>
                    </a:cubicBezTo>
                    <a:cubicBezTo>
                      <a:pt x="1661841" y="1531955"/>
                      <a:pt x="1650188" y="1546228"/>
                      <a:pt x="1637900" y="1559925"/>
                    </a:cubicBezTo>
                    <a:cubicBezTo>
                      <a:pt x="1625791" y="1573781"/>
                      <a:pt x="1612987" y="1587042"/>
                      <a:pt x="1600084" y="1600183"/>
                    </a:cubicBezTo>
                    <a:cubicBezTo>
                      <a:pt x="1586942" y="1613067"/>
                      <a:pt x="1573702" y="1625871"/>
                      <a:pt x="1559826" y="1638000"/>
                    </a:cubicBezTo>
                    <a:cubicBezTo>
                      <a:pt x="1546128" y="1650307"/>
                      <a:pt x="1531855" y="1661940"/>
                      <a:pt x="1517463" y="1673414"/>
                    </a:cubicBezTo>
                    <a:cubicBezTo>
                      <a:pt x="1502873" y="1684650"/>
                      <a:pt x="1488203" y="1695767"/>
                      <a:pt x="1472977" y="1706129"/>
                    </a:cubicBezTo>
                    <a:cubicBezTo>
                      <a:pt x="1457890" y="1716690"/>
                      <a:pt x="1442347" y="1726536"/>
                      <a:pt x="1426684" y="1736184"/>
                    </a:cubicBezTo>
                    <a:lnTo>
                      <a:pt x="1414793" y="1743211"/>
                    </a:lnTo>
                    <a:lnTo>
                      <a:pt x="1408858" y="1746725"/>
                    </a:lnTo>
                    <a:lnTo>
                      <a:pt x="1402843" y="1750099"/>
                    </a:lnTo>
                    <a:lnTo>
                      <a:pt x="1390793" y="1756829"/>
                    </a:lnTo>
                    <a:cubicBezTo>
                      <a:pt x="1386763" y="1759032"/>
                      <a:pt x="1382654" y="1761136"/>
                      <a:pt x="1378604" y="1763300"/>
                    </a:cubicBezTo>
                    <a:cubicBezTo>
                      <a:pt x="1362366" y="1771955"/>
                      <a:pt x="1345751" y="1779856"/>
                      <a:pt x="1329036" y="1787539"/>
                    </a:cubicBezTo>
                    <a:cubicBezTo>
                      <a:pt x="1312202" y="1794963"/>
                      <a:pt x="1295289" y="1802209"/>
                      <a:pt x="1278038" y="1808620"/>
                    </a:cubicBezTo>
                    <a:cubicBezTo>
                      <a:pt x="1260887" y="1815251"/>
                      <a:pt x="1243418" y="1821047"/>
                      <a:pt x="1225909" y="1826685"/>
                    </a:cubicBezTo>
                    <a:cubicBezTo>
                      <a:pt x="1208301" y="1832005"/>
                      <a:pt x="1190634" y="1837127"/>
                      <a:pt x="1172728" y="1841395"/>
                    </a:cubicBezTo>
                    <a:cubicBezTo>
                      <a:pt x="1136996" y="1850149"/>
                      <a:pt x="1100767" y="1856899"/>
                      <a:pt x="1064202" y="1861167"/>
                    </a:cubicBezTo>
                    <a:cubicBezTo>
                      <a:pt x="1027655" y="1865514"/>
                      <a:pt x="990832" y="1867737"/>
                      <a:pt x="953968" y="1867797"/>
                    </a:cubicBezTo>
                    <a:cubicBezTo>
                      <a:pt x="917104" y="1867717"/>
                      <a:pt x="880300" y="1865514"/>
                      <a:pt x="843734" y="1861167"/>
                    </a:cubicBezTo>
                    <a:cubicBezTo>
                      <a:pt x="807169" y="1856879"/>
                      <a:pt x="770940" y="1850129"/>
                      <a:pt x="735208" y="1841395"/>
                    </a:cubicBezTo>
                    <a:cubicBezTo>
                      <a:pt x="717322" y="1837107"/>
                      <a:pt x="699635" y="1831985"/>
                      <a:pt x="682027" y="1826685"/>
                    </a:cubicBezTo>
                    <a:cubicBezTo>
                      <a:pt x="664518" y="1821067"/>
                      <a:pt x="647049" y="1815271"/>
                      <a:pt x="629898" y="1808620"/>
                    </a:cubicBezTo>
                    <a:cubicBezTo>
                      <a:pt x="612647" y="1802209"/>
                      <a:pt x="595734" y="1794963"/>
                      <a:pt x="578900" y="1787539"/>
                    </a:cubicBezTo>
                    <a:cubicBezTo>
                      <a:pt x="562185" y="1779856"/>
                      <a:pt x="545570" y="1771955"/>
                      <a:pt x="529332" y="1763300"/>
                    </a:cubicBezTo>
                    <a:cubicBezTo>
                      <a:pt x="525262" y="1761136"/>
                      <a:pt x="521173" y="1759052"/>
                      <a:pt x="517143" y="1756829"/>
                    </a:cubicBezTo>
                    <a:lnTo>
                      <a:pt x="505093" y="1750099"/>
                    </a:lnTo>
                    <a:lnTo>
                      <a:pt x="499078" y="1746725"/>
                    </a:lnTo>
                    <a:lnTo>
                      <a:pt x="493143" y="1743211"/>
                    </a:lnTo>
                    <a:lnTo>
                      <a:pt x="481252" y="1736184"/>
                    </a:lnTo>
                    <a:cubicBezTo>
                      <a:pt x="465589" y="1726536"/>
                      <a:pt x="450026" y="1716670"/>
                      <a:pt x="434959" y="1706129"/>
                    </a:cubicBezTo>
                    <a:cubicBezTo>
                      <a:pt x="419733" y="1695767"/>
                      <a:pt x="405063" y="1684650"/>
                      <a:pt x="390473" y="1673414"/>
                    </a:cubicBezTo>
                    <a:cubicBezTo>
                      <a:pt x="376080" y="1661940"/>
                      <a:pt x="361807" y="1650287"/>
                      <a:pt x="348110" y="1638000"/>
                    </a:cubicBezTo>
                    <a:cubicBezTo>
                      <a:pt x="334254" y="1625890"/>
                      <a:pt x="320993" y="1613086"/>
                      <a:pt x="307852" y="1600183"/>
                    </a:cubicBezTo>
                    <a:cubicBezTo>
                      <a:pt x="294969" y="1587042"/>
                      <a:pt x="282165" y="1573801"/>
                      <a:pt x="270036" y="1559925"/>
                    </a:cubicBezTo>
                    <a:cubicBezTo>
                      <a:pt x="257728" y="1546228"/>
                      <a:pt x="246095" y="1531955"/>
                      <a:pt x="234621" y="1517563"/>
                    </a:cubicBezTo>
                    <a:cubicBezTo>
                      <a:pt x="223385" y="1502992"/>
                      <a:pt x="212269" y="1488302"/>
                      <a:pt x="201906" y="1473076"/>
                    </a:cubicBezTo>
                    <a:cubicBezTo>
                      <a:pt x="191345" y="1457989"/>
                      <a:pt x="181499" y="1442446"/>
                      <a:pt x="171852" y="1426783"/>
                    </a:cubicBezTo>
                    <a:lnTo>
                      <a:pt x="164824" y="1414892"/>
                    </a:lnTo>
                    <a:lnTo>
                      <a:pt x="161311" y="1408957"/>
                    </a:lnTo>
                    <a:lnTo>
                      <a:pt x="157936" y="1402942"/>
                    </a:lnTo>
                    <a:lnTo>
                      <a:pt x="151206" y="1390892"/>
                    </a:lnTo>
                    <a:cubicBezTo>
                      <a:pt x="149003" y="1386863"/>
                      <a:pt x="146899" y="1382753"/>
                      <a:pt x="144735" y="1378704"/>
                    </a:cubicBezTo>
                    <a:cubicBezTo>
                      <a:pt x="136080" y="1362465"/>
                      <a:pt x="128179" y="1345850"/>
                      <a:pt x="120497" y="1329135"/>
                    </a:cubicBezTo>
                    <a:cubicBezTo>
                      <a:pt x="113072" y="1312302"/>
                      <a:pt x="105827" y="1295388"/>
                      <a:pt x="99415" y="1278138"/>
                    </a:cubicBezTo>
                    <a:cubicBezTo>
                      <a:pt x="92784" y="1260986"/>
                      <a:pt x="86988" y="1243517"/>
                      <a:pt x="81350" y="1226008"/>
                    </a:cubicBezTo>
                    <a:cubicBezTo>
                      <a:pt x="76030" y="1208400"/>
                      <a:pt x="70908" y="1190733"/>
                      <a:pt x="66640" y="1172827"/>
                    </a:cubicBezTo>
                    <a:cubicBezTo>
                      <a:pt x="48953" y="1101383"/>
                      <a:pt x="40397" y="1027775"/>
                      <a:pt x="40218" y="954067"/>
                    </a:cubicBezTo>
                    <a:cubicBezTo>
                      <a:pt x="40397" y="880360"/>
                      <a:pt x="48953" y="806752"/>
                      <a:pt x="66640" y="735307"/>
                    </a:cubicBezTo>
                    <a:cubicBezTo>
                      <a:pt x="70928" y="717421"/>
                      <a:pt x="76050" y="699734"/>
                      <a:pt x="81350" y="682126"/>
                    </a:cubicBezTo>
                    <a:cubicBezTo>
                      <a:pt x="86968" y="664617"/>
                      <a:pt x="92765" y="647148"/>
                      <a:pt x="99415" y="629997"/>
                    </a:cubicBezTo>
                    <a:cubicBezTo>
                      <a:pt x="105827" y="612746"/>
                      <a:pt x="113072" y="595833"/>
                      <a:pt x="120497" y="578999"/>
                    </a:cubicBezTo>
                    <a:cubicBezTo>
                      <a:pt x="128179" y="562284"/>
                      <a:pt x="136080" y="545669"/>
                      <a:pt x="144735" y="529431"/>
                    </a:cubicBezTo>
                    <a:cubicBezTo>
                      <a:pt x="146899" y="525361"/>
                      <a:pt x="148983" y="521272"/>
                      <a:pt x="151206" y="517242"/>
                    </a:cubicBezTo>
                    <a:lnTo>
                      <a:pt x="157936" y="505193"/>
                    </a:lnTo>
                    <a:lnTo>
                      <a:pt x="161311" y="499178"/>
                    </a:lnTo>
                    <a:lnTo>
                      <a:pt x="164824" y="493242"/>
                    </a:lnTo>
                    <a:lnTo>
                      <a:pt x="171852" y="481351"/>
                    </a:lnTo>
                    <a:cubicBezTo>
                      <a:pt x="181499" y="465689"/>
                      <a:pt x="191365" y="450125"/>
                      <a:pt x="201906" y="435058"/>
                    </a:cubicBezTo>
                    <a:cubicBezTo>
                      <a:pt x="212269" y="419832"/>
                      <a:pt x="223385" y="405162"/>
                      <a:pt x="234621" y="390572"/>
                    </a:cubicBezTo>
                    <a:cubicBezTo>
                      <a:pt x="246095" y="376180"/>
                      <a:pt x="257748" y="361907"/>
                      <a:pt x="270036" y="348209"/>
                    </a:cubicBezTo>
                    <a:cubicBezTo>
                      <a:pt x="282145" y="334353"/>
                      <a:pt x="294949" y="321093"/>
                      <a:pt x="307852" y="307951"/>
                    </a:cubicBezTo>
                    <a:cubicBezTo>
                      <a:pt x="320993" y="295068"/>
                      <a:pt x="334234" y="282264"/>
                      <a:pt x="348110" y="270135"/>
                    </a:cubicBezTo>
                    <a:cubicBezTo>
                      <a:pt x="361807" y="257827"/>
                      <a:pt x="376080" y="246194"/>
                      <a:pt x="390473" y="234720"/>
                    </a:cubicBezTo>
                    <a:cubicBezTo>
                      <a:pt x="405063" y="223485"/>
                      <a:pt x="419733" y="212368"/>
                      <a:pt x="434959" y="202006"/>
                    </a:cubicBezTo>
                    <a:cubicBezTo>
                      <a:pt x="450046" y="191445"/>
                      <a:pt x="465589" y="181599"/>
                      <a:pt x="481252" y="171951"/>
                    </a:cubicBezTo>
                    <a:lnTo>
                      <a:pt x="493143" y="164924"/>
                    </a:lnTo>
                    <a:lnTo>
                      <a:pt x="499078" y="161410"/>
                    </a:lnTo>
                    <a:lnTo>
                      <a:pt x="505093" y="158035"/>
                    </a:lnTo>
                    <a:lnTo>
                      <a:pt x="517143" y="151306"/>
                    </a:lnTo>
                    <a:cubicBezTo>
                      <a:pt x="521173" y="149102"/>
                      <a:pt x="525282" y="146998"/>
                      <a:pt x="529332" y="144834"/>
                    </a:cubicBezTo>
                    <a:cubicBezTo>
                      <a:pt x="545570" y="136179"/>
                      <a:pt x="562185" y="128278"/>
                      <a:pt x="578900" y="120596"/>
                    </a:cubicBezTo>
                    <a:cubicBezTo>
                      <a:pt x="595734" y="113172"/>
                      <a:pt x="612647" y="105926"/>
                      <a:pt x="629898" y="99514"/>
                    </a:cubicBezTo>
                    <a:cubicBezTo>
                      <a:pt x="647049" y="92884"/>
                      <a:pt x="664518" y="87087"/>
                      <a:pt x="682027" y="81449"/>
                    </a:cubicBezTo>
                    <a:cubicBezTo>
                      <a:pt x="699635" y="76129"/>
                      <a:pt x="717302" y="71008"/>
                      <a:pt x="735208" y="66740"/>
                    </a:cubicBezTo>
                    <a:cubicBezTo>
                      <a:pt x="770940" y="57985"/>
                      <a:pt x="807169" y="51236"/>
                      <a:pt x="843734" y="46968"/>
                    </a:cubicBezTo>
                    <a:cubicBezTo>
                      <a:pt x="880280" y="42620"/>
                      <a:pt x="917104" y="40397"/>
                      <a:pt x="953968" y="40338"/>
                    </a:cubicBezTo>
                    <a:cubicBezTo>
                      <a:pt x="990832" y="40417"/>
                      <a:pt x="1027636" y="42620"/>
                      <a:pt x="1064202" y="46968"/>
                    </a:cubicBezTo>
                    <a:cubicBezTo>
                      <a:pt x="1100767" y="51256"/>
                      <a:pt x="1136996" y="58005"/>
                      <a:pt x="1172728" y="66740"/>
                    </a:cubicBezTo>
                    <a:cubicBezTo>
                      <a:pt x="1190614" y="71028"/>
                      <a:pt x="1208301" y="76149"/>
                      <a:pt x="1225909" y="81449"/>
                    </a:cubicBezTo>
                    <a:cubicBezTo>
                      <a:pt x="1243418" y="87067"/>
                      <a:pt x="1260887" y="92864"/>
                      <a:pt x="1278038" y="99514"/>
                    </a:cubicBezTo>
                    <a:cubicBezTo>
                      <a:pt x="1295289" y="105926"/>
                      <a:pt x="1312202" y="113172"/>
                      <a:pt x="1329036" y="120596"/>
                    </a:cubicBezTo>
                    <a:cubicBezTo>
                      <a:pt x="1345751" y="128278"/>
                      <a:pt x="1362366" y="136179"/>
                      <a:pt x="1378604" y="144834"/>
                    </a:cubicBezTo>
                    <a:cubicBezTo>
                      <a:pt x="1382674" y="146998"/>
                      <a:pt x="1386763" y="149082"/>
                      <a:pt x="1390793" y="151306"/>
                    </a:cubicBezTo>
                    <a:lnTo>
                      <a:pt x="1402843" y="158035"/>
                    </a:lnTo>
                    <a:lnTo>
                      <a:pt x="1408858" y="161410"/>
                    </a:lnTo>
                    <a:lnTo>
                      <a:pt x="1414793" y="164924"/>
                    </a:lnTo>
                    <a:lnTo>
                      <a:pt x="1426684" y="171951"/>
                    </a:lnTo>
                    <a:cubicBezTo>
                      <a:pt x="1442347" y="181599"/>
                      <a:pt x="1457910" y="191465"/>
                      <a:pt x="1472977" y="202006"/>
                    </a:cubicBezTo>
                    <a:cubicBezTo>
                      <a:pt x="1488203" y="212368"/>
                      <a:pt x="1502873" y="223485"/>
                      <a:pt x="1517463" y="234720"/>
                    </a:cubicBezTo>
                    <a:cubicBezTo>
                      <a:pt x="1531855" y="246194"/>
                      <a:pt x="1546128" y="257847"/>
                      <a:pt x="1559826" y="270135"/>
                    </a:cubicBezTo>
                    <a:cubicBezTo>
                      <a:pt x="1573682" y="282244"/>
                      <a:pt x="1586942" y="295048"/>
                      <a:pt x="1600084" y="307951"/>
                    </a:cubicBezTo>
                    <a:cubicBezTo>
                      <a:pt x="1612967" y="321093"/>
                      <a:pt x="1625771" y="334333"/>
                      <a:pt x="1637900" y="348209"/>
                    </a:cubicBezTo>
                    <a:cubicBezTo>
                      <a:pt x="1650208" y="361907"/>
                      <a:pt x="1661841" y="376180"/>
                      <a:pt x="1673315" y="390572"/>
                    </a:cubicBezTo>
                    <a:cubicBezTo>
                      <a:pt x="1684551" y="405162"/>
                      <a:pt x="1695667" y="419832"/>
                      <a:pt x="1706030" y="435058"/>
                    </a:cubicBezTo>
                    <a:cubicBezTo>
                      <a:pt x="1716591" y="450145"/>
                      <a:pt x="1726437" y="465689"/>
                      <a:pt x="1736084" y="481351"/>
                    </a:cubicBezTo>
                    <a:lnTo>
                      <a:pt x="1743112" y="493242"/>
                    </a:lnTo>
                    <a:lnTo>
                      <a:pt x="1746625" y="499178"/>
                    </a:lnTo>
                    <a:lnTo>
                      <a:pt x="1750000" y="505193"/>
                    </a:lnTo>
                    <a:lnTo>
                      <a:pt x="1756730" y="517242"/>
                    </a:lnTo>
                    <a:cubicBezTo>
                      <a:pt x="1758933" y="521272"/>
                      <a:pt x="1761037" y="525381"/>
                      <a:pt x="1763201" y="529431"/>
                    </a:cubicBezTo>
                    <a:cubicBezTo>
                      <a:pt x="1771856" y="545669"/>
                      <a:pt x="1779757" y="562284"/>
                      <a:pt x="1787439" y="578999"/>
                    </a:cubicBezTo>
                    <a:cubicBezTo>
                      <a:pt x="1794864" y="595833"/>
                      <a:pt x="1802109" y="612746"/>
                      <a:pt x="1808521" y="629997"/>
                    </a:cubicBezTo>
                    <a:cubicBezTo>
                      <a:pt x="1815152" y="647148"/>
                      <a:pt x="1820948" y="664617"/>
                      <a:pt x="1826586" y="682126"/>
                    </a:cubicBezTo>
                    <a:cubicBezTo>
                      <a:pt x="1831906" y="699734"/>
                      <a:pt x="1837028" y="717402"/>
                      <a:pt x="1841295" y="735307"/>
                    </a:cubicBezTo>
                    <a:cubicBezTo>
                      <a:pt x="1858983" y="806732"/>
                      <a:pt x="1867539" y="880360"/>
                      <a:pt x="1867717" y="954067"/>
                    </a:cubicBezTo>
                    <a:cubicBezTo>
                      <a:pt x="1867539" y="1027775"/>
                      <a:pt x="1858983" y="1101383"/>
                      <a:pt x="1841295" y="1172827"/>
                    </a:cubicBezTo>
                    <a:close/>
                  </a:path>
                </a:pathLst>
              </a:custGeom>
              <a:solidFill>
                <a:srgbClr val="39A3B5"/>
              </a:solidFill>
              <a:ln w="19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 kern="0">
                  <a:solidFill>
                    <a:srgbClr val="13161E"/>
                  </a:solidFill>
                  <a:latin typeface="Microsoft Sans Serif"/>
                </a:endParaRPr>
              </a:p>
            </p:txBody>
          </p:sp>
          <p:sp>
            <p:nvSpPr>
              <p:cNvPr id="22" name="Freeform 15">
                <a:extLst>
                  <a:ext uri="{FF2B5EF4-FFF2-40B4-BE49-F238E27FC236}">
                    <a16:creationId xmlns:a16="http://schemas.microsoft.com/office/drawing/2014/main" id="{F17E2323-9082-7137-099C-279FA54BFE2D}"/>
                  </a:ext>
                </a:extLst>
              </p:cNvPr>
              <p:cNvSpPr/>
              <p:nvPr/>
            </p:nvSpPr>
            <p:spPr>
              <a:xfrm>
                <a:off x="6142984" y="4636433"/>
                <a:ext cx="551752" cy="551737"/>
              </a:xfrm>
              <a:custGeom>
                <a:avLst/>
                <a:gdLst>
                  <a:gd name="connsiteX0" fmla="*/ 2037147 w 2067023"/>
                  <a:gd name="connsiteY0" fmla="*/ 786146 h 2066963"/>
                  <a:gd name="connsiteX1" fmla="*/ 2020472 w 2067023"/>
                  <a:gd name="connsiteY1" fmla="*/ 725957 h 2066963"/>
                  <a:gd name="connsiteX2" fmla="*/ 2000026 w 2067023"/>
                  <a:gd name="connsiteY2" fmla="*/ 666940 h 2066963"/>
                  <a:gd name="connsiteX3" fmla="*/ 1976164 w 2067023"/>
                  <a:gd name="connsiteY3" fmla="*/ 609213 h 2066963"/>
                  <a:gd name="connsiteX4" fmla="*/ 1948730 w 2067023"/>
                  <a:gd name="connsiteY4" fmla="*/ 553113 h 2066963"/>
                  <a:gd name="connsiteX5" fmla="*/ 1941405 w 2067023"/>
                  <a:gd name="connsiteY5" fmla="*/ 539317 h 2066963"/>
                  <a:gd name="connsiteX6" fmla="*/ 1933782 w 2067023"/>
                  <a:gd name="connsiteY6" fmla="*/ 525679 h 2066963"/>
                  <a:gd name="connsiteX7" fmla="*/ 1929971 w 2067023"/>
                  <a:gd name="connsiteY7" fmla="*/ 518870 h 2066963"/>
                  <a:gd name="connsiteX8" fmla="*/ 1926000 w 2067023"/>
                  <a:gd name="connsiteY8" fmla="*/ 512140 h 2066963"/>
                  <a:gd name="connsiteX9" fmla="*/ 1918060 w 2067023"/>
                  <a:gd name="connsiteY9" fmla="*/ 498701 h 2066963"/>
                  <a:gd name="connsiteX10" fmla="*/ 1884075 w 2067023"/>
                  <a:gd name="connsiteY10" fmla="*/ 446334 h 2066963"/>
                  <a:gd name="connsiteX11" fmla="*/ 1847092 w 2067023"/>
                  <a:gd name="connsiteY11" fmla="*/ 396051 h 2066963"/>
                  <a:gd name="connsiteX12" fmla="*/ 1807052 w 2067023"/>
                  <a:gd name="connsiteY12" fmla="*/ 348170 h 2066963"/>
                  <a:gd name="connsiteX13" fmla="*/ 1764313 w 2067023"/>
                  <a:gd name="connsiteY13" fmla="*/ 302691 h 2066963"/>
                  <a:gd name="connsiteX14" fmla="*/ 1718834 w 2067023"/>
                  <a:gd name="connsiteY14" fmla="*/ 259951 h 2066963"/>
                  <a:gd name="connsiteX15" fmla="*/ 1670953 w 2067023"/>
                  <a:gd name="connsiteY15" fmla="*/ 219911 h 2066963"/>
                  <a:gd name="connsiteX16" fmla="*/ 1620670 w 2067023"/>
                  <a:gd name="connsiteY16" fmla="*/ 182929 h 2066963"/>
                  <a:gd name="connsiteX17" fmla="*/ 1568302 w 2067023"/>
                  <a:gd name="connsiteY17" fmla="*/ 148943 h 2066963"/>
                  <a:gd name="connsiteX18" fmla="*/ 1554863 w 2067023"/>
                  <a:gd name="connsiteY18" fmla="*/ 141003 h 2066963"/>
                  <a:gd name="connsiteX19" fmla="*/ 1548133 w 2067023"/>
                  <a:gd name="connsiteY19" fmla="*/ 137033 h 2066963"/>
                  <a:gd name="connsiteX20" fmla="*/ 1541324 w 2067023"/>
                  <a:gd name="connsiteY20" fmla="*/ 133221 h 2066963"/>
                  <a:gd name="connsiteX21" fmla="*/ 1527687 w 2067023"/>
                  <a:gd name="connsiteY21" fmla="*/ 125598 h 2066963"/>
                  <a:gd name="connsiteX22" fmla="*/ 1513890 w 2067023"/>
                  <a:gd name="connsiteY22" fmla="*/ 118273 h 2066963"/>
                  <a:gd name="connsiteX23" fmla="*/ 1457791 w 2067023"/>
                  <a:gd name="connsiteY23" fmla="*/ 90839 h 2066963"/>
                  <a:gd name="connsiteX24" fmla="*/ 1400064 w 2067023"/>
                  <a:gd name="connsiteY24" fmla="*/ 66978 h 2066963"/>
                  <a:gd name="connsiteX25" fmla="*/ 1341046 w 2067023"/>
                  <a:gd name="connsiteY25" fmla="*/ 46531 h 2066963"/>
                  <a:gd name="connsiteX26" fmla="*/ 1280857 w 2067023"/>
                  <a:gd name="connsiteY26" fmla="*/ 29856 h 2066963"/>
                  <a:gd name="connsiteX27" fmla="*/ 1158038 w 2067023"/>
                  <a:gd name="connsiteY27" fmla="*/ 7484 h 2066963"/>
                  <a:gd name="connsiteX28" fmla="*/ 1033512 w 2067023"/>
                  <a:gd name="connsiteY28" fmla="*/ 0 h 2066963"/>
                  <a:gd name="connsiteX29" fmla="*/ 908985 w 2067023"/>
                  <a:gd name="connsiteY29" fmla="*/ 7484 h 2066963"/>
                  <a:gd name="connsiteX30" fmla="*/ 786166 w 2067023"/>
                  <a:gd name="connsiteY30" fmla="*/ 29856 h 2066963"/>
                  <a:gd name="connsiteX31" fmla="*/ 725977 w 2067023"/>
                  <a:gd name="connsiteY31" fmla="*/ 46531 h 2066963"/>
                  <a:gd name="connsiteX32" fmla="*/ 666960 w 2067023"/>
                  <a:gd name="connsiteY32" fmla="*/ 66978 h 2066963"/>
                  <a:gd name="connsiteX33" fmla="*/ 609232 w 2067023"/>
                  <a:gd name="connsiteY33" fmla="*/ 90839 h 2066963"/>
                  <a:gd name="connsiteX34" fmla="*/ 553133 w 2067023"/>
                  <a:gd name="connsiteY34" fmla="*/ 118273 h 2066963"/>
                  <a:gd name="connsiteX35" fmla="*/ 539337 w 2067023"/>
                  <a:gd name="connsiteY35" fmla="*/ 125598 h 2066963"/>
                  <a:gd name="connsiteX36" fmla="*/ 525699 w 2067023"/>
                  <a:gd name="connsiteY36" fmla="*/ 133221 h 2066963"/>
                  <a:gd name="connsiteX37" fmla="*/ 518890 w 2067023"/>
                  <a:gd name="connsiteY37" fmla="*/ 137033 h 2066963"/>
                  <a:gd name="connsiteX38" fmla="*/ 512160 w 2067023"/>
                  <a:gd name="connsiteY38" fmla="*/ 141003 h 2066963"/>
                  <a:gd name="connsiteX39" fmla="*/ 498721 w 2067023"/>
                  <a:gd name="connsiteY39" fmla="*/ 148943 h 2066963"/>
                  <a:gd name="connsiteX40" fmla="*/ 446354 w 2067023"/>
                  <a:gd name="connsiteY40" fmla="*/ 182929 h 2066963"/>
                  <a:gd name="connsiteX41" fmla="*/ 396071 w 2067023"/>
                  <a:gd name="connsiteY41" fmla="*/ 219911 h 2066963"/>
                  <a:gd name="connsiteX42" fmla="*/ 348190 w 2067023"/>
                  <a:gd name="connsiteY42" fmla="*/ 259951 h 2066963"/>
                  <a:gd name="connsiteX43" fmla="*/ 302711 w 2067023"/>
                  <a:gd name="connsiteY43" fmla="*/ 302691 h 2066963"/>
                  <a:gd name="connsiteX44" fmla="*/ 259971 w 2067023"/>
                  <a:gd name="connsiteY44" fmla="*/ 348170 h 2066963"/>
                  <a:gd name="connsiteX45" fmla="*/ 219931 w 2067023"/>
                  <a:gd name="connsiteY45" fmla="*/ 396051 h 2066963"/>
                  <a:gd name="connsiteX46" fmla="*/ 182948 w 2067023"/>
                  <a:gd name="connsiteY46" fmla="*/ 446334 h 2066963"/>
                  <a:gd name="connsiteX47" fmla="*/ 148963 w 2067023"/>
                  <a:gd name="connsiteY47" fmla="*/ 498701 h 2066963"/>
                  <a:gd name="connsiteX48" fmla="*/ 141023 w 2067023"/>
                  <a:gd name="connsiteY48" fmla="*/ 512140 h 2066963"/>
                  <a:gd name="connsiteX49" fmla="*/ 137053 w 2067023"/>
                  <a:gd name="connsiteY49" fmla="*/ 518870 h 2066963"/>
                  <a:gd name="connsiteX50" fmla="*/ 133241 w 2067023"/>
                  <a:gd name="connsiteY50" fmla="*/ 525679 h 2066963"/>
                  <a:gd name="connsiteX51" fmla="*/ 125618 w 2067023"/>
                  <a:gd name="connsiteY51" fmla="*/ 539317 h 2066963"/>
                  <a:gd name="connsiteX52" fmla="*/ 118293 w 2067023"/>
                  <a:gd name="connsiteY52" fmla="*/ 553113 h 2066963"/>
                  <a:gd name="connsiteX53" fmla="*/ 90859 w 2067023"/>
                  <a:gd name="connsiteY53" fmla="*/ 609213 h 2066963"/>
                  <a:gd name="connsiteX54" fmla="*/ 66998 w 2067023"/>
                  <a:gd name="connsiteY54" fmla="*/ 666940 h 2066963"/>
                  <a:gd name="connsiteX55" fmla="*/ 46551 w 2067023"/>
                  <a:gd name="connsiteY55" fmla="*/ 725957 h 2066963"/>
                  <a:gd name="connsiteX56" fmla="*/ 29876 w 2067023"/>
                  <a:gd name="connsiteY56" fmla="*/ 786146 h 2066963"/>
                  <a:gd name="connsiteX57" fmla="*/ 0 w 2067023"/>
                  <a:gd name="connsiteY57" fmla="*/ 1033492 h 2066963"/>
                  <a:gd name="connsiteX58" fmla="*/ 29876 w 2067023"/>
                  <a:gd name="connsiteY58" fmla="*/ 1280817 h 2066963"/>
                  <a:gd name="connsiteX59" fmla="*/ 46551 w 2067023"/>
                  <a:gd name="connsiteY59" fmla="*/ 1341006 h 2066963"/>
                  <a:gd name="connsiteX60" fmla="*/ 66998 w 2067023"/>
                  <a:gd name="connsiteY60" fmla="*/ 1400024 h 2066963"/>
                  <a:gd name="connsiteX61" fmla="*/ 90859 w 2067023"/>
                  <a:gd name="connsiteY61" fmla="*/ 1457751 h 2066963"/>
                  <a:gd name="connsiteX62" fmla="*/ 118293 w 2067023"/>
                  <a:gd name="connsiteY62" fmla="*/ 1513850 h 2066963"/>
                  <a:gd name="connsiteX63" fmla="*/ 125618 w 2067023"/>
                  <a:gd name="connsiteY63" fmla="*/ 1527647 h 2066963"/>
                  <a:gd name="connsiteX64" fmla="*/ 133241 w 2067023"/>
                  <a:gd name="connsiteY64" fmla="*/ 1541285 h 2066963"/>
                  <a:gd name="connsiteX65" fmla="*/ 137053 w 2067023"/>
                  <a:gd name="connsiteY65" fmla="*/ 1548094 h 2066963"/>
                  <a:gd name="connsiteX66" fmla="*/ 141023 w 2067023"/>
                  <a:gd name="connsiteY66" fmla="*/ 1554823 h 2066963"/>
                  <a:gd name="connsiteX67" fmla="*/ 148963 w 2067023"/>
                  <a:gd name="connsiteY67" fmla="*/ 1568263 h 2066963"/>
                  <a:gd name="connsiteX68" fmla="*/ 182948 w 2067023"/>
                  <a:gd name="connsiteY68" fmla="*/ 1620630 h 2066963"/>
                  <a:gd name="connsiteX69" fmla="*/ 219931 w 2067023"/>
                  <a:gd name="connsiteY69" fmla="*/ 1670913 h 2066963"/>
                  <a:gd name="connsiteX70" fmla="*/ 259971 w 2067023"/>
                  <a:gd name="connsiteY70" fmla="*/ 1718794 h 2066963"/>
                  <a:gd name="connsiteX71" fmla="*/ 302711 w 2067023"/>
                  <a:gd name="connsiteY71" fmla="*/ 1764273 h 2066963"/>
                  <a:gd name="connsiteX72" fmla="*/ 348190 w 2067023"/>
                  <a:gd name="connsiteY72" fmla="*/ 1807012 h 2066963"/>
                  <a:gd name="connsiteX73" fmla="*/ 396071 w 2067023"/>
                  <a:gd name="connsiteY73" fmla="*/ 1847052 h 2066963"/>
                  <a:gd name="connsiteX74" fmla="*/ 446354 w 2067023"/>
                  <a:gd name="connsiteY74" fmla="*/ 1884035 h 2066963"/>
                  <a:gd name="connsiteX75" fmla="*/ 498721 w 2067023"/>
                  <a:gd name="connsiteY75" fmla="*/ 1918020 h 2066963"/>
                  <a:gd name="connsiteX76" fmla="*/ 512160 w 2067023"/>
                  <a:gd name="connsiteY76" fmla="*/ 1925961 h 2066963"/>
                  <a:gd name="connsiteX77" fmla="*/ 518890 w 2067023"/>
                  <a:gd name="connsiteY77" fmla="*/ 1929931 h 2066963"/>
                  <a:gd name="connsiteX78" fmla="*/ 525699 w 2067023"/>
                  <a:gd name="connsiteY78" fmla="*/ 1933742 h 2066963"/>
                  <a:gd name="connsiteX79" fmla="*/ 539337 w 2067023"/>
                  <a:gd name="connsiteY79" fmla="*/ 1941365 h 2066963"/>
                  <a:gd name="connsiteX80" fmla="*/ 553133 w 2067023"/>
                  <a:gd name="connsiteY80" fmla="*/ 1948690 h 2066963"/>
                  <a:gd name="connsiteX81" fmla="*/ 609232 w 2067023"/>
                  <a:gd name="connsiteY81" fmla="*/ 1976125 h 2066963"/>
                  <a:gd name="connsiteX82" fmla="*/ 666960 w 2067023"/>
                  <a:gd name="connsiteY82" fmla="*/ 1999986 h 2066963"/>
                  <a:gd name="connsiteX83" fmla="*/ 725977 w 2067023"/>
                  <a:gd name="connsiteY83" fmla="*/ 2020432 h 2066963"/>
                  <a:gd name="connsiteX84" fmla="*/ 786166 w 2067023"/>
                  <a:gd name="connsiteY84" fmla="*/ 2037107 h 2066963"/>
                  <a:gd name="connsiteX85" fmla="*/ 908985 w 2067023"/>
                  <a:gd name="connsiteY85" fmla="*/ 2059480 h 2066963"/>
                  <a:gd name="connsiteX86" fmla="*/ 1033512 w 2067023"/>
                  <a:gd name="connsiteY86" fmla="*/ 2066964 h 2066963"/>
                  <a:gd name="connsiteX87" fmla="*/ 1158038 w 2067023"/>
                  <a:gd name="connsiteY87" fmla="*/ 2059480 h 2066963"/>
                  <a:gd name="connsiteX88" fmla="*/ 1280857 w 2067023"/>
                  <a:gd name="connsiteY88" fmla="*/ 2037107 h 2066963"/>
                  <a:gd name="connsiteX89" fmla="*/ 1341046 w 2067023"/>
                  <a:gd name="connsiteY89" fmla="*/ 2020432 h 2066963"/>
                  <a:gd name="connsiteX90" fmla="*/ 1400064 w 2067023"/>
                  <a:gd name="connsiteY90" fmla="*/ 1999986 h 2066963"/>
                  <a:gd name="connsiteX91" fmla="*/ 1457791 w 2067023"/>
                  <a:gd name="connsiteY91" fmla="*/ 1976125 h 2066963"/>
                  <a:gd name="connsiteX92" fmla="*/ 1513890 w 2067023"/>
                  <a:gd name="connsiteY92" fmla="*/ 1948690 h 2066963"/>
                  <a:gd name="connsiteX93" fmla="*/ 1527687 w 2067023"/>
                  <a:gd name="connsiteY93" fmla="*/ 1941365 h 2066963"/>
                  <a:gd name="connsiteX94" fmla="*/ 1541324 w 2067023"/>
                  <a:gd name="connsiteY94" fmla="*/ 1933742 h 2066963"/>
                  <a:gd name="connsiteX95" fmla="*/ 1548133 w 2067023"/>
                  <a:gd name="connsiteY95" fmla="*/ 1929931 h 2066963"/>
                  <a:gd name="connsiteX96" fmla="*/ 1554863 w 2067023"/>
                  <a:gd name="connsiteY96" fmla="*/ 1925961 h 2066963"/>
                  <a:gd name="connsiteX97" fmla="*/ 1568302 w 2067023"/>
                  <a:gd name="connsiteY97" fmla="*/ 1918020 h 2066963"/>
                  <a:gd name="connsiteX98" fmla="*/ 1620670 w 2067023"/>
                  <a:gd name="connsiteY98" fmla="*/ 1884035 h 2066963"/>
                  <a:gd name="connsiteX99" fmla="*/ 1670953 w 2067023"/>
                  <a:gd name="connsiteY99" fmla="*/ 1847052 h 2066963"/>
                  <a:gd name="connsiteX100" fmla="*/ 1718834 w 2067023"/>
                  <a:gd name="connsiteY100" fmla="*/ 1807012 h 2066963"/>
                  <a:gd name="connsiteX101" fmla="*/ 1764313 w 2067023"/>
                  <a:gd name="connsiteY101" fmla="*/ 1764273 h 2066963"/>
                  <a:gd name="connsiteX102" fmla="*/ 1807052 w 2067023"/>
                  <a:gd name="connsiteY102" fmla="*/ 1718794 h 2066963"/>
                  <a:gd name="connsiteX103" fmla="*/ 1847092 w 2067023"/>
                  <a:gd name="connsiteY103" fmla="*/ 1670913 h 2066963"/>
                  <a:gd name="connsiteX104" fmla="*/ 1884075 w 2067023"/>
                  <a:gd name="connsiteY104" fmla="*/ 1620630 h 2066963"/>
                  <a:gd name="connsiteX105" fmla="*/ 1918060 w 2067023"/>
                  <a:gd name="connsiteY105" fmla="*/ 1568263 h 2066963"/>
                  <a:gd name="connsiteX106" fmla="*/ 1926000 w 2067023"/>
                  <a:gd name="connsiteY106" fmla="*/ 1554823 h 2066963"/>
                  <a:gd name="connsiteX107" fmla="*/ 1929971 w 2067023"/>
                  <a:gd name="connsiteY107" fmla="*/ 1548094 h 2066963"/>
                  <a:gd name="connsiteX108" fmla="*/ 1933782 w 2067023"/>
                  <a:gd name="connsiteY108" fmla="*/ 1541285 h 2066963"/>
                  <a:gd name="connsiteX109" fmla="*/ 1941405 w 2067023"/>
                  <a:gd name="connsiteY109" fmla="*/ 1527647 h 2066963"/>
                  <a:gd name="connsiteX110" fmla="*/ 1948730 w 2067023"/>
                  <a:gd name="connsiteY110" fmla="*/ 1513850 h 2066963"/>
                  <a:gd name="connsiteX111" fmla="*/ 1976164 w 2067023"/>
                  <a:gd name="connsiteY111" fmla="*/ 1457751 h 2066963"/>
                  <a:gd name="connsiteX112" fmla="*/ 2000026 w 2067023"/>
                  <a:gd name="connsiteY112" fmla="*/ 1400024 h 2066963"/>
                  <a:gd name="connsiteX113" fmla="*/ 2020472 w 2067023"/>
                  <a:gd name="connsiteY113" fmla="*/ 1341006 h 2066963"/>
                  <a:gd name="connsiteX114" fmla="*/ 2037147 w 2067023"/>
                  <a:gd name="connsiteY114" fmla="*/ 1280817 h 2066963"/>
                  <a:gd name="connsiteX115" fmla="*/ 2067023 w 2067023"/>
                  <a:gd name="connsiteY115" fmla="*/ 1033492 h 2066963"/>
                  <a:gd name="connsiteX116" fmla="*/ 2037147 w 2067023"/>
                  <a:gd name="connsiteY116" fmla="*/ 786166 h 2066963"/>
                  <a:gd name="connsiteX117" fmla="*/ 1981921 w 2067023"/>
                  <a:gd name="connsiteY117" fmla="*/ 1329016 h 2066963"/>
                  <a:gd name="connsiteX118" fmla="*/ 1962288 w 2067023"/>
                  <a:gd name="connsiteY118" fmla="*/ 1385711 h 2066963"/>
                  <a:gd name="connsiteX119" fmla="*/ 1939360 w 2067023"/>
                  <a:gd name="connsiteY119" fmla="*/ 1441155 h 2066963"/>
                  <a:gd name="connsiteX120" fmla="*/ 1912998 w 2067023"/>
                  <a:gd name="connsiteY120" fmla="*/ 1495051 h 2066963"/>
                  <a:gd name="connsiteX121" fmla="*/ 1905971 w 2067023"/>
                  <a:gd name="connsiteY121" fmla="*/ 1508292 h 2066963"/>
                  <a:gd name="connsiteX122" fmla="*/ 1898646 w 2067023"/>
                  <a:gd name="connsiteY122" fmla="*/ 1521394 h 2066963"/>
                  <a:gd name="connsiteX123" fmla="*/ 1894973 w 2067023"/>
                  <a:gd name="connsiteY123" fmla="*/ 1527945 h 2066963"/>
                  <a:gd name="connsiteX124" fmla="*/ 1891162 w 2067023"/>
                  <a:gd name="connsiteY124" fmla="*/ 1534396 h 2066963"/>
                  <a:gd name="connsiteX125" fmla="*/ 1883519 w 2067023"/>
                  <a:gd name="connsiteY125" fmla="*/ 1547319 h 2066963"/>
                  <a:gd name="connsiteX126" fmla="*/ 1850844 w 2067023"/>
                  <a:gd name="connsiteY126" fmla="*/ 1597642 h 2066963"/>
                  <a:gd name="connsiteX127" fmla="*/ 1815291 w 2067023"/>
                  <a:gd name="connsiteY127" fmla="*/ 1645980 h 2066963"/>
                  <a:gd name="connsiteX128" fmla="*/ 1776819 w 2067023"/>
                  <a:gd name="connsiteY128" fmla="*/ 1692015 h 2066963"/>
                  <a:gd name="connsiteX129" fmla="*/ 1735747 w 2067023"/>
                  <a:gd name="connsiteY129" fmla="*/ 1735727 h 2066963"/>
                  <a:gd name="connsiteX130" fmla="*/ 1692035 w 2067023"/>
                  <a:gd name="connsiteY130" fmla="*/ 1776799 h 2066963"/>
                  <a:gd name="connsiteX131" fmla="*/ 1646000 w 2067023"/>
                  <a:gd name="connsiteY131" fmla="*/ 1815271 h 2066963"/>
                  <a:gd name="connsiteX132" fmla="*/ 1597662 w 2067023"/>
                  <a:gd name="connsiteY132" fmla="*/ 1850824 h 2066963"/>
                  <a:gd name="connsiteX133" fmla="*/ 1547339 w 2067023"/>
                  <a:gd name="connsiteY133" fmla="*/ 1883499 h 2066963"/>
                  <a:gd name="connsiteX134" fmla="*/ 1534416 w 2067023"/>
                  <a:gd name="connsiteY134" fmla="*/ 1891142 h 2066963"/>
                  <a:gd name="connsiteX135" fmla="*/ 1527965 w 2067023"/>
                  <a:gd name="connsiteY135" fmla="*/ 1894953 h 2066963"/>
                  <a:gd name="connsiteX136" fmla="*/ 1521414 w 2067023"/>
                  <a:gd name="connsiteY136" fmla="*/ 1898626 h 2066963"/>
                  <a:gd name="connsiteX137" fmla="*/ 1508312 w 2067023"/>
                  <a:gd name="connsiteY137" fmla="*/ 1905951 h 2066963"/>
                  <a:gd name="connsiteX138" fmla="*/ 1495071 w 2067023"/>
                  <a:gd name="connsiteY138" fmla="*/ 1912978 h 2066963"/>
                  <a:gd name="connsiteX139" fmla="*/ 1441175 w 2067023"/>
                  <a:gd name="connsiteY139" fmla="*/ 1939340 h 2066963"/>
                  <a:gd name="connsiteX140" fmla="*/ 1385731 w 2067023"/>
                  <a:gd name="connsiteY140" fmla="*/ 1962269 h 2066963"/>
                  <a:gd name="connsiteX141" fmla="*/ 1329036 w 2067023"/>
                  <a:gd name="connsiteY141" fmla="*/ 1981901 h 2066963"/>
                  <a:gd name="connsiteX142" fmla="*/ 1271210 w 2067023"/>
                  <a:gd name="connsiteY142" fmla="*/ 1997921 h 2066963"/>
                  <a:gd name="connsiteX143" fmla="*/ 1153214 w 2067023"/>
                  <a:gd name="connsiteY143" fmla="*/ 2019420 h 2066963"/>
                  <a:gd name="connsiteX144" fmla="*/ 1033512 w 2067023"/>
                  <a:gd name="connsiteY144" fmla="*/ 2026626 h 2066963"/>
                  <a:gd name="connsiteX145" fmla="*/ 913809 w 2067023"/>
                  <a:gd name="connsiteY145" fmla="*/ 2019420 h 2066963"/>
                  <a:gd name="connsiteX146" fmla="*/ 795814 w 2067023"/>
                  <a:gd name="connsiteY146" fmla="*/ 1997921 h 2066963"/>
                  <a:gd name="connsiteX147" fmla="*/ 737987 w 2067023"/>
                  <a:gd name="connsiteY147" fmla="*/ 1981901 h 2066963"/>
                  <a:gd name="connsiteX148" fmla="*/ 681292 w 2067023"/>
                  <a:gd name="connsiteY148" fmla="*/ 1962269 h 2066963"/>
                  <a:gd name="connsiteX149" fmla="*/ 625848 w 2067023"/>
                  <a:gd name="connsiteY149" fmla="*/ 1939340 h 2066963"/>
                  <a:gd name="connsiteX150" fmla="*/ 571952 w 2067023"/>
                  <a:gd name="connsiteY150" fmla="*/ 1912978 h 2066963"/>
                  <a:gd name="connsiteX151" fmla="*/ 558711 w 2067023"/>
                  <a:gd name="connsiteY151" fmla="*/ 1905951 h 2066963"/>
                  <a:gd name="connsiteX152" fmla="*/ 545610 w 2067023"/>
                  <a:gd name="connsiteY152" fmla="*/ 1898626 h 2066963"/>
                  <a:gd name="connsiteX153" fmla="*/ 539059 w 2067023"/>
                  <a:gd name="connsiteY153" fmla="*/ 1894953 h 2066963"/>
                  <a:gd name="connsiteX154" fmla="*/ 532607 w 2067023"/>
                  <a:gd name="connsiteY154" fmla="*/ 1891142 h 2066963"/>
                  <a:gd name="connsiteX155" fmla="*/ 519684 w 2067023"/>
                  <a:gd name="connsiteY155" fmla="*/ 1883499 h 2066963"/>
                  <a:gd name="connsiteX156" fmla="*/ 469361 w 2067023"/>
                  <a:gd name="connsiteY156" fmla="*/ 1850824 h 2066963"/>
                  <a:gd name="connsiteX157" fmla="*/ 421024 w 2067023"/>
                  <a:gd name="connsiteY157" fmla="*/ 1815271 h 2066963"/>
                  <a:gd name="connsiteX158" fmla="*/ 374989 w 2067023"/>
                  <a:gd name="connsiteY158" fmla="*/ 1776799 h 2066963"/>
                  <a:gd name="connsiteX159" fmla="*/ 331276 w 2067023"/>
                  <a:gd name="connsiteY159" fmla="*/ 1735727 h 2066963"/>
                  <a:gd name="connsiteX160" fmla="*/ 290204 w 2067023"/>
                  <a:gd name="connsiteY160" fmla="*/ 1692015 h 2066963"/>
                  <a:gd name="connsiteX161" fmla="*/ 251733 w 2067023"/>
                  <a:gd name="connsiteY161" fmla="*/ 1645980 h 2066963"/>
                  <a:gd name="connsiteX162" fmla="*/ 216179 w 2067023"/>
                  <a:gd name="connsiteY162" fmla="*/ 1597642 h 2066963"/>
                  <a:gd name="connsiteX163" fmla="*/ 183504 w 2067023"/>
                  <a:gd name="connsiteY163" fmla="*/ 1547319 h 2066963"/>
                  <a:gd name="connsiteX164" fmla="*/ 175862 w 2067023"/>
                  <a:gd name="connsiteY164" fmla="*/ 1534396 h 2066963"/>
                  <a:gd name="connsiteX165" fmla="*/ 172050 w 2067023"/>
                  <a:gd name="connsiteY165" fmla="*/ 1527945 h 2066963"/>
                  <a:gd name="connsiteX166" fmla="*/ 168378 w 2067023"/>
                  <a:gd name="connsiteY166" fmla="*/ 1521394 h 2066963"/>
                  <a:gd name="connsiteX167" fmla="*/ 161053 w 2067023"/>
                  <a:gd name="connsiteY167" fmla="*/ 1508292 h 2066963"/>
                  <a:gd name="connsiteX168" fmla="*/ 154025 w 2067023"/>
                  <a:gd name="connsiteY168" fmla="*/ 1495051 h 2066963"/>
                  <a:gd name="connsiteX169" fmla="*/ 127663 w 2067023"/>
                  <a:gd name="connsiteY169" fmla="*/ 1441155 h 2066963"/>
                  <a:gd name="connsiteX170" fmla="*/ 104735 w 2067023"/>
                  <a:gd name="connsiteY170" fmla="*/ 1385711 h 2066963"/>
                  <a:gd name="connsiteX171" fmla="*/ 85102 w 2067023"/>
                  <a:gd name="connsiteY171" fmla="*/ 1329016 h 2066963"/>
                  <a:gd name="connsiteX172" fmla="*/ 69082 w 2067023"/>
                  <a:gd name="connsiteY172" fmla="*/ 1271190 h 2066963"/>
                  <a:gd name="connsiteX173" fmla="*/ 40377 w 2067023"/>
                  <a:gd name="connsiteY173" fmla="*/ 1033492 h 2066963"/>
                  <a:gd name="connsiteX174" fmla="*/ 69082 w 2067023"/>
                  <a:gd name="connsiteY174" fmla="*/ 795794 h 2066963"/>
                  <a:gd name="connsiteX175" fmla="*/ 85102 w 2067023"/>
                  <a:gd name="connsiteY175" fmla="*/ 737967 h 2066963"/>
                  <a:gd name="connsiteX176" fmla="*/ 104735 w 2067023"/>
                  <a:gd name="connsiteY176" fmla="*/ 681272 h 2066963"/>
                  <a:gd name="connsiteX177" fmla="*/ 127663 w 2067023"/>
                  <a:gd name="connsiteY177" fmla="*/ 625828 h 2066963"/>
                  <a:gd name="connsiteX178" fmla="*/ 154025 w 2067023"/>
                  <a:gd name="connsiteY178" fmla="*/ 571932 h 2066963"/>
                  <a:gd name="connsiteX179" fmla="*/ 161053 w 2067023"/>
                  <a:gd name="connsiteY179" fmla="*/ 558691 h 2066963"/>
                  <a:gd name="connsiteX180" fmla="*/ 168378 w 2067023"/>
                  <a:gd name="connsiteY180" fmla="*/ 545590 h 2066963"/>
                  <a:gd name="connsiteX181" fmla="*/ 172050 w 2067023"/>
                  <a:gd name="connsiteY181" fmla="*/ 539039 h 2066963"/>
                  <a:gd name="connsiteX182" fmla="*/ 175862 w 2067023"/>
                  <a:gd name="connsiteY182" fmla="*/ 532587 h 2066963"/>
                  <a:gd name="connsiteX183" fmla="*/ 183504 w 2067023"/>
                  <a:gd name="connsiteY183" fmla="*/ 519664 h 2066963"/>
                  <a:gd name="connsiteX184" fmla="*/ 216179 w 2067023"/>
                  <a:gd name="connsiteY184" fmla="*/ 469341 h 2066963"/>
                  <a:gd name="connsiteX185" fmla="*/ 251733 w 2067023"/>
                  <a:gd name="connsiteY185" fmla="*/ 421004 h 2066963"/>
                  <a:gd name="connsiteX186" fmla="*/ 290204 w 2067023"/>
                  <a:gd name="connsiteY186" fmla="*/ 374969 h 2066963"/>
                  <a:gd name="connsiteX187" fmla="*/ 331276 w 2067023"/>
                  <a:gd name="connsiteY187" fmla="*/ 331257 h 2066963"/>
                  <a:gd name="connsiteX188" fmla="*/ 374989 w 2067023"/>
                  <a:gd name="connsiteY188" fmla="*/ 290184 h 2066963"/>
                  <a:gd name="connsiteX189" fmla="*/ 421024 w 2067023"/>
                  <a:gd name="connsiteY189" fmla="*/ 251713 h 2066963"/>
                  <a:gd name="connsiteX190" fmla="*/ 469361 w 2067023"/>
                  <a:gd name="connsiteY190" fmla="*/ 216159 h 2066963"/>
                  <a:gd name="connsiteX191" fmla="*/ 519684 w 2067023"/>
                  <a:gd name="connsiteY191" fmla="*/ 183484 h 2066963"/>
                  <a:gd name="connsiteX192" fmla="*/ 532607 w 2067023"/>
                  <a:gd name="connsiteY192" fmla="*/ 175842 h 2066963"/>
                  <a:gd name="connsiteX193" fmla="*/ 539059 w 2067023"/>
                  <a:gd name="connsiteY193" fmla="*/ 172030 h 2066963"/>
                  <a:gd name="connsiteX194" fmla="*/ 545610 w 2067023"/>
                  <a:gd name="connsiteY194" fmla="*/ 168358 h 2066963"/>
                  <a:gd name="connsiteX195" fmla="*/ 558711 w 2067023"/>
                  <a:gd name="connsiteY195" fmla="*/ 161033 h 2066963"/>
                  <a:gd name="connsiteX196" fmla="*/ 571952 w 2067023"/>
                  <a:gd name="connsiteY196" fmla="*/ 154005 h 2066963"/>
                  <a:gd name="connsiteX197" fmla="*/ 625848 w 2067023"/>
                  <a:gd name="connsiteY197" fmla="*/ 127643 h 2066963"/>
                  <a:gd name="connsiteX198" fmla="*/ 681292 w 2067023"/>
                  <a:gd name="connsiteY198" fmla="*/ 104715 h 2066963"/>
                  <a:gd name="connsiteX199" fmla="*/ 737987 w 2067023"/>
                  <a:gd name="connsiteY199" fmla="*/ 85082 h 2066963"/>
                  <a:gd name="connsiteX200" fmla="*/ 795814 w 2067023"/>
                  <a:gd name="connsiteY200" fmla="*/ 69062 h 2066963"/>
                  <a:gd name="connsiteX201" fmla="*/ 913809 w 2067023"/>
                  <a:gd name="connsiteY201" fmla="*/ 47563 h 2066963"/>
                  <a:gd name="connsiteX202" fmla="*/ 1033512 w 2067023"/>
                  <a:gd name="connsiteY202" fmla="*/ 40357 h 2066963"/>
                  <a:gd name="connsiteX203" fmla="*/ 1153214 w 2067023"/>
                  <a:gd name="connsiteY203" fmla="*/ 47563 h 2066963"/>
                  <a:gd name="connsiteX204" fmla="*/ 1271210 w 2067023"/>
                  <a:gd name="connsiteY204" fmla="*/ 69062 h 2066963"/>
                  <a:gd name="connsiteX205" fmla="*/ 1329036 w 2067023"/>
                  <a:gd name="connsiteY205" fmla="*/ 85082 h 2066963"/>
                  <a:gd name="connsiteX206" fmla="*/ 1385731 w 2067023"/>
                  <a:gd name="connsiteY206" fmla="*/ 104715 h 2066963"/>
                  <a:gd name="connsiteX207" fmla="*/ 1441175 w 2067023"/>
                  <a:gd name="connsiteY207" fmla="*/ 127643 h 2066963"/>
                  <a:gd name="connsiteX208" fmla="*/ 1495071 w 2067023"/>
                  <a:gd name="connsiteY208" fmla="*/ 154005 h 2066963"/>
                  <a:gd name="connsiteX209" fmla="*/ 1508312 w 2067023"/>
                  <a:gd name="connsiteY209" fmla="*/ 161033 h 2066963"/>
                  <a:gd name="connsiteX210" fmla="*/ 1521414 w 2067023"/>
                  <a:gd name="connsiteY210" fmla="*/ 168358 h 2066963"/>
                  <a:gd name="connsiteX211" fmla="*/ 1527965 w 2067023"/>
                  <a:gd name="connsiteY211" fmla="*/ 172030 h 2066963"/>
                  <a:gd name="connsiteX212" fmla="*/ 1534416 w 2067023"/>
                  <a:gd name="connsiteY212" fmla="*/ 175842 h 2066963"/>
                  <a:gd name="connsiteX213" fmla="*/ 1547339 w 2067023"/>
                  <a:gd name="connsiteY213" fmla="*/ 183484 h 2066963"/>
                  <a:gd name="connsiteX214" fmla="*/ 1597662 w 2067023"/>
                  <a:gd name="connsiteY214" fmla="*/ 216159 h 2066963"/>
                  <a:gd name="connsiteX215" fmla="*/ 1646000 w 2067023"/>
                  <a:gd name="connsiteY215" fmla="*/ 251713 h 2066963"/>
                  <a:gd name="connsiteX216" fmla="*/ 1692035 w 2067023"/>
                  <a:gd name="connsiteY216" fmla="*/ 290184 h 2066963"/>
                  <a:gd name="connsiteX217" fmla="*/ 1735747 w 2067023"/>
                  <a:gd name="connsiteY217" fmla="*/ 331257 h 2066963"/>
                  <a:gd name="connsiteX218" fmla="*/ 1776819 w 2067023"/>
                  <a:gd name="connsiteY218" fmla="*/ 374969 h 2066963"/>
                  <a:gd name="connsiteX219" fmla="*/ 1815291 w 2067023"/>
                  <a:gd name="connsiteY219" fmla="*/ 421004 h 2066963"/>
                  <a:gd name="connsiteX220" fmla="*/ 1850844 w 2067023"/>
                  <a:gd name="connsiteY220" fmla="*/ 469341 h 2066963"/>
                  <a:gd name="connsiteX221" fmla="*/ 1883519 w 2067023"/>
                  <a:gd name="connsiteY221" fmla="*/ 519664 h 2066963"/>
                  <a:gd name="connsiteX222" fmla="*/ 1891162 w 2067023"/>
                  <a:gd name="connsiteY222" fmla="*/ 532587 h 2066963"/>
                  <a:gd name="connsiteX223" fmla="*/ 1894973 w 2067023"/>
                  <a:gd name="connsiteY223" fmla="*/ 539039 h 2066963"/>
                  <a:gd name="connsiteX224" fmla="*/ 1898646 w 2067023"/>
                  <a:gd name="connsiteY224" fmla="*/ 545590 h 2066963"/>
                  <a:gd name="connsiteX225" fmla="*/ 1905971 w 2067023"/>
                  <a:gd name="connsiteY225" fmla="*/ 558691 h 2066963"/>
                  <a:gd name="connsiteX226" fmla="*/ 1912998 w 2067023"/>
                  <a:gd name="connsiteY226" fmla="*/ 571932 h 2066963"/>
                  <a:gd name="connsiteX227" fmla="*/ 1939360 w 2067023"/>
                  <a:gd name="connsiteY227" fmla="*/ 625828 h 2066963"/>
                  <a:gd name="connsiteX228" fmla="*/ 1962288 w 2067023"/>
                  <a:gd name="connsiteY228" fmla="*/ 681272 h 2066963"/>
                  <a:gd name="connsiteX229" fmla="*/ 1981921 w 2067023"/>
                  <a:gd name="connsiteY229" fmla="*/ 737967 h 2066963"/>
                  <a:gd name="connsiteX230" fmla="*/ 1997941 w 2067023"/>
                  <a:gd name="connsiteY230" fmla="*/ 795794 h 2066963"/>
                  <a:gd name="connsiteX231" fmla="*/ 2026646 w 2067023"/>
                  <a:gd name="connsiteY231" fmla="*/ 1033492 h 2066963"/>
                  <a:gd name="connsiteX232" fmla="*/ 1997941 w 2067023"/>
                  <a:gd name="connsiteY232" fmla="*/ 1271190 h 2066963"/>
                  <a:gd name="connsiteX233" fmla="*/ 1981921 w 2067023"/>
                  <a:gd name="connsiteY233" fmla="*/ 1329016 h 2066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</a:cxnLst>
                <a:rect l="l" t="t" r="r" b="b"/>
                <a:pathLst>
                  <a:path w="2067023" h="2066963">
                    <a:moveTo>
                      <a:pt x="2037147" y="786146"/>
                    </a:moveTo>
                    <a:cubicBezTo>
                      <a:pt x="2032284" y="765898"/>
                      <a:pt x="2026507" y="745868"/>
                      <a:pt x="2020472" y="725957"/>
                    </a:cubicBezTo>
                    <a:cubicBezTo>
                      <a:pt x="2014120" y="706126"/>
                      <a:pt x="2007529" y="686354"/>
                      <a:pt x="2000026" y="666940"/>
                    </a:cubicBezTo>
                    <a:cubicBezTo>
                      <a:pt x="1992760" y="647426"/>
                      <a:pt x="1984561" y="628270"/>
                      <a:pt x="1976164" y="609213"/>
                    </a:cubicBezTo>
                    <a:cubicBezTo>
                      <a:pt x="1967489" y="590294"/>
                      <a:pt x="1958517" y="571495"/>
                      <a:pt x="1948730" y="553113"/>
                    </a:cubicBezTo>
                    <a:cubicBezTo>
                      <a:pt x="1946288" y="548528"/>
                      <a:pt x="1943906" y="543882"/>
                      <a:pt x="1941405" y="539317"/>
                    </a:cubicBezTo>
                    <a:lnTo>
                      <a:pt x="1933782" y="525679"/>
                    </a:lnTo>
                    <a:lnTo>
                      <a:pt x="1929971" y="518870"/>
                    </a:lnTo>
                    <a:lnTo>
                      <a:pt x="1926000" y="512140"/>
                    </a:lnTo>
                    <a:lnTo>
                      <a:pt x="1918060" y="498701"/>
                    </a:lnTo>
                    <a:cubicBezTo>
                      <a:pt x="1907162" y="480974"/>
                      <a:pt x="1895985" y="463386"/>
                      <a:pt x="1884075" y="446334"/>
                    </a:cubicBezTo>
                    <a:cubicBezTo>
                      <a:pt x="1872343" y="429143"/>
                      <a:pt x="1859797" y="412527"/>
                      <a:pt x="1847092" y="396051"/>
                    </a:cubicBezTo>
                    <a:cubicBezTo>
                      <a:pt x="1834129" y="379773"/>
                      <a:pt x="1820948" y="363654"/>
                      <a:pt x="1807052" y="348170"/>
                    </a:cubicBezTo>
                    <a:cubicBezTo>
                      <a:pt x="1793335" y="332507"/>
                      <a:pt x="1778903" y="317520"/>
                      <a:pt x="1764313" y="302691"/>
                    </a:cubicBezTo>
                    <a:cubicBezTo>
                      <a:pt x="1749484" y="288100"/>
                      <a:pt x="1734476" y="273668"/>
                      <a:pt x="1718834" y="259951"/>
                    </a:cubicBezTo>
                    <a:cubicBezTo>
                      <a:pt x="1703330" y="246055"/>
                      <a:pt x="1687231" y="232874"/>
                      <a:pt x="1670953" y="219911"/>
                    </a:cubicBezTo>
                    <a:cubicBezTo>
                      <a:pt x="1654476" y="207187"/>
                      <a:pt x="1637861" y="194661"/>
                      <a:pt x="1620670" y="182929"/>
                    </a:cubicBezTo>
                    <a:cubicBezTo>
                      <a:pt x="1603617" y="170998"/>
                      <a:pt x="1586029" y="159842"/>
                      <a:pt x="1568302" y="148943"/>
                    </a:cubicBezTo>
                    <a:lnTo>
                      <a:pt x="1554863" y="141003"/>
                    </a:lnTo>
                    <a:lnTo>
                      <a:pt x="1548133" y="137033"/>
                    </a:lnTo>
                    <a:lnTo>
                      <a:pt x="1541324" y="133221"/>
                    </a:lnTo>
                    <a:lnTo>
                      <a:pt x="1527687" y="125598"/>
                    </a:lnTo>
                    <a:cubicBezTo>
                      <a:pt x="1523121" y="123097"/>
                      <a:pt x="1518496" y="120715"/>
                      <a:pt x="1513890" y="118273"/>
                    </a:cubicBezTo>
                    <a:cubicBezTo>
                      <a:pt x="1495508" y="108487"/>
                      <a:pt x="1476709" y="99514"/>
                      <a:pt x="1457791" y="90839"/>
                    </a:cubicBezTo>
                    <a:cubicBezTo>
                      <a:pt x="1438753" y="82422"/>
                      <a:pt x="1419597" y="74243"/>
                      <a:pt x="1400064" y="66978"/>
                    </a:cubicBezTo>
                    <a:cubicBezTo>
                      <a:pt x="1380629" y="59474"/>
                      <a:pt x="1360877" y="52884"/>
                      <a:pt x="1341046" y="46531"/>
                    </a:cubicBezTo>
                    <a:cubicBezTo>
                      <a:pt x="1321115" y="40496"/>
                      <a:pt x="1301105" y="34720"/>
                      <a:pt x="1280857" y="29856"/>
                    </a:cubicBezTo>
                    <a:cubicBezTo>
                      <a:pt x="1240400" y="19950"/>
                      <a:pt x="1199388" y="12328"/>
                      <a:pt x="1158038" y="7484"/>
                    </a:cubicBezTo>
                    <a:cubicBezTo>
                      <a:pt x="1116708" y="2561"/>
                      <a:pt x="1075100" y="60"/>
                      <a:pt x="1033512" y="0"/>
                    </a:cubicBezTo>
                    <a:cubicBezTo>
                      <a:pt x="991923" y="79"/>
                      <a:pt x="950335" y="2561"/>
                      <a:pt x="908985" y="7484"/>
                    </a:cubicBezTo>
                    <a:cubicBezTo>
                      <a:pt x="867635" y="12347"/>
                      <a:pt x="826623" y="19950"/>
                      <a:pt x="786166" y="29856"/>
                    </a:cubicBezTo>
                    <a:cubicBezTo>
                      <a:pt x="765918" y="34720"/>
                      <a:pt x="745908" y="40496"/>
                      <a:pt x="725977" y="46531"/>
                    </a:cubicBezTo>
                    <a:cubicBezTo>
                      <a:pt x="706146" y="52884"/>
                      <a:pt x="686374" y="59474"/>
                      <a:pt x="666960" y="66978"/>
                    </a:cubicBezTo>
                    <a:cubicBezTo>
                      <a:pt x="647446" y="74243"/>
                      <a:pt x="628290" y="82442"/>
                      <a:pt x="609232" y="90839"/>
                    </a:cubicBezTo>
                    <a:cubicBezTo>
                      <a:pt x="590314" y="99514"/>
                      <a:pt x="571515" y="108487"/>
                      <a:pt x="553133" y="118273"/>
                    </a:cubicBezTo>
                    <a:cubicBezTo>
                      <a:pt x="548547" y="120715"/>
                      <a:pt x="543902" y="123097"/>
                      <a:pt x="539337" y="125598"/>
                    </a:cubicBezTo>
                    <a:lnTo>
                      <a:pt x="525699" y="133221"/>
                    </a:lnTo>
                    <a:lnTo>
                      <a:pt x="518890" y="137033"/>
                    </a:lnTo>
                    <a:lnTo>
                      <a:pt x="512160" y="141003"/>
                    </a:lnTo>
                    <a:lnTo>
                      <a:pt x="498721" y="148943"/>
                    </a:lnTo>
                    <a:cubicBezTo>
                      <a:pt x="480994" y="159842"/>
                      <a:pt x="463406" y="171018"/>
                      <a:pt x="446354" y="182929"/>
                    </a:cubicBezTo>
                    <a:cubicBezTo>
                      <a:pt x="429163" y="194661"/>
                      <a:pt x="412547" y="207207"/>
                      <a:pt x="396071" y="219911"/>
                    </a:cubicBezTo>
                    <a:cubicBezTo>
                      <a:pt x="379793" y="232874"/>
                      <a:pt x="363673" y="246055"/>
                      <a:pt x="348190" y="259951"/>
                    </a:cubicBezTo>
                    <a:cubicBezTo>
                      <a:pt x="332527" y="273668"/>
                      <a:pt x="317539" y="288100"/>
                      <a:pt x="302711" y="302691"/>
                    </a:cubicBezTo>
                    <a:cubicBezTo>
                      <a:pt x="288120" y="317520"/>
                      <a:pt x="273688" y="332527"/>
                      <a:pt x="259971" y="348170"/>
                    </a:cubicBezTo>
                    <a:cubicBezTo>
                      <a:pt x="246075" y="363673"/>
                      <a:pt x="232894" y="379773"/>
                      <a:pt x="219931" y="396051"/>
                    </a:cubicBezTo>
                    <a:cubicBezTo>
                      <a:pt x="207207" y="412527"/>
                      <a:pt x="194680" y="429143"/>
                      <a:pt x="182948" y="446334"/>
                    </a:cubicBezTo>
                    <a:cubicBezTo>
                      <a:pt x="171018" y="463386"/>
                      <a:pt x="159861" y="480974"/>
                      <a:pt x="148963" y="498701"/>
                    </a:cubicBezTo>
                    <a:lnTo>
                      <a:pt x="141023" y="512140"/>
                    </a:lnTo>
                    <a:lnTo>
                      <a:pt x="137053" y="518870"/>
                    </a:lnTo>
                    <a:lnTo>
                      <a:pt x="133241" y="525679"/>
                    </a:lnTo>
                    <a:lnTo>
                      <a:pt x="125618" y="539317"/>
                    </a:lnTo>
                    <a:cubicBezTo>
                      <a:pt x="123117" y="543882"/>
                      <a:pt x="120735" y="548508"/>
                      <a:pt x="118293" y="553113"/>
                    </a:cubicBezTo>
                    <a:cubicBezTo>
                      <a:pt x="108507" y="571495"/>
                      <a:pt x="99534" y="590294"/>
                      <a:pt x="90859" y="609213"/>
                    </a:cubicBezTo>
                    <a:cubicBezTo>
                      <a:pt x="82442" y="628250"/>
                      <a:pt x="74263" y="647406"/>
                      <a:pt x="66998" y="666940"/>
                    </a:cubicBezTo>
                    <a:cubicBezTo>
                      <a:pt x="59494" y="686374"/>
                      <a:pt x="52903" y="706126"/>
                      <a:pt x="46551" y="725957"/>
                    </a:cubicBezTo>
                    <a:cubicBezTo>
                      <a:pt x="40516" y="745888"/>
                      <a:pt x="34740" y="765898"/>
                      <a:pt x="29876" y="786146"/>
                    </a:cubicBezTo>
                    <a:cubicBezTo>
                      <a:pt x="9866" y="867020"/>
                      <a:pt x="159" y="950335"/>
                      <a:pt x="0" y="1033492"/>
                    </a:cubicBezTo>
                    <a:cubicBezTo>
                      <a:pt x="159" y="1116648"/>
                      <a:pt x="9866" y="1199964"/>
                      <a:pt x="29876" y="1280817"/>
                    </a:cubicBezTo>
                    <a:cubicBezTo>
                      <a:pt x="34740" y="1301066"/>
                      <a:pt x="40516" y="1321076"/>
                      <a:pt x="46551" y="1341006"/>
                    </a:cubicBezTo>
                    <a:cubicBezTo>
                      <a:pt x="52903" y="1360838"/>
                      <a:pt x="59494" y="1380609"/>
                      <a:pt x="66998" y="1400024"/>
                    </a:cubicBezTo>
                    <a:cubicBezTo>
                      <a:pt x="74263" y="1419537"/>
                      <a:pt x="82462" y="1438694"/>
                      <a:pt x="90859" y="1457751"/>
                    </a:cubicBezTo>
                    <a:cubicBezTo>
                      <a:pt x="99534" y="1476669"/>
                      <a:pt x="108507" y="1495468"/>
                      <a:pt x="118293" y="1513850"/>
                    </a:cubicBezTo>
                    <a:cubicBezTo>
                      <a:pt x="120735" y="1518436"/>
                      <a:pt x="123117" y="1523081"/>
                      <a:pt x="125618" y="1527647"/>
                    </a:cubicBezTo>
                    <a:lnTo>
                      <a:pt x="133241" y="1541285"/>
                    </a:lnTo>
                    <a:lnTo>
                      <a:pt x="137053" y="1548094"/>
                    </a:lnTo>
                    <a:lnTo>
                      <a:pt x="141023" y="1554823"/>
                    </a:lnTo>
                    <a:lnTo>
                      <a:pt x="148963" y="1568263"/>
                    </a:lnTo>
                    <a:cubicBezTo>
                      <a:pt x="159861" y="1585990"/>
                      <a:pt x="171038" y="1603578"/>
                      <a:pt x="182948" y="1620630"/>
                    </a:cubicBezTo>
                    <a:cubicBezTo>
                      <a:pt x="194680" y="1637821"/>
                      <a:pt x="207226" y="1654436"/>
                      <a:pt x="219931" y="1670913"/>
                    </a:cubicBezTo>
                    <a:cubicBezTo>
                      <a:pt x="232894" y="1687191"/>
                      <a:pt x="246075" y="1703310"/>
                      <a:pt x="259971" y="1718794"/>
                    </a:cubicBezTo>
                    <a:cubicBezTo>
                      <a:pt x="273688" y="1734456"/>
                      <a:pt x="288120" y="1749444"/>
                      <a:pt x="302711" y="1764273"/>
                    </a:cubicBezTo>
                    <a:cubicBezTo>
                      <a:pt x="317539" y="1778864"/>
                      <a:pt x="332547" y="1793295"/>
                      <a:pt x="348190" y="1807012"/>
                    </a:cubicBezTo>
                    <a:cubicBezTo>
                      <a:pt x="363693" y="1820908"/>
                      <a:pt x="379793" y="1834090"/>
                      <a:pt x="396071" y="1847052"/>
                    </a:cubicBezTo>
                    <a:cubicBezTo>
                      <a:pt x="412547" y="1859777"/>
                      <a:pt x="429163" y="1872303"/>
                      <a:pt x="446354" y="1884035"/>
                    </a:cubicBezTo>
                    <a:cubicBezTo>
                      <a:pt x="463406" y="1895966"/>
                      <a:pt x="480994" y="1907122"/>
                      <a:pt x="498721" y="1918020"/>
                    </a:cubicBezTo>
                    <a:lnTo>
                      <a:pt x="512160" y="1925961"/>
                    </a:lnTo>
                    <a:lnTo>
                      <a:pt x="518890" y="1929931"/>
                    </a:lnTo>
                    <a:lnTo>
                      <a:pt x="525699" y="1933742"/>
                    </a:lnTo>
                    <a:lnTo>
                      <a:pt x="539337" y="1941365"/>
                    </a:lnTo>
                    <a:cubicBezTo>
                      <a:pt x="543902" y="1943866"/>
                      <a:pt x="548528" y="1946249"/>
                      <a:pt x="553133" y="1948690"/>
                    </a:cubicBezTo>
                    <a:cubicBezTo>
                      <a:pt x="571515" y="1958477"/>
                      <a:pt x="590314" y="1967450"/>
                      <a:pt x="609232" y="1976125"/>
                    </a:cubicBezTo>
                    <a:cubicBezTo>
                      <a:pt x="628270" y="1984542"/>
                      <a:pt x="647426" y="1992720"/>
                      <a:pt x="666960" y="1999986"/>
                    </a:cubicBezTo>
                    <a:cubicBezTo>
                      <a:pt x="686394" y="2007490"/>
                      <a:pt x="706146" y="2014080"/>
                      <a:pt x="725977" y="2020432"/>
                    </a:cubicBezTo>
                    <a:cubicBezTo>
                      <a:pt x="745908" y="2026467"/>
                      <a:pt x="765918" y="2032244"/>
                      <a:pt x="786166" y="2037107"/>
                    </a:cubicBezTo>
                    <a:cubicBezTo>
                      <a:pt x="826623" y="2047013"/>
                      <a:pt x="867635" y="2054636"/>
                      <a:pt x="908985" y="2059480"/>
                    </a:cubicBezTo>
                    <a:cubicBezTo>
                      <a:pt x="950315" y="2064403"/>
                      <a:pt x="991923" y="2066904"/>
                      <a:pt x="1033512" y="2066964"/>
                    </a:cubicBezTo>
                    <a:cubicBezTo>
                      <a:pt x="1075100" y="2066884"/>
                      <a:pt x="1116688" y="2064403"/>
                      <a:pt x="1158038" y="2059480"/>
                    </a:cubicBezTo>
                    <a:cubicBezTo>
                      <a:pt x="1199388" y="2054616"/>
                      <a:pt x="1240400" y="2047013"/>
                      <a:pt x="1280857" y="2037107"/>
                    </a:cubicBezTo>
                    <a:cubicBezTo>
                      <a:pt x="1301105" y="2032244"/>
                      <a:pt x="1321115" y="2026467"/>
                      <a:pt x="1341046" y="2020432"/>
                    </a:cubicBezTo>
                    <a:cubicBezTo>
                      <a:pt x="1360877" y="2014080"/>
                      <a:pt x="1380649" y="2007490"/>
                      <a:pt x="1400064" y="1999986"/>
                    </a:cubicBezTo>
                    <a:cubicBezTo>
                      <a:pt x="1419577" y="1992720"/>
                      <a:pt x="1438734" y="1984522"/>
                      <a:pt x="1457791" y="1976125"/>
                    </a:cubicBezTo>
                    <a:cubicBezTo>
                      <a:pt x="1476709" y="1967450"/>
                      <a:pt x="1495508" y="1958477"/>
                      <a:pt x="1513890" y="1948690"/>
                    </a:cubicBezTo>
                    <a:cubicBezTo>
                      <a:pt x="1518476" y="1946249"/>
                      <a:pt x="1523121" y="1943866"/>
                      <a:pt x="1527687" y="1941365"/>
                    </a:cubicBezTo>
                    <a:lnTo>
                      <a:pt x="1541324" y="1933742"/>
                    </a:lnTo>
                    <a:lnTo>
                      <a:pt x="1548133" y="1929931"/>
                    </a:lnTo>
                    <a:lnTo>
                      <a:pt x="1554863" y="1925961"/>
                    </a:lnTo>
                    <a:lnTo>
                      <a:pt x="1568302" y="1918020"/>
                    </a:lnTo>
                    <a:cubicBezTo>
                      <a:pt x="1586029" y="1907122"/>
                      <a:pt x="1603617" y="1895946"/>
                      <a:pt x="1620670" y="1884035"/>
                    </a:cubicBezTo>
                    <a:cubicBezTo>
                      <a:pt x="1637861" y="1872303"/>
                      <a:pt x="1654476" y="1859757"/>
                      <a:pt x="1670953" y="1847052"/>
                    </a:cubicBezTo>
                    <a:cubicBezTo>
                      <a:pt x="1687231" y="1834090"/>
                      <a:pt x="1703350" y="1820908"/>
                      <a:pt x="1718834" y="1807012"/>
                    </a:cubicBezTo>
                    <a:cubicBezTo>
                      <a:pt x="1734496" y="1793295"/>
                      <a:pt x="1749484" y="1778864"/>
                      <a:pt x="1764313" y="1764273"/>
                    </a:cubicBezTo>
                    <a:cubicBezTo>
                      <a:pt x="1778903" y="1749444"/>
                      <a:pt x="1793335" y="1734437"/>
                      <a:pt x="1807052" y="1718794"/>
                    </a:cubicBezTo>
                    <a:cubicBezTo>
                      <a:pt x="1820948" y="1703290"/>
                      <a:pt x="1834129" y="1687191"/>
                      <a:pt x="1847092" y="1670913"/>
                    </a:cubicBezTo>
                    <a:cubicBezTo>
                      <a:pt x="1859817" y="1654436"/>
                      <a:pt x="1872343" y="1637821"/>
                      <a:pt x="1884075" y="1620630"/>
                    </a:cubicBezTo>
                    <a:cubicBezTo>
                      <a:pt x="1896005" y="1603578"/>
                      <a:pt x="1907162" y="1585990"/>
                      <a:pt x="1918060" y="1568263"/>
                    </a:cubicBezTo>
                    <a:lnTo>
                      <a:pt x="1926000" y="1554823"/>
                    </a:lnTo>
                    <a:lnTo>
                      <a:pt x="1929971" y="1548094"/>
                    </a:lnTo>
                    <a:lnTo>
                      <a:pt x="1933782" y="1541285"/>
                    </a:lnTo>
                    <a:lnTo>
                      <a:pt x="1941405" y="1527647"/>
                    </a:lnTo>
                    <a:cubicBezTo>
                      <a:pt x="1943906" y="1523081"/>
                      <a:pt x="1946288" y="1518456"/>
                      <a:pt x="1948730" y="1513850"/>
                    </a:cubicBezTo>
                    <a:cubicBezTo>
                      <a:pt x="1958517" y="1495468"/>
                      <a:pt x="1967489" y="1476669"/>
                      <a:pt x="1976164" y="1457751"/>
                    </a:cubicBezTo>
                    <a:cubicBezTo>
                      <a:pt x="1984581" y="1438714"/>
                      <a:pt x="1992760" y="1419557"/>
                      <a:pt x="2000026" y="1400024"/>
                    </a:cubicBezTo>
                    <a:cubicBezTo>
                      <a:pt x="2007529" y="1380589"/>
                      <a:pt x="2014120" y="1360838"/>
                      <a:pt x="2020472" y="1341006"/>
                    </a:cubicBezTo>
                    <a:cubicBezTo>
                      <a:pt x="2026507" y="1321076"/>
                      <a:pt x="2032284" y="1301066"/>
                      <a:pt x="2037147" y="1280817"/>
                    </a:cubicBezTo>
                    <a:cubicBezTo>
                      <a:pt x="2057157" y="1199944"/>
                      <a:pt x="2066864" y="1116629"/>
                      <a:pt x="2067023" y="1033492"/>
                    </a:cubicBezTo>
                    <a:cubicBezTo>
                      <a:pt x="2066864" y="950335"/>
                      <a:pt x="2057157" y="867020"/>
                      <a:pt x="2037147" y="786166"/>
                    </a:cubicBezTo>
                    <a:close/>
                    <a:moveTo>
                      <a:pt x="1981921" y="1329016"/>
                    </a:moveTo>
                    <a:cubicBezTo>
                      <a:pt x="1975807" y="1348073"/>
                      <a:pt x="1969494" y="1367051"/>
                      <a:pt x="1962288" y="1385711"/>
                    </a:cubicBezTo>
                    <a:cubicBezTo>
                      <a:pt x="1955321" y="1404470"/>
                      <a:pt x="1947440" y="1422873"/>
                      <a:pt x="1939360" y="1441155"/>
                    </a:cubicBezTo>
                    <a:cubicBezTo>
                      <a:pt x="1931023" y="1459339"/>
                      <a:pt x="1922407" y="1477404"/>
                      <a:pt x="1912998" y="1495051"/>
                    </a:cubicBezTo>
                    <a:cubicBezTo>
                      <a:pt x="1910655" y="1499458"/>
                      <a:pt x="1908373" y="1503925"/>
                      <a:pt x="1905971" y="1508292"/>
                    </a:cubicBezTo>
                    <a:lnTo>
                      <a:pt x="1898646" y="1521394"/>
                    </a:lnTo>
                    <a:lnTo>
                      <a:pt x="1894973" y="1527945"/>
                    </a:lnTo>
                    <a:lnTo>
                      <a:pt x="1891162" y="1534396"/>
                    </a:lnTo>
                    <a:lnTo>
                      <a:pt x="1883519" y="1547319"/>
                    </a:lnTo>
                    <a:cubicBezTo>
                      <a:pt x="1873037" y="1564352"/>
                      <a:pt x="1862318" y="1581245"/>
                      <a:pt x="1850844" y="1597642"/>
                    </a:cubicBezTo>
                    <a:cubicBezTo>
                      <a:pt x="1839568" y="1614178"/>
                      <a:pt x="1827519" y="1630139"/>
                      <a:pt x="1815291" y="1645980"/>
                    </a:cubicBezTo>
                    <a:cubicBezTo>
                      <a:pt x="1802824" y="1661623"/>
                      <a:pt x="1790159" y="1677106"/>
                      <a:pt x="1776819" y="1692015"/>
                    </a:cubicBezTo>
                    <a:cubicBezTo>
                      <a:pt x="1763638" y="1707062"/>
                      <a:pt x="1749762" y="1721474"/>
                      <a:pt x="1735747" y="1735727"/>
                    </a:cubicBezTo>
                    <a:cubicBezTo>
                      <a:pt x="1721494" y="1749742"/>
                      <a:pt x="1707082" y="1763638"/>
                      <a:pt x="1692035" y="1776799"/>
                    </a:cubicBezTo>
                    <a:cubicBezTo>
                      <a:pt x="1677146" y="1790159"/>
                      <a:pt x="1661642" y="1802824"/>
                      <a:pt x="1646000" y="1815271"/>
                    </a:cubicBezTo>
                    <a:cubicBezTo>
                      <a:pt x="1630158" y="1827479"/>
                      <a:pt x="1614198" y="1839549"/>
                      <a:pt x="1597662" y="1850824"/>
                    </a:cubicBezTo>
                    <a:cubicBezTo>
                      <a:pt x="1581265" y="1862278"/>
                      <a:pt x="1564372" y="1873018"/>
                      <a:pt x="1547339" y="1883499"/>
                    </a:cubicBezTo>
                    <a:lnTo>
                      <a:pt x="1534416" y="1891142"/>
                    </a:lnTo>
                    <a:lnTo>
                      <a:pt x="1527965" y="1894953"/>
                    </a:lnTo>
                    <a:lnTo>
                      <a:pt x="1521414" y="1898626"/>
                    </a:lnTo>
                    <a:lnTo>
                      <a:pt x="1508312" y="1905951"/>
                    </a:lnTo>
                    <a:cubicBezTo>
                      <a:pt x="1503925" y="1908353"/>
                      <a:pt x="1499478" y="1910636"/>
                      <a:pt x="1495071" y="1912978"/>
                    </a:cubicBezTo>
                    <a:cubicBezTo>
                      <a:pt x="1477424" y="1922388"/>
                      <a:pt x="1459339" y="1930983"/>
                      <a:pt x="1441175" y="1939340"/>
                    </a:cubicBezTo>
                    <a:cubicBezTo>
                      <a:pt x="1422873" y="1947420"/>
                      <a:pt x="1404470" y="1955301"/>
                      <a:pt x="1385731" y="1962269"/>
                    </a:cubicBezTo>
                    <a:cubicBezTo>
                      <a:pt x="1367071" y="1969475"/>
                      <a:pt x="1348073" y="1975807"/>
                      <a:pt x="1329036" y="1981901"/>
                    </a:cubicBezTo>
                    <a:cubicBezTo>
                      <a:pt x="1309880" y="1987698"/>
                      <a:pt x="1290664" y="1993256"/>
                      <a:pt x="1271210" y="1997921"/>
                    </a:cubicBezTo>
                    <a:cubicBezTo>
                      <a:pt x="1232361" y="2007450"/>
                      <a:pt x="1192936" y="2014755"/>
                      <a:pt x="1153214" y="2019420"/>
                    </a:cubicBezTo>
                    <a:cubicBezTo>
                      <a:pt x="1113492" y="2024164"/>
                      <a:pt x="1073492" y="2026547"/>
                      <a:pt x="1033512" y="2026626"/>
                    </a:cubicBezTo>
                    <a:cubicBezTo>
                      <a:pt x="993531" y="2026547"/>
                      <a:pt x="953531" y="2024164"/>
                      <a:pt x="913809" y="2019420"/>
                    </a:cubicBezTo>
                    <a:cubicBezTo>
                      <a:pt x="874067" y="2014755"/>
                      <a:pt x="834662" y="2007430"/>
                      <a:pt x="795814" y="1997921"/>
                    </a:cubicBezTo>
                    <a:cubicBezTo>
                      <a:pt x="776360" y="1993256"/>
                      <a:pt x="757124" y="1987698"/>
                      <a:pt x="737987" y="1981901"/>
                    </a:cubicBezTo>
                    <a:cubicBezTo>
                      <a:pt x="718930" y="1975787"/>
                      <a:pt x="699952" y="1969475"/>
                      <a:pt x="681292" y="1962269"/>
                    </a:cubicBezTo>
                    <a:cubicBezTo>
                      <a:pt x="662533" y="1955301"/>
                      <a:pt x="644131" y="1947420"/>
                      <a:pt x="625848" y="1939340"/>
                    </a:cubicBezTo>
                    <a:cubicBezTo>
                      <a:pt x="607664" y="1931003"/>
                      <a:pt x="589600" y="1922388"/>
                      <a:pt x="571952" y="1912978"/>
                    </a:cubicBezTo>
                    <a:cubicBezTo>
                      <a:pt x="567545" y="1910636"/>
                      <a:pt x="563079" y="1908353"/>
                      <a:pt x="558711" y="1905951"/>
                    </a:cubicBezTo>
                    <a:lnTo>
                      <a:pt x="545610" y="1898626"/>
                    </a:lnTo>
                    <a:lnTo>
                      <a:pt x="539059" y="1894953"/>
                    </a:lnTo>
                    <a:lnTo>
                      <a:pt x="532607" y="1891142"/>
                    </a:lnTo>
                    <a:lnTo>
                      <a:pt x="519684" y="1883499"/>
                    </a:lnTo>
                    <a:cubicBezTo>
                      <a:pt x="502652" y="1873018"/>
                      <a:pt x="485758" y="1862298"/>
                      <a:pt x="469361" y="1850824"/>
                    </a:cubicBezTo>
                    <a:cubicBezTo>
                      <a:pt x="452825" y="1839549"/>
                      <a:pt x="436865" y="1827499"/>
                      <a:pt x="421024" y="1815271"/>
                    </a:cubicBezTo>
                    <a:cubicBezTo>
                      <a:pt x="405381" y="1802804"/>
                      <a:pt x="389897" y="1790139"/>
                      <a:pt x="374989" y="1776799"/>
                    </a:cubicBezTo>
                    <a:cubicBezTo>
                      <a:pt x="359941" y="1763618"/>
                      <a:pt x="345530" y="1749742"/>
                      <a:pt x="331276" y="1735727"/>
                    </a:cubicBezTo>
                    <a:cubicBezTo>
                      <a:pt x="317261" y="1721474"/>
                      <a:pt x="303366" y="1707062"/>
                      <a:pt x="290204" y="1692015"/>
                    </a:cubicBezTo>
                    <a:cubicBezTo>
                      <a:pt x="276844" y="1677126"/>
                      <a:pt x="264179" y="1661623"/>
                      <a:pt x="251733" y="1645980"/>
                    </a:cubicBezTo>
                    <a:cubicBezTo>
                      <a:pt x="239524" y="1630139"/>
                      <a:pt x="227455" y="1614178"/>
                      <a:pt x="216179" y="1597642"/>
                    </a:cubicBezTo>
                    <a:cubicBezTo>
                      <a:pt x="204725" y="1581245"/>
                      <a:pt x="193986" y="1564352"/>
                      <a:pt x="183504" y="1547319"/>
                    </a:cubicBezTo>
                    <a:lnTo>
                      <a:pt x="175862" y="1534396"/>
                    </a:lnTo>
                    <a:lnTo>
                      <a:pt x="172050" y="1527945"/>
                    </a:lnTo>
                    <a:lnTo>
                      <a:pt x="168378" y="1521394"/>
                    </a:lnTo>
                    <a:lnTo>
                      <a:pt x="161053" y="1508292"/>
                    </a:lnTo>
                    <a:cubicBezTo>
                      <a:pt x="158651" y="1503905"/>
                      <a:pt x="156368" y="1499458"/>
                      <a:pt x="154025" y="1495051"/>
                    </a:cubicBezTo>
                    <a:cubicBezTo>
                      <a:pt x="144616" y="1477404"/>
                      <a:pt x="136020" y="1459319"/>
                      <a:pt x="127663" y="1441155"/>
                    </a:cubicBezTo>
                    <a:cubicBezTo>
                      <a:pt x="119583" y="1422853"/>
                      <a:pt x="111703" y="1404451"/>
                      <a:pt x="104735" y="1385711"/>
                    </a:cubicBezTo>
                    <a:cubicBezTo>
                      <a:pt x="97529" y="1367051"/>
                      <a:pt x="91196" y="1348054"/>
                      <a:pt x="85102" y="1329016"/>
                    </a:cubicBezTo>
                    <a:cubicBezTo>
                      <a:pt x="79305" y="1309860"/>
                      <a:pt x="73747" y="1290644"/>
                      <a:pt x="69082" y="1271190"/>
                    </a:cubicBezTo>
                    <a:cubicBezTo>
                      <a:pt x="49846" y="1193492"/>
                      <a:pt x="40536" y="1113452"/>
                      <a:pt x="40377" y="1033492"/>
                    </a:cubicBezTo>
                    <a:cubicBezTo>
                      <a:pt x="40536" y="953531"/>
                      <a:pt x="49846" y="873471"/>
                      <a:pt x="69082" y="795794"/>
                    </a:cubicBezTo>
                    <a:cubicBezTo>
                      <a:pt x="73747" y="776340"/>
                      <a:pt x="79305" y="757104"/>
                      <a:pt x="85102" y="737967"/>
                    </a:cubicBezTo>
                    <a:cubicBezTo>
                      <a:pt x="91216" y="718910"/>
                      <a:pt x="97529" y="699933"/>
                      <a:pt x="104735" y="681272"/>
                    </a:cubicBezTo>
                    <a:cubicBezTo>
                      <a:pt x="111703" y="662513"/>
                      <a:pt x="119583" y="644111"/>
                      <a:pt x="127663" y="625828"/>
                    </a:cubicBezTo>
                    <a:cubicBezTo>
                      <a:pt x="136000" y="607644"/>
                      <a:pt x="144616" y="589580"/>
                      <a:pt x="154025" y="571932"/>
                    </a:cubicBezTo>
                    <a:cubicBezTo>
                      <a:pt x="156368" y="567525"/>
                      <a:pt x="158651" y="563059"/>
                      <a:pt x="161053" y="558691"/>
                    </a:cubicBezTo>
                    <a:lnTo>
                      <a:pt x="168378" y="545590"/>
                    </a:lnTo>
                    <a:lnTo>
                      <a:pt x="172050" y="539039"/>
                    </a:lnTo>
                    <a:lnTo>
                      <a:pt x="175862" y="532587"/>
                    </a:lnTo>
                    <a:lnTo>
                      <a:pt x="183504" y="519664"/>
                    </a:lnTo>
                    <a:cubicBezTo>
                      <a:pt x="193986" y="502632"/>
                      <a:pt x="204705" y="485738"/>
                      <a:pt x="216179" y="469341"/>
                    </a:cubicBezTo>
                    <a:cubicBezTo>
                      <a:pt x="227455" y="452805"/>
                      <a:pt x="239504" y="436845"/>
                      <a:pt x="251733" y="421004"/>
                    </a:cubicBezTo>
                    <a:cubicBezTo>
                      <a:pt x="264199" y="405361"/>
                      <a:pt x="276864" y="389877"/>
                      <a:pt x="290204" y="374969"/>
                    </a:cubicBezTo>
                    <a:cubicBezTo>
                      <a:pt x="303385" y="359922"/>
                      <a:pt x="317261" y="345510"/>
                      <a:pt x="331276" y="331257"/>
                    </a:cubicBezTo>
                    <a:cubicBezTo>
                      <a:pt x="345530" y="317242"/>
                      <a:pt x="359941" y="303346"/>
                      <a:pt x="374989" y="290184"/>
                    </a:cubicBezTo>
                    <a:cubicBezTo>
                      <a:pt x="389877" y="276825"/>
                      <a:pt x="405381" y="264160"/>
                      <a:pt x="421024" y="251713"/>
                    </a:cubicBezTo>
                    <a:cubicBezTo>
                      <a:pt x="436865" y="239504"/>
                      <a:pt x="452825" y="227435"/>
                      <a:pt x="469361" y="216159"/>
                    </a:cubicBezTo>
                    <a:cubicBezTo>
                      <a:pt x="485758" y="204705"/>
                      <a:pt x="502652" y="193966"/>
                      <a:pt x="519684" y="183484"/>
                    </a:cubicBezTo>
                    <a:lnTo>
                      <a:pt x="532607" y="175842"/>
                    </a:lnTo>
                    <a:lnTo>
                      <a:pt x="539059" y="172030"/>
                    </a:lnTo>
                    <a:lnTo>
                      <a:pt x="545610" y="168358"/>
                    </a:lnTo>
                    <a:lnTo>
                      <a:pt x="558711" y="161033"/>
                    </a:lnTo>
                    <a:cubicBezTo>
                      <a:pt x="563098" y="158631"/>
                      <a:pt x="567545" y="156348"/>
                      <a:pt x="571952" y="154005"/>
                    </a:cubicBezTo>
                    <a:cubicBezTo>
                      <a:pt x="589600" y="144596"/>
                      <a:pt x="607684" y="136000"/>
                      <a:pt x="625848" y="127643"/>
                    </a:cubicBezTo>
                    <a:cubicBezTo>
                      <a:pt x="644151" y="119564"/>
                      <a:pt x="662553" y="111683"/>
                      <a:pt x="681292" y="104715"/>
                    </a:cubicBezTo>
                    <a:cubicBezTo>
                      <a:pt x="699952" y="97509"/>
                      <a:pt x="718950" y="91176"/>
                      <a:pt x="737987" y="85082"/>
                    </a:cubicBezTo>
                    <a:cubicBezTo>
                      <a:pt x="757144" y="79286"/>
                      <a:pt x="776360" y="73727"/>
                      <a:pt x="795814" y="69062"/>
                    </a:cubicBezTo>
                    <a:cubicBezTo>
                      <a:pt x="834662" y="59554"/>
                      <a:pt x="874087" y="52228"/>
                      <a:pt x="913809" y="47563"/>
                    </a:cubicBezTo>
                    <a:cubicBezTo>
                      <a:pt x="953531" y="42819"/>
                      <a:pt x="993531" y="40437"/>
                      <a:pt x="1033512" y="40357"/>
                    </a:cubicBezTo>
                    <a:cubicBezTo>
                      <a:pt x="1073492" y="40437"/>
                      <a:pt x="1113492" y="42819"/>
                      <a:pt x="1153214" y="47563"/>
                    </a:cubicBezTo>
                    <a:cubicBezTo>
                      <a:pt x="1192956" y="52228"/>
                      <a:pt x="1232361" y="59554"/>
                      <a:pt x="1271210" y="69062"/>
                    </a:cubicBezTo>
                    <a:cubicBezTo>
                      <a:pt x="1290664" y="73727"/>
                      <a:pt x="1309899" y="79286"/>
                      <a:pt x="1329036" y="85082"/>
                    </a:cubicBezTo>
                    <a:cubicBezTo>
                      <a:pt x="1348093" y="91196"/>
                      <a:pt x="1367071" y="97509"/>
                      <a:pt x="1385731" y="104715"/>
                    </a:cubicBezTo>
                    <a:cubicBezTo>
                      <a:pt x="1404490" y="111683"/>
                      <a:pt x="1422892" y="119564"/>
                      <a:pt x="1441175" y="127643"/>
                    </a:cubicBezTo>
                    <a:cubicBezTo>
                      <a:pt x="1459359" y="135981"/>
                      <a:pt x="1477424" y="144596"/>
                      <a:pt x="1495071" y="154005"/>
                    </a:cubicBezTo>
                    <a:cubicBezTo>
                      <a:pt x="1499478" y="156348"/>
                      <a:pt x="1503945" y="158631"/>
                      <a:pt x="1508312" y="161033"/>
                    </a:cubicBezTo>
                    <a:lnTo>
                      <a:pt x="1521414" y="168358"/>
                    </a:lnTo>
                    <a:lnTo>
                      <a:pt x="1527965" y="172030"/>
                    </a:lnTo>
                    <a:lnTo>
                      <a:pt x="1534416" y="175842"/>
                    </a:lnTo>
                    <a:lnTo>
                      <a:pt x="1547339" y="183484"/>
                    </a:lnTo>
                    <a:cubicBezTo>
                      <a:pt x="1564372" y="193966"/>
                      <a:pt x="1581265" y="204685"/>
                      <a:pt x="1597662" y="216159"/>
                    </a:cubicBezTo>
                    <a:cubicBezTo>
                      <a:pt x="1614198" y="227435"/>
                      <a:pt x="1630158" y="239485"/>
                      <a:pt x="1646000" y="251713"/>
                    </a:cubicBezTo>
                    <a:cubicBezTo>
                      <a:pt x="1661642" y="264179"/>
                      <a:pt x="1677126" y="276844"/>
                      <a:pt x="1692035" y="290184"/>
                    </a:cubicBezTo>
                    <a:cubicBezTo>
                      <a:pt x="1707082" y="303366"/>
                      <a:pt x="1721494" y="317242"/>
                      <a:pt x="1735747" y="331257"/>
                    </a:cubicBezTo>
                    <a:cubicBezTo>
                      <a:pt x="1749762" y="345510"/>
                      <a:pt x="1763658" y="359922"/>
                      <a:pt x="1776819" y="374969"/>
                    </a:cubicBezTo>
                    <a:cubicBezTo>
                      <a:pt x="1790179" y="389857"/>
                      <a:pt x="1802844" y="405361"/>
                      <a:pt x="1815291" y="421004"/>
                    </a:cubicBezTo>
                    <a:cubicBezTo>
                      <a:pt x="1827499" y="436845"/>
                      <a:pt x="1839568" y="452805"/>
                      <a:pt x="1850844" y="469341"/>
                    </a:cubicBezTo>
                    <a:cubicBezTo>
                      <a:pt x="1862298" y="485738"/>
                      <a:pt x="1873037" y="502632"/>
                      <a:pt x="1883519" y="519664"/>
                    </a:cubicBezTo>
                    <a:lnTo>
                      <a:pt x="1891162" y="532587"/>
                    </a:lnTo>
                    <a:lnTo>
                      <a:pt x="1894973" y="539039"/>
                    </a:lnTo>
                    <a:lnTo>
                      <a:pt x="1898646" y="545590"/>
                    </a:lnTo>
                    <a:lnTo>
                      <a:pt x="1905971" y="558691"/>
                    </a:lnTo>
                    <a:cubicBezTo>
                      <a:pt x="1908373" y="563079"/>
                      <a:pt x="1910655" y="567525"/>
                      <a:pt x="1912998" y="571932"/>
                    </a:cubicBezTo>
                    <a:cubicBezTo>
                      <a:pt x="1922407" y="589580"/>
                      <a:pt x="1931003" y="607664"/>
                      <a:pt x="1939360" y="625828"/>
                    </a:cubicBezTo>
                    <a:cubicBezTo>
                      <a:pt x="1947440" y="644131"/>
                      <a:pt x="1955321" y="662533"/>
                      <a:pt x="1962288" y="681272"/>
                    </a:cubicBezTo>
                    <a:cubicBezTo>
                      <a:pt x="1969494" y="699933"/>
                      <a:pt x="1975827" y="718930"/>
                      <a:pt x="1981921" y="737967"/>
                    </a:cubicBezTo>
                    <a:cubicBezTo>
                      <a:pt x="1987718" y="757124"/>
                      <a:pt x="1993276" y="776340"/>
                      <a:pt x="1997941" y="795794"/>
                    </a:cubicBezTo>
                    <a:cubicBezTo>
                      <a:pt x="2017177" y="873491"/>
                      <a:pt x="2026487" y="953531"/>
                      <a:pt x="2026646" y="1033492"/>
                    </a:cubicBezTo>
                    <a:cubicBezTo>
                      <a:pt x="2026487" y="1113452"/>
                      <a:pt x="2017177" y="1193512"/>
                      <a:pt x="1997941" y="1271190"/>
                    </a:cubicBezTo>
                    <a:cubicBezTo>
                      <a:pt x="1993276" y="1290644"/>
                      <a:pt x="1987718" y="1309880"/>
                      <a:pt x="1981921" y="1329016"/>
                    </a:cubicBezTo>
                    <a:close/>
                  </a:path>
                </a:pathLst>
              </a:custGeom>
              <a:solidFill>
                <a:srgbClr val="39A3B5"/>
              </a:solidFill>
              <a:ln w="19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743407">
                  <a:defRPr/>
                </a:pPr>
                <a:endParaRPr lang="en-US" sz="1463" kern="0">
                  <a:solidFill>
                    <a:srgbClr val="13161E"/>
                  </a:solidFill>
                  <a:latin typeface="Microsoft Sans Serif"/>
                </a:endParaRPr>
              </a:p>
            </p:txBody>
          </p: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7F116320-39EF-156A-E079-4E3E152C8FD6}"/>
                  </a:ext>
                </a:extLst>
              </p:cNvPr>
              <p:cNvGrpSpPr/>
              <p:nvPr/>
            </p:nvGrpSpPr>
            <p:grpSpPr>
              <a:xfrm>
                <a:off x="6256533" y="4822596"/>
                <a:ext cx="325271" cy="180890"/>
                <a:chOff x="9133761" y="3080228"/>
                <a:chExt cx="1218559" cy="677664"/>
              </a:xfrm>
              <a:solidFill>
                <a:srgbClr val="F7F8FA"/>
              </a:solidFill>
            </p:grpSpPr>
            <p:sp>
              <p:nvSpPr>
                <p:cNvPr id="24" name="Freeform: Shape 23">
                  <a:extLst>
                    <a:ext uri="{FF2B5EF4-FFF2-40B4-BE49-F238E27FC236}">
                      <a16:creationId xmlns:a16="http://schemas.microsoft.com/office/drawing/2014/main" id="{1C6236FB-854D-8E09-7852-A637095EAACE}"/>
                    </a:ext>
                  </a:extLst>
                </p:cNvPr>
                <p:cNvSpPr/>
                <p:nvPr/>
              </p:nvSpPr>
              <p:spPr>
                <a:xfrm>
                  <a:off x="9685127" y="3080228"/>
                  <a:ext cx="667193" cy="6776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1462" h="499176">
                      <a:moveTo>
                        <a:pt x="255076" y="0"/>
                      </a:moveTo>
                      <a:cubicBezTo>
                        <a:pt x="309253" y="412"/>
                        <a:pt x="357459" y="13633"/>
                        <a:pt x="399695" y="39663"/>
                      </a:cubicBezTo>
                      <a:cubicBezTo>
                        <a:pt x="441931" y="65693"/>
                        <a:pt x="472120" y="102060"/>
                        <a:pt x="490262" y="148766"/>
                      </a:cubicBezTo>
                      <a:cubicBezTo>
                        <a:pt x="491490" y="151325"/>
                        <a:pt x="491776" y="154098"/>
                        <a:pt x="491120" y="157086"/>
                      </a:cubicBezTo>
                      <a:cubicBezTo>
                        <a:pt x="490463" y="160073"/>
                        <a:pt x="487664" y="162332"/>
                        <a:pt x="482723" y="163861"/>
                      </a:cubicBezTo>
                      <a:lnTo>
                        <a:pt x="414898" y="181015"/>
                      </a:lnTo>
                      <a:cubicBezTo>
                        <a:pt x="409903" y="181816"/>
                        <a:pt x="406362" y="181072"/>
                        <a:pt x="404277" y="178785"/>
                      </a:cubicBezTo>
                      <a:cubicBezTo>
                        <a:pt x="402192" y="176498"/>
                        <a:pt x="400706" y="174039"/>
                        <a:pt x="399820" y="171409"/>
                      </a:cubicBezTo>
                      <a:cubicBezTo>
                        <a:pt x="386457" y="145292"/>
                        <a:pt x="367735" y="124450"/>
                        <a:pt x="343654" y="108883"/>
                      </a:cubicBezTo>
                      <a:cubicBezTo>
                        <a:pt x="319573" y="93316"/>
                        <a:pt x="290047" y="85339"/>
                        <a:pt x="255076" y="84953"/>
                      </a:cubicBezTo>
                      <a:cubicBezTo>
                        <a:pt x="208529" y="86082"/>
                        <a:pt x="170599" y="102179"/>
                        <a:pt x="141288" y="133241"/>
                      </a:cubicBezTo>
                      <a:cubicBezTo>
                        <a:pt x="111976" y="164304"/>
                        <a:pt x="96856" y="203557"/>
                        <a:pt x="95927" y="251001"/>
                      </a:cubicBezTo>
                      <a:cubicBezTo>
                        <a:pt x="96784" y="299236"/>
                        <a:pt x="111876" y="338491"/>
                        <a:pt x="141202" y="368764"/>
                      </a:cubicBezTo>
                      <a:cubicBezTo>
                        <a:pt x="170528" y="399037"/>
                        <a:pt x="208943" y="414647"/>
                        <a:pt x="256448" y="415595"/>
                      </a:cubicBezTo>
                      <a:cubicBezTo>
                        <a:pt x="289718" y="415151"/>
                        <a:pt x="318701" y="406599"/>
                        <a:pt x="343397" y="389939"/>
                      </a:cubicBezTo>
                      <a:cubicBezTo>
                        <a:pt x="368093" y="373278"/>
                        <a:pt x="386443" y="351169"/>
                        <a:pt x="398448" y="323612"/>
                      </a:cubicBezTo>
                      <a:lnTo>
                        <a:pt x="266738" y="323612"/>
                      </a:lnTo>
                      <a:cubicBezTo>
                        <a:pt x="262508" y="323483"/>
                        <a:pt x="258963" y="322027"/>
                        <a:pt x="256105" y="319245"/>
                      </a:cubicBezTo>
                      <a:cubicBezTo>
                        <a:pt x="253247" y="316462"/>
                        <a:pt x="251760" y="313122"/>
                        <a:pt x="251646" y="309226"/>
                      </a:cubicBezTo>
                      <a:lnTo>
                        <a:pt x="251646" y="264026"/>
                      </a:lnTo>
                      <a:cubicBezTo>
                        <a:pt x="251760" y="259827"/>
                        <a:pt x="253247" y="256400"/>
                        <a:pt x="256105" y="253743"/>
                      </a:cubicBezTo>
                      <a:cubicBezTo>
                        <a:pt x="258963" y="251087"/>
                        <a:pt x="262508" y="249717"/>
                        <a:pt x="266738" y="249631"/>
                      </a:cubicBezTo>
                      <a:lnTo>
                        <a:pt x="473132" y="249631"/>
                      </a:lnTo>
                      <a:cubicBezTo>
                        <a:pt x="477356" y="249717"/>
                        <a:pt x="480896" y="251087"/>
                        <a:pt x="483751" y="253743"/>
                      </a:cubicBezTo>
                      <a:cubicBezTo>
                        <a:pt x="486606" y="256400"/>
                        <a:pt x="488090" y="259827"/>
                        <a:pt x="488204" y="264026"/>
                      </a:cubicBezTo>
                      <a:lnTo>
                        <a:pt x="488204" y="474493"/>
                      </a:lnTo>
                      <a:cubicBezTo>
                        <a:pt x="488090" y="478720"/>
                        <a:pt x="486606" y="482263"/>
                        <a:pt x="483751" y="485119"/>
                      </a:cubicBezTo>
                      <a:cubicBezTo>
                        <a:pt x="480896" y="487976"/>
                        <a:pt x="477356" y="489461"/>
                        <a:pt x="473132" y="489575"/>
                      </a:cubicBezTo>
                      <a:lnTo>
                        <a:pt x="419009" y="489575"/>
                      </a:lnTo>
                      <a:cubicBezTo>
                        <a:pt x="414784" y="489461"/>
                        <a:pt x="411244" y="487976"/>
                        <a:pt x="408390" y="485119"/>
                      </a:cubicBezTo>
                      <a:cubicBezTo>
                        <a:pt x="405535" y="482263"/>
                        <a:pt x="404051" y="478720"/>
                        <a:pt x="403937" y="474493"/>
                      </a:cubicBezTo>
                      <a:lnTo>
                        <a:pt x="403937" y="425186"/>
                      </a:lnTo>
                      <a:cubicBezTo>
                        <a:pt x="388701" y="446852"/>
                        <a:pt x="368064" y="464493"/>
                        <a:pt x="342025" y="478110"/>
                      </a:cubicBezTo>
                      <a:cubicBezTo>
                        <a:pt x="315986" y="491726"/>
                        <a:pt x="283344" y="498748"/>
                        <a:pt x="244100" y="499176"/>
                      </a:cubicBezTo>
                      <a:cubicBezTo>
                        <a:pt x="197031" y="498711"/>
                        <a:pt x="155204" y="487609"/>
                        <a:pt x="118619" y="465869"/>
                      </a:cubicBezTo>
                      <a:cubicBezTo>
                        <a:pt x="82034" y="444129"/>
                        <a:pt x="53223" y="414541"/>
                        <a:pt x="32187" y="377106"/>
                      </a:cubicBezTo>
                      <a:cubicBezTo>
                        <a:pt x="11152" y="339672"/>
                        <a:pt x="422" y="297180"/>
                        <a:pt x="0" y="249631"/>
                      </a:cubicBezTo>
                      <a:cubicBezTo>
                        <a:pt x="495" y="202051"/>
                        <a:pt x="11918" y="159537"/>
                        <a:pt x="34271" y="122090"/>
                      </a:cubicBezTo>
                      <a:cubicBezTo>
                        <a:pt x="56624" y="84644"/>
                        <a:pt x="86942" y="55050"/>
                        <a:pt x="125225" y="33308"/>
                      </a:cubicBezTo>
                      <a:cubicBezTo>
                        <a:pt x="163508" y="11567"/>
                        <a:pt x="206792" y="464"/>
                        <a:pt x="255076" y="0"/>
                      </a:cubicBezTo>
                      <a:close/>
                    </a:path>
                  </a:pathLst>
                </a:cu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algn="ctr" defTabSz="743407">
                    <a:lnSpc>
                      <a:spcPct val="96000"/>
                    </a:lnSpc>
                    <a:defRPr/>
                  </a:pPr>
                  <a:endParaRPr lang="en-US" sz="1463" kern="0" err="1">
                    <a:solidFill>
                      <a:srgbClr val="F7F8FA"/>
                    </a:solidFill>
                    <a:latin typeface="Microsoft Sans Serif"/>
                    <a:cs typeface="Microsoft Sans Serif" panose="020B0604020202020204" pitchFamily="34" charset="0"/>
                  </a:endParaRPr>
                </a:p>
              </p:txBody>
            </p:sp>
            <p:sp>
              <p:nvSpPr>
                <p:cNvPr id="26" name="Freeform: Shape 25">
                  <a:extLst>
                    <a:ext uri="{FF2B5EF4-FFF2-40B4-BE49-F238E27FC236}">
                      <a16:creationId xmlns:a16="http://schemas.microsoft.com/office/drawing/2014/main" id="{5F87139C-D49A-2A28-29AD-222549317534}"/>
                    </a:ext>
                  </a:extLst>
                </p:cNvPr>
                <p:cNvSpPr/>
                <p:nvPr/>
              </p:nvSpPr>
              <p:spPr>
                <a:xfrm>
                  <a:off x="9133761" y="3093255"/>
                  <a:ext cx="506359" cy="66463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2990" h="489580">
                      <a:moveTo>
                        <a:pt x="196786" y="5"/>
                      </a:moveTo>
                      <a:lnTo>
                        <a:pt x="266770" y="5"/>
                      </a:lnTo>
                      <a:cubicBezTo>
                        <a:pt x="273002" y="476"/>
                        <a:pt x="276832" y="3304"/>
                        <a:pt x="278261" y="8488"/>
                      </a:cubicBezTo>
                      <a:cubicBezTo>
                        <a:pt x="279690" y="13672"/>
                        <a:pt x="278376" y="18385"/>
                        <a:pt x="274317" y="22627"/>
                      </a:cubicBezTo>
                      <a:cubicBezTo>
                        <a:pt x="268608" y="28234"/>
                        <a:pt x="255326" y="41700"/>
                        <a:pt x="234472" y="63025"/>
                      </a:cubicBezTo>
                      <a:cubicBezTo>
                        <a:pt x="213617" y="84350"/>
                        <a:pt x="192000" y="107315"/>
                        <a:pt x="169621" y="131919"/>
                      </a:cubicBezTo>
                      <a:cubicBezTo>
                        <a:pt x="147242" y="156523"/>
                        <a:pt x="130911" y="176548"/>
                        <a:pt x="120627" y="191993"/>
                      </a:cubicBezTo>
                      <a:cubicBezTo>
                        <a:pt x="133935" y="182404"/>
                        <a:pt x="147972" y="175212"/>
                        <a:pt x="162738" y="170417"/>
                      </a:cubicBezTo>
                      <a:cubicBezTo>
                        <a:pt x="177503" y="165623"/>
                        <a:pt x="193427" y="163225"/>
                        <a:pt x="210508" y="163225"/>
                      </a:cubicBezTo>
                      <a:cubicBezTo>
                        <a:pt x="240802" y="163474"/>
                        <a:pt x="268155" y="170207"/>
                        <a:pt x="292568" y="183424"/>
                      </a:cubicBezTo>
                      <a:cubicBezTo>
                        <a:pt x="316982" y="196641"/>
                        <a:pt x="336403" y="214851"/>
                        <a:pt x="350833" y="238055"/>
                      </a:cubicBezTo>
                      <a:cubicBezTo>
                        <a:pt x="365262" y="261258"/>
                        <a:pt x="372648" y="287964"/>
                        <a:pt x="372990" y="318171"/>
                      </a:cubicBezTo>
                      <a:cubicBezTo>
                        <a:pt x="372712" y="350096"/>
                        <a:pt x="364742" y="378936"/>
                        <a:pt x="349080" y="404693"/>
                      </a:cubicBezTo>
                      <a:cubicBezTo>
                        <a:pt x="333419" y="430450"/>
                        <a:pt x="311737" y="450946"/>
                        <a:pt x="284033" y="466182"/>
                      </a:cubicBezTo>
                      <a:cubicBezTo>
                        <a:pt x="256329" y="481418"/>
                        <a:pt x="224273" y="489218"/>
                        <a:pt x="187867" y="489580"/>
                      </a:cubicBezTo>
                      <a:cubicBezTo>
                        <a:pt x="131721" y="488471"/>
                        <a:pt x="86605" y="470995"/>
                        <a:pt x="52518" y="437153"/>
                      </a:cubicBezTo>
                      <a:cubicBezTo>
                        <a:pt x="18432" y="403311"/>
                        <a:pt x="926" y="359763"/>
                        <a:pt x="0" y="306507"/>
                      </a:cubicBezTo>
                      <a:cubicBezTo>
                        <a:pt x="791" y="264613"/>
                        <a:pt x="10478" y="225404"/>
                        <a:pt x="29063" y="188879"/>
                      </a:cubicBezTo>
                      <a:cubicBezTo>
                        <a:pt x="47648" y="152354"/>
                        <a:pt x="70388" y="118841"/>
                        <a:pt x="97282" y="88340"/>
                      </a:cubicBezTo>
                      <a:cubicBezTo>
                        <a:pt x="124177" y="57840"/>
                        <a:pt x="150484" y="30680"/>
                        <a:pt x="176203" y="6859"/>
                      </a:cubicBezTo>
                      <a:cubicBezTo>
                        <a:pt x="178904" y="4174"/>
                        <a:pt x="181906" y="2346"/>
                        <a:pt x="185208" y="1375"/>
                      </a:cubicBezTo>
                      <a:cubicBezTo>
                        <a:pt x="188510" y="405"/>
                        <a:pt x="192369" y="-52"/>
                        <a:pt x="196786" y="5"/>
                      </a:cubicBezTo>
                      <a:close/>
                      <a:moveTo>
                        <a:pt x="187867" y="231034"/>
                      </a:moveTo>
                      <a:cubicBezTo>
                        <a:pt x="160265" y="231763"/>
                        <a:pt x="137938" y="240768"/>
                        <a:pt x="120885" y="258050"/>
                      </a:cubicBezTo>
                      <a:cubicBezTo>
                        <a:pt x="103832" y="275331"/>
                        <a:pt x="95055" y="296516"/>
                        <a:pt x="94555" y="321602"/>
                      </a:cubicBezTo>
                      <a:cubicBezTo>
                        <a:pt x="95055" y="346717"/>
                        <a:pt x="103832" y="368015"/>
                        <a:pt x="120885" y="385497"/>
                      </a:cubicBezTo>
                      <a:cubicBezTo>
                        <a:pt x="137938" y="402979"/>
                        <a:pt x="160265" y="412099"/>
                        <a:pt x="187867" y="412857"/>
                      </a:cubicBezTo>
                      <a:cubicBezTo>
                        <a:pt x="215140" y="412099"/>
                        <a:pt x="237267" y="402979"/>
                        <a:pt x="254248" y="385497"/>
                      </a:cubicBezTo>
                      <a:cubicBezTo>
                        <a:pt x="271230" y="368015"/>
                        <a:pt x="279978" y="346717"/>
                        <a:pt x="280493" y="321602"/>
                      </a:cubicBezTo>
                      <a:cubicBezTo>
                        <a:pt x="280107" y="296516"/>
                        <a:pt x="271616" y="275331"/>
                        <a:pt x="255020" y="258050"/>
                      </a:cubicBezTo>
                      <a:cubicBezTo>
                        <a:pt x="238425" y="240768"/>
                        <a:pt x="216040" y="231763"/>
                        <a:pt x="187867" y="231034"/>
                      </a:cubicBezTo>
                      <a:close/>
                    </a:path>
                  </a:pathLst>
                </a:custGeom>
                <a:grpFill/>
                <a:ln w="10795" cap="flat" cmpd="sng" algn="ctr">
                  <a:noFill/>
                  <a:prstDash val="solid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algn="ctr" defTabSz="743407">
                    <a:lnSpc>
                      <a:spcPct val="96000"/>
                    </a:lnSpc>
                    <a:defRPr/>
                  </a:pPr>
                  <a:endParaRPr lang="en-US" sz="1463" kern="0">
                    <a:solidFill>
                      <a:srgbClr val="F7F8FA"/>
                    </a:solidFill>
                    <a:latin typeface="Microsoft Sans Serif"/>
                    <a:cs typeface="Microsoft Sans Serif" panose="020B0604020202020204" pitchFamily="34" charset="0"/>
                  </a:endParaRPr>
                </a:p>
              </p:txBody>
            </p:sp>
          </p:grpSp>
        </p:grpSp>
      </p:grpSp>
      <p:sp>
        <p:nvSpPr>
          <p:cNvPr id="75" name="Oval 74">
            <a:extLst>
              <a:ext uri="{FF2B5EF4-FFF2-40B4-BE49-F238E27FC236}">
                <a16:creationId xmlns:a16="http://schemas.microsoft.com/office/drawing/2014/main" id="{3A6C9E8D-7021-2E78-6041-2EC26B74BB63}"/>
              </a:ext>
            </a:extLst>
          </p:cNvPr>
          <p:cNvSpPr>
            <a:spLocks noChangeAspect="1"/>
          </p:cNvSpPr>
          <p:nvPr/>
        </p:nvSpPr>
        <p:spPr bwMode="gray">
          <a:xfrm>
            <a:off x="6396998" y="2635382"/>
            <a:ext cx="1520530" cy="1525229"/>
          </a:xfrm>
          <a:prstGeom prst="ellipse">
            <a:avLst/>
          </a:prstGeom>
          <a:gradFill flip="none" rotWithShape="1">
            <a:gsLst>
              <a:gs pos="4000">
                <a:srgbClr val="2853DC"/>
              </a:gs>
              <a:gs pos="100000">
                <a:srgbClr val="2853DC">
                  <a:lumMod val="75000"/>
                </a:srgbClr>
              </a:gs>
            </a:gsLst>
            <a:lin ang="2700000" scaled="1"/>
            <a:tileRect/>
          </a:gradFill>
          <a:ln w="10795" cap="flat" cmpd="sng" algn="ctr">
            <a:noFill/>
            <a:prstDash val="solid"/>
          </a:ln>
          <a:effectLst>
            <a:innerShdw blurRad="38100" dist="25400" dir="13500000">
              <a:srgbClr val="2853DC">
                <a:lumMod val="50000"/>
                <a:alpha val="85000"/>
              </a:srgbClr>
            </a:innerShdw>
            <a:softEdge rad="0"/>
          </a:effectLst>
        </p:spPr>
        <p:txBody>
          <a:bodyPr rot="0" spcFirstLastPara="0" vertOverflow="overflow" horzOverflow="overflow" vert="horz" wrap="none" lIns="63193" tIns="31596" rIns="63193" bIns="315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3407">
              <a:defRPr/>
            </a:pPr>
            <a:endParaRPr lang="en-US" sz="4878" b="1" kern="0">
              <a:solidFill>
                <a:srgbClr val="4A5A74"/>
              </a:solidFill>
              <a:effectLst>
                <a:innerShdw blurRad="63500" dist="50800" dir="13500000">
                  <a:srgbClr val="314FD5">
                    <a:lumMod val="50000"/>
                    <a:alpha val="15000"/>
                  </a:srgbClr>
                </a:innerShdw>
              </a:effectLst>
              <a:latin typeface="Microsoft Sans Serif" panose="020B0604020202020204" pitchFamily="34" charset="0"/>
            </a:endParaRP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92C3F8E4-9307-FF87-7964-EE0F53271CF1}"/>
              </a:ext>
            </a:extLst>
          </p:cNvPr>
          <p:cNvGrpSpPr/>
          <p:nvPr/>
        </p:nvGrpSpPr>
        <p:grpSpPr>
          <a:xfrm>
            <a:off x="6308101" y="2548858"/>
            <a:ext cx="1698331" cy="1698280"/>
            <a:chOff x="12934438" y="4169991"/>
            <a:chExt cx="858308" cy="858284"/>
          </a:xfrm>
          <a:solidFill>
            <a:srgbClr val="F7F8FA"/>
          </a:solidFill>
        </p:grpSpPr>
        <p:sp>
          <p:nvSpPr>
            <p:cNvPr id="89" name="Freeform 14">
              <a:extLst>
                <a:ext uri="{FF2B5EF4-FFF2-40B4-BE49-F238E27FC236}">
                  <a16:creationId xmlns:a16="http://schemas.microsoft.com/office/drawing/2014/main" id="{D92EBA87-E73E-1726-D663-4B8F782B32E8}"/>
                </a:ext>
              </a:extLst>
            </p:cNvPr>
            <p:cNvSpPr/>
            <p:nvPr/>
          </p:nvSpPr>
          <p:spPr>
            <a:xfrm>
              <a:off x="12967435" y="4202967"/>
              <a:ext cx="792315" cy="792332"/>
            </a:xfrm>
            <a:custGeom>
              <a:avLst/>
              <a:gdLst>
                <a:gd name="connsiteX0" fmla="*/ 1865137 w 1908094"/>
                <a:gd name="connsiteY0" fmla="*/ 670136 h 1908134"/>
                <a:gd name="connsiteX1" fmla="*/ 1846278 w 1908094"/>
                <a:gd name="connsiteY1" fmla="*/ 615684 h 1908134"/>
                <a:gd name="connsiteX2" fmla="*/ 1824263 w 1908094"/>
                <a:gd name="connsiteY2" fmla="*/ 562423 h 1908134"/>
                <a:gd name="connsiteX3" fmla="*/ 1798953 w 1908094"/>
                <a:gd name="connsiteY3" fmla="*/ 510652 h 1908134"/>
                <a:gd name="connsiteX4" fmla="*/ 1792204 w 1908094"/>
                <a:gd name="connsiteY4" fmla="*/ 497927 h 1908134"/>
                <a:gd name="connsiteX5" fmla="*/ 1785176 w 1908094"/>
                <a:gd name="connsiteY5" fmla="*/ 485341 h 1908134"/>
                <a:gd name="connsiteX6" fmla="*/ 1781663 w 1908094"/>
                <a:gd name="connsiteY6" fmla="*/ 479048 h 1908134"/>
                <a:gd name="connsiteX7" fmla="*/ 1777990 w 1908094"/>
                <a:gd name="connsiteY7" fmla="*/ 472855 h 1908134"/>
                <a:gd name="connsiteX8" fmla="*/ 1770665 w 1908094"/>
                <a:gd name="connsiteY8" fmla="*/ 460448 h 1908134"/>
                <a:gd name="connsiteX9" fmla="*/ 1739280 w 1908094"/>
                <a:gd name="connsiteY9" fmla="*/ 412110 h 1908134"/>
                <a:gd name="connsiteX10" fmla="*/ 1705136 w 1908094"/>
                <a:gd name="connsiteY10" fmla="*/ 365678 h 1908134"/>
                <a:gd name="connsiteX11" fmla="*/ 1668154 w 1908094"/>
                <a:gd name="connsiteY11" fmla="*/ 321450 h 1908134"/>
                <a:gd name="connsiteX12" fmla="*/ 1628689 w 1908094"/>
                <a:gd name="connsiteY12" fmla="*/ 279425 h 1908134"/>
                <a:gd name="connsiteX13" fmla="*/ 1586665 w 1908094"/>
                <a:gd name="connsiteY13" fmla="*/ 239961 h 1908134"/>
                <a:gd name="connsiteX14" fmla="*/ 1542436 w 1908094"/>
                <a:gd name="connsiteY14" fmla="*/ 202978 h 1908134"/>
                <a:gd name="connsiteX15" fmla="*/ 1496004 w 1908094"/>
                <a:gd name="connsiteY15" fmla="*/ 168834 h 1908134"/>
                <a:gd name="connsiteX16" fmla="*/ 1447667 w 1908094"/>
                <a:gd name="connsiteY16" fmla="*/ 137450 h 1908134"/>
                <a:gd name="connsiteX17" fmla="*/ 1435260 w 1908094"/>
                <a:gd name="connsiteY17" fmla="*/ 130124 h 1908134"/>
                <a:gd name="connsiteX18" fmla="*/ 1429066 w 1908094"/>
                <a:gd name="connsiteY18" fmla="*/ 126452 h 1908134"/>
                <a:gd name="connsiteX19" fmla="*/ 1422773 w 1908094"/>
                <a:gd name="connsiteY19" fmla="*/ 122938 h 1908134"/>
                <a:gd name="connsiteX20" fmla="*/ 1410188 w 1908094"/>
                <a:gd name="connsiteY20" fmla="*/ 115911 h 1908134"/>
                <a:gd name="connsiteX21" fmla="*/ 1397463 w 1908094"/>
                <a:gd name="connsiteY21" fmla="*/ 109162 h 1908134"/>
                <a:gd name="connsiteX22" fmla="*/ 1345691 w 1908094"/>
                <a:gd name="connsiteY22" fmla="*/ 83851 h 1908134"/>
                <a:gd name="connsiteX23" fmla="*/ 1292430 w 1908094"/>
                <a:gd name="connsiteY23" fmla="*/ 61836 h 1908134"/>
                <a:gd name="connsiteX24" fmla="*/ 1237979 w 1908094"/>
                <a:gd name="connsiteY24" fmla="*/ 42978 h 1908134"/>
                <a:gd name="connsiteX25" fmla="*/ 1182435 w 1908094"/>
                <a:gd name="connsiteY25" fmla="*/ 27593 h 1908134"/>
                <a:gd name="connsiteX26" fmla="*/ 1069085 w 1908094"/>
                <a:gd name="connsiteY26" fmla="*/ 6928 h 1908134"/>
                <a:gd name="connsiteX27" fmla="*/ 954047 w 1908094"/>
                <a:gd name="connsiteY27" fmla="*/ 0 h 1908134"/>
                <a:gd name="connsiteX28" fmla="*/ 839010 w 1908094"/>
                <a:gd name="connsiteY28" fmla="*/ 6928 h 1908134"/>
                <a:gd name="connsiteX29" fmla="*/ 725660 w 1908094"/>
                <a:gd name="connsiteY29" fmla="*/ 27593 h 1908134"/>
                <a:gd name="connsiteX30" fmla="*/ 670116 w 1908094"/>
                <a:gd name="connsiteY30" fmla="*/ 42978 h 1908134"/>
                <a:gd name="connsiteX31" fmla="*/ 615664 w 1908094"/>
                <a:gd name="connsiteY31" fmla="*/ 61836 h 1908134"/>
                <a:gd name="connsiteX32" fmla="*/ 562404 w 1908094"/>
                <a:gd name="connsiteY32" fmla="*/ 83851 h 1908134"/>
                <a:gd name="connsiteX33" fmla="*/ 510632 w 1908094"/>
                <a:gd name="connsiteY33" fmla="*/ 109162 h 1908134"/>
                <a:gd name="connsiteX34" fmla="*/ 497907 w 1908094"/>
                <a:gd name="connsiteY34" fmla="*/ 115911 h 1908134"/>
                <a:gd name="connsiteX35" fmla="*/ 485321 w 1908094"/>
                <a:gd name="connsiteY35" fmla="*/ 122938 h 1908134"/>
                <a:gd name="connsiteX36" fmla="*/ 479029 w 1908094"/>
                <a:gd name="connsiteY36" fmla="*/ 126452 h 1908134"/>
                <a:gd name="connsiteX37" fmla="*/ 472835 w 1908094"/>
                <a:gd name="connsiteY37" fmla="*/ 130124 h 1908134"/>
                <a:gd name="connsiteX38" fmla="*/ 460428 w 1908094"/>
                <a:gd name="connsiteY38" fmla="*/ 137450 h 1908134"/>
                <a:gd name="connsiteX39" fmla="*/ 412090 w 1908094"/>
                <a:gd name="connsiteY39" fmla="*/ 168834 h 1908134"/>
                <a:gd name="connsiteX40" fmla="*/ 365659 w 1908094"/>
                <a:gd name="connsiteY40" fmla="*/ 202978 h 1908134"/>
                <a:gd name="connsiteX41" fmla="*/ 321430 w 1908094"/>
                <a:gd name="connsiteY41" fmla="*/ 239961 h 1908134"/>
                <a:gd name="connsiteX42" fmla="*/ 279405 w 1908094"/>
                <a:gd name="connsiteY42" fmla="*/ 279425 h 1908134"/>
                <a:gd name="connsiteX43" fmla="*/ 239941 w 1908094"/>
                <a:gd name="connsiteY43" fmla="*/ 321450 h 1908134"/>
                <a:gd name="connsiteX44" fmla="*/ 202958 w 1908094"/>
                <a:gd name="connsiteY44" fmla="*/ 365678 h 1908134"/>
                <a:gd name="connsiteX45" fmla="*/ 168814 w 1908094"/>
                <a:gd name="connsiteY45" fmla="*/ 412110 h 1908134"/>
                <a:gd name="connsiteX46" fmla="*/ 137430 w 1908094"/>
                <a:gd name="connsiteY46" fmla="*/ 460448 h 1908134"/>
                <a:gd name="connsiteX47" fmla="*/ 130105 w 1908094"/>
                <a:gd name="connsiteY47" fmla="*/ 472855 h 1908134"/>
                <a:gd name="connsiteX48" fmla="*/ 126432 w 1908094"/>
                <a:gd name="connsiteY48" fmla="*/ 479048 h 1908134"/>
                <a:gd name="connsiteX49" fmla="*/ 122918 w 1908094"/>
                <a:gd name="connsiteY49" fmla="*/ 485341 h 1908134"/>
                <a:gd name="connsiteX50" fmla="*/ 115891 w 1908094"/>
                <a:gd name="connsiteY50" fmla="*/ 497927 h 1908134"/>
                <a:gd name="connsiteX51" fmla="*/ 109142 w 1908094"/>
                <a:gd name="connsiteY51" fmla="*/ 510652 h 1908134"/>
                <a:gd name="connsiteX52" fmla="*/ 83832 w 1908094"/>
                <a:gd name="connsiteY52" fmla="*/ 562423 h 1908134"/>
                <a:gd name="connsiteX53" fmla="*/ 61817 w 1908094"/>
                <a:gd name="connsiteY53" fmla="*/ 615684 h 1908134"/>
                <a:gd name="connsiteX54" fmla="*/ 42958 w 1908094"/>
                <a:gd name="connsiteY54" fmla="*/ 670136 h 1908134"/>
                <a:gd name="connsiteX55" fmla="*/ 27573 w 1908094"/>
                <a:gd name="connsiteY55" fmla="*/ 725679 h 1908134"/>
                <a:gd name="connsiteX56" fmla="*/ 0 w 1908094"/>
                <a:gd name="connsiteY56" fmla="*/ 954067 h 1908134"/>
                <a:gd name="connsiteX57" fmla="*/ 27573 w 1908094"/>
                <a:gd name="connsiteY57" fmla="*/ 1182455 h 1908134"/>
                <a:gd name="connsiteX58" fmla="*/ 42958 w 1908094"/>
                <a:gd name="connsiteY58" fmla="*/ 1237998 h 1908134"/>
                <a:gd name="connsiteX59" fmla="*/ 61817 w 1908094"/>
                <a:gd name="connsiteY59" fmla="*/ 1292450 h 1908134"/>
                <a:gd name="connsiteX60" fmla="*/ 83832 w 1908094"/>
                <a:gd name="connsiteY60" fmla="*/ 1345711 h 1908134"/>
                <a:gd name="connsiteX61" fmla="*/ 109142 w 1908094"/>
                <a:gd name="connsiteY61" fmla="*/ 1397483 h 1908134"/>
                <a:gd name="connsiteX62" fmla="*/ 115891 w 1908094"/>
                <a:gd name="connsiteY62" fmla="*/ 1410207 h 1908134"/>
                <a:gd name="connsiteX63" fmla="*/ 122918 w 1908094"/>
                <a:gd name="connsiteY63" fmla="*/ 1422793 h 1908134"/>
                <a:gd name="connsiteX64" fmla="*/ 126432 w 1908094"/>
                <a:gd name="connsiteY64" fmla="*/ 1429086 h 1908134"/>
                <a:gd name="connsiteX65" fmla="*/ 130105 w 1908094"/>
                <a:gd name="connsiteY65" fmla="*/ 1435279 h 1908134"/>
                <a:gd name="connsiteX66" fmla="*/ 137430 w 1908094"/>
                <a:gd name="connsiteY66" fmla="*/ 1447686 h 1908134"/>
                <a:gd name="connsiteX67" fmla="*/ 168814 w 1908094"/>
                <a:gd name="connsiteY67" fmla="*/ 1496024 h 1908134"/>
                <a:gd name="connsiteX68" fmla="*/ 202958 w 1908094"/>
                <a:gd name="connsiteY68" fmla="*/ 1542456 h 1908134"/>
                <a:gd name="connsiteX69" fmla="*/ 239941 w 1908094"/>
                <a:gd name="connsiteY69" fmla="*/ 1586684 h 1908134"/>
                <a:gd name="connsiteX70" fmla="*/ 279405 w 1908094"/>
                <a:gd name="connsiteY70" fmla="*/ 1628709 h 1908134"/>
                <a:gd name="connsiteX71" fmla="*/ 321430 w 1908094"/>
                <a:gd name="connsiteY71" fmla="*/ 1668173 h 1908134"/>
                <a:gd name="connsiteX72" fmla="*/ 365659 w 1908094"/>
                <a:gd name="connsiteY72" fmla="*/ 1705156 h 1908134"/>
                <a:gd name="connsiteX73" fmla="*/ 412090 w 1908094"/>
                <a:gd name="connsiteY73" fmla="*/ 1739300 h 1908134"/>
                <a:gd name="connsiteX74" fmla="*/ 460428 w 1908094"/>
                <a:gd name="connsiteY74" fmla="*/ 1770685 h 1908134"/>
                <a:gd name="connsiteX75" fmla="*/ 472835 w 1908094"/>
                <a:gd name="connsiteY75" fmla="*/ 1778010 h 1908134"/>
                <a:gd name="connsiteX76" fmla="*/ 479029 w 1908094"/>
                <a:gd name="connsiteY76" fmla="*/ 1781682 h 1908134"/>
                <a:gd name="connsiteX77" fmla="*/ 485321 w 1908094"/>
                <a:gd name="connsiteY77" fmla="*/ 1785196 h 1908134"/>
                <a:gd name="connsiteX78" fmla="*/ 497907 w 1908094"/>
                <a:gd name="connsiteY78" fmla="*/ 1792223 h 1908134"/>
                <a:gd name="connsiteX79" fmla="*/ 510632 w 1908094"/>
                <a:gd name="connsiteY79" fmla="*/ 1798973 h 1908134"/>
                <a:gd name="connsiteX80" fmla="*/ 562404 w 1908094"/>
                <a:gd name="connsiteY80" fmla="*/ 1824283 h 1908134"/>
                <a:gd name="connsiteX81" fmla="*/ 615664 w 1908094"/>
                <a:gd name="connsiteY81" fmla="*/ 1846298 h 1908134"/>
                <a:gd name="connsiteX82" fmla="*/ 670116 w 1908094"/>
                <a:gd name="connsiteY82" fmla="*/ 1865157 h 1908134"/>
                <a:gd name="connsiteX83" fmla="*/ 725660 w 1908094"/>
                <a:gd name="connsiteY83" fmla="*/ 1880541 h 1908134"/>
                <a:gd name="connsiteX84" fmla="*/ 839010 w 1908094"/>
                <a:gd name="connsiteY84" fmla="*/ 1901206 h 1908134"/>
                <a:gd name="connsiteX85" fmla="*/ 954047 w 1908094"/>
                <a:gd name="connsiteY85" fmla="*/ 1908134 h 1908134"/>
                <a:gd name="connsiteX86" fmla="*/ 1069085 w 1908094"/>
                <a:gd name="connsiteY86" fmla="*/ 1901206 h 1908134"/>
                <a:gd name="connsiteX87" fmla="*/ 1182435 w 1908094"/>
                <a:gd name="connsiteY87" fmla="*/ 1880541 h 1908134"/>
                <a:gd name="connsiteX88" fmla="*/ 1237979 w 1908094"/>
                <a:gd name="connsiteY88" fmla="*/ 1865157 h 1908134"/>
                <a:gd name="connsiteX89" fmla="*/ 1292430 w 1908094"/>
                <a:gd name="connsiteY89" fmla="*/ 1846298 h 1908134"/>
                <a:gd name="connsiteX90" fmla="*/ 1345691 w 1908094"/>
                <a:gd name="connsiteY90" fmla="*/ 1824283 h 1908134"/>
                <a:gd name="connsiteX91" fmla="*/ 1397463 w 1908094"/>
                <a:gd name="connsiteY91" fmla="*/ 1798973 h 1908134"/>
                <a:gd name="connsiteX92" fmla="*/ 1410188 w 1908094"/>
                <a:gd name="connsiteY92" fmla="*/ 1792223 h 1908134"/>
                <a:gd name="connsiteX93" fmla="*/ 1422773 w 1908094"/>
                <a:gd name="connsiteY93" fmla="*/ 1785196 h 1908134"/>
                <a:gd name="connsiteX94" fmla="*/ 1429066 w 1908094"/>
                <a:gd name="connsiteY94" fmla="*/ 1781682 h 1908134"/>
                <a:gd name="connsiteX95" fmla="*/ 1435260 w 1908094"/>
                <a:gd name="connsiteY95" fmla="*/ 1778010 h 1908134"/>
                <a:gd name="connsiteX96" fmla="*/ 1447667 w 1908094"/>
                <a:gd name="connsiteY96" fmla="*/ 1770685 h 1908134"/>
                <a:gd name="connsiteX97" fmla="*/ 1496004 w 1908094"/>
                <a:gd name="connsiteY97" fmla="*/ 1739300 h 1908134"/>
                <a:gd name="connsiteX98" fmla="*/ 1542436 w 1908094"/>
                <a:gd name="connsiteY98" fmla="*/ 1705156 h 1908134"/>
                <a:gd name="connsiteX99" fmla="*/ 1586665 w 1908094"/>
                <a:gd name="connsiteY99" fmla="*/ 1668173 h 1908134"/>
                <a:gd name="connsiteX100" fmla="*/ 1628689 w 1908094"/>
                <a:gd name="connsiteY100" fmla="*/ 1628709 h 1908134"/>
                <a:gd name="connsiteX101" fmla="*/ 1668154 w 1908094"/>
                <a:gd name="connsiteY101" fmla="*/ 1586684 h 1908134"/>
                <a:gd name="connsiteX102" fmla="*/ 1705136 w 1908094"/>
                <a:gd name="connsiteY102" fmla="*/ 1542456 h 1908134"/>
                <a:gd name="connsiteX103" fmla="*/ 1739280 w 1908094"/>
                <a:gd name="connsiteY103" fmla="*/ 1496024 h 1908134"/>
                <a:gd name="connsiteX104" fmla="*/ 1770665 w 1908094"/>
                <a:gd name="connsiteY104" fmla="*/ 1447686 h 1908134"/>
                <a:gd name="connsiteX105" fmla="*/ 1777990 w 1908094"/>
                <a:gd name="connsiteY105" fmla="*/ 1435279 h 1908134"/>
                <a:gd name="connsiteX106" fmla="*/ 1781663 w 1908094"/>
                <a:gd name="connsiteY106" fmla="*/ 1429086 h 1908134"/>
                <a:gd name="connsiteX107" fmla="*/ 1785176 w 1908094"/>
                <a:gd name="connsiteY107" fmla="*/ 1422793 h 1908134"/>
                <a:gd name="connsiteX108" fmla="*/ 1792204 w 1908094"/>
                <a:gd name="connsiteY108" fmla="*/ 1410207 h 1908134"/>
                <a:gd name="connsiteX109" fmla="*/ 1798953 w 1908094"/>
                <a:gd name="connsiteY109" fmla="*/ 1397483 h 1908134"/>
                <a:gd name="connsiteX110" fmla="*/ 1824263 w 1908094"/>
                <a:gd name="connsiteY110" fmla="*/ 1345711 h 1908134"/>
                <a:gd name="connsiteX111" fmla="*/ 1846278 w 1908094"/>
                <a:gd name="connsiteY111" fmla="*/ 1292450 h 1908134"/>
                <a:gd name="connsiteX112" fmla="*/ 1865137 w 1908094"/>
                <a:gd name="connsiteY112" fmla="*/ 1237998 h 1908134"/>
                <a:gd name="connsiteX113" fmla="*/ 1880521 w 1908094"/>
                <a:gd name="connsiteY113" fmla="*/ 1182455 h 1908134"/>
                <a:gd name="connsiteX114" fmla="*/ 1908095 w 1908094"/>
                <a:gd name="connsiteY114" fmla="*/ 954067 h 1908134"/>
                <a:gd name="connsiteX115" fmla="*/ 1880521 w 1908094"/>
                <a:gd name="connsiteY115" fmla="*/ 725679 h 1908134"/>
                <a:gd name="connsiteX116" fmla="*/ 1865137 w 1908094"/>
                <a:gd name="connsiteY116" fmla="*/ 670136 h 1908134"/>
                <a:gd name="connsiteX117" fmla="*/ 1841295 w 1908094"/>
                <a:gd name="connsiteY117" fmla="*/ 1172827 h 1908134"/>
                <a:gd name="connsiteX118" fmla="*/ 1826586 w 1908094"/>
                <a:gd name="connsiteY118" fmla="*/ 1226008 h 1908134"/>
                <a:gd name="connsiteX119" fmla="*/ 1808521 w 1908094"/>
                <a:gd name="connsiteY119" fmla="*/ 1278138 h 1908134"/>
                <a:gd name="connsiteX120" fmla="*/ 1787439 w 1908094"/>
                <a:gd name="connsiteY120" fmla="*/ 1329135 h 1908134"/>
                <a:gd name="connsiteX121" fmla="*/ 1763201 w 1908094"/>
                <a:gd name="connsiteY121" fmla="*/ 1378704 h 1908134"/>
                <a:gd name="connsiteX122" fmla="*/ 1756730 w 1908094"/>
                <a:gd name="connsiteY122" fmla="*/ 1390892 h 1908134"/>
                <a:gd name="connsiteX123" fmla="*/ 1750000 w 1908094"/>
                <a:gd name="connsiteY123" fmla="*/ 1402942 h 1908134"/>
                <a:gd name="connsiteX124" fmla="*/ 1746625 w 1908094"/>
                <a:gd name="connsiteY124" fmla="*/ 1408957 h 1908134"/>
                <a:gd name="connsiteX125" fmla="*/ 1743112 w 1908094"/>
                <a:gd name="connsiteY125" fmla="*/ 1414892 h 1908134"/>
                <a:gd name="connsiteX126" fmla="*/ 1736084 w 1908094"/>
                <a:gd name="connsiteY126" fmla="*/ 1426783 h 1908134"/>
                <a:gd name="connsiteX127" fmla="*/ 1706030 w 1908094"/>
                <a:gd name="connsiteY127" fmla="*/ 1473076 h 1908134"/>
                <a:gd name="connsiteX128" fmla="*/ 1673315 w 1908094"/>
                <a:gd name="connsiteY128" fmla="*/ 1517563 h 1908134"/>
                <a:gd name="connsiteX129" fmla="*/ 1637900 w 1908094"/>
                <a:gd name="connsiteY129" fmla="*/ 1559925 h 1908134"/>
                <a:gd name="connsiteX130" fmla="*/ 1600084 w 1908094"/>
                <a:gd name="connsiteY130" fmla="*/ 1600183 h 1908134"/>
                <a:gd name="connsiteX131" fmla="*/ 1559826 w 1908094"/>
                <a:gd name="connsiteY131" fmla="*/ 1638000 h 1908134"/>
                <a:gd name="connsiteX132" fmla="*/ 1517463 w 1908094"/>
                <a:gd name="connsiteY132" fmla="*/ 1673414 h 1908134"/>
                <a:gd name="connsiteX133" fmla="*/ 1472977 w 1908094"/>
                <a:gd name="connsiteY133" fmla="*/ 1706129 h 1908134"/>
                <a:gd name="connsiteX134" fmla="*/ 1426684 w 1908094"/>
                <a:gd name="connsiteY134" fmla="*/ 1736184 h 1908134"/>
                <a:gd name="connsiteX135" fmla="*/ 1414793 w 1908094"/>
                <a:gd name="connsiteY135" fmla="*/ 1743211 h 1908134"/>
                <a:gd name="connsiteX136" fmla="*/ 1408858 w 1908094"/>
                <a:gd name="connsiteY136" fmla="*/ 1746725 h 1908134"/>
                <a:gd name="connsiteX137" fmla="*/ 1402843 w 1908094"/>
                <a:gd name="connsiteY137" fmla="*/ 1750099 h 1908134"/>
                <a:gd name="connsiteX138" fmla="*/ 1390793 w 1908094"/>
                <a:gd name="connsiteY138" fmla="*/ 1756829 h 1908134"/>
                <a:gd name="connsiteX139" fmla="*/ 1378604 w 1908094"/>
                <a:gd name="connsiteY139" fmla="*/ 1763300 h 1908134"/>
                <a:gd name="connsiteX140" fmla="*/ 1329036 w 1908094"/>
                <a:gd name="connsiteY140" fmla="*/ 1787539 h 1908134"/>
                <a:gd name="connsiteX141" fmla="*/ 1278038 w 1908094"/>
                <a:gd name="connsiteY141" fmla="*/ 1808620 h 1908134"/>
                <a:gd name="connsiteX142" fmla="*/ 1225909 w 1908094"/>
                <a:gd name="connsiteY142" fmla="*/ 1826685 h 1908134"/>
                <a:gd name="connsiteX143" fmla="*/ 1172728 w 1908094"/>
                <a:gd name="connsiteY143" fmla="*/ 1841395 h 1908134"/>
                <a:gd name="connsiteX144" fmla="*/ 1064202 w 1908094"/>
                <a:gd name="connsiteY144" fmla="*/ 1861167 h 1908134"/>
                <a:gd name="connsiteX145" fmla="*/ 953968 w 1908094"/>
                <a:gd name="connsiteY145" fmla="*/ 1867797 h 1908134"/>
                <a:gd name="connsiteX146" fmla="*/ 843734 w 1908094"/>
                <a:gd name="connsiteY146" fmla="*/ 1861167 h 1908134"/>
                <a:gd name="connsiteX147" fmla="*/ 735208 w 1908094"/>
                <a:gd name="connsiteY147" fmla="*/ 1841395 h 1908134"/>
                <a:gd name="connsiteX148" fmla="*/ 682027 w 1908094"/>
                <a:gd name="connsiteY148" fmla="*/ 1826685 h 1908134"/>
                <a:gd name="connsiteX149" fmla="*/ 629898 w 1908094"/>
                <a:gd name="connsiteY149" fmla="*/ 1808620 h 1908134"/>
                <a:gd name="connsiteX150" fmla="*/ 578900 w 1908094"/>
                <a:gd name="connsiteY150" fmla="*/ 1787539 h 1908134"/>
                <a:gd name="connsiteX151" fmla="*/ 529332 w 1908094"/>
                <a:gd name="connsiteY151" fmla="*/ 1763300 h 1908134"/>
                <a:gd name="connsiteX152" fmla="*/ 517143 w 1908094"/>
                <a:gd name="connsiteY152" fmla="*/ 1756829 h 1908134"/>
                <a:gd name="connsiteX153" fmla="*/ 505093 w 1908094"/>
                <a:gd name="connsiteY153" fmla="*/ 1750099 h 1908134"/>
                <a:gd name="connsiteX154" fmla="*/ 499078 w 1908094"/>
                <a:gd name="connsiteY154" fmla="*/ 1746725 h 1908134"/>
                <a:gd name="connsiteX155" fmla="*/ 493143 w 1908094"/>
                <a:gd name="connsiteY155" fmla="*/ 1743211 h 1908134"/>
                <a:gd name="connsiteX156" fmla="*/ 481252 w 1908094"/>
                <a:gd name="connsiteY156" fmla="*/ 1736184 h 1908134"/>
                <a:gd name="connsiteX157" fmla="*/ 434959 w 1908094"/>
                <a:gd name="connsiteY157" fmla="*/ 1706129 h 1908134"/>
                <a:gd name="connsiteX158" fmla="*/ 390473 w 1908094"/>
                <a:gd name="connsiteY158" fmla="*/ 1673414 h 1908134"/>
                <a:gd name="connsiteX159" fmla="*/ 348110 w 1908094"/>
                <a:gd name="connsiteY159" fmla="*/ 1638000 h 1908134"/>
                <a:gd name="connsiteX160" fmla="*/ 307852 w 1908094"/>
                <a:gd name="connsiteY160" fmla="*/ 1600183 h 1908134"/>
                <a:gd name="connsiteX161" fmla="*/ 270036 w 1908094"/>
                <a:gd name="connsiteY161" fmla="*/ 1559925 h 1908134"/>
                <a:gd name="connsiteX162" fmla="*/ 234621 w 1908094"/>
                <a:gd name="connsiteY162" fmla="*/ 1517563 h 1908134"/>
                <a:gd name="connsiteX163" fmla="*/ 201906 w 1908094"/>
                <a:gd name="connsiteY163" fmla="*/ 1473076 h 1908134"/>
                <a:gd name="connsiteX164" fmla="*/ 171852 w 1908094"/>
                <a:gd name="connsiteY164" fmla="*/ 1426783 h 1908134"/>
                <a:gd name="connsiteX165" fmla="*/ 164824 w 1908094"/>
                <a:gd name="connsiteY165" fmla="*/ 1414892 h 1908134"/>
                <a:gd name="connsiteX166" fmla="*/ 161311 w 1908094"/>
                <a:gd name="connsiteY166" fmla="*/ 1408957 h 1908134"/>
                <a:gd name="connsiteX167" fmla="*/ 157936 w 1908094"/>
                <a:gd name="connsiteY167" fmla="*/ 1402942 h 1908134"/>
                <a:gd name="connsiteX168" fmla="*/ 151206 w 1908094"/>
                <a:gd name="connsiteY168" fmla="*/ 1390892 h 1908134"/>
                <a:gd name="connsiteX169" fmla="*/ 144735 w 1908094"/>
                <a:gd name="connsiteY169" fmla="*/ 1378704 h 1908134"/>
                <a:gd name="connsiteX170" fmla="*/ 120497 w 1908094"/>
                <a:gd name="connsiteY170" fmla="*/ 1329135 h 1908134"/>
                <a:gd name="connsiteX171" fmla="*/ 99415 w 1908094"/>
                <a:gd name="connsiteY171" fmla="*/ 1278138 h 1908134"/>
                <a:gd name="connsiteX172" fmla="*/ 81350 w 1908094"/>
                <a:gd name="connsiteY172" fmla="*/ 1226008 h 1908134"/>
                <a:gd name="connsiteX173" fmla="*/ 66640 w 1908094"/>
                <a:gd name="connsiteY173" fmla="*/ 1172827 h 1908134"/>
                <a:gd name="connsiteX174" fmla="*/ 40218 w 1908094"/>
                <a:gd name="connsiteY174" fmla="*/ 954067 h 1908134"/>
                <a:gd name="connsiteX175" fmla="*/ 66640 w 1908094"/>
                <a:gd name="connsiteY175" fmla="*/ 735307 h 1908134"/>
                <a:gd name="connsiteX176" fmla="*/ 81350 w 1908094"/>
                <a:gd name="connsiteY176" fmla="*/ 682126 h 1908134"/>
                <a:gd name="connsiteX177" fmla="*/ 99415 w 1908094"/>
                <a:gd name="connsiteY177" fmla="*/ 629997 h 1908134"/>
                <a:gd name="connsiteX178" fmla="*/ 120497 w 1908094"/>
                <a:gd name="connsiteY178" fmla="*/ 578999 h 1908134"/>
                <a:gd name="connsiteX179" fmla="*/ 144735 w 1908094"/>
                <a:gd name="connsiteY179" fmla="*/ 529431 h 1908134"/>
                <a:gd name="connsiteX180" fmla="*/ 151206 w 1908094"/>
                <a:gd name="connsiteY180" fmla="*/ 517242 h 1908134"/>
                <a:gd name="connsiteX181" fmla="*/ 157936 w 1908094"/>
                <a:gd name="connsiteY181" fmla="*/ 505193 h 1908134"/>
                <a:gd name="connsiteX182" fmla="*/ 161311 w 1908094"/>
                <a:gd name="connsiteY182" fmla="*/ 499178 h 1908134"/>
                <a:gd name="connsiteX183" fmla="*/ 164824 w 1908094"/>
                <a:gd name="connsiteY183" fmla="*/ 493242 h 1908134"/>
                <a:gd name="connsiteX184" fmla="*/ 171852 w 1908094"/>
                <a:gd name="connsiteY184" fmla="*/ 481351 h 1908134"/>
                <a:gd name="connsiteX185" fmla="*/ 201906 w 1908094"/>
                <a:gd name="connsiteY185" fmla="*/ 435058 h 1908134"/>
                <a:gd name="connsiteX186" fmla="*/ 234621 w 1908094"/>
                <a:gd name="connsiteY186" fmla="*/ 390572 h 1908134"/>
                <a:gd name="connsiteX187" fmla="*/ 270036 w 1908094"/>
                <a:gd name="connsiteY187" fmla="*/ 348209 h 1908134"/>
                <a:gd name="connsiteX188" fmla="*/ 307852 w 1908094"/>
                <a:gd name="connsiteY188" fmla="*/ 307951 h 1908134"/>
                <a:gd name="connsiteX189" fmla="*/ 348110 w 1908094"/>
                <a:gd name="connsiteY189" fmla="*/ 270135 h 1908134"/>
                <a:gd name="connsiteX190" fmla="*/ 390473 w 1908094"/>
                <a:gd name="connsiteY190" fmla="*/ 234720 h 1908134"/>
                <a:gd name="connsiteX191" fmla="*/ 434959 w 1908094"/>
                <a:gd name="connsiteY191" fmla="*/ 202006 h 1908134"/>
                <a:gd name="connsiteX192" fmla="*/ 481252 w 1908094"/>
                <a:gd name="connsiteY192" fmla="*/ 171951 h 1908134"/>
                <a:gd name="connsiteX193" fmla="*/ 493143 w 1908094"/>
                <a:gd name="connsiteY193" fmla="*/ 164924 h 1908134"/>
                <a:gd name="connsiteX194" fmla="*/ 499078 w 1908094"/>
                <a:gd name="connsiteY194" fmla="*/ 161410 h 1908134"/>
                <a:gd name="connsiteX195" fmla="*/ 505093 w 1908094"/>
                <a:gd name="connsiteY195" fmla="*/ 158035 h 1908134"/>
                <a:gd name="connsiteX196" fmla="*/ 517143 w 1908094"/>
                <a:gd name="connsiteY196" fmla="*/ 151306 h 1908134"/>
                <a:gd name="connsiteX197" fmla="*/ 529332 w 1908094"/>
                <a:gd name="connsiteY197" fmla="*/ 144834 h 1908134"/>
                <a:gd name="connsiteX198" fmla="*/ 578900 w 1908094"/>
                <a:gd name="connsiteY198" fmla="*/ 120596 h 1908134"/>
                <a:gd name="connsiteX199" fmla="*/ 629898 w 1908094"/>
                <a:gd name="connsiteY199" fmla="*/ 99514 h 1908134"/>
                <a:gd name="connsiteX200" fmla="*/ 682027 w 1908094"/>
                <a:gd name="connsiteY200" fmla="*/ 81449 h 1908134"/>
                <a:gd name="connsiteX201" fmla="*/ 735208 w 1908094"/>
                <a:gd name="connsiteY201" fmla="*/ 66740 h 1908134"/>
                <a:gd name="connsiteX202" fmla="*/ 843734 w 1908094"/>
                <a:gd name="connsiteY202" fmla="*/ 46968 h 1908134"/>
                <a:gd name="connsiteX203" fmla="*/ 953968 w 1908094"/>
                <a:gd name="connsiteY203" fmla="*/ 40338 h 1908134"/>
                <a:gd name="connsiteX204" fmla="*/ 1064202 w 1908094"/>
                <a:gd name="connsiteY204" fmla="*/ 46968 h 1908134"/>
                <a:gd name="connsiteX205" fmla="*/ 1172728 w 1908094"/>
                <a:gd name="connsiteY205" fmla="*/ 66740 h 1908134"/>
                <a:gd name="connsiteX206" fmla="*/ 1225909 w 1908094"/>
                <a:gd name="connsiteY206" fmla="*/ 81449 h 1908134"/>
                <a:gd name="connsiteX207" fmla="*/ 1278038 w 1908094"/>
                <a:gd name="connsiteY207" fmla="*/ 99514 h 1908134"/>
                <a:gd name="connsiteX208" fmla="*/ 1329036 w 1908094"/>
                <a:gd name="connsiteY208" fmla="*/ 120596 h 1908134"/>
                <a:gd name="connsiteX209" fmla="*/ 1378604 w 1908094"/>
                <a:gd name="connsiteY209" fmla="*/ 144834 h 1908134"/>
                <a:gd name="connsiteX210" fmla="*/ 1390793 w 1908094"/>
                <a:gd name="connsiteY210" fmla="*/ 151306 h 1908134"/>
                <a:gd name="connsiteX211" fmla="*/ 1402843 w 1908094"/>
                <a:gd name="connsiteY211" fmla="*/ 158035 h 1908134"/>
                <a:gd name="connsiteX212" fmla="*/ 1408858 w 1908094"/>
                <a:gd name="connsiteY212" fmla="*/ 161410 h 1908134"/>
                <a:gd name="connsiteX213" fmla="*/ 1414793 w 1908094"/>
                <a:gd name="connsiteY213" fmla="*/ 164924 h 1908134"/>
                <a:gd name="connsiteX214" fmla="*/ 1426684 w 1908094"/>
                <a:gd name="connsiteY214" fmla="*/ 171951 h 1908134"/>
                <a:gd name="connsiteX215" fmla="*/ 1472977 w 1908094"/>
                <a:gd name="connsiteY215" fmla="*/ 202006 h 1908134"/>
                <a:gd name="connsiteX216" fmla="*/ 1517463 w 1908094"/>
                <a:gd name="connsiteY216" fmla="*/ 234720 h 1908134"/>
                <a:gd name="connsiteX217" fmla="*/ 1559826 w 1908094"/>
                <a:gd name="connsiteY217" fmla="*/ 270135 h 1908134"/>
                <a:gd name="connsiteX218" fmla="*/ 1600084 w 1908094"/>
                <a:gd name="connsiteY218" fmla="*/ 307951 h 1908134"/>
                <a:gd name="connsiteX219" fmla="*/ 1637900 w 1908094"/>
                <a:gd name="connsiteY219" fmla="*/ 348209 h 1908134"/>
                <a:gd name="connsiteX220" fmla="*/ 1673315 w 1908094"/>
                <a:gd name="connsiteY220" fmla="*/ 390572 h 1908134"/>
                <a:gd name="connsiteX221" fmla="*/ 1706030 w 1908094"/>
                <a:gd name="connsiteY221" fmla="*/ 435058 h 1908134"/>
                <a:gd name="connsiteX222" fmla="*/ 1736084 w 1908094"/>
                <a:gd name="connsiteY222" fmla="*/ 481351 h 1908134"/>
                <a:gd name="connsiteX223" fmla="*/ 1743112 w 1908094"/>
                <a:gd name="connsiteY223" fmla="*/ 493242 h 1908134"/>
                <a:gd name="connsiteX224" fmla="*/ 1746625 w 1908094"/>
                <a:gd name="connsiteY224" fmla="*/ 499178 h 1908134"/>
                <a:gd name="connsiteX225" fmla="*/ 1750000 w 1908094"/>
                <a:gd name="connsiteY225" fmla="*/ 505193 h 1908134"/>
                <a:gd name="connsiteX226" fmla="*/ 1756730 w 1908094"/>
                <a:gd name="connsiteY226" fmla="*/ 517242 h 1908134"/>
                <a:gd name="connsiteX227" fmla="*/ 1763201 w 1908094"/>
                <a:gd name="connsiteY227" fmla="*/ 529431 h 1908134"/>
                <a:gd name="connsiteX228" fmla="*/ 1787439 w 1908094"/>
                <a:gd name="connsiteY228" fmla="*/ 578999 h 1908134"/>
                <a:gd name="connsiteX229" fmla="*/ 1808521 w 1908094"/>
                <a:gd name="connsiteY229" fmla="*/ 629997 h 1908134"/>
                <a:gd name="connsiteX230" fmla="*/ 1826586 w 1908094"/>
                <a:gd name="connsiteY230" fmla="*/ 682126 h 1908134"/>
                <a:gd name="connsiteX231" fmla="*/ 1841295 w 1908094"/>
                <a:gd name="connsiteY231" fmla="*/ 735307 h 1908134"/>
                <a:gd name="connsiteX232" fmla="*/ 1867717 w 1908094"/>
                <a:gd name="connsiteY232" fmla="*/ 954067 h 1908134"/>
                <a:gd name="connsiteX233" fmla="*/ 1841295 w 1908094"/>
                <a:gd name="connsiteY233" fmla="*/ 1172827 h 1908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</a:cxnLst>
              <a:rect l="l" t="t" r="r" b="b"/>
              <a:pathLst>
                <a:path w="1908094" h="1908134">
                  <a:moveTo>
                    <a:pt x="1865137" y="670136"/>
                  </a:moveTo>
                  <a:cubicBezTo>
                    <a:pt x="1859261" y="651853"/>
                    <a:pt x="1853206" y="633610"/>
                    <a:pt x="1846278" y="615684"/>
                  </a:cubicBezTo>
                  <a:cubicBezTo>
                    <a:pt x="1839588" y="597679"/>
                    <a:pt x="1832005" y="580012"/>
                    <a:pt x="1824263" y="562423"/>
                  </a:cubicBezTo>
                  <a:cubicBezTo>
                    <a:pt x="1816243" y="544974"/>
                    <a:pt x="1807985" y="527604"/>
                    <a:pt x="1798953" y="510652"/>
                  </a:cubicBezTo>
                  <a:cubicBezTo>
                    <a:pt x="1796690" y="506403"/>
                    <a:pt x="1794506" y="502135"/>
                    <a:pt x="1792204" y="497927"/>
                  </a:cubicBezTo>
                  <a:lnTo>
                    <a:pt x="1785176" y="485341"/>
                  </a:lnTo>
                  <a:lnTo>
                    <a:pt x="1781663" y="479048"/>
                  </a:lnTo>
                  <a:lnTo>
                    <a:pt x="1777990" y="472855"/>
                  </a:lnTo>
                  <a:lnTo>
                    <a:pt x="1770665" y="460448"/>
                  </a:lnTo>
                  <a:cubicBezTo>
                    <a:pt x="1760601" y="444091"/>
                    <a:pt x="1750298" y="427852"/>
                    <a:pt x="1739280" y="412110"/>
                  </a:cubicBezTo>
                  <a:cubicBezTo>
                    <a:pt x="1728461" y="396229"/>
                    <a:pt x="1716868" y="380884"/>
                    <a:pt x="1705136" y="365678"/>
                  </a:cubicBezTo>
                  <a:cubicBezTo>
                    <a:pt x="1693166" y="350651"/>
                    <a:pt x="1680997" y="335763"/>
                    <a:pt x="1668154" y="321450"/>
                  </a:cubicBezTo>
                  <a:cubicBezTo>
                    <a:pt x="1655508" y="306979"/>
                    <a:pt x="1642149" y="293142"/>
                    <a:pt x="1628689" y="279425"/>
                  </a:cubicBezTo>
                  <a:cubicBezTo>
                    <a:pt x="1614972" y="265966"/>
                    <a:pt x="1601136" y="252606"/>
                    <a:pt x="1586665" y="239961"/>
                  </a:cubicBezTo>
                  <a:cubicBezTo>
                    <a:pt x="1572352" y="227117"/>
                    <a:pt x="1557463" y="214968"/>
                    <a:pt x="1542436" y="202978"/>
                  </a:cubicBezTo>
                  <a:cubicBezTo>
                    <a:pt x="1527210" y="191246"/>
                    <a:pt x="1511885" y="179653"/>
                    <a:pt x="1496004" y="168834"/>
                  </a:cubicBezTo>
                  <a:cubicBezTo>
                    <a:pt x="1480262" y="157817"/>
                    <a:pt x="1464024" y="147514"/>
                    <a:pt x="1447667" y="137450"/>
                  </a:cubicBezTo>
                  <a:lnTo>
                    <a:pt x="1435260" y="130124"/>
                  </a:lnTo>
                  <a:lnTo>
                    <a:pt x="1429066" y="126452"/>
                  </a:lnTo>
                  <a:lnTo>
                    <a:pt x="1422773" y="122938"/>
                  </a:lnTo>
                  <a:lnTo>
                    <a:pt x="1410188" y="115911"/>
                  </a:lnTo>
                  <a:cubicBezTo>
                    <a:pt x="1405979" y="113608"/>
                    <a:pt x="1401691" y="111405"/>
                    <a:pt x="1397463" y="109162"/>
                  </a:cubicBezTo>
                  <a:cubicBezTo>
                    <a:pt x="1380510" y="100129"/>
                    <a:pt x="1363140" y="91851"/>
                    <a:pt x="1345691" y="83851"/>
                  </a:cubicBezTo>
                  <a:cubicBezTo>
                    <a:pt x="1328103" y="76109"/>
                    <a:pt x="1310435" y="68526"/>
                    <a:pt x="1292430" y="61836"/>
                  </a:cubicBezTo>
                  <a:cubicBezTo>
                    <a:pt x="1274505" y="54908"/>
                    <a:pt x="1256262" y="48854"/>
                    <a:pt x="1237979" y="42978"/>
                  </a:cubicBezTo>
                  <a:cubicBezTo>
                    <a:pt x="1219596" y="37419"/>
                    <a:pt x="1201135" y="32079"/>
                    <a:pt x="1182435" y="27593"/>
                  </a:cubicBezTo>
                  <a:cubicBezTo>
                    <a:pt x="1145115" y="18462"/>
                    <a:pt x="1107259" y="11414"/>
                    <a:pt x="1069085" y="6928"/>
                  </a:cubicBezTo>
                  <a:cubicBezTo>
                    <a:pt x="1030931" y="2382"/>
                    <a:pt x="992499" y="79"/>
                    <a:pt x="954047" y="0"/>
                  </a:cubicBezTo>
                  <a:cubicBezTo>
                    <a:pt x="915596" y="79"/>
                    <a:pt x="877164" y="2382"/>
                    <a:pt x="839010" y="6928"/>
                  </a:cubicBezTo>
                  <a:cubicBezTo>
                    <a:pt x="800836" y="11395"/>
                    <a:pt x="762980" y="18442"/>
                    <a:pt x="725660" y="27593"/>
                  </a:cubicBezTo>
                  <a:cubicBezTo>
                    <a:pt x="706980" y="32060"/>
                    <a:pt x="688518" y="37419"/>
                    <a:pt x="670116" y="42978"/>
                  </a:cubicBezTo>
                  <a:cubicBezTo>
                    <a:pt x="651833" y="48854"/>
                    <a:pt x="633590" y="54908"/>
                    <a:pt x="615664" y="61836"/>
                  </a:cubicBezTo>
                  <a:cubicBezTo>
                    <a:pt x="597659" y="68526"/>
                    <a:pt x="579992" y="76109"/>
                    <a:pt x="562404" y="83851"/>
                  </a:cubicBezTo>
                  <a:cubicBezTo>
                    <a:pt x="544954" y="91871"/>
                    <a:pt x="527585" y="100129"/>
                    <a:pt x="510632" y="109162"/>
                  </a:cubicBezTo>
                  <a:cubicBezTo>
                    <a:pt x="506384" y="111425"/>
                    <a:pt x="502116" y="113608"/>
                    <a:pt x="497907" y="115911"/>
                  </a:cubicBezTo>
                  <a:lnTo>
                    <a:pt x="485321" y="122938"/>
                  </a:lnTo>
                  <a:lnTo>
                    <a:pt x="479029" y="126452"/>
                  </a:lnTo>
                  <a:lnTo>
                    <a:pt x="472835" y="130124"/>
                  </a:lnTo>
                  <a:lnTo>
                    <a:pt x="460428" y="137450"/>
                  </a:lnTo>
                  <a:cubicBezTo>
                    <a:pt x="444071" y="147514"/>
                    <a:pt x="427832" y="157817"/>
                    <a:pt x="412090" y="168834"/>
                  </a:cubicBezTo>
                  <a:cubicBezTo>
                    <a:pt x="396210" y="179653"/>
                    <a:pt x="380865" y="191246"/>
                    <a:pt x="365659" y="202978"/>
                  </a:cubicBezTo>
                  <a:cubicBezTo>
                    <a:pt x="350631" y="214949"/>
                    <a:pt x="335743" y="227117"/>
                    <a:pt x="321430" y="239961"/>
                  </a:cubicBezTo>
                  <a:cubicBezTo>
                    <a:pt x="306959" y="252606"/>
                    <a:pt x="293122" y="265966"/>
                    <a:pt x="279405" y="279425"/>
                  </a:cubicBezTo>
                  <a:cubicBezTo>
                    <a:pt x="265946" y="293142"/>
                    <a:pt x="252586" y="306979"/>
                    <a:pt x="239941" y="321450"/>
                  </a:cubicBezTo>
                  <a:cubicBezTo>
                    <a:pt x="227097" y="335763"/>
                    <a:pt x="214949" y="350651"/>
                    <a:pt x="202958" y="365678"/>
                  </a:cubicBezTo>
                  <a:cubicBezTo>
                    <a:pt x="191226" y="380904"/>
                    <a:pt x="179633" y="396229"/>
                    <a:pt x="168814" y="412110"/>
                  </a:cubicBezTo>
                  <a:cubicBezTo>
                    <a:pt x="157797" y="427852"/>
                    <a:pt x="147494" y="444091"/>
                    <a:pt x="137430" y="460448"/>
                  </a:cubicBezTo>
                  <a:lnTo>
                    <a:pt x="130105" y="472855"/>
                  </a:lnTo>
                  <a:lnTo>
                    <a:pt x="126432" y="479048"/>
                  </a:lnTo>
                  <a:lnTo>
                    <a:pt x="122918" y="485341"/>
                  </a:lnTo>
                  <a:lnTo>
                    <a:pt x="115891" y="497927"/>
                  </a:lnTo>
                  <a:cubicBezTo>
                    <a:pt x="113588" y="502135"/>
                    <a:pt x="111385" y="506423"/>
                    <a:pt x="109142" y="510652"/>
                  </a:cubicBezTo>
                  <a:cubicBezTo>
                    <a:pt x="100109" y="527604"/>
                    <a:pt x="91832" y="544974"/>
                    <a:pt x="83832" y="562423"/>
                  </a:cubicBezTo>
                  <a:cubicBezTo>
                    <a:pt x="76090" y="580012"/>
                    <a:pt x="68506" y="597679"/>
                    <a:pt x="61817" y="615684"/>
                  </a:cubicBezTo>
                  <a:cubicBezTo>
                    <a:pt x="54888" y="633610"/>
                    <a:pt x="48834" y="651853"/>
                    <a:pt x="42958" y="670136"/>
                  </a:cubicBezTo>
                  <a:cubicBezTo>
                    <a:pt x="37400" y="688518"/>
                    <a:pt x="32060" y="706980"/>
                    <a:pt x="27573" y="725679"/>
                  </a:cubicBezTo>
                  <a:cubicBezTo>
                    <a:pt x="9092" y="800300"/>
                    <a:pt x="159" y="877184"/>
                    <a:pt x="0" y="954067"/>
                  </a:cubicBezTo>
                  <a:cubicBezTo>
                    <a:pt x="159" y="1030951"/>
                    <a:pt x="9112" y="1107834"/>
                    <a:pt x="27573" y="1182455"/>
                  </a:cubicBezTo>
                  <a:cubicBezTo>
                    <a:pt x="32040" y="1201135"/>
                    <a:pt x="37400" y="1219597"/>
                    <a:pt x="42958" y="1237998"/>
                  </a:cubicBezTo>
                  <a:cubicBezTo>
                    <a:pt x="48834" y="1256281"/>
                    <a:pt x="54888" y="1274525"/>
                    <a:pt x="61817" y="1292450"/>
                  </a:cubicBezTo>
                  <a:cubicBezTo>
                    <a:pt x="68506" y="1310455"/>
                    <a:pt x="76090" y="1328123"/>
                    <a:pt x="83832" y="1345711"/>
                  </a:cubicBezTo>
                  <a:cubicBezTo>
                    <a:pt x="91851" y="1363160"/>
                    <a:pt x="100109" y="1380530"/>
                    <a:pt x="109142" y="1397483"/>
                  </a:cubicBezTo>
                  <a:cubicBezTo>
                    <a:pt x="111405" y="1401731"/>
                    <a:pt x="113588" y="1405999"/>
                    <a:pt x="115891" y="1410207"/>
                  </a:cubicBezTo>
                  <a:lnTo>
                    <a:pt x="122918" y="1422793"/>
                  </a:lnTo>
                  <a:lnTo>
                    <a:pt x="126432" y="1429086"/>
                  </a:lnTo>
                  <a:lnTo>
                    <a:pt x="130105" y="1435279"/>
                  </a:lnTo>
                  <a:lnTo>
                    <a:pt x="137430" y="1447686"/>
                  </a:lnTo>
                  <a:cubicBezTo>
                    <a:pt x="147494" y="1464044"/>
                    <a:pt x="157797" y="1480282"/>
                    <a:pt x="168814" y="1496024"/>
                  </a:cubicBezTo>
                  <a:cubicBezTo>
                    <a:pt x="179633" y="1511905"/>
                    <a:pt x="191226" y="1527250"/>
                    <a:pt x="202958" y="1542456"/>
                  </a:cubicBezTo>
                  <a:cubicBezTo>
                    <a:pt x="214929" y="1557483"/>
                    <a:pt x="227097" y="1572372"/>
                    <a:pt x="239941" y="1586684"/>
                  </a:cubicBezTo>
                  <a:cubicBezTo>
                    <a:pt x="252586" y="1601156"/>
                    <a:pt x="265946" y="1614992"/>
                    <a:pt x="279405" y="1628709"/>
                  </a:cubicBezTo>
                  <a:cubicBezTo>
                    <a:pt x="293122" y="1642168"/>
                    <a:pt x="306959" y="1655528"/>
                    <a:pt x="321430" y="1668173"/>
                  </a:cubicBezTo>
                  <a:cubicBezTo>
                    <a:pt x="335743" y="1681017"/>
                    <a:pt x="350631" y="1693166"/>
                    <a:pt x="365659" y="1705156"/>
                  </a:cubicBezTo>
                  <a:cubicBezTo>
                    <a:pt x="380884" y="1716888"/>
                    <a:pt x="396210" y="1728481"/>
                    <a:pt x="412090" y="1739300"/>
                  </a:cubicBezTo>
                  <a:cubicBezTo>
                    <a:pt x="427832" y="1750318"/>
                    <a:pt x="444071" y="1760620"/>
                    <a:pt x="460428" y="1770685"/>
                  </a:cubicBezTo>
                  <a:lnTo>
                    <a:pt x="472835" y="1778010"/>
                  </a:lnTo>
                  <a:lnTo>
                    <a:pt x="479029" y="1781682"/>
                  </a:lnTo>
                  <a:lnTo>
                    <a:pt x="485321" y="1785196"/>
                  </a:lnTo>
                  <a:lnTo>
                    <a:pt x="497907" y="1792223"/>
                  </a:lnTo>
                  <a:cubicBezTo>
                    <a:pt x="502116" y="1794526"/>
                    <a:pt x="506403" y="1796730"/>
                    <a:pt x="510632" y="1798973"/>
                  </a:cubicBezTo>
                  <a:cubicBezTo>
                    <a:pt x="527585" y="1808005"/>
                    <a:pt x="544954" y="1816283"/>
                    <a:pt x="562404" y="1824283"/>
                  </a:cubicBezTo>
                  <a:cubicBezTo>
                    <a:pt x="579992" y="1832025"/>
                    <a:pt x="597659" y="1839608"/>
                    <a:pt x="615664" y="1846298"/>
                  </a:cubicBezTo>
                  <a:cubicBezTo>
                    <a:pt x="633590" y="1853226"/>
                    <a:pt x="651833" y="1859281"/>
                    <a:pt x="670116" y="1865157"/>
                  </a:cubicBezTo>
                  <a:cubicBezTo>
                    <a:pt x="688498" y="1870715"/>
                    <a:pt x="706960" y="1876055"/>
                    <a:pt x="725660" y="1880541"/>
                  </a:cubicBezTo>
                  <a:cubicBezTo>
                    <a:pt x="762980" y="1889673"/>
                    <a:pt x="800836" y="1896720"/>
                    <a:pt x="839010" y="1901206"/>
                  </a:cubicBezTo>
                  <a:cubicBezTo>
                    <a:pt x="877164" y="1905752"/>
                    <a:pt x="915596" y="1908055"/>
                    <a:pt x="954047" y="1908134"/>
                  </a:cubicBezTo>
                  <a:cubicBezTo>
                    <a:pt x="992499" y="1908055"/>
                    <a:pt x="1030931" y="1905752"/>
                    <a:pt x="1069085" y="1901206"/>
                  </a:cubicBezTo>
                  <a:cubicBezTo>
                    <a:pt x="1107259" y="1896740"/>
                    <a:pt x="1145115" y="1889693"/>
                    <a:pt x="1182435" y="1880541"/>
                  </a:cubicBezTo>
                  <a:cubicBezTo>
                    <a:pt x="1201115" y="1876075"/>
                    <a:pt x="1219577" y="1870715"/>
                    <a:pt x="1237979" y="1865157"/>
                  </a:cubicBezTo>
                  <a:cubicBezTo>
                    <a:pt x="1256262" y="1859281"/>
                    <a:pt x="1274505" y="1853226"/>
                    <a:pt x="1292430" y="1846298"/>
                  </a:cubicBezTo>
                  <a:cubicBezTo>
                    <a:pt x="1310435" y="1839608"/>
                    <a:pt x="1328103" y="1832025"/>
                    <a:pt x="1345691" y="1824283"/>
                  </a:cubicBezTo>
                  <a:cubicBezTo>
                    <a:pt x="1363140" y="1816263"/>
                    <a:pt x="1380510" y="1808005"/>
                    <a:pt x="1397463" y="1798973"/>
                  </a:cubicBezTo>
                  <a:cubicBezTo>
                    <a:pt x="1401711" y="1796710"/>
                    <a:pt x="1405979" y="1794526"/>
                    <a:pt x="1410188" y="1792223"/>
                  </a:cubicBezTo>
                  <a:lnTo>
                    <a:pt x="1422773" y="1785196"/>
                  </a:lnTo>
                  <a:lnTo>
                    <a:pt x="1429066" y="1781682"/>
                  </a:lnTo>
                  <a:lnTo>
                    <a:pt x="1435260" y="1778010"/>
                  </a:lnTo>
                  <a:lnTo>
                    <a:pt x="1447667" y="1770685"/>
                  </a:lnTo>
                  <a:cubicBezTo>
                    <a:pt x="1464024" y="1760620"/>
                    <a:pt x="1480262" y="1750318"/>
                    <a:pt x="1496004" y="1739300"/>
                  </a:cubicBezTo>
                  <a:cubicBezTo>
                    <a:pt x="1511885" y="1728481"/>
                    <a:pt x="1527230" y="1716888"/>
                    <a:pt x="1542436" y="1705156"/>
                  </a:cubicBezTo>
                  <a:cubicBezTo>
                    <a:pt x="1557463" y="1693186"/>
                    <a:pt x="1572352" y="1681017"/>
                    <a:pt x="1586665" y="1668173"/>
                  </a:cubicBezTo>
                  <a:cubicBezTo>
                    <a:pt x="1601136" y="1655528"/>
                    <a:pt x="1614972" y="1642168"/>
                    <a:pt x="1628689" y="1628709"/>
                  </a:cubicBezTo>
                  <a:cubicBezTo>
                    <a:pt x="1642149" y="1614992"/>
                    <a:pt x="1655508" y="1601156"/>
                    <a:pt x="1668154" y="1586684"/>
                  </a:cubicBezTo>
                  <a:cubicBezTo>
                    <a:pt x="1680997" y="1572372"/>
                    <a:pt x="1693146" y="1557483"/>
                    <a:pt x="1705136" y="1542456"/>
                  </a:cubicBezTo>
                  <a:cubicBezTo>
                    <a:pt x="1716868" y="1527230"/>
                    <a:pt x="1728461" y="1511905"/>
                    <a:pt x="1739280" y="1496024"/>
                  </a:cubicBezTo>
                  <a:cubicBezTo>
                    <a:pt x="1750298" y="1480282"/>
                    <a:pt x="1760601" y="1464044"/>
                    <a:pt x="1770665" y="1447686"/>
                  </a:cubicBezTo>
                  <a:lnTo>
                    <a:pt x="1777990" y="1435279"/>
                  </a:lnTo>
                  <a:lnTo>
                    <a:pt x="1781663" y="1429086"/>
                  </a:lnTo>
                  <a:lnTo>
                    <a:pt x="1785176" y="1422793"/>
                  </a:lnTo>
                  <a:lnTo>
                    <a:pt x="1792204" y="1410207"/>
                  </a:lnTo>
                  <a:cubicBezTo>
                    <a:pt x="1794506" y="1405999"/>
                    <a:pt x="1796710" y="1401711"/>
                    <a:pt x="1798953" y="1397483"/>
                  </a:cubicBezTo>
                  <a:cubicBezTo>
                    <a:pt x="1807985" y="1380530"/>
                    <a:pt x="1816263" y="1363160"/>
                    <a:pt x="1824263" y="1345711"/>
                  </a:cubicBezTo>
                  <a:cubicBezTo>
                    <a:pt x="1832005" y="1328123"/>
                    <a:pt x="1839588" y="1310455"/>
                    <a:pt x="1846278" y="1292450"/>
                  </a:cubicBezTo>
                  <a:cubicBezTo>
                    <a:pt x="1853206" y="1274525"/>
                    <a:pt x="1859261" y="1256281"/>
                    <a:pt x="1865137" y="1237998"/>
                  </a:cubicBezTo>
                  <a:cubicBezTo>
                    <a:pt x="1870695" y="1219616"/>
                    <a:pt x="1876035" y="1201155"/>
                    <a:pt x="1880521" y="1182455"/>
                  </a:cubicBezTo>
                  <a:cubicBezTo>
                    <a:pt x="1899003" y="1107834"/>
                    <a:pt x="1907936" y="1030951"/>
                    <a:pt x="1908095" y="954067"/>
                  </a:cubicBezTo>
                  <a:cubicBezTo>
                    <a:pt x="1907936" y="877184"/>
                    <a:pt x="1898983" y="800300"/>
                    <a:pt x="1880521" y="725679"/>
                  </a:cubicBezTo>
                  <a:cubicBezTo>
                    <a:pt x="1876055" y="707000"/>
                    <a:pt x="1870695" y="688538"/>
                    <a:pt x="1865137" y="670136"/>
                  </a:cubicBezTo>
                  <a:close/>
                  <a:moveTo>
                    <a:pt x="1841295" y="1172827"/>
                  </a:moveTo>
                  <a:cubicBezTo>
                    <a:pt x="1837008" y="1190713"/>
                    <a:pt x="1831886" y="1208400"/>
                    <a:pt x="1826586" y="1226008"/>
                  </a:cubicBezTo>
                  <a:cubicBezTo>
                    <a:pt x="1820968" y="1243517"/>
                    <a:pt x="1815171" y="1260986"/>
                    <a:pt x="1808521" y="1278138"/>
                  </a:cubicBezTo>
                  <a:cubicBezTo>
                    <a:pt x="1802109" y="1295388"/>
                    <a:pt x="1794864" y="1312302"/>
                    <a:pt x="1787439" y="1329135"/>
                  </a:cubicBezTo>
                  <a:cubicBezTo>
                    <a:pt x="1779757" y="1345850"/>
                    <a:pt x="1771856" y="1362465"/>
                    <a:pt x="1763201" y="1378704"/>
                  </a:cubicBezTo>
                  <a:cubicBezTo>
                    <a:pt x="1761037" y="1382773"/>
                    <a:pt x="1758953" y="1386863"/>
                    <a:pt x="1756730" y="1390892"/>
                  </a:cubicBezTo>
                  <a:lnTo>
                    <a:pt x="1750000" y="1402942"/>
                  </a:lnTo>
                  <a:lnTo>
                    <a:pt x="1746625" y="1408957"/>
                  </a:lnTo>
                  <a:lnTo>
                    <a:pt x="1743112" y="1414892"/>
                  </a:lnTo>
                  <a:lnTo>
                    <a:pt x="1736084" y="1426783"/>
                  </a:lnTo>
                  <a:cubicBezTo>
                    <a:pt x="1726437" y="1442446"/>
                    <a:pt x="1716571" y="1458009"/>
                    <a:pt x="1706030" y="1473076"/>
                  </a:cubicBezTo>
                  <a:cubicBezTo>
                    <a:pt x="1695667" y="1488302"/>
                    <a:pt x="1684551" y="1502972"/>
                    <a:pt x="1673315" y="1517563"/>
                  </a:cubicBezTo>
                  <a:cubicBezTo>
                    <a:pt x="1661841" y="1531955"/>
                    <a:pt x="1650188" y="1546228"/>
                    <a:pt x="1637900" y="1559925"/>
                  </a:cubicBezTo>
                  <a:cubicBezTo>
                    <a:pt x="1625791" y="1573781"/>
                    <a:pt x="1612987" y="1587042"/>
                    <a:pt x="1600084" y="1600183"/>
                  </a:cubicBezTo>
                  <a:cubicBezTo>
                    <a:pt x="1586942" y="1613067"/>
                    <a:pt x="1573702" y="1625871"/>
                    <a:pt x="1559826" y="1638000"/>
                  </a:cubicBezTo>
                  <a:cubicBezTo>
                    <a:pt x="1546128" y="1650307"/>
                    <a:pt x="1531855" y="1661940"/>
                    <a:pt x="1517463" y="1673414"/>
                  </a:cubicBezTo>
                  <a:cubicBezTo>
                    <a:pt x="1502873" y="1684650"/>
                    <a:pt x="1488203" y="1695767"/>
                    <a:pt x="1472977" y="1706129"/>
                  </a:cubicBezTo>
                  <a:cubicBezTo>
                    <a:pt x="1457890" y="1716690"/>
                    <a:pt x="1442347" y="1726536"/>
                    <a:pt x="1426684" y="1736184"/>
                  </a:cubicBezTo>
                  <a:lnTo>
                    <a:pt x="1414793" y="1743211"/>
                  </a:lnTo>
                  <a:lnTo>
                    <a:pt x="1408858" y="1746725"/>
                  </a:lnTo>
                  <a:lnTo>
                    <a:pt x="1402843" y="1750099"/>
                  </a:lnTo>
                  <a:lnTo>
                    <a:pt x="1390793" y="1756829"/>
                  </a:lnTo>
                  <a:cubicBezTo>
                    <a:pt x="1386763" y="1759032"/>
                    <a:pt x="1382654" y="1761136"/>
                    <a:pt x="1378604" y="1763300"/>
                  </a:cubicBezTo>
                  <a:cubicBezTo>
                    <a:pt x="1362366" y="1771955"/>
                    <a:pt x="1345751" y="1779856"/>
                    <a:pt x="1329036" y="1787539"/>
                  </a:cubicBezTo>
                  <a:cubicBezTo>
                    <a:pt x="1312202" y="1794963"/>
                    <a:pt x="1295289" y="1802209"/>
                    <a:pt x="1278038" y="1808620"/>
                  </a:cubicBezTo>
                  <a:cubicBezTo>
                    <a:pt x="1260887" y="1815251"/>
                    <a:pt x="1243418" y="1821047"/>
                    <a:pt x="1225909" y="1826685"/>
                  </a:cubicBezTo>
                  <a:cubicBezTo>
                    <a:pt x="1208301" y="1832005"/>
                    <a:pt x="1190634" y="1837127"/>
                    <a:pt x="1172728" y="1841395"/>
                  </a:cubicBezTo>
                  <a:cubicBezTo>
                    <a:pt x="1136996" y="1850149"/>
                    <a:pt x="1100767" y="1856899"/>
                    <a:pt x="1064202" y="1861167"/>
                  </a:cubicBezTo>
                  <a:cubicBezTo>
                    <a:pt x="1027655" y="1865514"/>
                    <a:pt x="990832" y="1867737"/>
                    <a:pt x="953968" y="1867797"/>
                  </a:cubicBezTo>
                  <a:cubicBezTo>
                    <a:pt x="917104" y="1867717"/>
                    <a:pt x="880300" y="1865514"/>
                    <a:pt x="843734" y="1861167"/>
                  </a:cubicBezTo>
                  <a:cubicBezTo>
                    <a:pt x="807169" y="1856879"/>
                    <a:pt x="770940" y="1850129"/>
                    <a:pt x="735208" y="1841395"/>
                  </a:cubicBezTo>
                  <a:cubicBezTo>
                    <a:pt x="717322" y="1837107"/>
                    <a:pt x="699635" y="1831985"/>
                    <a:pt x="682027" y="1826685"/>
                  </a:cubicBezTo>
                  <a:cubicBezTo>
                    <a:pt x="664518" y="1821067"/>
                    <a:pt x="647049" y="1815271"/>
                    <a:pt x="629898" y="1808620"/>
                  </a:cubicBezTo>
                  <a:cubicBezTo>
                    <a:pt x="612647" y="1802209"/>
                    <a:pt x="595734" y="1794963"/>
                    <a:pt x="578900" y="1787539"/>
                  </a:cubicBezTo>
                  <a:cubicBezTo>
                    <a:pt x="562185" y="1779856"/>
                    <a:pt x="545570" y="1771955"/>
                    <a:pt x="529332" y="1763300"/>
                  </a:cubicBezTo>
                  <a:cubicBezTo>
                    <a:pt x="525262" y="1761136"/>
                    <a:pt x="521173" y="1759052"/>
                    <a:pt x="517143" y="1756829"/>
                  </a:cubicBezTo>
                  <a:lnTo>
                    <a:pt x="505093" y="1750099"/>
                  </a:lnTo>
                  <a:lnTo>
                    <a:pt x="499078" y="1746725"/>
                  </a:lnTo>
                  <a:lnTo>
                    <a:pt x="493143" y="1743211"/>
                  </a:lnTo>
                  <a:lnTo>
                    <a:pt x="481252" y="1736184"/>
                  </a:lnTo>
                  <a:cubicBezTo>
                    <a:pt x="465589" y="1726536"/>
                    <a:pt x="450026" y="1716670"/>
                    <a:pt x="434959" y="1706129"/>
                  </a:cubicBezTo>
                  <a:cubicBezTo>
                    <a:pt x="419733" y="1695767"/>
                    <a:pt x="405063" y="1684650"/>
                    <a:pt x="390473" y="1673414"/>
                  </a:cubicBezTo>
                  <a:cubicBezTo>
                    <a:pt x="376080" y="1661940"/>
                    <a:pt x="361807" y="1650287"/>
                    <a:pt x="348110" y="1638000"/>
                  </a:cubicBezTo>
                  <a:cubicBezTo>
                    <a:pt x="334254" y="1625890"/>
                    <a:pt x="320993" y="1613086"/>
                    <a:pt x="307852" y="1600183"/>
                  </a:cubicBezTo>
                  <a:cubicBezTo>
                    <a:pt x="294969" y="1587042"/>
                    <a:pt x="282165" y="1573801"/>
                    <a:pt x="270036" y="1559925"/>
                  </a:cubicBezTo>
                  <a:cubicBezTo>
                    <a:pt x="257728" y="1546228"/>
                    <a:pt x="246095" y="1531955"/>
                    <a:pt x="234621" y="1517563"/>
                  </a:cubicBezTo>
                  <a:cubicBezTo>
                    <a:pt x="223385" y="1502992"/>
                    <a:pt x="212269" y="1488302"/>
                    <a:pt x="201906" y="1473076"/>
                  </a:cubicBezTo>
                  <a:cubicBezTo>
                    <a:pt x="191345" y="1457989"/>
                    <a:pt x="181499" y="1442446"/>
                    <a:pt x="171852" y="1426783"/>
                  </a:cubicBezTo>
                  <a:lnTo>
                    <a:pt x="164824" y="1414892"/>
                  </a:lnTo>
                  <a:lnTo>
                    <a:pt x="161311" y="1408957"/>
                  </a:lnTo>
                  <a:lnTo>
                    <a:pt x="157936" y="1402942"/>
                  </a:lnTo>
                  <a:lnTo>
                    <a:pt x="151206" y="1390892"/>
                  </a:lnTo>
                  <a:cubicBezTo>
                    <a:pt x="149003" y="1386863"/>
                    <a:pt x="146899" y="1382753"/>
                    <a:pt x="144735" y="1378704"/>
                  </a:cubicBezTo>
                  <a:cubicBezTo>
                    <a:pt x="136080" y="1362465"/>
                    <a:pt x="128179" y="1345850"/>
                    <a:pt x="120497" y="1329135"/>
                  </a:cubicBezTo>
                  <a:cubicBezTo>
                    <a:pt x="113072" y="1312302"/>
                    <a:pt x="105827" y="1295388"/>
                    <a:pt x="99415" y="1278138"/>
                  </a:cubicBezTo>
                  <a:cubicBezTo>
                    <a:pt x="92784" y="1260986"/>
                    <a:pt x="86988" y="1243517"/>
                    <a:pt x="81350" y="1226008"/>
                  </a:cubicBezTo>
                  <a:cubicBezTo>
                    <a:pt x="76030" y="1208400"/>
                    <a:pt x="70908" y="1190733"/>
                    <a:pt x="66640" y="1172827"/>
                  </a:cubicBezTo>
                  <a:cubicBezTo>
                    <a:pt x="48953" y="1101383"/>
                    <a:pt x="40397" y="1027775"/>
                    <a:pt x="40218" y="954067"/>
                  </a:cubicBezTo>
                  <a:cubicBezTo>
                    <a:pt x="40397" y="880360"/>
                    <a:pt x="48953" y="806752"/>
                    <a:pt x="66640" y="735307"/>
                  </a:cubicBezTo>
                  <a:cubicBezTo>
                    <a:pt x="70928" y="717421"/>
                    <a:pt x="76050" y="699734"/>
                    <a:pt x="81350" y="682126"/>
                  </a:cubicBezTo>
                  <a:cubicBezTo>
                    <a:pt x="86968" y="664617"/>
                    <a:pt x="92765" y="647148"/>
                    <a:pt x="99415" y="629997"/>
                  </a:cubicBezTo>
                  <a:cubicBezTo>
                    <a:pt x="105827" y="612746"/>
                    <a:pt x="113072" y="595833"/>
                    <a:pt x="120497" y="578999"/>
                  </a:cubicBezTo>
                  <a:cubicBezTo>
                    <a:pt x="128179" y="562284"/>
                    <a:pt x="136080" y="545669"/>
                    <a:pt x="144735" y="529431"/>
                  </a:cubicBezTo>
                  <a:cubicBezTo>
                    <a:pt x="146899" y="525361"/>
                    <a:pt x="148983" y="521272"/>
                    <a:pt x="151206" y="517242"/>
                  </a:cubicBezTo>
                  <a:lnTo>
                    <a:pt x="157936" y="505193"/>
                  </a:lnTo>
                  <a:lnTo>
                    <a:pt x="161311" y="499178"/>
                  </a:lnTo>
                  <a:lnTo>
                    <a:pt x="164824" y="493242"/>
                  </a:lnTo>
                  <a:lnTo>
                    <a:pt x="171852" y="481351"/>
                  </a:lnTo>
                  <a:cubicBezTo>
                    <a:pt x="181499" y="465689"/>
                    <a:pt x="191365" y="450125"/>
                    <a:pt x="201906" y="435058"/>
                  </a:cubicBezTo>
                  <a:cubicBezTo>
                    <a:pt x="212269" y="419832"/>
                    <a:pt x="223385" y="405162"/>
                    <a:pt x="234621" y="390572"/>
                  </a:cubicBezTo>
                  <a:cubicBezTo>
                    <a:pt x="246095" y="376180"/>
                    <a:pt x="257748" y="361907"/>
                    <a:pt x="270036" y="348209"/>
                  </a:cubicBezTo>
                  <a:cubicBezTo>
                    <a:pt x="282145" y="334353"/>
                    <a:pt x="294949" y="321093"/>
                    <a:pt x="307852" y="307951"/>
                  </a:cubicBezTo>
                  <a:cubicBezTo>
                    <a:pt x="320993" y="295068"/>
                    <a:pt x="334234" y="282264"/>
                    <a:pt x="348110" y="270135"/>
                  </a:cubicBezTo>
                  <a:cubicBezTo>
                    <a:pt x="361807" y="257827"/>
                    <a:pt x="376080" y="246194"/>
                    <a:pt x="390473" y="234720"/>
                  </a:cubicBezTo>
                  <a:cubicBezTo>
                    <a:pt x="405063" y="223485"/>
                    <a:pt x="419733" y="212368"/>
                    <a:pt x="434959" y="202006"/>
                  </a:cubicBezTo>
                  <a:cubicBezTo>
                    <a:pt x="450046" y="191445"/>
                    <a:pt x="465589" y="181599"/>
                    <a:pt x="481252" y="171951"/>
                  </a:cubicBezTo>
                  <a:lnTo>
                    <a:pt x="493143" y="164924"/>
                  </a:lnTo>
                  <a:lnTo>
                    <a:pt x="499078" y="161410"/>
                  </a:lnTo>
                  <a:lnTo>
                    <a:pt x="505093" y="158035"/>
                  </a:lnTo>
                  <a:lnTo>
                    <a:pt x="517143" y="151306"/>
                  </a:lnTo>
                  <a:cubicBezTo>
                    <a:pt x="521173" y="149102"/>
                    <a:pt x="525282" y="146998"/>
                    <a:pt x="529332" y="144834"/>
                  </a:cubicBezTo>
                  <a:cubicBezTo>
                    <a:pt x="545570" y="136179"/>
                    <a:pt x="562185" y="128278"/>
                    <a:pt x="578900" y="120596"/>
                  </a:cubicBezTo>
                  <a:cubicBezTo>
                    <a:pt x="595734" y="113172"/>
                    <a:pt x="612647" y="105926"/>
                    <a:pt x="629898" y="99514"/>
                  </a:cubicBezTo>
                  <a:cubicBezTo>
                    <a:pt x="647049" y="92884"/>
                    <a:pt x="664518" y="87087"/>
                    <a:pt x="682027" y="81449"/>
                  </a:cubicBezTo>
                  <a:cubicBezTo>
                    <a:pt x="699635" y="76129"/>
                    <a:pt x="717302" y="71008"/>
                    <a:pt x="735208" y="66740"/>
                  </a:cubicBezTo>
                  <a:cubicBezTo>
                    <a:pt x="770940" y="57985"/>
                    <a:pt x="807169" y="51236"/>
                    <a:pt x="843734" y="46968"/>
                  </a:cubicBezTo>
                  <a:cubicBezTo>
                    <a:pt x="880280" y="42620"/>
                    <a:pt x="917104" y="40397"/>
                    <a:pt x="953968" y="40338"/>
                  </a:cubicBezTo>
                  <a:cubicBezTo>
                    <a:pt x="990832" y="40417"/>
                    <a:pt x="1027636" y="42620"/>
                    <a:pt x="1064202" y="46968"/>
                  </a:cubicBezTo>
                  <a:cubicBezTo>
                    <a:pt x="1100767" y="51256"/>
                    <a:pt x="1136996" y="58005"/>
                    <a:pt x="1172728" y="66740"/>
                  </a:cubicBezTo>
                  <a:cubicBezTo>
                    <a:pt x="1190614" y="71028"/>
                    <a:pt x="1208301" y="76149"/>
                    <a:pt x="1225909" y="81449"/>
                  </a:cubicBezTo>
                  <a:cubicBezTo>
                    <a:pt x="1243418" y="87067"/>
                    <a:pt x="1260887" y="92864"/>
                    <a:pt x="1278038" y="99514"/>
                  </a:cubicBezTo>
                  <a:cubicBezTo>
                    <a:pt x="1295289" y="105926"/>
                    <a:pt x="1312202" y="113172"/>
                    <a:pt x="1329036" y="120596"/>
                  </a:cubicBezTo>
                  <a:cubicBezTo>
                    <a:pt x="1345751" y="128278"/>
                    <a:pt x="1362366" y="136179"/>
                    <a:pt x="1378604" y="144834"/>
                  </a:cubicBezTo>
                  <a:cubicBezTo>
                    <a:pt x="1382674" y="146998"/>
                    <a:pt x="1386763" y="149082"/>
                    <a:pt x="1390793" y="151306"/>
                  </a:cubicBezTo>
                  <a:lnTo>
                    <a:pt x="1402843" y="158035"/>
                  </a:lnTo>
                  <a:lnTo>
                    <a:pt x="1408858" y="161410"/>
                  </a:lnTo>
                  <a:lnTo>
                    <a:pt x="1414793" y="164924"/>
                  </a:lnTo>
                  <a:lnTo>
                    <a:pt x="1426684" y="171951"/>
                  </a:lnTo>
                  <a:cubicBezTo>
                    <a:pt x="1442347" y="181599"/>
                    <a:pt x="1457910" y="191465"/>
                    <a:pt x="1472977" y="202006"/>
                  </a:cubicBezTo>
                  <a:cubicBezTo>
                    <a:pt x="1488203" y="212368"/>
                    <a:pt x="1502873" y="223485"/>
                    <a:pt x="1517463" y="234720"/>
                  </a:cubicBezTo>
                  <a:cubicBezTo>
                    <a:pt x="1531855" y="246194"/>
                    <a:pt x="1546128" y="257847"/>
                    <a:pt x="1559826" y="270135"/>
                  </a:cubicBezTo>
                  <a:cubicBezTo>
                    <a:pt x="1573682" y="282244"/>
                    <a:pt x="1586942" y="295048"/>
                    <a:pt x="1600084" y="307951"/>
                  </a:cubicBezTo>
                  <a:cubicBezTo>
                    <a:pt x="1612967" y="321093"/>
                    <a:pt x="1625771" y="334333"/>
                    <a:pt x="1637900" y="348209"/>
                  </a:cubicBezTo>
                  <a:cubicBezTo>
                    <a:pt x="1650208" y="361907"/>
                    <a:pt x="1661841" y="376180"/>
                    <a:pt x="1673315" y="390572"/>
                  </a:cubicBezTo>
                  <a:cubicBezTo>
                    <a:pt x="1684551" y="405162"/>
                    <a:pt x="1695667" y="419832"/>
                    <a:pt x="1706030" y="435058"/>
                  </a:cubicBezTo>
                  <a:cubicBezTo>
                    <a:pt x="1716591" y="450145"/>
                    <a:pt x="1726437" y="465689"/>
                    <a:pt x="1736084" y="481351"/>
                  </a:cubicBezTo>
                  <a:lnTo>
                    <a:pt x="1743112" y="493242"/>
                  </a:lnTo>
                  <a:lnTo>
                    <a:pt x="1746625" y="499178"/>
                  </a:lnTo>
                  <a:lnTo>
                    <a:pt x="1750000" y="505193"/>
                  </a:lnTo>
                  <a:lnTo>
                    <a:pt x="1756730" y="517242"/>
                  </a:lnTo>
                  <a:cubicBezTo>
                    <a:pt x="1758933" y="521272"/>
                    <a:pt x="1761037" y="525381"/>
                    <a:pt x="1763201" y="529431"/>
                  </a:cubicBezTo>
                  <a:cubicBezTo>
                    <a:pt x="1771856" y="545669"/>
                    <a:pt x="1779757" y="562284"/>
                    <a:pt x="1787439" y="578999"/>
                  </a:cubicBezTo>
                  <a:cubicBezTo>
                    <a:pt x="1794864" y="595833"/>
                    <a:pt x="1802109" y="612746"/>
                    <a:pt x="1808521" y="629997"/>
                  </a:cubicBezTo>
                  <a:cubicBezTo>
                    <a:pt x="1815152" y="647148"/>
                    <a:pt x="1820948" y="664617"/>
                    <a:pt x="1826586" y="682126"/>
                  </a:cubicBezTo>
                  <a:cubicBezTo>
                    <a:pt x="1831906" y="699734"/>
                    <a:pt x="1837028" y="717402"/>
                    <a:pt x="1841295" y="735307"/>
                  </a:cubicBezTo>
                  <a:cubicBezTo>
                    <a:pt x="1858983" y="806732"/>
                    <a:pt x="1867539" y="880360"/>
                    <a:pt x="1867717" y="954067"/>
                  </a:cubicBezTo>
                  <a:cubicBezTo>
                    <a:pt x="1867539" y="1027775"/>
                    <a:pt x="1858983" y="1101383"/>
                    <a:pt x="1841295" y="1172827"/>
                  </a:cubicBezTo>
                  <a:close/>
                </a:path>
              </a:pathLst>
            </a:custGeom>
            <a:solidFill>
              <a:srgbClr val="7BA0FF"/>
            </a:solidFill>
            <a:ln w="19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 kern="0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id="{907A2958-86AC-D269-93CE-9CAFDEA41BDD}"/>
                </a:ext>
              </a:extLst>
            </p:cNvPr>
            <p:cNvSpPr/>
            <p:nvPr/>
          </p:nvSpPr>
          <p:spPr>
            <a:xfrm>
              <a:off x="12934438" y="4169991"/>
              <a:ext cx="858308" cy="858284"/>
            </a:xfrm>
            <a:custGeom>
              <a:avLst/>
              <a:gdLst>
                <a:gd name="connsiteX0" fmla="*/ 2037147 w 2067023"/>
                <a:gd name="connsiteY0" fmla="*/ 786146 h 2066963"/>
                <a:gd name="connsiteX1" fmla="*/ 2020472 w 2067023"/>
                <a:gd name="connsiteY1" fmla="*/ 725957 h 2066963"/>
                <a:gd name="connsiteX2" fmla="*/ 2000026 w 2067023"/>
                <a:gd name="connsiteY2" fmla="*/ 666940 h 2066963"/>
                <a:gd name="connsiteX3" fmla="*/ 1976164 w 2067023"/>
                <a:gd name="connsiteY3" fmla="*/ 609213 h 2066963"/>
                <a:gd name="connsiteX4" fmla="*/ 1948730 w 2067023"/>
                <a:gd name="connsiteY4" fmla="*/ 553113 h 2066963"/>
                <a:gd name="connsiteX5" fmla="*/ 1941405 w 2067023"/>
                <a:gd name="connsiteY5" fmla="*/ 539317 h 2066963"/>
                <a:gd name="connsiteX6" fmla="*/ 1933782 w 2067023"/>
                <a:gd name="connsiteY6" fmla="*/ 525679 h 2066963"/>
                <a:gd name="connsiteX7" fmla="*/ 1929971 w 2067023"/>
                <a:gd name="connsiteY7" fmla="*/ 518870 h 2066963"/>
                <a:gd name="connsiteX8" fmla="*/ 1926000 w 2067023"/>
                <a:gd name="connsiteY8" fmla="*/ 512140 h 2066963"/>
                <a:gd name="connsiteX9" fmla="*/ 1918060 w 2067023"/>
                <a:gd name="connsiteY9" fmla="*/ 498701 h 2066963"/>
                <a:gd name="connsiteX10" fmla="*/ 1884075 w 2067023"/>
                <a:gd name="connsiteY10" fmla="*/ 446334 h 2066963"/>
                <a:gd name="connsiteX11" fmla="*/ 1847092 w 2067023"/>
                <a:gd name="connsiteY11" fmla="*/ 396051 h 2066963"/>
                <a:gd name="connsiteX12" fmla="*/ 1807052 w 2067023"/>
                <a:gd name="connsiteY12" fmla="*/ 348170 h 2066963"/>
                <a:gd name="connsiteX13" fmla="*/ 1764313 w 2067023"/>
                <a:gd name="connsiteY13" fmla="*/ 302691 h 2066963"/>
                <a:gd name="connsiteX14" fmla="*/ 1718834 w 2067023"/>
                <a:gd name="connsiteY14" fmla="*/ 259951 h 2066963"/>
                <a:gd name="connsiteX15" fmla="*/ 1670953 w 2067023"/>
                <a:gd name="connsiteY15" fmla="*/ 219911 h 2066963"/>
                <a:gd name="connsiteX16" fmla="*/ 1620670 w 2067023"/>
                <a:gd name="connsiteY16" fmla="*/ 182929 h 2066963"/>
                <a:gd name="connsiteX17" fmla="*/ 1568302 w 2067023"/>
                <a:gd name="connsiteY17" fmla="*/ 148943 h 2066963"/>
                <a:gd name="connsiteX18" fmla="*/ 1554863 w 2067023"/>
                <a:gd name="connsiteY18" fmla="*/ 141003 h 2066963"/>
                <a:gd name="connsiteX19" fmla="*/ 1548133 w 2067023"/>
                <a:gd name="connsiteY19" fmla="*/ 137033 h 2066963"/>
                <a:gd name="connsiteX20" fmla="*/ 1541324 w 2067023"/>
                <a:gd name="connsiteY20" fmla="*/ 133221 h 2066963"/>
                <a:gd name="connsiteX21" fmla="*/ 1527687 w 2067023"/>
                <a:gd name="connsiteY21" fmla="*/ 125598 h 2066963"/>
                <a:gd name="connsiteX22" fmla="*/ 1513890 w 2067023"/>
                <a:gd name="connsiteY22" fmla="*/ 118273 h 2066963"/>
                <a:gd name="connsiteX23" fmla="*/ 1457791 w 2067023"/>
                <a:gd name="connsiteY23" fmla="*/ 90839 h 2066963"/>
                <a:gd name="connsiteX24" fmla="*/ 1400064 w 2067023"/>
                <a:gd name="connsiteY24" fmla="*/ 66978 h 2066963"/>
                <a:gd name="connsiteX25" fmla="*/ 1341046 w 2067023"/>
                <a:gd name="connsiteY25" fmla="*/ 46531 h 2066963"/>
                <a:gd name="connsiteX26" fmla="*/ 1280857 w 2067023"/>
                <a:gd name="connsiteY26" fmla="*/ 29856 h 2066963"/>
                <a:gd name="connsiteX27" fmla="*/ 1158038 w 2067023"/>
                <a:gd name="connsiteY27" fmla="*/ 7484 h 2066963"/>
                <a:gd name="connsiteX28" fmla="*/ 1033512 w 2067023"/>
                <a:gd name="connsiteY28" fmla="*/ 0 h 2066963"/>
                <a:gd name="connsiteX29" fmla="*/ 908985 w 2067023"/>
                <a:gd name="connsiteY29" fmla="*/ 7484 h 2066963"/>
                <a:gd name="connsiteX30" fmla="*/ 786166 w 2067023"/>
                <a:gd name="connsiteY30" fmla="*/ 29856 h 2066963"/>
                <a:gd name="connsiteX31" fmla="*/ 725977 w 2067023"/>
                <a:gd name="connsiteY31" fmla="*/ 46531 h 2066963"/>
                <a:gd name="connsiteX32" fmla="*/ 666960 w 2067023"/>
                <a:gd name="connsiteY32" fmla="*/ 66978 h 2066963"/>
                <a:gd name="connsiteX33" fmla="*/ 609232 w 2067023"/>
                <a:gd name="connsiteY33" fmla="*/ 90839 h 2066963"/>
                <a:gd name="connsiteX34" fmla="*/ 553133 w 2067023"/>
                <a:gd name="connsiteY34" fmla="*/ 118273 h 2066963"/>
                <a:gd name="connsiteX35" fmla="*/ 539337 w 2067023"/>
                <a:gd name="connsiteY35" fmla="*/ 125598 h 2066963"/>
                <a:gd name="connsiteX36" fmla="*/ 525699 w 2067023"/>
                <a:gd name="connsiteY36" fmla="*/ 133221 h 2066963"/>
                <a:gd name="connsiteX37" fmla="*/ 518890 w 2067023"/>
                <a:gd name="connsiteY37" fmla="*/ 137033 h 2066963"/>
                <a:gd name="connsiteX38" fmla="*/ 512160 w 2067023"/>
                <a:gd name="connsiteY38" fmla="*/ 141003 h 2066963"/>
                <a:gd name="connsiteX39" fmla="*/ 498721 w 2067023"/>
                <a:gd name="connsiteY39" fmla="*/ 148943 h 2066963"/>
                <a:gd name="connsiteX40" fmla="*/ 446354 w 2067023"/>
                <a:gd name="connsiteY40" fmla="*/ 182929 h 2066963"/>
                <a:gd name="connsiteX41" fmla="*/ 396071 w 2067023"/>
                <a:gd name="connsiteY41" fmla="*/ 219911 h 2066963"/>
                <a:gd name="connsiteX42" fmla="*/ 348190 w 2067023"/>
                <a:gd name="connsiteY42" fmla="*/ 259951 h 2066963"/>
                <a:gd name="connsiteX43" fmla="*/ 302711 w 2067023"/>
                <a:gd name="connsiteY43" fmla="*/ 302691 h 2066963"/>
                <a:gd name="connsiteX44" fmla="*/ 259971 w 2067023"/>
                <a:gd name="connsiteY44" fmla="*/ 348170 h 2066963"/>
                <a:gd name="connsiteX45" fmla="*/ 219931 w 2067023"/>
                <a:gd name="connsiteY45" fmla="*/ 396051 h 2066963"/>
                <a:gd name="connsiteX46" fmla="*/ 182948 w 2067023"/>
                <a:gd name="connsiteY46" fmla="*/ 446334 h 2066963"/>
                <a:gd name="connsiteX47" fmla="*/ 148963 w 2067023"/>
                <a:gd name="connsiteY47" fmla="*/ 498701 h 2066963"/>
                <a:gd name="connsiteX48" fmla="*/ 141023 w 2067023"/>
                <a:gd name="connsiteY48" fmla="*/ 512140 h 2066963"/>
                <a:gd name="connsiteX49" fmla="*/ 137053 w 2067023"/>
                <a:gd name="connsiteY49" fmla="*/ 518870 h 2066963"/>
                <a:gd name="connsiteX50" fmla="*/ 133241 w 2067023"/>
                <a:gd name="connsiteY50" fmla="*/ 525679 h 2066963"/>
                <a:gd name="connsiteX51" fmla="*/ 125618 w 2067023"/>
                <a:gd name="connsiteY51" fmla="*/ 539317 h 2066963"/>
                <a:gd name="connsiteX52" fmla="*/ 118293 w 2067023"/>
                <a:gd name="connsiteY52" fmla="*/ 553113 h 2066963"/>
                <a:gd name="connsiteX53" fmla="*/ 90859 w 2067023"/>
                <a:gd name="connsiteY53" fmla="*/ 609213 h 2066963"/>
                <a:gd name="connsiteX54" fmla="*/ 66998 w 2067023"/>
                <a:gd name="connsiteY54" fmla="*/ 666940 h 2066963"/>
                <a:gd name="connsiteX55" fmla="*/ 46551 w 2067023"/>
                <a:gd name="connsiteY55" fmla="*/ 725957 h 2066963"/>
                <a:gd name="connsiteX56" fmla="*/ 29876 w 2067023"/>
                <a:gd name="connsiteY56" fmla="*/ 786146 h 2066963"/>
                <a:gd name="connsiteX57" fmla="*/ 0 w 2067023"/>
                <a:gd name="connsiteY57" fmla="*/ 1033492 h 2066963"/>
                <a:gd name="connsiteX58" fmla="*/ 29876 w 2067023"/>
                <a:gd name="connsiteY58" fmla="*/ 1280817 h 2066963"/>
                <a:gd name="connsiteX59" fmla="*/ 46551 w 2067023"/>
                <a:gd name="connsiteY59" fmla="*/ 1341006 h 2066963"/>
                <a:gd name="connsiteX60" fmla="*/ 66998 w 2067023"/>
                <a:gd name="connsiteY60" fmla="*/ 1400024 h 2066963"/>
                <a:gd name="connsiteX61" fmla="*/ 90859 w 2067023"/>
                <a:gd name="connsiteY61" fmla="*/ 1457751 h 2066963"/>
                <a:gd name="connsiteX62" fmla="*/ 118293 w 2067023"/>
                <a:gd name="connsiteY62" fmla="*/ 1513850 h 2066963"/>
                <a:gd name="connsiteX63" fmla="*/ 125618 w 2067023"/>
                <a:gd name="connsiteY63" fmla="*/ 1527647 h 2066963"/>
                <a:gd name="connsiteX64" fmla="*/ 133241 w 2067023"/>
                <a:gd name="connsiteY64" fmla="*/ 1541285 h 2066963"/>
                <a:gd name="connsiteX65" fmla="*/ 137053 w 2067023"/>
                <a:gd name="connsiteY65" fmla="*/ 1548094 h 2066963"/>
                <a:gd name="connsiteX66" fmla="*/ 141023 w 2067023"/>
                <a:gd name="connsiteY66" fmla="*/ 1554823 h 2066963"/>
                <a:gd name="connsiteX67" fmla="*/ 148963 w 2067023"/>
                <a:gd name="connsiteY67" fmla="*/ 1568263 h 2066963"/>
                <a:gd name="connsiteX68" fmla="*/ 182948 w 2067023"/>
                <a:gd name="connsiteY68" fmla="*/ 1620630 h 2066963"/>
                <a:gd name="connsiteX69" fmla="*/ 219931 w 2067023"/>
                <a:gd name="connsiteY69" fmla="*/ 1670913 h 2066963"/>
                <a:gd name="connsiteX70" fmla="*/ 259971 w 2067023"/>
                <a:gd name="connsiteY70" fmla="*/ 1718794 h 2066963"/>
                <a:gd name="connsiteX71" fmla="*/ 302711 w 2067023"/>
                <a:gd name="connsiteY71" fmla="*/ 1764273 h 2066963"/>
                <a:gd name="connsiteX72" fmla="*/ 348190 w 2067023"/>
                <a:gd name="connsiteY72" fmla="*/ 1807012 h 2066963"/>
                <a:gd name="connsiteX73" fmla="*/ 396071 w 2067023"/>
                <a:gd name="connsiteY73" fmla="*/ 1847052 h 2066963"/>
                <a:gd name="connsiteX74" fmla="*/ 446354 w 2067023"/>
                <a:gd name="connsiteY74" fmla="*/ 1884035 h 2066963"/>
                <a:gd name="connsiteX75" fmla="*/ 498721 w 2067023"/>
                <a:gd name="connsiteY75" fmla="*/ 1918020 h 2066963"/>
                <a:gd name="connsiteX76" fmla="*/ 512160 w 2067023"/>
                <a:gd name="connsiteY76" fmla="*/ 1925961 h 2066963"/>
                <a:gd name="connsiteX77" fmla="*/ 518890 w 2067023"/>
                <a:gd name="connsiteY77" fmla="*/ 1929931 h 2066963"/>
                <a:gd name="connsiteX78" fmla="*/ 525699 w 2067023"/>
                <a:gd name="connsiteY78" fmla="*/ 1933742 h 2066963"/>
                <a:gd name="connsiteX79" fmla="*/ 539337 w 2067023"/>
                <a:gd name="connsiteY79" fmla="*/ 1941365 h 2066963"/>
                <a:gd name="connsiteX80" fmla="*/ 553133 w 2067023"/>
                <a:gd name="connsiteY80" fmla="*/ 1948690 h 2066963"/>
                <a:gd name="connsiteX81" fmla="*/ 609232 w 2067023"/>
                <a:gd name="connsiteY81" fmla="*/ 1976125 h 2066963"/>
                <a:gd name="connsiteX82" fmla="*/ 666960 w 2067023"/>
                <a:gd name="connsiteY82" fmla="*/ 1999986 h 2066963"/>
                <a:gd name="connsiteX83" fmla="*/ 725977 w 2067023"/>
                <a:gd name="connsiteY83" fmla="*/ 2020432 h 2066963"/>
                <a:gd name="connsiteX84" fmla="*/ 786166 w 2067023"/>
                <a:gd name="connsiteY84" fmla="*/ 2037107 h 2066963"/>
                <a:gd name="connsiteX85" fmla="*/ 908985 w 2067023"/>
                <a:gd name="connsiteY85" fmla="*/ 2059480 h 2066963"/>
                <a:gd name="connsiteX86" fmla="*/ 1033512 w 2067023"/>
                <a:gd name="connsiteY86" fmla="*/ 2066964 h 2066963"/>
                <a:gd name="connsiteX87" fmla="*/ 1158038 w 2067023"/>
                <a:gd name="connsiteY87" fmla="*/ 2059480 h 2066963"/>
                <a:gd name="connsiteX88" fmla="*/ 1280857 w 2067023"/>
                <a:gd name="connsiteY88" fmla="*/ 2037107 h 2066963"/>
                <a:gd name="connsiteX89" fmla="*/ 1341046 w 2067023"/>
                <a:gd name="connsiteY89" fmla="*/ 2020432 h 2066963"/>
                <a:gd name="connsiteX90" fmla="*/ 1400064 w 2067023"/>
                <a:gd name="connsiteY90" fmla="*/ 1999986 h 2066963"/>
                <a:gd name="connsiteX91" fmla="*/ 1457791 w 2067023"/>
                <a:gd name="connsiteY91" fmla="*/ 1976125 h 2066963"/>
                <a:gd name="connsiteX92" fmla="*/ 1513890 w 2067023"/>
                <a:gd name="connsiteY92" fmla="*/ 1948690 h 2066963"/>
                <a:gd name="connsiteX93" fmla="*/ 1527687 w 2067023"/>
                <a:gd name="connsiteY93" fmla="*/ 1941365 h 2066963"/>
                <a:gd name="connsiteX94" fmla="*/ 1541324 w 2067023"/>
                <a:gd name="connsiteY94" fmla="*/ 1933742 h 2066963"/>
                <a:gd name="connsiteX95" fmla="*/ 1548133 w 2067023"/>
                <a:gd name="connsiteY95" fmla="*/ 1929931 h 2066963"/>
                <a:gd name="connsiteX96" fmla="*/ 1554863 w 2067023"/>
                <a:gd name="connsiteY96" fmla="*/ 1925961 h 2066963"/>
                <a:gd name="connsiteX97" fmla="*/ 1568302 w 2067023"/>
                <a:gd name="connsiteY97" fmla="*/ 1918020 h 2066963"/>
                <a:gd name="connsiteX98" fmla="*/ 1620670 w 2067023"/>
                <a:gd name="connsiteY98" fmla="*/ 1884035 h 2066963"/>
                <a:gd name="connsiteX99" fmla="*/ 1670953 w 2067023"/>
                <a:gd name="connsiteY99" fmla="*/ 1847052 h 2066963"/>
                <a:gd name="connsiteX100" fmla="*/ 1718834 w 2067023"/>
                <a:gd name="connsiteY100" fmla="*/ 1807012 h 2066963"/>
                <a:gd name="connsiteX101" fmla="*/ 1764313 w 2067023"/>
                <a:gd name="connsiteY101" fmla="*/ 1764273 h 2066963"/>
                <a:gd name="connsiteX102" fmla="*/ 1807052 w 2067023"/>
                <a:gd name="connsiteY102" fmla="*/ 1718794 h 2066963"/>
                <a:gd name="connsiteX103" fmla="*/ 1847092 w 2067023"/>
                <a:gd name="connsiteY103" fmla="*/ 1670913 h 2066963"/>
                <a:gd name="connsiteX104" fmla="*/ 1884075 w 2067023"/>
                <a:gd name="connsiteY104" fmla="*/ 1620630 h 2066963"/>
                <a:gd name="connsiteX105" fmla="*/ 1918060 w 2067023"/>
                <a:gd name="connsiteY105" fmla="*/ 1568263 h 2066963"/>
                <a:gd name="connsiteX106" fmla="*/ 1926000 w 2067023"/>
                <a:gd name="connsiteY106" fmla="*/ 1554823 h 2066963"/>
                <a:gd name="connsiteX107" fmla="*/ 1929971 w 2067023"/>
                <a:gd name="connsiteY107" fmla="*/ 1548094 h 2066963"/>
                <a:gd name="connsiteX108" fmla="*/ 1933782 w 2067023"/>
                <a:gd name="connsiteY108" fmla="*/ 1541285 h 2066963"/>
                <a:gd name="connsiteX109" fmla="*/ 1941405 w 2067023"/>
                <a:gd name="connsiteY109" fmla="*/ 1527647 h 2066963"/>
                <a:gd name="connsiteX110" fmla="*/ 1948730 w 2067023"/>
                <a:gd name="connsiteY110" fmla="*/ 1513850 h 2066963"/>
                <a:gd name="connsiteX111" fmla="*/ 1976164 w 2067023"/>
                <a:gd name="connsiteY111" fmla="*/ 1457751 h 2066963"/>
                <a:gd name="connsiteX112" fmla="*/ 2000026 w 2067023"/>
                <a:gd name="connsiteY112" fmla="*/ 1400024 h 2066963"/>
                <a:gd name="connsiteX113" fmla="*/ 2020472 w 2067023"/>
                <a:gd name="connsiteY113" fmla="*/ 1341006 h 2066963"/>
                <a:gd name="connsiteX114" fmla="*/ 2037147 w 2067023"/>
                <a:gd name="connsiteY114" fmla="*/ 1280817 h 2066963"/>
                <a:gd name="connsiteX115" fmla="*/ 2067023 w 2067023"/>
                <a:gd name="connsiteY115" fmla="*/ 1033492 h 2066963"/>
                <a:gd name="connsiteX116" fmla="*/ 2037147 w 2067023"/>
                <a:gd name="connsiteY116" fmla="*/ 786166 h 2066963"/>
                <a:gd name="connsiteX117" fmla="*/ 1981921 w 2067023"/>
                <a:gd name="connsiteY117" fmla="*/ 1329016 h 2066963"/>
                <a:gd name="connsiteX118" fmla="*/ 1962288 w 2067023"/>
                <a:gd name="connsiteY118" fmla="*/ 1385711 h 2066963"/>
                <a:gd name="connsiteX119" fmla="*/ 1939360 w 2067023"/>
                <a:gd name="connsiteY119" fmla="*/ 1441155 h 2066963"/>
                <a:gd name="connsiteX120" fmla="*/ 1912998 w 2067023"/>
                <a:gd name="connsiteY120" fmla="*/ 1495051 h 2066963"/>
                <a:gd name="connsiteX121" fmla="*/ 1905971 w 2067023"/>
                <a:gd name="connsiteY121" fmla="*/ 1508292 h 2066963"/>
                <a:gd name="connsiteX122" fmla="*/ 1898646 w 2067023"/>
                <a:gd name="connsiteY122" fmla="*/ 1521394 h 2066963"/>
                <a:gd name="connsiteX123" fmla="*/ 1894973 w 2067023"/>
                <a:gd name="connsiteY123" fmla="*/ 1527945 h 2066963"/>
                <a:gd name="connsiteX124" fmla="*/ 1891162 w 2067023"/>
                <a:gd name="connsiteY124" fmla="*/ 1534396 h 2066963"/>
                <a:gd name="connsiteX125" fmla="*/ 1883519 w 2067023"/>
                <a:gd name="connsiteY125" fmla="*/ 1547319 h 2066963"/>
                <a:gd name="connsiteX126" fmla="*/ 1850844 w 2067023"/>
                <a:gd name="connsiteY126" fmla="*/ 1597642 h 2066963"/>
                <a:gd name="connsiteX127" fmla="*/ 1815291 w 2067023"/>
                <a:gd name="connsiteY127" fmla="*/ 1645980 h 2066963"/>
                <a:gd name="connsiteX128" fmla="*/ 1776819 w 2067023"/>
                <a:gd name="connsiteY128" fmla="*/ 1692015 h 2066963"/>
                <a:gd name="connsiteX129" fmla="*/ 1735747 w 2067023"/>
                <a:gd name="connsiteY129" fmla="*/ 1735727 h 2066963"/>
                <a:gd name="connsiteX130" fmla="*/ 1692035 w 2067023"/>
                <a:gd name="connsiteY130" fmla="*/ 1776799 h 2066963"/>
                <a:gd name="connsiteX131" fmla="*/ 1646000 w 2067023"/>
                <a:gd name="connsiteY131" fmla="*/ 1815271 h 2066963"/>
                <a:gd name="connsiteX132" fmla="*/ 1597662 w 2067023"/>
                <a:gd name="connsiteY132" fmla="*/ 1850824 h 2066963"/>
                <a:gd name="connsiteX133" fmla="*/ 1547339 w 2067023"/>
                <a:gd name="connsiteY133" fmla="*/ 1883499 h 2066963"/>
                <a:gd name="connsiteX134" fmla="*/ 1534416 w 2067023"/>
                <a:gd name="connsiteY134" fmla="*/ 1891142 h 2066963"/>
                <a:gd name="connsiteX135" fmla="*/ 1527965 w 2067023"/>
                <a:gd name="connsiteY135" fmla="*/ 1894953 h 2066963"/>
                <a:gd name="connsiteX136" fmla="*/ 1521414 w 2067023"/>
                <a:gd name="connsiteY136" fmla="*/ 1898626 h 2066963"/>
                <a:gd name="connsiteX137" fmla="*/ 1508312 w 2067023"/>
                <a:gd name="connsiteY137" fmla="*/ 1905951 h 2066963"/>
                <a:gd name="connsiteX138" fmla="*/ 1495071 w 2067023"/>
                <a:gd name="connsiteY138" fmla="*/ 1912978 h 2066963"/>
                <a:gd name="connsiteX139" fmla="*/ 1441175 w 2067023"/>
                <a:gd name="connsiteY139" fmla="*/ 1939340 h 2066963"/>
                <a:gd name="connsiteX140" fmla="*/ 1385731 w 2067023"/>
                <a:gd name="connsiteY140" fmla="*/ 1962269 h 2066963"/>
                <a:gd name="connsiteX141" fmla="*/ 1329036 w 2067023"/>
                <a:gd name="connsiteY141" fmla="*/ 1981901 h 2066963"/>
                <a:gd name="connsiteX142" fmla="*/ 1271210 w 2067023"/>
                <a:gd name="connsiteY142" fmla="*/ 1997921 h 2066963"/>
                <a:gd name="connsiteX143" fmla="*/ 1153214 w 2067023"/>
                <a:gd name="connsiteY143" fmla="*/ 2019420 h 2066963"/>
                <a:gd name="connsiteX144" fmla="*/ 1033512 w 2067023"/>
                <a:gd name="connsiteY144" fmla="*/ 2026626 h 2066963"/>
                <a:gd name="connsiteX145" fmla="*/ 913809 w 2067023"/>
                <a:gd name="connsiteY145" fmla="*/ 2019420 h 2066963"/>
                <a:gd name="connsiteX146" fmla="*/ 795814 w 2067023"/>
                <a:gd name="connsiteY146" fmla="*/ 1997921 h 2066963"/>
                <a:gd name="connsiteX147" fmla="*/ 737987 w 2067023"/>
                <a:gd name="connsiteY147" fmla="*/ 1981901 h 2066963"/>
                <a:gd name="connsiteX148" fmla="*/ 681292 w 2067023"/>
                <a:gd name="connsiteY148" fmla="*/ 1962269 h 2066963"/>
                <a:gd name="connsiteX149" fmla="*/ 625848 w 2067023"/>
                <a:gd name="connsiteY149" fmla="*/ 1939340 h 2066963"/>
                <a:gd name="connsiteX150" fmla="*/ 571952 w 2067023"/>
                <a:gd name="connsiteY150" fmla="*/ 1912978 h 2066963"/>
                <a:gd name="connsiteX151" fmla="*/ 558711 w 2067023"/>
                <a:gd name="connsiteY151" fmla="*/ 1905951 h 2066963"/>
                <a:gd name="connsiteX152" fmla="*/ 545610 w 2067023"/>
                <a:gd name="connsiteY152" fmla="*/ 1898626 h 2066963"/>
                <a:gd name="connsiteX153" fmla="*/ 539059 w 2067023"/>
                <a:gd name="connsiteY153" fmla="*/ 1894953 h 2066963"/>
                <a:gd name="connsiteX154" fmla="*/ 532607 w 2067023"/>
                <a:gd name="connsiteY154" fmla="*/ 1891142 h 2066963"/>
                <a:gd name="connsiteX155" fmla="*/ 519684 w 2067023"/>
                <a:gd name="connsiteY155" fmla="*/ 1883499 h 2066963"/>
                <a:gd name="connsiteX156" fmla="*/ 469361 w 2067023"/>
                <a:gd name="connsiteY156" fmla="*/ 1850824 h 2066963"/>
                <a:gd name="connsiteX157" fmla="*/ 421024 w 2067023"/>
                <a:gd name="connsiteY157" fmla="*/ 1815271 h 2066963"/>
                <a:gd name="connsiteX158" fmla="*/ 374989 w 2067023"/>
                <a:gd name="connsiteY158" fmla="*/ 1776799 h 2066963"/>
                <a:gd name="connsiteX159" fmla="*/ 331276 w 2067023"/>
                <a:gd name="connsiteY159" fmla="*/ 1735727 h 2066963"/>
                <a:gd name="connsiteX160" fmla="*/ 290204 w 2067023"/>
                <a:gd name="connsiteY160" fmla="*/ 1692015 h 2066963"/>
                <a:gd name="connsiteX161" fmla="*/ 251733 w 2067023"/>
                <a:gd name="connsiteY161" fmla="*/ 1645980 h 2066963"/>
                <a:gd name="connsiteX162" fmla="*/ 216179 w 2067023"/>
                <a:gd name="connsiteY162" fmla="*/ 1597642 h 2066963"/>
                <a:gd name="connsiteX163" fmla="*/ 183504 w 2067023"/>
                <a:gd name="connsiteY163" fmla="*/ 1547319 h 2066963"/>
                <a:gd name="connsiteX164" fmla="*/ 175862 w 2067023"/>
                <a:gd name="connsiteY164" fmla="*/ 1534396 h 2066963"/>
                <a:gd name="connsiteX165" fmla="*/ 172050 w 2067023"/>
                <a:gd name="connsiteY165" fmla="*/ 1527945 h 2066963"/>
                <a:gd name="connsiteX166" fmla="*/ 168378 w 2067023"/>
                <a:gd name="connsiteY166" fmla="*/ 1521394 h 2066963"/>
                <a:gd name="connsiteX167" fmla="*/ 161053 w 2067023"/>
                <a:gd name="connsiteY167" fmla="*/ 1508292 h 2066963"/>
                <a:gd name="connsiteX168" fmla="*/ 154025 w 2067023"/>
                <a:gd name="connsiteY168" fmla="*/ 1495051 h 2066963"/>
                <a:gd name="connsiteX169" fmla="*/ 127663 w 2067023"/>
                <a:gd name="connsiteY169" fmla="*/ 1441155 h 2066963"/>
                <a:gd name="connsiteX170" fmla="*/ 104735 w 2067023"/>
                <a:gd name="connsiteY170" fmla="*/ 1385711 h 2066963"/>
                <a:gd name="connsiteX171" fmla="*/ 85102 w 2067023"/>
                <a:gd name="connsiteY171" fmla="*/ 1329016 h 2066963"/>
                <a:gd name="connsiteX172" fmla="*/ 69082 w 2067023"/>
                <a:gd name="connsiteY172" fmla="*/ 1271190 h 2066963"/>
                <a:gd name="connsiteX173" fmla="*/ 40377 w 2067023"/>
                <a:gd name="connsiteY173" fmla="*/ 1033492 h 2066963"/>
                <a:gd name="connsiteX174" fmla="*/ 69082 w 2067023"/>
                <a:gd name="connsiteY174" fmla="*/ 795794 h 2066963"/>
                <a:gd name="connsiteX175" fmla="*/ 85102 w 2067023"/>
                <a:gd name="connsiteY175" fmla="*/ 737967 h 2066963"/>
                <a:gd name="connsiteX176" fmla="*/ 104735 w 2067023"/>
                <a:gd name="connsiteY176" fmla="*/ 681272 h 2066963"/>
                <a:gd name="connsiteX177" fmla="*/ 127663 w 2067023"/>
                <a:gd name="connsiteY177" fmla="*/ 625828 h 2066963"/>
                <a:gd name="connsiteX178" fmla="*/ 154025 w 2067023"/>
                <a:gd name="connsiteY178" fmla="*/ 571932 h 2066963"/>
                <a:gd name="connsiteX179" fmla="*/ 161053 w 2067023"/>
                <a:gd name="connsiteY179" fmla="*/ 558691 h 2066963"/>
                <a:gd name="connsiteX180" fmla="*/ 168378 w 2067023"/>
                <a:gd name="connsiteY180" fmla="*/ 545590 h 2066963"/>
                <a:gd name="connsiteX181" fmla="*/ 172050 w 2067023"/>
                <a:gd name="connsiteY181" fmla="*/ 539039 h 2066963"/>
                <a:gd name="connsiteX182" fmla="*/ 175862 w 2067023"/>
                <a:gd name="connsiteY182" fmla="*/ 532587 h 2066963"/>
                <a:gd name="connsiteX183" fmla="*/ 183504 w 2067023"/>
                <a:gd name="connsiteY183" fmla="*/ 519664 h 2066963"/>
                <a:gd name="connsiteX184" fmla="*/ 216179 w 2067023"/>
                <a:gd name="connsiteY184" fmla="*/ 469341 h 2066963"/>
                <a:gd name="connsiteX185" fmla="*/ 251733 w 2067023"/>
                <a:gd name="connsiteY185" fmla="*/ 421004 h 2066963"/>
                <a:gd name="connsiteX186" fmla="*/ 290204 w 2067023"/>
                <a:gd name="connsiteY186" fmla="*/ 374969 h 2066963"/>
                <a:gd name="connsiteX187" fmla="*/ 331276 w 2067023"/>
                <a:gd name="connsiteY187" fmla="*/ 331257 h 2066963"/>
                <a:gd name="connsiteX188" fmla="*/ 374989 w 2067023"/>
                <a:gd name="connsiteY188" fmla="*/ 290184 h 2066963"/>
                <a:gd name="connsiteX189" fmla="*/ 421024 w 2067023"/>
                <a:gd name="connsiteY189" fmla="*/ 251713 h 2066963"/>
                <a:gd name="connsiteX190" fmla="*/ 469361 w 2067023"/>
                <a:gd name="connsiteY190" fmla="*/ 216159 h 2066963"/>
                <a:gd name="connsiteX191" fmla="*/ 519684 w 2067023"/>
                <a:gd name="connsiteY191" fmla="*/ 183484 h 2066963"/>
                <a:gd name="connsiteX192" fmla="*/ 532607 w 2067023"/>
                <a:gd name="connsiteY192" fmla="*/ 175842 h 2066963"/>
                <a:gd name="connsiteX193" fmla="*/ 539059 w 2067023"/>
                <a:gd name="connsiteY193" fmla="*/ 172030 h 2066963"/>
                <a:gd name="connsiteX194" fmla="*/ 545610 w 2067023"/>
                <a:gd name="connsiteY194" fmla="*/ 168358 h 2066963"/>
                <a:gd name="connsiteX195" fmla="*/ 558711 w 2067023"/>
                <a:gd name="connsiteY195" fmla="*/ 161033 h 2066963"/>
                <a:gd name="connsiteX196" fmla="*/ 571952 w 2067023"/>
                <a:gd name="connsiteY196" fmla="*/ 154005 h 2066963"/>
                <a:gd name="connsiteX197" fmla="*/ 625848 w 2067023"/>
                <a:gd name="connsiteY197" fmla="*/ 127643 h 2066963"/>
                <a:gd name="connsiteX198" fmla="*/ 681292 w 2067023"/>
                <a:gd name="connsiteY198" fmla="*/ 104715 h 2066963"/>
                <a:gd name="connsiteX199" fmla="*/ 737987 w 2067023"/>
                <a:gd name="connsiteY199" fmla="*/ 85082 h 2066963"/>
                <a:gd name="connsiteX200" fmla="*/ 795814 w 2067023"/>
                <a:gd name="connsiteY200" fmla="*/ 69062 h 2066963"/>
                <a:gd name="connsiteX201" fmla="*/ 913809 w 2067023"/>
                <a:gd name="connsiteY201" fmla="*/ 47563 h 2066963"/>
                <a:gd name="connsiteX202" fmla="*/ 1033512 w 2067023"/>
                <a:gd name="connsiteY202" fmla="*/ 40357 h 2066963"/>
                <a:gd name="connsiteX203" fmla="*/ 1153214 w 2067023"/>
                <a:gd name="connsiteY203" fmla="*/ 47563 h 2066963"/>
                <a:gd name="connsiteX204" fmla="*/ 1271210 w 2067023"/>
                <a:gd name="connsiteY204" fmla="*/ 69062 h 2066963"/>
                <a:gd name="connsiteX205" fmla="*/ 1329036 w 2067023"/>
                <a:gd name="connsiteY205" fmla="*/ 85082 h 2066963"/>
                <a:gd name="connsiteX206" fmla="*/ 1385731 w 2067023"/>
                <a:gd name="connsiteY206" fmla="*/ 104715 h 2066963"/>
                <a:gd name="connsiteX207" fmla="*/ 1441175 w 2067023"/>
                <a:gd name="connsiteY207" fmla="*/ 127643 h 2066963"/>
                <a:gd name="connsiteX208" fmla="*/ 1495071 w 2067023"/>
                <a:gd name="connsiteY208" fmla="*/ 154005 h 2066963"/>
                <a:gd name="connsiteX209" fmla="*/ 1508312 w 2067023"/>
                <a:gd name="connsiteY209" fmla="*/ 161033 h 2066963"/>
                <a:gd name="connsiteX210" fmla="*/ 1521414 w 2067023"/>
                <a:gd name="connsiteY210" fmla="*/ 168358 h 2066963"/>
                <a:gd name="connsiteX211" fmla="*/ 1527965 w 2067023"/>
                <a:gd name="connsiteY211" fmla="*/ 172030 h 2066963"/>
                <a:gd name="connsiteX212" fmla="*/ 1534416 w 2067023"/>
                <a:gd name="connsiteY212" fmla="*/ 175842 h 2066963"/>
                <a:gd name="connsiteX213" fmla="*/ 1547339 w 2067023"/>
                <a:gd name="connsiteY213" fmla="*/ 183484 h 2066963"/>
                <a:gd name="connsiteX214" fmla="*/ 1597662 w 2067023"/>
                <a:gd name="connsiteY214" fmla="*/ 216159 h 2066963"/>
                <a:gd name="connsiteX215" fmla="*/ 1646000 w 2067023"/>
                <a:gd name="connsiteY215" fmla="*/ 251713 h 2066963"/>
                <a:gd name="connsiteX216" fmla="*/ 1692035 w 2067023"/>
                <a:gd name="connsiteY216" fmla="*/ 290184 h 2066963"/>
                <a:gd name="connsiteX217" fmla="*/ 1735747 w 2067023"/>
                <a:gd name="connsiteY217" fmla="*/ 331257 h 2066963"/>
                <a:gd name="connsiteX218" fmla="*/ 1776819 w 2067023"/>
                <a:gd name="connsiteY218" fmla="*/ 374969 h 2066963"/>
                <a:gd name="connsiteX219" fmla="*/ 1815291 w 2067023"/>
                <a:gd name="connsiteY219" fmla="*/ 421004 h 2066963"/>
                <a:gd name="connsiteX220" fmla="*/ 1850844 w 2067023"/>
                <a:gd name="connsiteY220" fmla="*/ 469341 h 2066963"/>
                <a:gd name="connsiteX221" fmla="*/ 1883519 w 2067023"/>
                <a:gd name="connsiteY221" fmla="*/ 519664 h 2066963"/>
                <a:gd name="connsiteX222" fmla="*/ 1891162 w 2067023"/>
                <a:gd name="connsiteY222" fmla="*/ 532587 h 2066963"/>
                <a:gd name="connsiteX223" fmla="*/ 1894973 w 2067023"/>
                <a:gd name="connsiteY223" fmla="*/ 539039 h 2066963"/>
                <a:gd name="connsiteX224" fmla="*/ 1898646 w 2067023"/>
                <a:gd name="connsiteY224" fmla="*/ 545590 h 2066963"/>
                <a:gd name="connsiteX225" fmla="*/ 1905971 w 2067023"/>
                <a:gd name="connsiteY225" fmla="*/ 558691 h 2066963"/>
                <a:gd name="connsiteX226" fmla="*/ 1912998 w 2067023"/>
                <a:gd name="connsiteY226" fmla="*/ 571932 h 2066963"/>
                <a:gd name="connsiteX227" fmla="*/ 1939360 w 2067023"/>
                <a:gd name="connsiteY227" fmla="*/ 625828 h 2066963"/>
                <a:gd name="connsiteX228" fmla="*/ 1962288 w 2067023"/>
                <a:gd name="connsiteY228" fmla="*/ 681272 h 2066963"/>
                <a:gd name="connsiteX229" fmla="*/ 1981921 w 2067023"/>
                <a:gd name="connsiteY229" fmla="*/ 737967 h 2066963"/>
                <a:gd name="connsiteX230" fmla="*/ 1997941 w 2067023"/>
                <a:gd name="connsiteY230" fmla="*/ 795794 h 2066963"/>
                <a:gd name="connsiteX231" fmla="*/ 2026646 w 2067023"/>
                <a:gd name="connsiteY231" fmla="*/ 1033492 h 2066963"/>
                <a:gd name="connsiteX232" fmla="*/ 1997941 w 2067023"/>
                <a:gd name="connsiteY232" fmla="*/ 1271190 h 2066963"/>
                <a:gd name="connsiteX233" fmla="*/ 1981921 w 2067023"/>
                <a:gd name="connsiteY233" fmla="*/ 1329016 h 2066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</a:cxnLst>
              <a:rect l="l" t="t" r="r" b="b"/>
              <a:pathLst>
                <a:path w="2067023" h="2066963">
                  <a:moveTo>
                    <a:pt x="2037147" y="786146"/>
                  </a:moveTo>
                  <a:cubicBezTo>
                    <a:pt x="2032284" y="765898"/>
                    <a:pt x="2026507" y="745868"/>
                    <a:pt x="2020472" y="725957"/>
                  </a:cubicBezTo>
                  <a:cubicBezTo>
                    <a:pt x="2014120" y="706126"/>
                    <a:pt x="2007529" y="686354"/>
                    <a:pt x="2000026" y="666940"/>
                  </a:cubicBezTo>
                  <a:cubicBezTo>
                    <a:pt x="1992760" y="647426"/>
                    <a:pt x="1984561" y="628270"/>
                    <a:pt x="1976164" y="609213"/>
                  </a:cubicBezTo>
                  <a:cubicBezTo>
                    <a:pt x="1967489" y="590294"/>
                    <a:pt x="1958517" y="571495"/>
                    <a:pt x="1948730" y="553113"/>
                  </a:cubicBezTo>
                  <a:cubicBezTo>
                    <a:pt x="1946288" y="548528"/>
                    <a:pt x="1943906" y="543882"/>
                    <a:pt x="1941405" y="539317"/>
                  </a:cubicBezTo>
                  <a:lnTo>
                    <a:pt x="1933782" y="525679"/>
                  </a:lnTo>
                  <a:lnTo>
                    <a:pt x="1929971" y="518870"/>
                  </a:lnTo>
                  <a:lnTo>
                    <a:pt x="1926000" y="512140"/>
                  </a:lnTo>
                  <a:lnTo>
                    <a:pt x="1918060" y="498701"/>
                  </a:lnTo>
                  <a:cubicBezTo>
                    <a:pt x="1907162" y="480974"/>
                    <a:pt x="1895985" y="463386"/>
                    <a:pt x="1884075" y="446334"/>
                  </a:cubicBezTo>
                  <a:cubicBezTo>
                    <a:pt x="1872343" y="429143"/>
                    <a:pt x="1859797" y="412527"/>
                    <a:pt x="1847092" y="396051"/>
                  </a:cubicBezTo>
                  <a:cubicBezTo>
                    <a:pt x="1834129" y="379773"/>
                    <a:pt x="1820948" y="363654"/>
                    <a:pt x="1807052" y="348170"/>
                  </a:cubicBezTo>
                  <a:cubicBezTo>
                    <a:pt x="1793335" y="332507"/>
                    <a:pt x="1778903" y="317520"/>
                    <a:pt x="1764313" y="302691"/>
                  </a:cubicBezTo>
                  <a:cubicBezTo>
                    <a:pt x="1749484" y="288100"/>
                    <a:pt x="1734476" y="273668"/>
                    <a:pt x="1718834" y="259951"/>
                  </a:cubicBezTo>
                  <a:cubicBezTo>
                    <a:pt x="1703330" y="246055"/>
                    <a:pt x="1687231" y="232874"/>
                    <a:pt x="1670953" y="219911"/>
                  </a:cubicBezTo>
                  <a:cubicBezTo>
                    <a:pt x="1654476" y="207187"/>
                    <a:pt x="1637861" y="194661"/>
                    <a:pt x="1620670" y="182929"/>
                  </a:cubicBezTo>
                  <a:cubicBezTo>
                    <a:pt x="1603617" y="170998"/>
                    <a:pt x="1586029" y="159842"/>
                    <a:pt x="1568302" y="148943"/>
                  </a:cubicBezTo>
                  <a:lnTo>
                    <a:pt x="1554863" y="141003"/>
                  </a:lnTo>
                  <a:lnTo>
                    <a:pt x="1548133" y="137033"/>
                  </a:lnTo>
                  <a:lnTo>
                    <a:pt x="1541324" y="133221"/>
                  </a:lnTo>
                  <a:lnTo>
                    <a:pt x="1527687" y="125598"/>
                  </a:lnTo>
                  <a:cubicBezTo>
                    <a:pt x="1523121" y="123097"/>
                    <a:pt x="1518496" y="120715"/>
                    <a:pt x="1513890" y="118273"/>
                  </a:cubicBezTo>
                  <a:cubicBezTo>
                    <a:pt x="1495508" y="108487"/>
                    <a:pt x="1476709" y="99514"/>
                    <a:pt x="1457791" y="90839"/>
                  </a:cubicBezTo>
                  <a:cubicBezTo>
                    <a:pt x="1438753" y="82422"/>
                    <a:pt x="1419597" y="74243"/>
                    <a:pt x="1400064" y="66978"/>
                  </a:cubicBezTo>
                  <a:cubicBezTo>
                    <a:pt x="1380629" y="59474"/>
                    <a:pt x="1360877" y="52884"/>
                    <a:pt x="1341046" y="46531"/>
                  </a:cubicBezTo>
                  <a:cubicBezTo>
                    <a:pt x="1321115" y="40496"/>
                    <a:pt x="1301105" y="34720"/>
                    <a:pt x="1280857" y="29856"/>
                  </a:cubicBezTo>
                  <a:cubicBezTo>
                    <a:pt x="1240400" y="19950"/>
                    <a:pt x="1199388" y="12328"/>
                    <a:pt x="1158038" y="7484"/>
                  </a:cubicBezTo>
                  <a:cubicBezTo>
                    <a:pt x="1116708" y="2561"/>
                    <a:pt x="1075100" y="60"/>
                    <a:pt x="1033512" y="0"/>
                  </a:cubicBezTo>
                  <a:cubicBezTo>
                    <a:pt x="991923" y="79"/>
                    <a:pt x="950335" y="2561"/>
                    <a:pt x="908985" y="7484"/>
                  </a:cubicBezTo>
                  <a:cubicBezTo>
                    <a:pt x="867635" y="12347"/>
                    <a:pt x="826623" y="19950"/>
                    <a:pt x="786166" y="29856"/>
                  </a:cubicBezTo>
                  <a:cubicBezTo>
                    <a:pt x="765918" y="34720"/>
                    <a:pt x="745908" y="40496"/>
                    <a:pt x="725977" y="46531"/>
                  </a:cubicBezTo>
                  <a:cubicBezTo>
                    <a:pt x="706146" y="52884"/>
                    <a:pt x="686374" y="59474"/>
                    <a:pt x="666960" y="66978"/>
                  </a:cubicBezTo>
                  <a:cubicBezTo>
                    <a:pt x="647446" y="74243"/>
                    <a:pt x="628290" y="82442"/>
                    <a:pt x="609232" y="90839"/>
                  </a:cubicBezTo>
                  <a:cubicBezTo>
                    <a:pt x="590314" y="99514"/>
                    <a:pt x="571515" y="108487"/>
                    <a:pt x="553133" y="118273"/>
                  </a:cubicBezTo>
                  <a:cubicBezTo>
                    <a:pt x="548547" y="120715"/>
                    <a:pt x="543902" y="123097"/>
                    <a:pt x="539337" y="125598"/>
                  </a:cubicBezTo>
                  <a:lnTo>
                    <a:pt x="525699" y="133221"/>
                  </a:lnTo>
                  <a:lnTo>
                    <a:pt x="518890" y="137033"/>
                  </a:lnTo>
                  <a:lnTo>
                    <a:pt x="512160" y="141003"/>
                  </a:lnTo>
                  <a:lnTo>
                    <a:pt x="498721" y="148943"/>
                  </a:lnTo>
                  <a:cubicBezTo>
                    <a:pt x="480994" y="159842"/>
                    <a:pt x="463406" y="171018"/>
                    <a:pt x="446354" y="182929"/>
                  </a:cubicBezTo>
                  <a:cubicBezTo>
                    <a:pt x="429163" y="194661"/>
                    <a:pt x="412547" y="207207"/>
                    <a:pt x="396071" y="219911"/>
                  </a:cubicBezTo>
                  <a:cubicBezTo>
                    <a:pt x="379793" y="232874"/>
                    <a:pt x="363673" y="246055"/>
                    <a:pt x="348190" y="259951"/>
                  </a:cubicBezTo>
                  <a:cubicBezTo>
                    <a:pt x="332527" y="273668"/>
                    <a:pt x="317539" y="288100"/>
                    <a:pt x="302711" y="302691"/>
                  </a:cubicBezTo>
                  <a:cubicBezTo>
                    <a:pt x="288120" y="317520"/>
                    <a:pt x="273688" y="332527"/>
                    <a:pt x="259971" y="348170"/>
                  </a:cubicBezTo>
                  <a:cubicBezTo>
                    <a:pt x="246075" y="363673"/>
                    <a:pt x="232894" y="379773"/>
                    <a:pt x="219931" y="396051"/>
                  </a:cubicBezTo>
                  <a:cubicBezTo>
                    <a:pt x="207207" y="412527"/>
                    <a:pt x="194680" y="429143"/>
                    <a:pt x="182948" y="446334"/>
                  </a:cubicBezTo>
                  <a:cubicBezTo>
                    <a:pt x="171018" y="463386"/>
                    <a:pt x="159861" y="480974"/>
                    <a:pt x="148963" y="498701"/>
                  </a:cubicBezTo>
                  <a:lnTo>
                    <a:pt x="141023" y="512140"/>
                  </a:lnTo>
                  <a:lnTo>
                    <a:pt x="137053" y="518870"/>
                  </a:lnTo>
                  <a:lnTo>
                    <a:pt x="133241" y="525679"/>
                  </a:lnTo>
                  <a:lnTo>
                    <a:pt x="125618" y="539317"/>
                  </a:lnTo>
                  <a:cubicBezTo>
                    <a:pt x="123117" y="543882"/>
                    <a:pt x="120735" y="548508"/>
                    <a:pt x="118293" y="553113"/>
                  </a:cubicBezTo>
                  <a:cubicBezTo>
                    <a:pt x="108507" y="571495"/>
                    <a:pt x="99534" y="590294"/>
                    <a:pt x="90859" y="609213"/>
                  </a:cubicBezTo>
                  <a:cubicBezTo>
                    <a:pt x="82442" y="628250"/>
                    <a:pt x="74263" y="647406"/>
                    <a:pt x="66998" y="666940"/>
                  </a:cubicBezTo>
                  <a:cubicBezTo>
                    <a:pt x="59494" y="686374"/>
                    <a:pt x="52903" y="706126"/>
                    <a:pt x="46551" y="725957"/>
                  </a:cubicBezTo>
                  <a:cubicBezTo>
                    <a:pt x="40516" y="745888"/>
                    <a:pt x="34740" y="765898"/>
                    <a:pt x="29876" y="786146"/>
                  </a:cubicBezTo>
                  <a:cubicBezTo>
                    <a:pt x="9866" y="867020"/>
                    <a:pt x="159" y="950335"/>
                    <a:pt x="0" y="1033492"/>
                  </a:cubicBezTo>
                  <a:cubicBezTo>
                    <a:pt x="159" y="1116648"/>
                    <a:pt x="9866" y="1199964"/>
                    <a:pt x="29876" y="1280817"/>
                  </a:cubicBezTo>
                  <a:cubicBezTo>
                    <a:pt x="34740" y="1301066"/>
                    <a:pt x="40516" y="1321076"/>
                    <a:pt x="46551" y="1341006"/>
                  </a:cubicBezTo>
                  <a:cubicBezTo>
                    <a:pt x="52903" y="1360838"/>
                    <a:pt x="59494" y="1380609"/>
                    <a:pt x="66998" y="1400024"/>
                  </a:cubicBezTo>
                  <a:cubicBezTo>
                    <a:pt x="74263" y="1419537"/>
                    <a:pt x="82462" y="1438694"/>
                    <a:pt x="90859" y="1457751"/>
                  </a:cubicBezTo>
                  <a:cubicBezTo>
                    <a:pt x="99534" y="1476669"/>
                    <a:pt x="108507" y="1495468"/>
                    <a:pt x="118293" y="1513850"/>
                  </a:cubicBezTo>
                  <a:cubicBezTo>
                    <a:pt x="120735" y="1518436"/>
                    <a:pt x="123117" y="1523081"/>
                    <a:pt x="125618" y="1527647"/>
                  </a:cubicBezTo>
                  <a:lnTo>
                    <a:pt x="133241" y="1541285"/>
                  </a:lnTo>
                  <a:lnTo>
                    <a:pt x="137053" y="1548094"/>
                  </a:lnTo>
                  <a:lnTo>
                    <a:pt x="141023" y="1554823"/>
                  </a:lnTo>
                  <a:lnTo>
                    <a:pt x="148963" y="1568263"/>
                  </a:lnTo>
                  <a:cubicBezTo>
                    <a:pt x="159861" y="1585990"/>
                    <a:pt x="171038" y="1603578"/>
                    <a:pt x="182948" y="1620630"/>
                  </a:cubicBezTo>
                  <a:cubicBezTo>
                    <a:pt x="194680" y="1637821"/>
                    <a:pt x="207226" y="1654436"/>
                    <a:pt x="219931" y="1670913"/>
                  </a:cubicBezTo>
                  <a:cubicBezTo>
                    <a:pt x="232894" y="1687191"/>
                    <a:pt x="246075" y="1703310"/>
                    <a:pt x="259971" y="1718794"/>
                  </a:cubicBezTo>
                  <a:cubicBezTo>
                    <a:pt x="273688" y="1734456"/>
                    <a:pt x="288120" y="1749444"/>
                    <a:pt x="302711" y="1764273"/>
                  </a:cubicBezTo>
                  <a:cubicBezTo>
                    <a:pt x="317539" y="1778864"/>
                    <a:pt x="332547" y="1793295"/>
                    <a:pt x="348190" y="1807012"/>
                  </a:cubicBezTo>
                  <a:cubicBezTo>
                    <a:pt x="363693" y="1820908"/>
                    <a:pt x="379793" y="1834090"/>
                    <a:pt x="396071" y="1847052"/>
                  </a:cubicBezTo>
                  <a:cubicBezTo>
                    <a:pt x="412547" y="1859777"/>
                    <a:pt x="429163" y="1872303"/>
                    <a:pt x="446354" y="1884035"/>
                  </a:cubicBezTo>
                  <a:cubicBezTo>
                    <a:pt x="463406" y="1895966"/>
                    <a:pt x="480994" y="1907122"/>
                    <a:pt x="498721" y="1918020"/>
                  </a:cubicBezTo>
                  <a:lnTo>
                    <a:pt x="512160" y="1925961"/>
                  </a:lnTo>
                  <a:lnTo>
                    <a:pt x="518890" y="1929931"/>
                  </a:lnTo>
                  <a:lnTo>
                    <a:pt x="525699" y="1933742"/>
                  </a:lnTo>
                  <a:lnTo>
                    <a:pt x="539337" y="1941365"/>
                  </a:lnTo>
                  <a:cubicBezTo>
                    <a:pt x="543902" y="1943866"/>
                    <a:pt x="548528" y="1946249"/>
                    <a:pt x="553133" y="1948690"/>
                  </a:cubicBezTo>
                  <a:cubicBezTo>
                    <a:pt x="571515" y="1958477"/>
                    <a:pt x="590314" y="1967450"/>
                    <a:pt x="609232" y="1976125"/>
                  </a:cubicBezTo>
                  <a:cubicBezTo>
                    <a:pt x="628270" y="1984542"/>
                    <a:pt x="647426" y="1992720"/>
                    <a:pt x="666960" y="1999986"/>
                  </a:cubicBezTo>
                  <a:cubicBezTo>
                    <a:pt x="686394" y="2007490"/>
                    <a:pt x="706146" y="2014080"/>
                    <a:pt x="725977" y="2020432"/>
                  </a:cubicBezTo>
                  <a:cubicBezTo>
                    <a:pt x="745908" y="2026467"/>
                    <a:pt x="765918" y="2032244"/>
                    <a:pt x="786166" y="2037107"/>
                  </a:cubicBezTo>
                  <a:cubicBezTo>
                    <a:pt x="826623" y="2047013"/>
                    <a:pt x="867635" y="2054636"/>
                    <a:pt x="908985" y="2059480"/>
                  </a:cubicBezTo>
                  <a:cubicBezTo>
                    <a:pt x="950315" y="2064403"/>
                    <a:pt x="991923" y="2066904"/>
                    <a:pt x="1033512" y="2066964"/>
                  </a:cubicBezTo>
                  <a:cubicBezTo>
                    <a:pt x="1075100" y="2066884"/>
                    <a:pt x="1116688" y="2064403"/>
                    <a:pt x="1158038" y="2059480"/>
                  </a:cubicBezTo>
                  <a:cubicBezTo>
                    <a:pt x="1199388" y="2054616"/>
                    <a:pt x="1240400" y="2047013"/>
                    <a:pt x="1280857" y="2037107"/>
                  </a:cubicBezTo>
                  <a:cubicBezTo>
                    <a:pt x="1301105" y="2032244"/>
                    <a:pt x="1321115" y="2026467"/>
                    <a:pt x="1341046" y="2020432"/>
                  </a:cubicBezTo>
                  <a:cubicBezTo>
                    <a:pt x="1360877" y="2014080"/>
                    <a:pt x="1380649" y="2007490"/>
                    <a:pt x="1400064" y="1999986"/>
                  </a:cubicBezTo>
                  <a:cubicBezTo>
                    <a:pt x="1419577" y="1992720"/>
                    <a:pt x="1438734" y="1984522"/>
                    <a:pt x="1457791" y="1976125"/>
                  </a:cubicBezTo>
                  <a:cubicBezTo>
                    <a:pt x="1476709" y="1967450"/>
                    <a:pt x="1495508" y="1958477"/>
                    <a:pt x="1513890" y="1948690"/>
                  </a:cubicBezTo>
                  <a:cubicBezTo>
                    <a:pt x="1518476" y="1946249"/>
                    <a:pt x="1523121" y="1943866"/>
                    <a:pt x="1527687" y="1941365"/>
                  </a:cubicBezTo>
                  <a:lnTo>
                    <a:pt x="1541324" y="1933742"/>
                  </a:lnTo>
                  <a:lnTo>
                    <a:pt x="1548133" y="1929931"/>
                  </a:lnTo>
                  <a:lnTo>
                    <a:pt x="1554863" y="1925961"/>
                  </a:lnTo>
                  <a:lnTo>
                    <a:pt x="1568302" y="1918020"/>
                  </a:lnTo>
                  <a:cubicBezTo>
                    <a:pt x="1586029" y="1907122"/>
                    <a:pt x="1603617" y="1895946"/>
                    <a:pt x="1620670" y="1884035"/>
                  </a:cubicBezTo>
                  <a:cubicBezTo>
                    <a:pt x="1637861" y="1872303"/>
                    <a:pt x="1654476" y="1859757"/>
                    <a:pt x="1670953" y="1847052"/>
                  </a:cubicBezTo>
                  <a:cubicBezTo>
                    <a:pt x="1687231" y="1834090"/>
                    <a:pt x="1703350" y="1820908"/>
                    <a:pt x="1718834" y="1807012"/>
                  </a:cubicBezTo>
                  <a:cubicBezTo>
                    <a:pt x="1734496" y="1793295"/>
                    <a:pt x="1749484" y="1778864"/>
                    <a:pt x="1764313" y="1764273"/>
                  </a:cubicBezTo>
                  <a:cubicBezTo>
                    <a:pt x="1778903" y="1749444"/>
                    <a:pt x="1793335" y="1734437"/>
                    <a:pt x="1807052" y="1718794"/>
                  </a:cubicBezTo>
                  <a:cubicBezTo>
                    <a:pt x="1820948" y="1703290"/>
                    <a:pt x="1834129" y="1687191"/>
                    <a:pt x="1847092" y="1670913"/>
                  </a:cubicBezTo>
                  <a:cubicBezTo>
                    <a:pt x="1859817" y="1654436"/>
                    <a:pt x="1872343" y="1637821"/>
                    <a:pt x="1884075" y="1620630"/>
                  </a:cubicBezTo>
                  <a:cubicBezTo>
                    <a:pt x="1896005" y="1603578"/>
                    <a:pt x="1907162" y="1585990"/>
                    <a:pt x="1918060" y="1568263"/>
                  </a:cubicBezTo>
                  <a:lnTo>
                    <a:pt x="1926000" y="1554823"/>
                  </a:lnTo>
                  <a:lnTo>
                    <a:pt x="1929971" y="1548094"/>
                  </a:lnTo>
                  <a:lnTo>
                    <a:pt x="1933782" y="1541285"/>
                  </a:lnTo>
                  <a:lnTo>
                    <a:pt x="1941405" y="1527647"/>
                  </a:lnTo>
                  <a:cubicBezTo>
                    <a:pt x="1943906" y="1523081"/>
                    <a:pt x="1946288" y="1518456"/>
                    <a:pt x="1948730" y="1513850"/>
                  </a:cubicBezTo>
                  <a:cubicBezTo>
                    <a:pt x="1958517" y="1495468"/>
                    <a:pt x="1967489" y="1476669"/>
                    <a:pt x="1976164" y="1457751"/>
                  </a:cubicBezTo>
                  <a:cubicBezTo>
                    <a:pt x="1984581" y="1438714"/>
                    <a:pt x="1992760" y="1419557"/>
                    <a:pt x="2000026" y="1400024"/>
                  </a:cubicBezTo>
                  <a:cubicBezTo>
                    <a:pt x="2007529" y="1380589"/>
                    <a:pt x="2014120" y="1360838"/>
                    <a:pt x="2020472" y="1341006"/>
                  </a:cubicBezTo>
                  <a:cubicBezTo>
                    <a:pt x="2026507" y="1321076"/>
                    <a:pt x="2032284" y="1301066"/>
                    <a:pt x="2037147" y="1280817"/>
                  </a:cubicBezTo>
                  <a:cubicBezTo>
                    <a:pt x="2057157" y="1199944"/>
                    <a:pt x="2066864" y="1116629"/>
                    <a:pt x="2067023" y="1033492"/>
                  </a:cubicBezTo>
                  <a:cubicBezTo>
                    <a:pt x="2066864" y="950335"/>
                    <a:pt x="2057157" y="867020"/>
                    <a:pt x="2037147" y="786166"/>
                  </a:cubicBezTo>
                  <a:close/>
                  <a:moveTo>
                    <a:pt x="1981921" y="1329016"/>
                  </a:moveTo>
                  <a:cubicBezTo>
                    <a:pt x="1975807" y="1348073"/>
                    <a:pt x="1969494" y="1367051"/>
                    <a:pt x="1962288" y="1385711"/>
                  </a:cubicBezTo>
                  <a:cubicBezTo>
                    <a:pt x="1955321" y="1404470"/>
                    <a:pt x="1947440" y="1422873"/>
                    <a:pt x="1939360" y="1441155"/>
                  </a:cubicBezTo>
                  <a:cubicBezTo>
                    <a:pt x="1931023" y="1459339"/>
                    <a:pt x="1922407" y="1477404"/>
                    <a:pt x="1912998" y="1495051"/>
                  </a:cubicBezTo>
                  <a:cubicBezTo>
                    <a:pt x="1910655" y="1499458"/>
                    <a:pt x="1908373" y="1503925"/>
                    <a:pt x="1905971" y="1508292"/>
                  </a:cubicBezTo>
                  <a:lnTo>
                    <a:pt x="1898646" y="1521394"/>
                  </a:lnTo>
                  <a:lnTo>
                    <a:pt x="1894973" y="1527945"/>
                  </a:lnTo>
                  <a:lnTo>
                    <a:pt x="1891162" y="1534396"/>
                  </a:lnTo>
                  <a:lnTo>
                    <a:pt x="1883519" y="1547319"/>
                  </a:lnTo>
                  <a:cubicBezTo>
                    <a:pt x="1873037" y="1564352"/>
                    <a:pt x="1862318" y="1581245"/>
                    <a:pt x="1850844" y="1597642"/>
                  </a:cubicBezTo>
                  <a:cubicBezTo>
                    <a:pt x="1839568" y="1614178"/>
                    <a:pt x="1827519" y="1630139"/>
                    <a:pt x="1815291" y="1645980"/>
                  </a:cubicBezTo>
                  <a:cubicBezTo>
                    <a:pt x="1802824" y="1661623"/>
                    <a:pt x="1790159" y="1677106"/>
                    <a:pt x="1776819" y="1692015"/>
                  </a:cubicBezTo>
                  <a:cubicBezTo>
                    <a:pt x="1763638" y="1707062"/>
                    <a:pt x="1749762" y="1721474"/>
                    <a:pt x="1735747" y="1735727"/>
                  </a:cubicBezTo>
                  <a:cubicBezTo>
                    <a:pt x="1721494" y="1749742"/>
                    <a:pt x="1707082" y="1763638"/>
                    <a:pt x="1692035" y="1776799"/>
                  </a:cubicBezTo>
                  <a:cubicBezTo>
                    <a:pt x="1677146" y="1790159"/>
                    <a:pt x="1661642" y="1802824"/>
                    <a:pt x="1646000" y="1815271"/>
                  </a:cubicBezTo>
                  <a:cubicBezTo>
                    <a:pt x="1630158" y="1827479"/>
                    <a:pt x="1614198" y="1839549"/>
                    <a:pt x="1597662" y="1850824"/>
                  </a:cubicBezTo>
                  <a:cubicBezTo>
                    <a:pt x="1581265" y="1862278"/>
                    <a:pt x="1564372" y="1873018"/>
                    <a:pt x="1547339" y="1883499"/>
                  </a:cubicBezTo>
                  <a:lnTo>
                    <a:pt x="1534416" y="1891142"/>
                  </a:lnTo>
                  <a:lnTo>
                    <a:pt x="1527965" y="1894953"/>
                  </a:lnTo>
                  <a:lnTo>
                    <a:pt x="1521414" y="1898626"/>
                  </a:lnTo>
                  <a:lnTo>
                    <a:pt x="1508312" y="1905951"/>
                  </a:lnTo>
                  <a:cubicBezTo>
                    <a:pt x="1503925" y="1908353"/>
                    <a:pt x="1499478" y="1910636"/>
                    <a:pt x="1495071" y="1912978"/>
                  </a:cubicBezTo>
                  <a:cubicBezTo>
                    <a:pt x="1477424" y="1922388"/>
                    <a:pt x="1459339" y="1930983"/>
                    <a:pt x="1441175" y="1939340"/>
                  </a:cubicBezTo>
                  <a:cubicBezTo>
                    <a:pt x="1422873" y="1947420"/>
                    <a:pt x="1404470" y="1955301"/>
                    <a:pt x="1385731" y="1962269"/>
                  </a:cubicBezTo>
                  <a:cubicBezTo>
                    <a:pt x="1367071" y="1969475"/>
                    <a:pt x="1348073" y="1975807"/>
                    <a:pt x="1329036" y="1981901"/>
                  </a:cubicBezTo>
                  <a:cubicBezTo>
                    <a:pt x="1309880" y="1987698"/>
                    <a:pt x="1290664" y="1993256"/>
                    <a:pt x="1271210" y="1997921"/>
                  </a:cubicBezTo>
                  <a:cubicBezTo>
                    <a:pt x="1232361" y="2007450"/>
                    <a:pt x="1192936" y="2014755"/>
                    <a:pt x="1153214" y="2019420"/>
                  </a:cubicBezTo>
                  <a:cubicBezTo>
                    <a:pt x="1113492" y="2024164"/>
                    <a:pt x="1073492" y="2026547"/>
                    <a:pt x="1033512" y="2026626"/>
                  </a:cubicBezTo>
                  <a:cubicBezTo>
                    <a:pt x="993531" y="2026547"/>
                    <a:pt x="953531" y="2024164"/>
                    <a:pt x="913809" y="2019420"/>
                  </a:cubicBezTo>
                  <a:cubicBezTo>
                    <a:pt x="874067" y="2014755"/>
                    <a:pt x="834662" y="2007430"/>
                    <a:pt x="795814" y="1997921"/>
                  </a:cubicBezTo>
                  <a:cubicBezTo>
                    <a:pt x="776360" y="1993256"/>
                    <a:pt x="757124" y="1987698"/>
                    <a:pt x="737987" y="1981901"/>
                  </a:cubicBezTo>
                  <a:cubicBezTo>
                    <a:pt x="718930" y="1975787"/>
                    <a:pt x="699952" y="1969475"/>
                    <a:pt x="681292" y="1962269"/>
                  </a:cubicBezTo>
                  <a:cubicBezTo>
                    <a:pt x="662533" y="1955301"/>
                    <a:pt x="644131" y="1947420"/>
                    <a:pt x="625848" y="1939340"/>
                  </a:cubicBezTo>
                  <a:cubicBezTo>
                    <a:pt x="607664" y="1931003"/>
                    <a:pt x="589600" y="1922388"/>
                    <a:pt x="571952" y="1912978"/>
                  </a:cubicBezTo>
                  <a:cubicBezTo>
                    <a:pt x="567545" y="1910636"/>
                    <a:pt x="563079" y="1908353"/>
                    <a:pt x="558711" y="1905951"/>
                  </a:cubicBezTo>
                  <a:lnTo>
                    <a:pt x="545610" y="1898626"/>
                  </a:lnTo>
                  <a:lnTo>
                    <a:pt x="539059" y="1894953"/>
                  </a:lnTo>
                  <a:lnTo>
                    <a:pt x="532607" y="1891142"/>
                  </a:lnTo>
                  <a:lnTo>
                    <a:pt x="519684" y="1883499"/>
                  </a:lnTo>
                  <a:cubicBezTo>
                    <a:pt x="502652" y="1873018"/>
                    <a:pt x="485758" y="1862298"/>
                    <a:pt x="469361" y="1850824"/>
                  </a:cubicBezTo>
                  <a:cubicBezTo>
                    <a:pt x="452825" y="1839549"/>
                    <a:pt x="436865" y="1827499"/>
                    <a:pt x="421024" y="1815271"/>
                  </a:cubicBezTo>
                  <a:cubicBezTo>
                    <a:pt x="405381" y="1802804"/>
                    <a:pt x="389897" y="1790139"/>
                    <a:pt x="374989" y="1776799"/>
                  </a:cubicBezTo>
                  <a:cubicBezTo>
                    <a:pt x="359941" y="1763618"/>
                    <a:pt x="345530" y="1749742"/>
                    <a:pt x="331276" y="1735727"/>
                  </a:cubicBezTo>
                  <a:cubicBezTo>
                    <a:pt x="317261" y="1721474"/>
                    <a:pt x="303366" y="1707062"/>
                    <a:pt x="290204" y="1692015"/>
                  </a:cubicBezTo>
                  <a:cubicBezTo>
                    <a:pt x="276844" y="1677126"/>
                    <a:pt x="264179" y="1661623"/>
                    <a:pt x="251733" y="1645980"/>
                  </a:cubicBezTo>
                  <a:cubicBezTo>
                    <a:pt x="239524" y="1630139"/>
                    <a:pt x="227455" y="1614178"/>
                    <a:pt x="216179" y="1597642"/>
                  </a:cubicBezTo>
                  <a:cubicBezTo>
                    <a:pt x="204725" y="1581245"/>
                    <a:pt x="193986" y="1564352"/>
                    <a:pt x="183504" y="1547319"/>
                  </a:cubicBezTo>
                  <a:lnTo>
                    <a:pt x="175862" y="1534396"/>
                  </a:lnTo>
                  <a:lnTo>
                    <a:pt x="172050" y="1527945"/>
                  </a:lnTo>
                  <a:lnTo>
                    <a:pt x="168378" y="1521394"/>
                  </a:lnTo>
                  <a:lnTo>
                    <a:pt x="161053" y="1508292"/>
                  </a:lnTo>
                  <a:cubicBezTo>
                    <a:pt x="158651" y="1503905"/>
                    <a:pt x="156368" y="1499458"/>
                    <a:pt x="154025" y="1495051"/>
                  </a:cubicBezTo>
                  <a:cubicBezTo>
                    <a:pt x="144616" y="1477404"/>
                    <a:pt x="136020" y="1459319"/>
                    <a:pt x="127663" y="1441155"/>
                  </a:cubicBezTo>
                  <a:cubicBezTo>
                    <a:pt x="119583" y="1422853"/>
                    <a:pt x="111703" y="1404451"/>
                    <a:pt x="104735" y="1385711"/>
                  </a:cubicBezTo>
                  <a:cubicBezTo>
                    <a:pt x="97529" y="1367051"/>
                    <a:pt x="91196" y="1348054"/>
                    <a:pt x="85102" y="1329016"/>
                  </a:cubicBezTo>
                  <a:cubicBezTo>
                    <a:pt x="79305" y="1309860"/>
                    <a:pt x="73747" y="1290644"/>
                    <a:pt x="69082" y="1271190"/>
                  </a:cubicBezTo>
                  <a:cubicBezTo>
                    <a:pt x="49846" y="1193492"/>
                    <a:pt x="40536" y="1113452"/>
                    <a:pt x="40377" y="1033492"/>
                  </a:cubicBezTo>
                  <a:cubicBezTo>
                    <a:pt x="40536" y="953531"/>
                    <a:pt x="49846" y="873471"/>
                    <a:pt x="69082" y="795794"/>
                  </a:cubicBezTo>
                  <a:cubicBezTo>
                    <a:pt x="73747" y="776340"/>
                    <a:pt x="79305" y="757104"/>
                    <a:pt x="85102" y="737967"/>
                  </a:cubicBezTo>
                  <a:cubicBezTo>
                    <a:pt x="91216" y="718910"/>
                    <a:pt x="97529" y="699933"/>
                    <a:pt x="104735" y="681272"/>
                  </a:cubicBezTo>
                  <a:cubicBezTo>
                    <a:pt x="111703" y="662513"/>
                    <a:pt x="119583" y="644111"/>
                    <a:pt x="127663" y="625828"/>
                  </a:cubicBezTo>
                  <a:cubicBezTo>
                    <a:pt x="136000" y="607644"/>
                    <a:pt x="144616" y="589580"/>
                    <a:pt x="154025" y="571932"/>
                  </a:cubicBezTo>
                  <a:cubicBezTo>
                    <a:pt x="156368" y="567525"/>
                    <a:pt x="158651" y="563059"/>
                    <a:pt x="161053" y="558691"/>
                  </a:cubicBezTo>
                  <a:lnTo>
                    <a:pt x="168378" y="545590"/>
                  </a:lnTo>
                  <a:lnTo>
                    <a:pt x="172050" y="539039"/>
                  </a:lnTo>
                  <a:lnTo>
                    <a:pt x="175862" y="532587"/>
                  </a:lnTo>
                  <a:lnTo>
                    <a:pt x="183504" y="519664"/>
                  </a:lnTo>
                  <a:cubicBezTo>
                    <a:pt x="193986" y="502632"/>
                    <a:pt x="204705" y="485738"/>
                    <a:pt x="216179" y="469341"/>
                  </a:cubicBezTo>
                  <a:cubicBezTo>
                    <a:pt x="227455" y="452805"/>
                    <a:pt x="239504" y="436845"/>
                    <a:pt x="251733" y="421004"/>
                  </a:cubicBezTo>
                  <a:cubicBezTo>
                    <a:pt x="264199" y="405361"/>
                    <a:pt x="276864" y="389877"/>
                    <a:pt x="290204" y="374969"/>
                  </a:cubicBezTo>
                  <a:cubicBezTo>
                    <a:pt x="303385" y="359922"/>
                    <a:pt x="317261" y="345510"/>
                    <a:pt x="331276" y="331257"/>
                  </a:cubicBezTo>
                  <a:cubicBezTo>
                    <a:pt x="345530" y="317242"/>
                    <a:pt x="359941" y="303346"/>
                    <a:pt x="374989" y="290184"/>
                  </a:cubicBezTo>
                  <a:cubicBezTo>
                    <a:pt x="389877" y="276825"/>
                    <a:pt x="405381" y="264160"/>
                    <a:pt x="421024" y="251713"/>
                  </a:cubicBezTo>
                  <a:cubicBezTo>
                    <a:pt x="436865" y="239504"/>
                    <a:pt x="452825" y="227435"/>
                    <a:pt x="469361" y="216159"/>
                  </a:cubicBezTo>
                  <a:cubicBezTo>
                    <a:pt x="485758" y="204705"/>
                    <a:pt x="502652" y="193966"/>
                    <a:pt x="519684" y="183484"/>
                  </a:cubicBezTo>
                  <a:lnTo>
                    <a:pt x="532607" y="175842"/>
                  </a:lnTo>
                  <a:lnTo>
                    <a:pt x="539059" y="172030"/>
                  </a:lnTo>
                  <a:lnTo>
                    <a:pt x="545610" y="168358"/>
                  </a:lnTo>
                  <a:lnTo>
                    <a:pt x="558711" y="161033"/>
                  </a:lnTo>
                  <a:cubicBezTo>
                    <a:pt x="563098" y="158631"/>
                    <a:pt x="567545" y="156348"/>
                    <a:pt x="571952" y="154005"/>
                  </a:cubicBezTo>
                  <a:cubicBezTo>
                    <a:pt x="589600" y="144596"/>
                    <a:pt x="607684" y="136000"/>
                    <a:pt x="625848" y="127643"/>
                  </a:cubicBezTo>
                  <a:cubicBezTo>
                    <a:pt x="644151" y="119564"/>
                    <a:pt x="662553" y="111683"/>
                    <a:pt x="681292" y="104715"/>
                  </a:cubicBezTo>
                  <a:cubicBezTo>
                    <a:pt x="699952" y="97509"/>
                    <a:pt x="718950" y="91176"/>
                    <a:pt x="737987" y="85082"/>
                  </a:cubicBezTo>
                  <a:cubicBezTo>
                    <a:pt x="757144" y="79286"/>
                    <a:pt x="776360" y="73727"/>
                    <a:pt x="795814" y="69062"/>
                  </a:cubicBezTo>
                  <a:cubicBezTo>
                    <a:pt x="834662" y="59554"/>
                    <a:pt x="874087" y="52228"/>
                    <a:pt x="913809" y="47563"/>
                  </a:cubicBezTo>
                  <a:cubicBezTo>
                    <a:pt x="953531" y="42819"/>
                    <a:pt x="993531" y="40437"/>
                    <a:pt x="1033512" y="40357"/>
                  </a:cubicBezTo>
                  <a:cubicBezTo>
                    <a:pt x="1073492" y="40437"/>
                    <a:pt x="1113492" y="42819"/>
                    <a:pt x="1153214" y="47563"/>
                  </a:cubicBezTo>
                  <a:cubicBezTo>
                    <a:pt x="1192956" y="52228"/>
                    <a:pt x="1232361" y="59554"/>
                    <a:pt x="1271210" y="69062"/>
                  </a:cubicBezTo>
                  <a:cubicBezTo>
                    <a:pt x="1290664" y="73727"/>
                    <a:pt x="1309899" y="79286"/>
                    <a:pt x="1329036" y="85082"/>
                  </a:cubicBezTo>
                  <a:cubicBezTo>
                    <a:pt x="1348093" y="91196"/>
                    <a:pt x="1367071" y="97509"/>
                    <a:pt x="1385731" y="104715"/>
                  </a:cubicBezTo>
                  <a:cubicBezTo>
                    <a:pt x="1404490" y="111683"/>
                    <a:pt x="1422892" y="119564"/>
                    <a:pt x="1441175" y="127643"/>
                  </a:cubicBezTo>
                  <a:cubicBezTo>
                    <a:pt x="1459359" y="135981"/>
                    <a:pt x="1477424" y="144596"/>
                    <a:pt x="1495071" y="154005"/>
                  </a:cubicBezTo>
                  <a:cubicBezTo>
                    <a:pt x="1499478" y="156348"/>
                    <a:pt x="1503945" y="158631"/>
                    <a:pt x="1508312" y="161033"/>
                  </a:cubicBezTo>
                  <a:lnTo>
                    <a:pt x="1521414" y="168358"/>
                  </a:lnTo>
                  <a:lnTo>
                    <a:pt x="1527965" y="172030"/>
                  </a:lnTo>
                  <a:lnTo>
                    <a:pt x="1534416" y="175842"/>
                  </a:lnTo>
                  <a:lnTo>
                    <a:pt x="1547339" y="183484"/>
                  </a:lnTo>
                  <a:cubicBezTo>
                    <a:pt x="1564372" y="193966"/>
                    <a:pt x="1581265" y="204685"/>
                    <a:pt x="1597662" y="216159"/>
                  </a:cubicBezTo>
                  <a:cubicBezTo>
                    <a:pt x="1614198" y="227435"/>
                    <a:pt x="1630158" y="239485"/>
                    <a:pt x="1646000" y="251713"/>
                  </a:cubicBezTo>
                  <a:cubicBezTo>
                    <a:pt x="1661642" y="264179"/>
                    <a:pt x="1677126" y="276844"/>
                    <a:pt x="1692035" y="290184"/>
                  </a:cubicBezTo>
                  <a:cubicBezTo>
                    <a:pt x="1707082" y="303366"/>
                    <a:pt x="1721494" y="317242"/>
                    <a:pt x="1735747" y="331257"/>
                  </a:cubicBezTo>
                  <a:cubicBezTo>
                    <a:pt x="1749762" y="345510"/>
                    <a:pt x="1763658" y="359922"/>
                    <a:pt x="1776819" y="374969"/>
                  </a:cubicBezTo>
                  <a:cubicBezTo>
                    <a:pt x="1790179" y="389857"/>
                    <a:pt x="1802844" y="405361"/>
                    <a:pt x="1815291" y="421004"/>
                  </a:cubicBezTo>
                  <a:cubicBezTo>
                    <a:pt x="1827499" y="436845"/>
                    <a:pt x="1839568" y="452805"/>
                    <a:pt x="1850844" y="469341"/>
                  </a:cubicBezTo>
                  <a:cubicBezTo>
                    <a:pt x="1862298" y="485738"/>
                    <a:pt x="1873037" y="502632"/>
                    <a:pt x="1883519" y="519664"/>
                  </a:cubicBezTo>
                  <a:lnTo>
                    <a:pt x="1891162" y="532587"/>
                  </a:lnTo>
                  <a:lnTo>
                    <a:pt x="1894973" y="539039"/>
                  </a:lnTo>
                  <a:lnTo>
                    <a:pt x="1898646" y="545590"/>
                  </a:lnTo>
                  <a:lnTo>
                    <a:pt x="1905971" y="558691"/>
                  </a:lnTo>
                  <a:cubicBezTo>
                    <a:pt x="1908373" y="563079"/>
                    <a:pt x="1910655" y="567525"/>
                    <a:pt x="1912998" y="571932"/>
                  </a:cubicBezTo>
                  <a:cubicBezTo>
                    <a:pt x="1922407" y="589580"/>
                    <a:pt x="1931003" y="607664"/>
                    <a:pt x="1939360" y="625828"/>
                  </a:cubicBezTo>
                  <a:cubicBezTo>
                    <a:pt x="1947440" y="644131"/>
                    <a:pt x="1955321" y="662533"/>
                    <a:pt x="1962288" y="681272"/>
                  </a:cubicBezTo>
                  <a:cubicBezTo>
                    <a:pt x="1969494" y="699933"/>
                    <a:pt x="1975827" y="718930"/>
                    <a:pt x="1981921" y="737967"/>
                  </a:cubicBezTo>
                  <a:cubicBezTo>
                    <a:pt x="1987718" y="757124"/>
                    <a:pt x="1993276" y="776340"/>
                    <a:pt x="1997941" y="795794"/>
                  </a:cubicBezTo>
                  <a:cubicBezTo>
                    <a:pt x="2017177" y="873491"/>
                    <a:pt x="2026487" y="953531"/>
                    <a:pt x="2026646" y="1033492"/>
                  </a:cubicBezTo>
                  <a:cubicBezTo>
                    <a:pt x="2026487" y="1113452"/>
                    <a:pt x="2017177" y="1193512"/>
                    <a:pt x="1997941" y="1271190"/>
                  </a:cubicBezTo>
                  <a:cubicBezTo>
                    <a:pt x="1993276" y="1290644"/>
                    <a:pt x="1987718" y="1309880"/>
                    <a:pt x="1981921" y="1329016"/>
                  </a:cubicBezTo>
                  <a:close/>
                </a:path>
              </a:pathLst>
            </a:custGeom>
            <a:solidFill>
              <a:srgbClr val="7BA0FF"/>
            </a:solidFill>
            <a:ln w="19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 kern="0">
                <a:solidFill>
                  <a:srgbClr val="13161E"/>
                </a:solidFill>
                <a:latin typeface="Microsoft Sans Serif"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3ECF3510-AF6F-4C24-EA46-42B107FDBC44}"/>
              </a:ext>
            </a:extLst>
          </p:cNvPr>
          <p:cNvGrpSpPr/>
          <p:nvPr/>
        </p:nvGrpSpPr>
        <p:grpSpPr>
          <a:xfrm>
            <a:off x="6486652" y="2998081"/>
            <a:ext cx="1324480" cy="740063"/>
            <a:chOff x="4543873" y="1621652"/>
            <a:chExt cx="3098588" cy="1731358"/>
          </a:xfrm>
        </p:grpSpPr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7D87BC35-D24B-2E5E-E0FB-10E7084A5C64}"/>
                </a:ext>
              </a:extLst>
            </p:cNvPr>
            <p:cNvSpPr/>
            <p:nvPr/>
          </p:nvSpPr>
          <p:spPr>
            <a:xfrm>
              <a:off x="5717796" y="2629338"/>
              <a:ext cx="2764" cy="1759"/>
            </a:xfrm>
            <a:custGeom>
              <a:avLst/>
              <a:gdLst>
                <a:gd name="connsiteX0" fmla="*/ 2547 w 2764"/>
                <a:gd name="connsiteY0" fmla="*/ 1519 h 1759"/>
                <a:gd name="connsiteX1" fmla="*/ -92 w 2764"/>
                <a:gd name="connsiteY1" fmla="*/ 1519 h 1759"/>
                <a:gd name="connsiteX2" fmla="*/ 1165 w 2764"/>
                <a:gd name="connsiteY2" fmla="*/ -114 h 1759"/>
                <a:gd name="connsiteX3" fmla="*/ 2673 w 2764"/>
                <a:gd name="connsiteY3" fmla="*/ 1645 h 1759"/>
                <a:gd name="connsiteX4" fmla="*/ 2673 w 2764"/>
                <a:gd name="connsiteY4" fmla="*/ 1645 h 1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64" h="1759">
                  <a:moveTo>
                    <a:pt x="2547" y="1519"/>
                  </a:moveTo>
                  <a:lnTo>
                    <a:pt x="-92" y="1519"/>
                  </a:lnTo>
                  <a:lnTo>
                    <a:pt x="1165" y="-114"/>
                  </a:lnTo>
                  <a:lnTo>
                    <a:pt x="2673" y="1645"/>
                  </a:lnTo>
                  <a:lnTo>
                    <a:pt x="2673" y="1645"/>
                  </a:lnTo>
                </a:path>
              </a:pathLst>
            </a:custGeom>
            <a:solidFill>
              <a:srgbClr val="F7F8FA"/>
            </a:solidFill>
            <a:ln w="125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 kern="0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938B689D-26E8-2FC1-51AD-06D44568FCAA}"/>
                </a:ext>
              </a:extLst>
            </p:cNvPr>
            <p:cNvSpPr/>
            <p:nvPr/>
          </p:nvSpPr>
          <p:spPr>
            <a:xfrm>
              <a:off x="5717796" y="2629338"/>
              <a:ext cx="2764" cy="1759"/>
            </a:xfrm>
            <a:custGeom>
              <a:avLst/>
              <a:gdLst>
                <a:gd name="connsiteX0" fmla="*/ 2547 w 2764"/>
                <a:gd name="connsiteY0" fmla="*/ 1519 h 1759"/>
                <a:gd name="connsiteX1" fmla="*/ -92 w 2764"/>
                <a:gd name="connsiteY1" fmla="*/ 1519 h 1759"/>
                <a:gd name="connsiteX2" fmla="*/ 1165 w 2764"/>
                <a:gd name="connsiteY2" fmla="*/ -114 h 1759"/>
                <a:gd name="connsiteX3" fmla="*/ 2673 w 2764"/>
                <a:gd name="connsiteY3" fmla="*/ 1645 h 1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4" h="1759">
                  <a:moveTo>
                    <a:pt x="2547" y="1519"/>
                  </a:moveTo>
                  <a:lnTo>
                    <a:pt x="-92" y="1519"/>
                  </a:lnTo>
                  <a:lnTo>
                    <a:pt x="1165" y="-114"/>
                  </a:lnTo>
                  <a:lnTo>
                    <a:pt x="2673" y="1645"/>
                  </a:lnTo>
                  <a:close/>
                </a:path>
              </a:pathLst>
            </a:custGeom>
            <a:solidFill>
              <a:srgbClr val="F7F8FA"/>
            </a:solidFill>
            <a:ln w="251" cap="flat">
              <a:solidFill>
                <a:srgbClr val="404041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 kern="0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02CC8B25-6B50-762B-F1CD-1858E46F45DF}"/>
                </a:ext>
              </a:extLst>
            </p:cNvPr>
            <p:cNvSpPr/>
            <p:nvPr/>
          </p:nvSpPr>
          <p:spPr>
            <a:xfrm>
              <a:off x="4543873" y="2175525"/>
              <a:ext cx="1839611" cy="1177485"/>
            </a:xfrm>
            <a:custGeom>
              <a:avLst/>
              <a:gdLst>
                <a:gd name="connsiteX0" fmla="*/ 950680 w 1839611"/>
                <a:gd name="connsiteY0" fmla="*/ 791820 h 1177485"/>
                <a:gd name="connsiteX1" fmla="*/ 681163 w 1839611"/>
                <a:gd name="connsiteY1" fmla="*/ 1120140 h 1177485"/>
                <a:gd name="connsiteX2" fmla="*/ 344801 w 1839611"/>
                <a:gd name="connsiteY2" fmla="*/ 1175300 h 1177485"/>
                <a:gd name="connsiteX3" fmla="*/ 168892 w 1839611"/>
                <a:gd name="connsiteY3" fmla="*/ 1137605 h 1177485"/>
                <a:gd name="connsiteX4" fmla="*/ 523 w 1839611"/>
                <a:gd name="connsiteY4" fmla="*/ 891585 h 1177485"/>
                <a:gd name="connsiteX5" fmla="*/ 523 w 1839611"/>
                <a:gd name="connsiteY5" fmla="*/ 816196 h 1177485"/>
                <a:gd name="connsiteX6" fmla="*/ 15600 w 1839611"/>
                <a:gd name="connsiteY6" fmla="*/ 802123 h 1177485"/>
                <a:gd name="connsiteX7" fmla="*/ 272301 w 1839611"/>
                <a:gd name="connsiteY7" fmla="*/ 802123 h 1177485"/>
                <a:gd name="connsiteX8" fmla="*/ 284866 w 1839611"/>
                <a:gd name="connsiteY8" fmla="*/ 816573 h 1177485"/>
                <a:gd name="connsiteX9" fmla="*/ 332487 w 1839611"/>
                <a:gd name="connsiteY9" fmla="*/ 912191 h 1177485"/>
                <a:gd name="connsiteX10" fmla="*/ 560917 w 1839611"/>
                <a:gd name="connsiteY10" fmla="*/ 919228 h 1177485"/>
                <a:gd name="connsiteX11" fmla="*/ 674001 w 1839611"/>
                <a:gd name="connsiteY11" fmla="*/ 673584 h 1177485"/>
                <a:gd name="connsiteX12" fmla="*/ 583785 w 1839611"/>
                <a:gd name="connsiteY12" fmla="*/ 577714 h 1177485"/>
                <a:gd name="connsiteX13" fmla="*/ 402222 w 1839611"/>
                <a:gd name="connsiteY13" fmla="*/ 592918 h 1177485"/>
                <a:gd name="connsiteX14" fmla="*/ 330602 w 1839611"/>
                <a:gd name="connsiteY14" fmla="*/ 649711 h 1177485"/>
                <a:gd name="connsiteX15" fmla="*/ 315524 w 1839611"/>
                <a:gd name="connsiteY15" fmla="*/ 657878 h 1177485"/>
                <a:gd name="connsiteX16" fmla="*/ 66865 w 1839611"/>
                <a:gd name="connsiteY16" fmla="*/ 657878 h 1177485"/>
                <a:gd name="connsiteX17" fmla="*/ 98403 w 1839611"/>
                <a:gd name="connsiteY17" fmla="*/ 566154 h 1177485"/>
                <a:gd name="connsiteX18" fmla="*/ 289766 w 1839611"/>
                <a:gd name="connsiteY18" fmla="*/ 17823 h 1177485"/>
                <a:gd name="connsiteX19" fmla="*/ 313891 w 1839611"/>
                <a:gd name="connsiteY19" fmla="*/ 106 h 1177485"/>
                <a:gd name="connsiteX20" fmla="*/ 1013378 w 1839611"/>
                <a:gd name="connsiteY20" fmla="*/ 106 h 1177485"/>
                <a:gd name="connsiteX21" fmla="*/ 1027954 w 1839611"/>
                <a:gd name="connsiteY21" fmla="*/ 16818 h 1177485"/>
                <a:gd name="connsiteX22" fmla="*/ 990259 w 1839611"/>
                <a:gd name="connsiteY22" fmla="*/ 230421 h 1177485"/>
                <a:gd name="connsiteX23" fmla="*/ 971663 w 1839611"/>
                <a:gd name="connsiteY23" fmla="*/ 240598 h 1177485"/>
                <a:gd name="connsiteX24" fmla="*/ 491810 w 1839611"/>
                <a:gd name="connsiteY24" fmla="*/ 240598 h 1177485"/>
                <a:gd name="connsiteX25" fmla="*/ 464670 w 1839611"/>
                <a:gd name="connsiteY25" fmla="*/ 259320 h 1177485"/>
                <a:gd name="connsiteX26" fmla="*/ 395688 w 1839611"/>
                <a:gd name="connsiteY26" fmla="*/ 441888 h 1177485"/>
                <a:gd name="connsiteX27" fmla="*/ 394306 w 1839611"/>
                <a:gd name="connsiteY27" fmla="*/ 452316 h 1177485"/>
                <a:gd name="connsiteX28" fmla="*/ 523096 w 1839611"/>
                <a:gd name="connsiteY28" fmla="*/ 384466 h 1177485"/>
                <a:gd name="connsiteX29" fmla="*/ 817743 w 1839611"/>
                <a:gd name="connsiteY29" fmla="*/ 404696 h 1177485"/>
                <a:gd name="connsiteX30" fmla="*/ 966763 w 1839611"/>
                <a:gd name="connsiteY30" fmla="*/ 625963 h 1177485"/>
                <a:gd name="connsiteX31" fmla="*/ 969276 w 1839611"/>
                <a:gd name="connsiteY31" fmla="*/ 671699 h 1177485"/>
                <a:gd name="connsiteX32" fmla="*/ 979830 w 1839611"/>
                <a:gd name="connsiteY32" fmla="*/ 641669 h 1177485"/>
                <a:gd name="connsiteX33" fmla="*/ 1366954 w 1839611"/>
                <a:gd name="connsiteY33" fmla="*/ 256932 h 1177485"/>
                <a:gd name="connsiteX34" fmla="*/ 1630817 w 1839611"/>
                <a:gd name="connsiteY34" fmla="*/ 261330 h 1177485"/>
                <a:gd name="connsiteX35" fmla="*/ 1831855 w 1839611"/>
                <a:gd name="connsiteY35" fmla="*/ 491519 h 1177485"/>
                <a:gd name="connsiteX36" fmla="*/ 1839520 w 1839611"/>
                <a:gd name="connsiteY36" fmla="*/ 563013 h 1177485"/>
                <a:gd name="connsiteX37" fmla="*/ 1827709 w 1839611"/>
                <a:gd name="connsiteY37" fmla="*/ 575578 h 1177485"/>
                <a:gd name="connsiteX38" fmla="*/ 1587720 w 1839611"/>
                <a:gd name="connsiteY38" fmla="*/ 575578 h 1177485"/>
                <a:gd name="connsiteX39" fmla="*/ 1575155 w 1839611"/>
                <a:gd name="connsiteY39" fmla="*/ 564772 h 1177485"/>
                <a:gd name="connsiteX40" fmla="*/ 1441464 w 1839611"/>
                <a:gd name="connsiteY40" fmla="*/ 464881 h 1177485"/>
                <a:gd name="connsiteX41" fmla="*/ 1275733 w 1839611"/>
                <a:gd name="connsiteY41" fmla="*/ 586635 h 1177485"/>
                <a:gd name="connsiteX42" fmla="*/ 1231631 w 1839611"/>
                <a:gd name="connsiteY42" fmla="*/ 794081 h 1177485"/>
                <a:gd name="connsiteX43" fmla="*/ 1290183 w 1839611"/>
                <a:gd name="connsiteY43" fmla="*/ 923751 h 1177485"/>
                <a:gd name="connsiteX44" fmla="*/ 1554046 w 1839611"/>
                <a:gd name="connsiteY44" fmla="*/ 862057 h 1177485"/>
                <a:gd name="connsiteX45" fmla="*/ 1555931 w 1839611"/>
                <a:gd name="connsiteY45" fmla="*/ 855775 h 1177485"/>
                <a:gd name="connsiteX46" fmla="*/ 1448501 w 1839611"/>
                <a:gd name="connsiteY46" fmla="*/ 855775 h 1177485"/>
                <a:gd name="connsiteX47" fmla="*/ 1437569 w 1839611"/>
                <a:gd name="connsiteY47" fmla="*/ 841953 h 1177485"/>
                <a:gd name="connsiteX48" fmla="*/ 1466217 w 1839611"/>
                <a:gd name="connsiteY48" fmla="*/ 678610 h 1177485"/>
                <a:gd name="connsiteX49" fmla="*/ 1480416 w 1839611"/>
                <a:gd name="connsiteY49" fmla="*/ 663407 h 1177485"/>
                <a:gd name="connsiteX50" fmla="*/ 1825950 w 1839611"/>
                <a:gd name="connsiteY50" fmla="*/ 663407 h 1177485"/>
                <a:gd name="connsiteX51" fmla="*/ 1834745 w 1839611"/>
                <a:gd name="connsiteY51" fmla="*/ 664286 h 1177485"/>
                <a:gd name="connsiteX52" fmla="*/ 1792904 w 1839611"/>
                <a:gd name="connsiteY52" fmla="*/ 901888 h 1177485"/>
                <a:gd name="connsiteX53" fmla="*/ 1750938 w 1839611"/>
                <a:gd name="connsiteY53" fmla="*/ 1140621 h 1177485"/>
                <a:gd name="connsiteX54" fmla="*/ 1734352 w 1839611"/>
                <a:gd name="connsiteY54" fmla="*/ 1155573 h 1177485"/>
                <a:gd name="connsiteX55" fmla="*/ 1588348 w 1839611"/>
                <a:gd name="connsiteY55" fmla="*/ 1155573 h 1177485"/>
                <a:gd name="connsiteX56" fmla="*/ 1575155 w 1839611"/>
                <a:gd name="connsiteY56" fmla="*/ 1140244 h 1177485"/>
                <a:gd name="connsiteX57" fmla="*/ 1580558 w 1839611"/>
                <a:gd name="connsiteY57" fmla="*/ 1066237 h 1177485"/>
                <a:gd name="connsiteX58" fmla="*/ 1542235 w 1839611"/>
                <a:gd name="connsiteY58" fmla="*/ 1099157 h 1177485"/>
                <a:gd name="connsiteX59" fmla="*/ 1269954 w 1839611"/>
                <a:gd name="connsiteY59" fmla="*/ 1174546 h 1177485"/>
                <a:gd name="connsiteX60" fmla="*/ 1087386 w 1839611"/>
                <a:gd name="connsiteY60" fmla="*/ 1111722 h 1177485"/>
                <a:gd name="connsiteX61" fmla="*/ 958721 w 1839611"/>
                <a:gd name="connsiteY61" fmla="*/ 894223 h 1177485"/>
                <a:gd name="connsiteX62" fmla="*/ 952062 w 1839611"/>
                <a:gd name="connsiteY62" fmla="*/ 790689 h 1177485"/>
                <a:gd name="connsiteX63" fmla="*/ 952062 w 1839611"/>
                <a:gd name="connsiteY63" fmla="*/ 785537 h 1177485"/>
                <a:gd name="connsiteX64" fmla="*/ 949549 w 1839611"/>
                <a:gd name="connsiteY64" fmla="*/ 791066 h 117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839611" h="1177485">
                  <a:moveTo>
                    <a:pt x="950680" y="791820"/>
                  </a:moveTo>
                  <a:cubicBezTo>
                    <a:pt x="912105" y="943352"/>
                    <a:pt x="822392" y="1053295"/>
                    <a:pt x="681163" y="1120140"/>
                  </a:cubicBezTo>
                  <a:cubicBezTo>
                    <a:pt x="574487" y="1170400"/>
                    <a:pt x="461277" y="1182964"/>
                    <a:pt x="344801" y="1175300"/>
                  </a:cubicBezTo>
                  <a:cubicBezTo>
                    <a:pt x="284451" y="1172850"/>
                    <a:pt x="224957" y="1160096"/>
                    <a:pt x="168892" y="1137605"/>
                  </a:cubicBezTo>
                  <a:cubicBezTo>
                    <a:pt x="60834" y="1091241"/>
                    <a:pt x="7182" y="1007182"/>
                    <a:pt x="523" y="891585"/>
                  </a:cubicBezTo>
                  <a:cubicBezTo>
                    <a:pt x="-860" y="866455"/>
                    <a:pt x="523" y="841325"/>
                    <a:pt x="523" y="816196"/>
                  </a:cubicBezTo>
                  <a:cubicBezTo>
                    <a:pt x="523" y="806144"/>
                    <a:pt x="4166" y="801997"/>
                    <a:pt x="15600" y="802123"/>
                  </a:cubicBezTo>
                  <a:cubicBezTo>
                    <a:pt x="101209" y="802626"/>
                    <a:pt x="186772" y="802626"/>
                    <a:pt x="272301" y="802123"/>
                  </a:cubicBezTo>
                  <a:cubicBezTo>
                    <a:pt x="284238" y="802123"/>
                    <a:pt x="285746" y="806269"/>
                    <a:pt x="284866" y="816573"/>
                  </a:cubicBezTo>
                  <a:cubicBezTo>
                    <a:pt x="281084" y="854946"/>
                    <a:pt x="299592" y="892087"/>
                    <a:pt x="332487" y="912191"/>
                  </a:cubicBezTo>
                  <a:cubicBezTo>
                    <a:pt x="406620" y="961697"/>
                    <a:pt x="484397" y="958807"/>
                    <a:pt x="560917" y="919228"/>
                  </a:cubicBezTo>
                  <a:cubicBezTo>
                    <a:pt x="657541" y="868968"/>
                    <a:pt x="691340" y="760784"/>
                    <a:pt x="674001" y="673584"/>
                  </a:cubicBezTo>
                  <a:cubicBezTo>
                    <a:pt x="666336" y="626202"/>
                    <a:pt x="630614" y="588243"/>
                    <a:pt x="583785" y="577714"/>
                  </a:cubicBezTo>
                  <a:cubicBezTo>
                    <a:pt x="523335" y="561530"/>
                    <a:pt x="459141" y="566908"/>
                    <a:pt x="402222" y="592918"/>
                  </a:cubicBezTo>
                  <a:cubicBezTo>
                    <a:pt x="374391" y="606249"/>
                    <a:pt x="349915" y="625649"/>
                    <a:pt x="330602" y="649711"/>
                  </a:cubicBezTo>
                  <a:cubicBezTo>
                    <a:pt x="327310" y="654850"/>
                    <a:pt x="321618" y="657928"/>
                    <a:pt x="315524" y="657878"/>
                  </a:cubicBezTo>
                  <a:cubicBezTo>
                    <a:pt x="233476" y="657878"/>
                    <a:pt x="151176" y="657878"/>
                    <a:pt x="66865" y="657878"/>
                  </a:cubicBezTo>
                  <a:cubicBezTo>
                    <a:pt x="77671" y="626466"/>
                    <a:pt x="87849" y="596310"/>
                    <a:pt x="98403" y="566154"/>
                  </a:cubicBezTo>
                  <a:cubicBezTo>
                    <a:pt x="162233" y="383373"/>
                    <a:pt x="226025" y="200604"/>
                    <a:pt x="289766" y="17823"/>
                  </a:cubicBezTo>
                  <a:cubicBezTo>
                    <a:pt x="291639" y="6326"/>
                    <a:pt x="302369" y="-1552"/>
                    <a:pt x="313891" y="106"/>
                  </a:cubicBezTo>
                  <a:cubicBezTo>
                    <a:pt x="547095" y="697"/>
                    <a:pt x="780262" y="697"/>
                    <a:pt x="1013378" y="106"/>
                  </a:cubicBezTo>
                  <a:cubicBezTo>
                    <a:pt x="1027074" y="106"/>
                    <a:pt x="1030844" y="1488"/>
                    <a:pt x="1027954" y="16818"/>
                  </a:cubicBezTo>
                  <a:cubicBezTo>
                    <a:pt x="1014384" y="88060"/>
                    <a:pt x="1002824" y="159429"/>
                    <a:pt x="990259" y="230421"/>
                  </a:cubicBezTo>
                  <a:cubicBezTo>
                    <a:pt x="987997" y="243739"/>
                    <a:pt x="979453" y="240598"/>
                    <a:pt x="971663" y="240598"/>
                  </a:cubicBezTo>
                  <a:cubicBezTo>
                    <a:pt x="811712" y="240598"/>
                    <a:pt x="651761" y="240598"/>
                    <a:pt x="491810" y="240598"/>
                  </a:cubicBezTo>
                  <a:cubicBezTo>
                    <a:pt x="479220" y="238588"/>
                    <a:pt x="467258" y="246830"/>
                    <a:pt x="464670" y="259320"/>
                  </a:cubicBezTo>
                  <a:cubicBezTo>
                    <a:pt x="442430" y="320385"/>
                    <a:pt x="418808" y="381074"/>
                    <a:pt x="395688" y="441888"/>
                  </a:cubicBezTo>
                  <a:cubicBezTo>
                    <a:pt x="394558" y="444903"/>
                    <a:pt x="391919" y="447668"/>
                    <a:pt x="394306" y="452316"/>
                  </a:cubicBezTo>
                  <a:cubicBezTo>
                    <a:pt x="431725" y="420502"/>
                    <a:pt x="475702" y="397332"/>
                    <a:pt x="523096" y="384466"/>
                  </a:cubicBezTo>
                  <a:cubicBezTo>
                    <a:pt x="620663" y="356559"/>
                    <a:pt x="724914" y="363709"/>
                    <a:pt x="817743" y="404696"/>
                  </a:cubicBezTo>
                  <a:cubicBezTo>
                    <a:pt x="912105" y="447039"/>
                    <a:pt x="957967" y="524690"/>
                    <a:pt x="966763" y="625963"/>
                  </a:cubicBezTo>
                  <a:cubicBezTo>
                    <a:pt x="968019" y="640413"/>
                    <a:pt x="968396" y="654862"/>
                    <a:pt x="969276" y="671699"/>
                  </a:cubicBezTo>
                  <a:cubicBezTo>
                    <a:pt x="974390" y="662326"/>
                    <a:pt x="977958" y="652186"/>
                    <a:pt x="979830" y="641669"/>
                  </a:cubicBezTo>
                  <a:cubicBezTo>
                    <a:pt x="1040644" y="444777"/>
                    <a:pt x="1165791" y="311967"/>
                    <a:pt x="1366954" y="256932"/>
                  </a:cubicBezTo>
                  <a:cubicBezTo>
                    <a:pt x="1453489" y="232883"/>
                    <a:pt x="1545137" y="234404"/>
                    <a:pt x="1630817" y="261330"/>
                  </a:cubicBezTo>
                  <a:cubicBezTo>
                    <a:pt x="1744655" y="296638"/>
                    <a:pt x="1808987" y="376173"/>
                    <a:pt x="1831855" y="491519"/>
                  </a:cubicBezTo>
                  <a:cubicBezTo>
                    <a:pt x="1836354" y="515103"/>
                    <a:pt x="1838917" y="539014"/>
                    <a:pt x="1839520" y="563013"/>
                  </a:cubicBezTo>
                  <a:cubicBezTo>
                    <a:pt x="1839520" y="572563"/>
                    <a:pt x="1837384" y="575578"/>
                    <a:pt x="1827709" y="575578"/>
                  </a:cubicBezTo>
                  <a:cubicBezTo>
                    <a:pt x="1747633" y="575578"/>
                    <a:pt x="1667632" y="575578"/>
                    <a:pt x="1587720" y="575578"/>
                  </a:cubicBezTo>
                  <a:cubicBezTo>
                    <a:pt x="1579427" y="575578"/>
                    <a:pt x="1575909" y="573819"/>
                    <a:pt x="1575155" y="564772"/>
                  </a:cubicBezTo>
                  <a:cubicBezTo>
                    <a:pt x="1571511" y="497927"/>
                    <a:pt x="1514215" y="456588"/>
                    <a:pt x="1441464" y="464881"/>
                  </a:cubicBezTo>
                  <a:cubicBezTo>
                    <a:pt x="1362054" y="474054"/>
                    <a:pt x="1308653" y="516900"/>
                    <a:pt x="1275733" y="586635"/>
                  </a:cubicBezTo>
                  <a:cubicBezTo>
                    <a:pt x="1244799" y="651307"/>
                    <a:pt x="1229683" y="722411"/>
                    <a:pt x="1231631" y="794081"/>
                  </a:cubicBezTo>
                  <a:cubicBezTo>
                    <a:pt x="1233013" y="844341"/>
                    <a:pt x="1247462" y="891082"/>
                    <a:pt x="1290183" y="923751"/>
                  </a:cubicBezTo>
                  <a:cubicBezTo>
                    <a:pt x="1358787" y="976523"/>
                    <a:pt x="1508435" y="965466"/>
                    <a:pt x="1554046" y="862057"/>
                  </a:cubicBezTo>
                  <a:cubicBezTo>
                    <a:pt x="1554674" y="860550"/>
                    <a:pt x="1554925" y="859042"/>
                    <a:pt x="1555931" y="855775"/>
                  </a:cubicBezTo>
                  <a:cubicBezTo>
                    <a:pt x="1519492" y="855775"/>
                    <a:pt x="1484059" y="855775"/>
                    <a:pt x="1448501" y="855775"/>
                  </a:cubicBezTo>
                  <a:cubicBezTo>
                    <a:pt x="1437192" y="855775"/>
                    <a:pt x="1435307" y="853639"/>
                    <a:pt x="1437569" y="841953"/>
                  </a:cubicBezTo>
                  <a:cubicBezTo>
                    <a:pt x="1447872" y="787799"/>
                    <a:pt x="1456668" y="733267"/>
                    <a:pt x="1466217" y="678610"/>
                  </a:cubicBezTo>
                  <a:cubicBezTo>
                    <a:pt x="1467599" y="670945"/>
                    <a:pt x="1467474" y="663281"/>
                    <a:pt x="1480416" y="663407"/>
                  </a:cubicBezTo>
                  <a:cubicBezTo>
                    <a:pt x="1595510" y="664035"/>
                    <a:pt x="1710730" y="663407"/>
                    <a:pt x="1825950" y="663407"/>
                  </a:cubicBezTo>
                  <a:cubicBezTo>
                    <a:pt x="1828890" y="663545"/>
                    <a:pt x="1831830" y="663834"/>
                    <a:pt x="1834745" y="664286"/>
                  </a:cubicBezTo>
                  <a:cubicBezTo>
                    <a:pt x="1820673" y="743822"/>
                    <a:pt x="1806851" y="822855"/>
                    <a:pt x="1792904" y="901888"/>
                  </a:cubicBezTo>
                  <a:cubicBezTo>
                    <a:pt x="1778957" y="980921"/>
                    <a:pt x="1764633" y="1061085"/>
                    <a:pt x="1750938" y="1140621"/>
                  </a:cubicBezTo>
                  <a:cubicBezTo>
                    <a:pt x="1749179" y="1151427"/>
                    <a:pt x="1746037" y="1155699"/>
                    <a:pt x="1734352" y="1155573"/>
                  </a:cubicBezTo>
                  <a:cubicBezTo>
                    <a:pt x="1685600" y="1154819"/>
                    <a:pt x="1636936" y="1154819"/>
                    <a:pt x="1588348" y="1155573"/>
                  </a:cubicBezTo>
                  <a:cubicBezTo>
                    <a:pt x="1575783" y="1155573"/>
                    <a:pt x="1573773" y="1152055"/>
                    <a:pt x="1575155" y="1140244"/>
                  </a:cubicBezTo>
                  <a:cubicBezTo>
                    <a:pt x="1577919" y="1116622"/>
                    <a:pt x="1578799" y="1092749"/>
                    <a:pt x="1580558" y="1066237"/>
                  </a:cubicBezTo>
                  <a:cubicBezTo>
                    <a:pt x="1566485" y="1078802"/>
                    <a:pt x="1554800" y="1089482"/>
                    <a:pt x="1542235" y="1099157"/>
                  </a:cubicBezTo>
                  <a:cubicBezTo>
                    <a:pt x="1461819" y="1161227"/>
                    <a:pt x="1369845" y="1182336"/>
                    <a:pt x="1269954" y="1174546"/>
                  </a:cubicBezTo>
                  <a:cubicBezTo>
                    <a:pt x="1204377" y="1171317"/>
                    <a:pt x="1141063" y="1149529"/>
                    <a:pt x="1087386" y="1111722"/>
                  </a:cubicBezTo>
                  <a:cubicBezTo>
                    <a:pt x="1013630" y="1057818"/>
                    <a:pt x="974302" y="982806"/>
                    <a:pt x="958721" y="894223"/>
                  </a:cubicBezTo>
                  <a:cubicBezTo>
                    <a:pt x="953180" y="860009"/>
                    <a:pt x="950944" y="825330"/>
                    <a:pt x="952062" y="790689"/>
                  </a:cubicBezTo>
                  <a:cubicBezTo>
                    <a:pt x="950303" y="789181"/>
                    <a:pt x="952062" y="787171"/>
                    <a:pt x="952062" y="785537"/>
                  </a:cubicBezTo>
                  <a:cubicBezTo>
                    <a:pt x="951534" y="787510"/>
                    <a:pt x="950692" y="789369"/>
                    <a:pt x="949549" y="791066"/>
                  </a:cubicBezTo>
                </a:path>
              </a:pathLst>
            </a:custGeom>
            <a:solidFill>
              <a:srgbClr val="F7F8FA"/>
            </a:solidFill>
            <a:ln w="125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 kern="0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2B2ADCC2-387D-8D56-9CB7-F65540197D4A}"/>
                </a:ext>
              </a:extLst>
            </p:cNvPr>
            <p:cNvSpPr/>
            <p:nvPr/>
          </p:nvSpPr>
          <p:spPr>
            <a:xfrm>
              <a:off x="5458066" y="2962433"/>
              <a:ext cx="6337" cy="11057"/>
            </a:xfrm>
            <a:custGeom>
              <a:avLst/>
              <a:gdLst>
                <a:gd name="connsiteX0" fmla="*/ 174 w 6337"/>
                <a:gd name="connsiteY0" fmla="*/ 10943 h 11057"/>
                <a:gd name="connsiteX1" fmla="*/ 5074 w 6337"/>
                <a:gd name="connsiteY1" fmla="*/ -114 h 11057"/>
                <a:gd name="connsiteX2" fmla="*/ 3315 w 6337"/>
                <a:gd name="connsiteY2" fmla="*/ 10566 h 11057"/>
                <a:gd name="connsiteX3" fmla="*/ 1682 w 6337"/>
                <a:gd name="connsiteY3" fmla="*/ 10566 h 1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37" h="11057">
                  <a:moveTo>
                    <a:pt x="174" y="10943"/>
                  </a:moveTo>
                  <a:cubicBezTo>
                    <a:pt x="-957" y="6043"/>
                    <a:pt x="1682" y="3027"/>
                    <a:pt x="5074" y="-114"/>
                  </a:cubicBezTo>
                  <a:cubicBezTo>
                    <a:pt x="7839" y="4284"/>
                    <a:pt x="5074" y="7299"/>
                    <a:pt x="3315" y="10566"/>
                  </a:cubicBezTo>
                  <a:lnTo>
                    <a:pt x="1682" y="10566"/>
                  </a:lnTo>
                  <a:close/>
                </a:path>
              </a:pathLst>
            </a:custGeom>
            <a:solidFill>
              <a:srgbClr val="F7F8FA"/>
            </a:solidFill>
            <a:ln w="125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 kern="0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6DEDE70A-6397-E9AE-8985-03D1A6659E9E}"/>
                </a:ext>
              </a:extLst>
            </p:cNvPr>
            <p:cNvSpPr/>
            <p:nvPr/>
          </p:nvSpPr>
          <p:spPr>
            <a:xfrm>
              <a:off x="6656645" y="2629225"/>
              <a:ext cx="985816" cy="118408"/>
            </a:xfrm>
            <a:custGeom>
              <a:avLst/>
              <a:gdLst>
                <a:gd name="connsiteX0" fmla="*/ 89370 w 985816"/>
                <a:gd name="connsiteY0" fmla="*/ 2763 h 118408"/>
                <a:gd name="connsiteX1" fmla="*/ 26546 w 985816"/>
                <a:gd name="connsiteY1" fmla="*/ 2763 h 118408"/>
                <a:gd name="connsiteX2" fmla="*/ -92 w 985816"/>
                <a:gd name="connsiteY2" fmla="*/ 115847 h 118408"/>
                <a:gd name="connsiteX3" fmla="*/ 64492 w 985816"/>
                <a:gd name="connsiteY3" fmla="*/ 115847 h 118408"/>
                <a:gd name="connsiteX4" fmla="*/ 131840 w 985816"/>
                <a:gd name="connsiteY4" fmla="*/ 57923 h 118408"/>
                <a:gd name="connsiteX5" fmla="*/ 89999 w 985816"/>
                <a:gd name="connsiteY5" fmla="*/ 3140 h 118408"/>
                <a:gd name="connsiteX6" fmla="*/ 113244 w 985816"/>
                <a:gd name="connsiteY6" fmla="*/ 58174 h 118408"/>
                <a:gd name="connsiteX7" fmla="*/ 67005 w 985816"/>
                <a:gd name="connsiteY7" fmla="*/ 101272 h 118408"/>
                <a:gd name="connsiteX8" fmla="*/ 21897 w 985816"/>
                <a:gd name="connsiteY8" fmla="*/ 101272 h 118408"/>
                <a:gd name="connsiteX9" fmla="*/ 41749 w 985816"/>
                <a:gd name="connsiteY9" fmla="*/ 17715 h 118408"/>
                <a:gd name="connsiteX10" fmla="*/ 83339 w 985816"/>
                <a:gd name="connsiteY10" fmla="*/ 17715 h 118408"/>
                <a:gd name="connsiteX11" fmla="*/ 113244 w 985816"/>
                <a:gd name="connsiteY11" fmla="*/ 58174 h 118408"/>
                <a:gd name="connsiteX12" fmla="*/ 266535 w 985816"/>
                <a:gd name="connsiteY12" fmla="*/ 2763 h 118408"/>
                <a:gd name="connsiteX13" fmla="*/ 199565 w 985816"/>
                <a:gd name="connsiteY13" fmla="*/ 98131 h 118408"/>
                <a:gd name="connsiteX14" fmla="*/ 177073 w 985816"/>
                <a:gd name="connsiteY14" fmla="*/ 2763 h 118408"/>
                <a:gd name="connsiteX15" fmla="*/ 155964 w 985816"/>
                <a:gd name="connsiteY15" fmla="*/ 2763 h 118408"/>
                <a:gd name="connsiteX16" fmla="*/ 185115 w 985816"/>
                <a:gd name="connsiteY16" fmla="*/ 115847 h 118408"/>
                <a:gd name="connsiteX17" fmla="*/ 204967 w 985816"/>
                <a:gd name="connsiteY17" fmla="*/ 115847 h 118408"/>
                <a:gd name="connsiteX18" fmla="*/ 286513 w 985816"/>
                <a:gd name="connsiteY18" fmla="*/ 2763 h 118408"/>
                <a:gd name="connsiteX19" fmla="*/ 344940 w 985816"/>
                <a:gd name="connsiteY19" fmla="*/ 2763 h 118408"/>
                <a:gd name="connsiteX20" fmla="*/ 261635 w 985816"/>
                <a:gd name="connsiteY20" fmla="*/ 115847 h 118408"/>
                <a:gd name="connsiteX21" fmla="*/ 281613 w 985816"/>
                <a:gd name="connsiteY21" fmla="*/ 115847 h 118408"/>
                <a:gd name="connsiteX22" fmla="*/ 305361 w 985816"/>
                <a:gd name="connsiteY22" fmla="*/ 83053 h 118408"/>
                <a:gd name="connsiteX23" fmla="*/ 367054 w 985816"/>
                <a:gd name="connsiteY23" fmla="*/ 83053 h 118408"/>
                <a:gd name="connsiteX24" fmla="*/ 375222 w 985816"/>
                <a:gd name="connsiteY24" fmla="*/ 115847 h 118408"/>
                <a:gd name="connsiteX25" fmla="*/ 396456 w 985816"/>
                <a:gd name="connsiteY25" fmla="*/ 115847 h 118408"/>
                <a:gd name="connsiteX26" fmla="*/ 366426 w 985816"/>
                <a:gd name="connsiteY26" fmla="*/ 2763 h 118408"/>
                <a:gd name="connsiteX27" fmla="*/ 315790 w 985816"/>
                <a:gd name="connsiteY27" fmla="*/ 68101 h 118408"/>
                <a:gd name="connsiteX28" fmla="*/ 351097 w 985816"/>
                <a:gd name="connsiteY28" fmla="*/ 17841 h 118408"/>
                <a:gd name="connsiteX29" fmla="*/ 363662 w 985816"/>
                <a:gd name="connsiteY29" fmla="*/ 68101 h 118408"/>
                <a:gd name="connsiteX30" fmla="*/ 522734 w 985816"/>
                <a:gd name="connsiteY30" fmla="*/ 92351 h 118408"/>
                <a:gd name="connsiteX31" fmla="*/ 522734 w 985816"/>
                <a:gd name="connsiteY31" fmla="*/ 92351 h 118408"/>
                <a:gd name="connsiteX32" fmla="*/ 463427 w 985816"/>
                <a:gd name="connsiteY32" fmla="*/ 2763 h 118408"/>
                <a:gd name="connsiteX33" fmla="*/ 441816 w 985816"/>
                <a:gd name="connsiteY33" fmla="*/ 2763 h 118408"/>
                <a:gd name="connsiteX34" fmla="*/ 415178 w 985816"/>
                <a:gd name="connsiteY34" fmla="*/ 115847 h 118408"/>
                <a:gd name="connsiteX35" fmla="*/ 433774 w 985816"/>
                <a:gd name="connsiteY35" fmla="*/ 115847 h 118408"/>
                <a:gd name="connsiteX36" fmla="*/ 454883 w 985816"/>
                <a:gd name="connsiteY36" fmla="*/ 26259 h 118408"/>
                <a:gd name="connsiteX37" fmla="*/ 454883 w 985816"/>
                <a:gd name="connsiteY37" fmla="*/ 26259 h 118408"/>
                <a:gd name="connsiteX38" fmla="*/ 514315 w 985816"/>
                <a:gd name="connsiteY38" fmla="*/ 115847 h 118408"/>
                <a:gd name="connsiteX39" fmla="*/ 535801 w 985816"/>
                <a:gd name="connsiteY39" fmla="*/ 115847 h 118408"/>
                <a:gd name="connsiteX40" fmla="*/ 562438 w 985816"/>
                <a:gd name="connsiteY40" fmla="*/ 2763 h 118408"/>
                <a:gd name="connsiteX41" fmla="*/ 543843 w 985816"/>
                <a:gd name="connsiteY41" fmla="*/ 2763 h 118408"/>
                <a:gd name="connsiteX42" fmla="*/ 653157 w 985816"/>
                <a:gd name="connsiteY42" fmla="*/ -1 h 118408"/>
                <a:gd name="connsiteX43" fmla="*/ 573621 w 985816"/>
                <a:gd name="connsiteY43" fmla="*/ 58802 h 118408"/>
                <a:gd name="connsiteX44" fmla="*/ 625389 w 985816"/>
                <a:gd name="connsiteY44" fmla="*/ 118235 h 118408"/>
                <a:gd name="connsiteX45" fmla="*/ 698893 w 985816"/>
                <a:gd name="connsiteY45" fmla="*/ 72373 h 118408"/>
                <a:gd name="connsiteX46" fmla="*/ 680297 w 985816"/>
                <a:gd name="connsiteY46" fmla="*/ 72373 h 118408"/>
                <a:gd name="connsiteX47" fmla="*/ 629033 w 985816"/>
                <a:gd name="connsiteY47" fmla="*/ 103785 h 118408"/>
                <a:gd name="connsiteX48" fmla="*/ 591338 w 985816"/>
                <a:gd name="connsiteY48" fmla="*/ 60562 h 118408"/>
                <a:gd name="connsiteX49" fmla="*/ 650644 w 985816"/>
                <a:gd name="connsiteY49" fmla="*/ 14448 h 118408"/>
                <a:gd name="connsiteX50" fmla="*/ 686580 w 985816"/>
                <a:gd name="connsiteY50" fmla="*/ 43348 h 118408"/>
                <a:gd name="connsiteX51" fmla="*/ 706307 w 985816"/>
                <a:gd name="connsiteY51" fmla="*/ 43348 h 118408"/>
                <a:gd name="connsiteX52" fmla="*/ 653785 w 985816"/>
                <a:gd name="connsiteY52" fmla="*/ -1 h 118408"/>
                <a:gd name="connsiteX53" fmla="*/ 720631 w 985816"/>
                <a:gd name="connsiteY53" fmla="*/ 115470 h 118408"/>
                <a:gd name="connsiteX54" fmla="*/ 823160 w 985816"/>
                <a:gd name="connsiteY54" fmla="*/ 115470 h 118408"/>
                <a:gd name="connsiteX55" fmla="*/ 826553 w 985816"/>
                <a:gd name="connsiteY55" fmla="*/ 100895 h 118408"/>
                <a:gd name="connsiteX56" fmla="*/ 742745 w 985816"/>
                <a:gd name="connsiteY56" fmla="*/ 100895 h 118408"/>
                <a:gd name="connsiteX57" fmla="*/ 751289 w 985816"/>
                <a:gd name="connsiteY57" fmla="*/ 64457 h 118408"/>
                <a:gd name="connsiteX58" fmla="*/ 830950 w 985816"/>
                <a:gd name="connsiteY58" fmla="*/ 64457 h 118408"/>
                <a:gd name="connsiteX59" fmla="*/ 834343 w 985816"/>
                <a:gd name="connsiteY59" fmla="*/ 50007 h 118408"/>
                <a:gd name="connsiteX60" fmla="*/ 754681 w 985816"/>
                <a:gd name="connsiteY60" fmla="*/ 50007 h 118408"/>
                <a:gd name="connsiteX61" fmla="*/ 762472 w 985816"/>
                <a:gd name="connsiteY61" fmla="*/ 17339 h 118408"/>
                <a:gd name="connsiteX62" fmla="*/ 844520 w 985816"/>
                <a:gd name="connsiteY62" fmla="*/ 17339 h 118408"/>
                <a:gd name="connsiteX63" fmla="*/ 848038 w 985816"/>
                <a:gd name="connsiteY63" fmla="*/ 2763 h 118408"/>
                <a:gd name="connsiteX64" fmla="*/ 747519 w 985816"/>
                <a:gd name="connsiteY64" fmla="*/ 2763 h 118408"/>
                <a:gd name="connsiteX65" fmla="*/ 941772 w 985816"/>
                <a:gd name="connsiteY65" fmla="*/ 2386 h 118408"/>
                <a:gd name="connsiteX66" fmla="*/ 878320 w 985816"/>
                <a:gd name="connsiteY66" fmla="*/ 2386 h 118408"/>
                <a:gd name="connsiteX67" fmla="*/ 851682 w 985816"/>
                <a:gd name="connsiteY67" fmla="*/ 115470 h 118408"/>
                <a:gd name="connsiteX68" fmla="*/ 916266 w 985816"/>
                <a:gd name="connsiteY68" fmla="*/ 115470 h 118408"/>
                <a:gd name="connsiteX69" fmla="*/ 983614 w 985816"/>
                <a:gd name="connsiteY69" fmla="*/ 57546 h 118408"/>
                <a:gd name="connsiteX70" fmla="*/ 941772 w 985816"/>
                <a:gd name="connsiteY70" fmla="*/ 2763 h 118408"/>
                <a:gd name="connsiteX71" fmla="*/ 965018 w 985816"/>
                <a:gd name="connsiteY71" fmla="*/ 57797 h 118408"/>
                <a:gd name="connsiteX72" fmla="*/ 918779 w 985816"/>
                <a:gd name="connsiteY72" fmla="*/ 100895 h 118408"/>
                <a:gd name="connsiteX73" fmla="*/ 873671 w 985816"/>
                <a:gd name="connsiteY73" fmla="*/ 100895 h 118408"/>
                <a:gd name="connsiteX74" fmla="*/ 893523 w 985816"/>
                <a:gd name="connsiteY74" fmla="*/ 17339 h 118408"/>
                <a:gd name="connsiteX75" fmla="*/ 935113 w 985816"/>
                <a:gd name="connsiteY75" fmla="*/ 17339 h 118408"/>
                <a:gd name="connsiteX76" fmla="*/ 965018 w 985816"/>
                <a:gd name="connsiteY76" fmla="*/ 57797 h 118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985816" h="118408">
                  <a:moveTo>
                    <a:pt x="89370" y="2763"/>
                  </a:moveTo>
                  <a:lnTo>
                    <a:pt x="26546" y="2763"/>
                  </a:lnTo>
                  <a:lnTo>
                    <a:pt x="-92" y="115847"/>
                  </a:lnTo>
                  <a:lnTo>
                    <a:pt x="64492" y="115847"/>
                  </a:lnTo>
                  <a:cubicBezTo>
                    <a:pt x="102941" y="115847"/>
                    <a:pt x="124426" y="89335"/>
                    <a:pt x="131840" y="57923"/>
                  </a:cubicBezTo>
                  <a:cubicBezTo>
                    <a:pt x="139253" y="26511"/>
                    <a:pt x="127568" y="3140"/>
                    <a:pt x="89999" y="3140"/>
                  </a:cubicBezTo>
                  <a:moveTo>
                    <a:pt x="113244" y="58174"/>
                  </a:moveTo>
                  <a:cubicBezTo>
                    <a:pt x="108469" y="78278"/>
                    <a:pt x="97537" y="101272"/>
                    <a:pt x="67005" y="101272"/>
                  </a:cubicBezTo>
                  <a:lnTo>
                    <a:pt x="21897" y="101272"/>
                  </a:lnTo>
                  <a:lnTo>
                    <a:pt x="41749" y="17715"/>
                  </a:lnTo>
                  <a:lnTo>
                    <a:pt x="83339" y="17715"/>
                  </a:lnTo>
                  <a:cubicBezTo>
                    <a:pt x="115505" y="17715"/>
                    <a:pt x="117893" y="38447"/>
                    <a:pt x="113244" y="58174"/>
                  </a:cubicBezTo>
                  <a:moveTo>
                    <a:pt x="266535" y="2763"/>
                  </a:moveTo>
                  <a:lnTo>
                    <a:pt x="199565" y="98131"/>
                  </a:lnTo>
                  <a:lnTo>
                    <a:pt x="177073" y="2763"/>
                  </a:lnTo>
                  <a:lnTo>
                    <a:pt x="155964" y="2763"/>
                  </a:lnTo>
                  <a:lnTo>
                    <a:pt x="185115" y="115847"/>
                  </a:lnTo>
                  <a:lnTo>
                    <a:pt x="204967" y="115847"/>
                  </a:lnTo>
                  <a:lnTo>
                    <a:pt x="286513" y="2763"/>
                  </a:lnTo>
                  <a:close/>
                  <a:moveTo>
                    <a:pt x="344940" y="2763"/>
                  </a:moveTo>
                  <a:lnTo>
                    <a:pt x="261635" y="115847"/>
                  </a:lnTo>
                  <a:lnTo>
                    <a:pt x="281613" y="115847"/>
                  </a:lnTo>
                  <a:lnTo>
                    <a:pt x="305361" y="83053"/>
                  </a:lnTo>
                  <a:lnTo>
                    <a:pt x="367054" y="83053"/>
                  </a:lnTo>
                  <a:lnTo>
                    <a:pt x="375222" y="115847"/>
                  </a:lnTo>
                  <a:lnTo>
                    <a:pt x="396456" y="115847"/>
                  </a:lnTo>
                  <a:lnTo>
                    <a:pt x="366426" y="2763"/>
                  </a:lnTo>
                  <a:close/>
                  <a:moveTo>
                    <a:pt x="315790" y="68101"/>
                  </a:moveTo>
                  <a:lnTo>
                    <a:pt x="351097" y="17841"/>
                  </a:lnTo>
                  <a:lnTo>
                    <a:pt x="363662" y="68101"/>
                  </a:lnTo>
                  <a:close/>
                  <a:moveTo>
                    <a:pt x="522734" y="92351"/>
                  </a:moveTo>
                  <a:lnTo>
                    <a:pt x="522734" y="92351"/>
                  </a:lnTo>
                  <a:lnTo>
                    <a:pt x="463427" y="2763"/>
                  </a:lnTo>
                  <a:lnTo>
                    <a:pt x="441816" y="2763"/>
                  </a:lnTo>
                  <a:lnTo>
                    <a:pt x="415178" y="115847"/>
                  </a:lnTo>
                  <a:lnTo>
                    <a:pt x="433774" y="115847"/>
                  </a:lnTo>
                  <a:lnTo>
                    <a:pt x="454883" y="26259"/>
                  </a:lnTo>
                  <a:lnTo>
                    <a:pt x="454883" y="26259"/>
                  </a:lnTo>
                  <a:lnTo>
                    <a:pt x="514315" y="115847"/>
                  </a:lnTo>
                  <a:lnTo>
                    <a:pt x="535801" y="115847"/>
                  </a:lnTo>
                  <a:lnTo>
                    <a:pt x="562438" y="2763"/>
                  </a:lnTo>
                  <a:lnTo>
                    <a:pt x="543843" y="2763"/>
                  </a:lnTo>
                  <a:close/>
                  <a:moveTo>
                    <a:pt x="653157" y="-1"/>
                  </a:moveTo>
                  <a:cubicBezTo>
                    <a:pt x="615978" y="-1999"/>
                    <a:pt x="582605" y="22666"/>
                    <a:pt x="573621" y="58802"/>
                  </a:cubicBezTo>
                  <a:cubicBezTo>
                    <a:pt x="563318" y="102654"/>
                    <a:pt x="593851" y="118235"/>
                    <a:pt x="625389" y="118235"/>
                  </a:cubicBezTo>
                  <a:cubicBezTo>
                    <a:pt x="656977" y="119478"/>
                    <a:pt x="686127" y="101297"/>
                    <a:pt x="698893" y="72373"/>
                  </a:cubicBezTo>
                  <a:lnTo>
                    <a:pt x="680297" y="72373"/>
                  </a:lnTo>
                  <a:cubicBezTo>
                    <a:pt x="671288" y="92376"/>
                    <a:pt x="650946" y="104840"/>
                    <a:pt x="629033" y="103785"/>
                  </a:cubicBezTo>
                  <a:cubicBezTo>
                    <a:pt x="594479" y="103785"/>
                    <a:pt x="586814" y="81796"/>
                    <a:pt x="591338" y="60562"/>
                  </a:cubicBezTo>
                  <a:cubicBezTo>
                    <a:pt x="596565" y="32379"/>
                    <a:pt x="622046" y="12564"/>
                    <a:pt x="650644" y="14448"/>
                  </a:cubicBezTo>
                  <a:cubicBezTo>
                    <a:pt x="676905" y="14448"/>
                    <a:pt x="687585" y="27767"/>
                    <a:pt x="686580" y="43348"/>
                  </a:cubicBezTo>
                  <a:lnTo>
                    <a:pt x="706307" y="43348"/>
                  </a:lnTo>
                  <a:cubicBezTo>
                    <a:pt x="711207" y="9548"/>
                    <a:pt x="678915" y="-1"/>
                    <a:pt x="653785" y="-1"/>
                  </a:cubicBezTo>
                  <a:moveTo>
                    <a:pt x="720631" y="115470"/>
                  </a:moveTo>
                  <a:lnTo>
                    <a:pt x="823160" y="115470"/>
                  </a:lnTo>
                  <a:lnTo>
                    <a:pt x="826553" y="100895"/>
                  </a:lnTo>
                  <a:lnTo>
                    <a:pt x="742745" y="100895"/>
                  </a:lnTo>
                  <a:lnTo>
                    <a:pt x="751289" y="64457"/>
                  </a:lnTo>
                  <a:lnTo>
                    <a:pt x="830950" y="64457"/>
                  </a:lnTo>
                  <a:lnTo>
                    <a:pt x="834343" y="50007"/>
                  </a:lnTo>
                  <a:lnTo>
                    <a:pt x="754681" y="50007"/>
                  </a:lnTo>
                  <a:lnTo>
                    <a:pt x="762472" y="17339"/>
                  </a:lnTo>
                  <a:lnTo>
                    <a:pt x="844520" y="17339"/>
                  </a:lnTo>
                  <a:lnTo>
                    <a:pt x="848038" y="2763"/>
                  </a:lnTo>
                  <a:lnTo>
                    <a:pt x="747519" y="2763"/>
                  </a:lnTo>
                  <a:close/>
                  <a:moveTo>
                    <a:pt x="941772" y="2386"/>
                  </a:moveTo>
                  <a:lnTo>
                    <a:pt x="878320" y="2386"/>
                  </a:lnTo>
                  <a:lnTo>
                    <a:pt x="851682" y="115470"/>
                  </a:lnTo>
                  <a:lnTo>
                    <a:pt x="916266" y="115470"/>
                  </a:lnTo>
                  <a:cubicBezTo>
                    <a:pt x="954714" y="115470"/>
                    <a:pt x="976201" y="88958"/>
                    <a:pt x="983614" y="57546"/>
                  </a:cubicBezTo>
                  <a:cubicBezTo>
                    <a:pt x="991027" y="26134"/>
                    <a:pt x="979342" y="2763"/>
                    <a:pt x="941772" y="2763"/>
                  </a:cubicBezTo>
                  <a:moveTo>
                    <a:pt x="965018" y="57797"/>
                  </a:moveTo>
                  <a:cubicBezTo>
                    <a:pt x="960243" y="77901"/>
                    <a:pt x="949311" y="100895"/>
                    <a:pt x="918779" y="100895"/>
                  </a:cubicBezTo>
                  <a:lnTo>
                    <a:pt x="873671" y="100895"/>
                  </a:lnTo>
                  <a:lnTo>
                    <a:pt x="893523" y="17339"/>
                  </a:lnTo>
                  <a:lnTo>
                    <a:pt x="935113" y="17339"/>
                  </a:lnTo>
                  <a:cubicBezTo>
                    <a:pt x="967405" y="17339"/>
                    <a:pt x="969667" y="38071"/>
                    <a:pt x="965018" y="57797"/>
                  </a:cubicBezTo>
                </a:path>
              </a:pathLst>
            </a:custGeom>
            <a:solidFill>
              <a:srgbClr val="F7F8FA"/>
            </a:solidFill>
            <a:ln w="125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 kern="0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BA293E35-E670-1D84-A05D-2FBD32B80AD5}"/>
                </a:ext>
              </a:extLst>
            </p:cNvPr>
            <p:cNvSpPr/>
            <p:nvPr/>
          </p:nvSpPr>
          <p:spPr>
            <a:xfrm>
              <a:off x="6496443" y="2632102"/>
              <a:ext cx="134569" cy="113083"/>
            </a:xfrm>
            <a:custGeom>
              <a:avLst/>
              <a:gdLst>
                <a:gd name="connsiteX0" fmla="*/ 104448 w 134569"/>
                <a:gd name="connsiteY0" fmla="*/ -114 h 113083"/>
                <a:gd name="connsiteX1" fmla="*/ 83214 w 134569"/>
                <a:gd name="connsiteY1" fmla="*/ -114 h 113083"/>
                <a:gd name="connsiteX2" fmla="*/ -92 w 134569"/>
                <a:gd name="connsiteY2" fmla="*/ 112970 h 113083"/>
                <a:gd name="connsiteX3" fmla="*/ 19886 w 134569"/>
                <a:gd name="connsiteY3" fmla="*/ 112970 h 113083"/>
                <a:gd name="connsiteX4" fmla="*/ 43634 w 134569"/>
                <a:gd name="connsiteY4" fmla="*/ 80175 h 113083"/>
                <a:gd name="connsiteX5" fmla="*/ 105076 w 134569"/>
                <a:gd name="connsiteY5" fmla="*/ 80175 h 113083"/>
                <a:gd name="connsiteX6" fmla="*/ 113244 w 134569"/>
                <a:gd name="connsiteY6" fmla="*/ 112970 h 113083"/>
                <a:gd name="connsiteX7" fmla="*/ 134478 w 134569"/>
                <a:gd name="connsiteY7" fmla="*/ 112970 h 113083"/>
                <a:gd name="connsiteX8" fmla="*/ 54189 w 134569"/>
                <a:gd name="connsiteY8" fmla="*/ 65223 h 113083"/>
                <a:gd name="connsiteX9" fmla="*/ 89496 w 134569"/>
                <a:gd name="connsiteY9" fmla="*/ 14964 h 113083"/>
                <a:gd name="connsiteX10" fmla="*/ 102061 w 134569"/>
                <a:gd name="connsiteY10" fmla="*/ 65223 h 1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4569" h="113083">
                  <a:moveTo>
                    <a:pt x="104448" y="-114"/>
                  </a:moveTo>
                  <a:lnTo>
                    <a:pt x="83214" y="-114"/>
                  </a:lnTo>
                  <a:lnTo>
                    <a:pt x="-92" y="112970"/>
                  </a:lnTo>
                  <a:lnTo>
                    <a:pt x="19886" y="112970"/>
                  </a:lnTo>
                  <a:lnTo>
                    <a:pt x="43634" y="80175"/>
                  </a:lnTo>
                  <a:lnTo>
                    <a:pt x="105076" y="80175"/>
                  </a:lnTo>
                  <a:lnTo>
                    <a:pt x="113244" y="112970"/>
                  </a:lnTo>
                  <a:lnTo>
                    <a:pt x="134478" y="112970"/>
                  </a:lnTo>
                  <a:close/>
                  <a:moveTo>
                    <a:pt x="54189" y="65223"/>
                  </a:moveTo>
                  <a:lnTo>
                    <a:pt x="89496" y="14964"/>
                  </a:lnTo>
                  <a:lnTo>
                    <a:pt x="102061" y="65223"/>
                  </a:lnTo>
                  <a:close/>
                </a:path>
              </a:pathLst>
            </a:custGeom>
            <a:solidFill>
              <a:srgbClr val="F7F8FA"/>
            </a:solidFill>
            <a:ln w="125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 kern="0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8CDD8F38-F2A1-2EFF-2F5B-03A8EA1E52B9}"/>
                </a:ext>
              </a:extLst>
            </p:cNvPr>
            <p:cNvSpPr/>
            <p:nvPr/>
          </p:nvSpPr>
          <p:spPr>
            <a:xfrm>
              <a:off x="5654218" y="2173638"/>
              <a:ext cx="999662" cy="280168"/>
            </a:xfrm>
            <a:custGeom>
              <a:avLst/>
              <a:gdLst>
                <a:gd name="connsiteX0" fmla="*/ -92 w 999662"/>
                <a:gd name="connsiteY0" fmla="*/ 280054 h 280168"/>
                <a:gd name="connsiteX1" fmla="*/ 832207 w 999662"/>
                <a:gd name="connsiteY1" fmla="*/ 278044 h 280168"/>
                <a:gd name="connsiteX2" fmla="*/ 999571 w 999662"/>
                <a:gd name="connsiteY2" fmla="*/ 167347 h 280168"/>
                <a:gd name="connsiteX3" fmla="*/ -92 w 999662"/>
                <a:gd name="connsiteY3" fmla="*/ 280054 h 280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9662" h="280168">
                  <a:moveTo>
                    <a:pt x="-92" y="280054"/>
                  </a:moveTo>
                  <a:cubicBezTo>
                    <a:pt x="422340" y="-91489"/>
                    <a:pt x="800795" y="249145"/>
                    <a:pt x="832207" y="278044"/>
                  </a:cubicBezTo>
                  <a:cubicBezTo>
                    <a:pt x="832207" y="278044"/>
                    <a:pt x="947175" y="194613"/>
                    <a:pt x="999571" y="167347"/>
                  </a:cubicBezTo>
                  <a:cubicBezTo>
                    <a:pt x="615588" y="-135215"/>
                    <a:pt x="288901" y="14935"/>
                    <a:pt x="-92" y="280054"/>
                  </a:cubicBezTo>
                </a:path>
              </a:pathLst>
            </a:custGeom>
            <a:solidFill>
              <a:srgbClr val="F7F8FA"/>
            </a:solidFill>
            <a:ln w="125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 kern="0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C93F80DC-3D2E-8D79-7BA1-E63D58377038}"/>
                </a:ext>
              </a:extLst>
            </p:cNvPr>
            <p:cNvSpPr/>
            <p:nvPr/>
          </p:nvSpPr>
          <p:spPr>
            <a:xfrm>
              <a:off x="5691913" y="1933401"/>
              <a:ext cx="1299712" cy="382820"/>
            </a:xfrm>
            <a:custGeom>
              <a:avLst/>
              <a:gdLst>
                <a:gd name="connsiteX0" fmla="*/ -92 w 1299712"/>
                <a:gd name="connsiteY0" fmla="*/ 382706 h 382820"/>
                <a:gd name="connsiteX1" fmla="*/ 1049328 w 1299712"/>
                <a:gd name="connsiteY1" fmla="*/ 355943 h 382820"/>
                <a:gd name="connsiteX2" fmla="*/ 1299621 w 1299712"/>
                <a:gd name="connsiteY2" fmla="*/ 188578 h 382820"/>
                <a:gd name="connsiteX3" fmla="*/ -92 w 1299712"/>
                <a:gd name="connsiteY3" fmla="*/ 382706 h 38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9712" h="382820">
                  <a:moveTo>
                    <a:pt x="-92" y="382706"/>
                  </a:moveTo>
                  <a:cubicBezTo>
                    <a:pt x="510294" y="-121272"/>
                    <a:pt x="1044805" y="352424"/>
                    <a:pt x="1049328" y="355943"/>
                  </a:cubicBezTo>
                  <a:cubicBezTo>
                    <a:pt x="1049328" y="355943"/>
                    <a:pt x="1246848" y="217101"/>
                    <a:pt x="1299621" y="188578"/>
                  </a:cubicBezTo>
                  <a:cubicBezTo>
                    <a:pt x="902193" y="-97021"/>
                    <a:pt x="422717" y="-78425"/>
                    <a:pt x="-92" y="382706"/>
                  </a:cubicBezTo>
                </a:path>
              </a:pathLst>
            </a:custGeom>
            <a:solidFill>
              <a:srgbClr val="F7F8FA"/>
            </a:solidFill>
            <a:ln w="125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 kern="0">
                <a:solidFill>
                  <a:srgbClr val="13161E"/>
                </a:solidFill>
                <a:latin typeface="Microsoft Sans Serif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B3E9DCFF-82EE-CC9D-9DEF-268EAF86A241}"/>
                </a:ext>
              </a:extLst>
            </p:cNvPr>
            <p:cNvSpPr/>
            <p:nvPr/>
          </p:nvSpPr>
          <p:spPr>
            <a:xfrm>
              <a:off x="5680981" y="1621652"/>
              <a:ext cx="1782580" cy="568920"/>
            </a:xfrm>
            <a:custGeom>
              <a:avLst/>
              <a:gdLst>
                <a:gd name="connsiteX0" fmla="*/ 411 w 1782580"/>
                <a:gd name="connsiteY0" fmla="*/ 568806 h 568920"/>
                <a:gd name="connsiteX1" fmla="*/ 1395114 w 1782580"/>
                <a:gd name="connsiteY1" fmla="*/ 449691 h 568920"/>
                <a:gd name="connsiteX2" fmla="*/ 1782489 w 1782580"/>
                <a:gd name="connsiteY2" fmla="*/ 208445 h 568920"/>
                <a:gd name="connsiteX3" fmla="*/ -92 w 1782580"/>
                <a:gd name="connsiteY3" fmla="*/ 568806 h 568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2580" h="568920">
                  <a:moveTo>
                    <a:pt x="411" y="568806"/>
                  </a:moveTo>
                  <a:cubicBezTo>
                    <a:pt x="680172" y="-128922"/>
                    <a:pt x="1395114" y="449691"/>
                    <a:pt x="1395114" y="449691"/>
                  </a:cubicBezTo>
                  <a:lnTo>
                    <a:pt x="1782489" y="208445"/>
                  </a:lnTo>
                  <a:cubicBezTo>
                    <a:pt x="1267329" y="-145508"/>
                    <a:pt x="477123" y="-63961"/>
                    <a:pt x="-92" y="568806"/>
                  </a:cubicBezTo>
                </a:path>
              </a:pathLst>
            </a:custGeom>
            <a:solidFill>
              <a:srgbClr val="F7F8FA"/>
            </a:solidFill>
            <a:ln w="125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743407">
                <a:defRPr/>
              </a:pPr>
              <a:endParaRPr lang="en-US" sz="1463" kern="0">
                <a:solidFill>
                  <a:srgbClr val="13161E"/>
                </a:solidFill>
                <a:latin typeface="Microsoft Sans Seri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99141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50667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11095E-6 3.7037E-6 L -0.2112 3.7037E-6 " pathEditMode="relative" rAng="0" ptsTypes="AA">
                                      <p:cBhvr>
                                        <p:cTn id="9" dur="75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56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Picture 74">
            <a:extLst>
              <a:ext uri="{FF2B5EF4-FFF2-40B4-BE49-F238E27FC236}">
                <a16:creationId xmlns:a16="http://schemas.microsoft.com/office/drawing/2014/main" id="{1170EA14-F1F8-4781-9543-8D9A3E42D0F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25000"/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4930" y="2442725"/>
            <a:ext cx="9685483" cy="3721114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7D800A40-20AE-5BB5-B9A3-E846E4838C0F}"/>
              </a:ext>
            </a:extLst>
          </p:cNvPr>
          <p:cNvGrpSpPr/>
          <p:nvPr/>
        </p:nvGrpSpPr>
        <p:grpSpPr>
          <a:xfrm>
            <a:off x="1051926" y="818198"/>
            <a:ext cx="10088148" cy="1500873"/>
            <a:chOff x="-126998" y="-302101"/>
            <a:chExt cx="12407897" cy="2353639"/>
          </a:xfrm>
        </p:grpSpPr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282E7194-68C0-4BFB-B0DB-ACFD310F227E}"/>
                </a:ext>
              </a:extLst>
            </p:cNvPr>
            <p:cNvSpPr/>
            <p:nvPr/>
          </p:nvSpPr>
          <p:spPr>
            <a:xfrm>
              <a:off x="-126998" y="-302101"/>
              <a:ext cx="12407897" cy="235363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407">
                <a:lnSpc>
                  <a:spcPct val="96000"/>
                </a:lnSpc>
                <a:defRPr/>
              </a:pPr>
              <a:endParaRPr lang="en-US" sz="1463" err="1">
                <a:solidFill>
                  <a:srgbClr val="F7F8FA"/>
                </a:solidFill>
                <a:latin typeface="Microsoft Sans Serif"/>
                <a:cs typeface="Microsoft Sans Serif" panose="020B0604020202020204" pitchFamily="34" charset="0"/>
              </a:endParaRPr>
            </a:p>
          </p:txBody>
        </p:sp>
        <p:sp>
          <p:nvSpPr>
            <p:cNvPr id="3" name="Title 2">
              <a:extLst>
                <a:ext uri="{FF2B5EF4-FFF2-40B4-BE49-F238E27FC236}">
                  <a16:creationId xmlns:a16="http://schemas.microsoft.com/office/drawing/2014/main" id="{C6FCC338-9C23-119A-BF07-ED11417028FD}"/>
                </a:ext>
              </a:extLst>
            </p:cNvPr>
            <p:cNvSpPr txBox="1">
              <a:spLocks/>
            </p:cNvSpPr>
            <p:nvPr/>
          </p:nvSpPr>
          <p:spPr>
            <a:xfrm>
              <a:off x="2560920" y="703726"/>
              <a:ext cx="6798980" cy="456894"/>
            </a:xfrm>
            <a:prstGeom prst="rect">
              <a:avLst/>
            </a:prstGeom>
          </p:spPr>
          <p:txBody>
            <a:bodyPr lIns="0" tIns="0" rIns="0" bIns="0"/>
            <a:lstStyle>
              <a:lvl1pPr algn="l" defTabSz="914400" rtl="0" eaLnBrk="1" latinLnBrk="0" hangingPunct="1">
                <a:lnSpc>
                  <a:spcPct val="84000"/>
                </a:lnSpc>
                <a:spcBef>
                  <a:spcPct val="0"/>
                </a:spcBef>
                <a:buNone/>
                <a:defRPr sz="2800" kern="1200" baseline="0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743407">
                <a:defRPr/>
              </a:pPr>
              <a:r>
                <a:rPr lang="en-US" sz="2602">
                  <a:solidFill>
                    <a:srgbClr val="F7F8FA"/>
                  </a:solidFill>
                  <a:latin typeface="Microsoft Sans Serif"/>
                </a:rPr>
                <a:t>Global Momentum for 6G is Growing</a:t>
              </a:r>
              <a:endParaRPr lang="en-US" sz="2276">
                <a:solidFill>
                  <a:srgbClr val="F7F8FA"/>
                </a:solidFill>
                <a:latin typeface="Microsoft Sans Serif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4490CBF7-72D1-2587-33F1-E66070EFC48D}"/>
              </a:ext>
            </a:extLst>
          </p:cNvPr>
          <p:cNvSpPr txBox="1"/>
          <p:nvPr/>
        </p:nvSpPr>
        <p:spPr>
          <a:xfrm>
            <a:off x="2695582" y="4045639"/>
            <a:ext cx="1001877" cy="336311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defTabSz="743407">
              <a:lnSpc>
                <a:spcPct val="96000"/>
              </a:lnSpc>
              <a:defRPr/>
            </a:pPr>
            <a:r>
              <a:rPr lang="en-US" sz="1301">
                <a:solidFill>
                  <a:srgbClr val="2853DC"/>
                </a:solidFill>
                <a:latin typeface="Microsoft Sans Serif"/>
                <a:cs typeface="Microsoft Sans Serif" panose="020B0604020202020204" pitchFamily="34" charset="0"/>
              </a:rPr>
              <a:t>United States</a:t>
            </a:r>
          </a:p>
          <a:p>
            <a:pPr defTabSz="743407">
              <a:lnSpc>
                <a:spcPct val="96000"/>
              </a:lnSpc>
              <a:defRPr/>
            </a:pPr>
            <a:r>
              <a:rPr lang="en-US" sz="976">
                <a:solidFill>
                  <a:srgbClr val="0B2742"/>
                </a:solidFill>
                <a:latin typeface="Microsoft Sans Serif"/>
                <a:cs typeface="Microsoft Sans Serif" panose="020B0604020202020204" pitchFamily="34" charset="0"/>
              </a:rPr>
              <a:t>NextG Alliance</a:t>
            </a:r>
            <a:endParaRPr lang="en-US" sz="1301">
              <a:solidFill>
                <a:srgbClr val="0B2742"/>
              </a:solidFill>
              <a:latin typeface="Microsoft Sans Serif"/>
              <a:cs typeface="Microsoft Sans Serif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2A851A0-FECE-961D-2984-F9584493F097}"/>
              </a:ext>
            </a:extLst>
          </p:cNvPr>
          <p:cNvSpPr txBox="1"/>
          <p:nvPr/>
        </p:nvSpPr>
        <p:spPr>
          <a:xfrm>
            <a:off x="5654072" y="3490018"/>
            <a:ext cx="1773433" cy="48045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96000"/>
              </a:lnSpc>
              <a:defRPr/>
            </a:pPr>
            <a:r>
              <a:rPr lang="en-US" sz="1301">
                <a:solidFill>
                  <a:srgbClr val="2853DC"/>
                </a:solidFill>
                <a:latin typeface="Microsoft Sans Serif"/>
                <a:cs typeface="Microsoft Sans Serif" panose="020B0604020202020204" pitchFamily="34" charset="0"/>
              </a:rPr>
              <a:t>European Union</a:t>
            </a:r>
          </a:p>
          <a:p>
            <a:pPr defTabSz="743407">
              <a:lnSpc>
                <a:spcPct val="96000"/>
              </a:lnSpc>
              <a:defRPr/>
            </a:pPr>
            <a:r>
              <a:rPr lang="en-US" sz="976">
                <a:solidFill>
                  <a:srgbClr val="0B2742"/>
                </a:solidFill>
                <a:latin typeface="Microsoft Sans Serif"/>
                <a:cs typeface="Microsoft Sans Serif" panose="020B0604020202020204" pitchFamily="34" charset="0"/>
              </a:rPr>
              <a:t>6G-IA (6G Smart Networks and Services Industry Association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69DFFB-65CA-AFB4-FEC3-ED1A440E6092}"/>
              </a:ext>
            </a:extLst>
          </p:cNvPr>
          <p:cNvSpPr txBox="1"/>
          <p:nvPr/>
        </p:nvSpPr>
        <p:spPr>
          <a:xfrm>
            <a:off x="8199377" y="3894000"/>
            <a:ext cx="748603" cy="336311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defTabSz="743407">
              <a:lnSpc>
                <a:spcPct val="96000"/>
              </a:lnSpc>
              <a:defRPr/>
            </a:pPr>
            <a:r>
              <a:rPr lang="en-US" sz="1301">
                <a:solidFill>
                  <a:srgbClr val="2853DC"/>
                </a:solidFill>
                <a:latin typeface="Microsoft Sans Serif"/>
                <a:cs typeface="Microsoft Sans Serif" panose="020B0604020202020204" pitchFamily="34" charset="0"/>
              </a:rPr>
              <a:t>China</a:t>
            </a:r>
          </a:p>
          <a:p>
            <a:pPr defTabSz="743407">
              <a:lnSpc>
                <a:spcPct val="96000"/>
              </a:lnSpc>
              <a:defRPr/>
            </a:pPr>
            <a:r>
              <a:rPr lang="en-US" sz="976">
                <a:solidFill>
                  <a:srgbClr val="0B2742"/>
                </a:solidFill>
                <a:latin typeface="Microsoft Sans Serif"/>
                <a:cs typeface="Microsoft Sans Serif" panose="020B0604020202020204" pitchFamily="34" charset="0"/>
              </a:rPr>
              <a:t>IMT-2030 P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DD26B84-E411-C07C-9DD9-876BD29D2851}"/>
              </a:ext>
            </a:extLst>
          </p:cNvPr>
          <p:cNvSpPr txBox="1"/>
          <p:nvPr/>
        </p:nvSpPr>
        <p:spPr>
          <a:xfrm>
            <a:off x="9387762" y="4377379"/>
            <a:ext cx="904043" cy="3363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96000"/>
              </a:lnSpc>
              <a:defRPr/>
            </a:pPr>
            <a:r>
              <a:rPr lang="en-US" sz="1301">
                <a:solidFill>
                  <a:srgbClr val="2853DC"/>
                </a:solidFill>
                <a:latin typeface="Microsoft Sans Serif"/>
                <a:cs typeface="Microsoft Sans Serif" panose="020B0604020202020204" pitchFamily="34" charset="0"/>
              </a:rPr>
              <a:t>Japan</a:t>
            </a:r>
          </a:p>
          <a:p>
            <a:pPr defTabSz="743407">
              <a:lnSpc>
                <a:spcPct val="96000"/>
              </a:lnSpc>
              <a:defRPr/>
            </a:pPr>
            <a:r>
              <a:rPr lang="en-US" sz="976">
                <a:solidFill>
                  <a:srgbClr val="0B2742"/>
                </a:solidFill>
                <a:latin typeface="Microsoft Sans Serif"/>
                <a:cs typeface="Microsoft Sans Serif" panose="020B0604020202020204" pitchFamily="34" charset="0"/>
              </a:rPr>
              <a:t>Beyond 5G PC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6DB86AE-7052-ECD7-7A83-4DE9B4ADCC55}"/>
              </a:ext>
            </a:extLst>
          </p:cNvPr>
          <p:cNvSpPr txBox="1"/>
          <p:nvPr/>
        </p:nvSpPr>
        <p:spPr>
          <a:xfrm>
            <a:off x="7336237" y="4403374"/>
            <a:ext cx="1040349" cy="336311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defTabSz="743407">
              <a:lnSpc>
                <a:spcPct val="96000"/>
              </a:lnSpc>
              <a:defRPr/>
            </a:pPr>
            <a:r>
              <a:rPr lang="en-US" sz="1301">
                <a:solidFill>
                  <a:srgbClr val="2853DC"/>
                </a:solidFill>
                <a:latin typeface="Microsoft Sans Serif"/>
                <a:cs typeface="Microsoft Sans Serif" panose="020B0604020202020204" pitchFamily="34" charset="0"/>
              </a:rPr>
              <a:t>India</a:t>
            </a:r>
          </a:p>
          <a:p>
            <a:pPr defTabSz="743407">
              <a:lnSpc>
                <a:spcPct val="96000"/>
              </a:lnSpc>
              <a:defRPr/>
            </a:pPr>
            <a:r>
              <a:rPr lang="en-US" sz="976">
                <a:solidFill>
                  <a:srgbClr val="0B2742"/>
                </a:solidFill>
                <a:latin typeface="Microsoft Sans Serif"/>
                <a:cs typeface="Microsoft Sans Serif" panose="020B0604020202020204" pitchFamily="34" charset="0"/>
              </a:rPr>
              <a:t>Bharat 6G Alliance</a:t>
            </a:r>
            <a:endParaRPr lang="en-US" sz="1301">
              <a:solidFill>
                <a:srgbClr val="0B2742"/>
              </a:solidFill>
              <a:latin typeface="Microsoft Sans Serif"/>
              <a:cs typeface="Microsoft Sans Serif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2134E35-F78A-D3C0-B6DA-F7E6BD7B08B5}"/>
              </a:ext>
            </a:extLst>
          </p:cNvPr>
          <p:cNvSpPr txBox="1"/>
          <p:nvPr/>
        </p:nvSpPr>
        <p:spPr>
          <a:xfrm>
            <a:off x="8840712" y="3643163"/>
            <a:ext cx="999072" cy="3363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96000"/>
              </a:lnSpc>
              <a:defRPr/>
            </a:pPr>
            <a:r>
              <a:rPr lang="en-US" sz="1301">
                <a:solidFill>
                  <a:srgbClr val="2853DC"/>
                </a:solidFill>
                <a:latin typeface="Microsoft Sans Serif"/>
                <a:cs typeface="Microsoft Sans Serif" panose="020B0604020202020204" pitchFamily="34" charset="0"/>
              </a:rPr>
              <a:t>South Korea</a:t>
            </a:r>
          </a:p>
          <a:p>
            <a:pPr defTabSz="743407">
              <a:lnSpc>
                <a:spcPct val="96000"/>
              </a:lnSpc>
              <a:defRPr/>
            </a:pPr>
            <a:r>
              <a:rPr lang="en-US" sz="976">
                <a:solidFill>
                  <a:srgbClr val="0B2742"/>
                </a:solidFill>
                <a:latin typeface="Microsoft Sans Serif"/>
                <a:cs typeface="Microsoft Sans Serif" panose="020B0604020202020204" pitchFamily="34" charset="0"/>
              </a:rPr>
              <a:t>6G Forum</a:t>
            </a:r>
          </a:p>
        </p:txBody>
      </p:sp>
      <p:pic>
        <p:nvPicPr>
          <p:cNvPr id="13" name="Picture 12" descr="A picture containing icon&#10;&#10;Description automatically generated">
            <a:extLst>
              <a:ext uri="{FF2B5EF4-FFF2-40B4-BE49-F238E27FC236}">
                <a16:creationId xmlns:a16="http://schemas.microsoft.com/office/drawing/2014/main" id="{7F468FA5-D1D0-B6D3-BC92-BE3B090B6CC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19451" y="3743896"/>
            <a:ext cx="712469" cy="250477"/>
          </a:xfrm>
          <a:prstGeom prst="rect">
            <a:avLst/>
          </a:prstGeom>
        </p:spPr>
      </p:pic>
      <p:pic>
        <p:nvPicPr>
          <p:cNvPr id="14" name="Picture 13" descr="A picture containing icon&#10;&#10;Description automatically generated">
            <a:extLst>
              <a:ext uri="{FF2B5EF4-FFF2-40B4-BE49-F238E27FC236}">
                <a16:creationId xmlns:a16="http://schemas.microsoft.com/office/drawing/2014/main" id="{7862F621-4302-65D6-B297-FA8084E779D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65" t="3032" r="3463" b="3896"/>
          <a:stretch/>
        </p:blipFill>
        <p:spPr>
          <a:xfrm>
            <a:off x="8204829" y="3481043"/>
            <a:ext cx="398827" cy="398827"/>
          </a:xfrm>
          <a:prstGeom prst="ellipse">
            <a:avLst/>
          </a:prstGeom>
        </p:spPr>
      </p:pic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6DF0A79A-F134-83F1-1E96-5847B70081C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7762" y="3997747"/>
            <a:ext cx="421876" cy="421876"/>
          </a:xfrm>
          <a:prstGeom prst="rect">
            <a:avLst/>
          </a:prstGeom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F87ACE4A-04F4-A439-6AFD-C80553A6BE4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332901" y="4100247"/>
            <a:ext cx="714721" cy="260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905486C3-388D-1EF7-B51A-B39B0DD03684}"/>
              </a:ext>
            </a:extLst>
          </p:cNvPr>
          <p:cNvGrpSpPr/>
          <p:nvPr/>
        </p:nvGrpSpPr>
        <p:grpSpPr>
          <a:xfrm>
            <a:off x="1529361" y="930759"/>
            <a:ext cx="1502248" cy="1157995"/>
            <a:chOff x="479270" y="356294"/>
            <a:chExt cx="1847687" cy="1424273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EBDFA2F-0A47-3E75-D943-19A0283E3314}"/>
                </a:ext>
              </a:extLst>
            </p:cNvPr>
            <p:cNvSpPr txBox="1"/>
            <p:nvPr/>
          </p:nvSpPr>
          <p:spPr>
            <a:xfrm>
              <a:off x="479270" y="1274651"/>
              <a:ext cx="1847687" cy="505916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defTabSz="743407">
                <a:lnSpc>
                  <a:spcPct val="107000"/>
                </a:lnSpc>
                <a:defRPr/>
              </a:pPr>
              <a:r>
                <a:rPr lang="en-US" sz="854" b="1">
                  <a:solidFill>
                    <a:srgbClr val="ACBACF">
                      <a:lumMod val="75000"/>
                    </a:srgbClr>
                  </a:solidFill>
                  <a:latin typeface="Microsoft Sans Serif"/>
                  <a:cs typeface="Microsoft Sans Serif" panose="020B0604020202020204" pitchFamily="34" charset="0"/>
                </a:rPr>
                <a:t>IMT-2030 defines next-gen mobile system requirements for 2030 and beyond</a:t>
              </a:r>
            </a:p>
          </p:txBody>
        </p:sp>
        <p:pic>
          <p:nvPicPr>
            <p:cNvPr id="24" name="Picture 23" descr="Logo&#10;&#10;Description automatically generated">
              <a:extLst>
                <a:ext uri="{FF2B5EF4-FFF2-40B4-BE49-F238E27FC236}">
                  <a16:creationId xmlns:a16="http://schemas.microsoft.com/office/drawing/2014/main" id="{E21ACD50-519C-4083-64E5-046741A1E09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8087" y="356294"/>
              <a:ext cx="716627" cy="790529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FC21881-E8C0-82A2-28D5-E16063046754}"/>
              </a:ext>
            </a:extLst>
          </p:cNvPr>
          <p:cNvGrpSpPr/>
          <p:nvPr/>
        </p:nvGrpSpPr>
        <p:grpSpPr>
          <a:xfrm>
            <a:off x="8965767" y="788165"/>
            <a:ext cx="1707957" cy="1300589"/>
            <a:chOff x="226259" y="180909"/>
            <a:chExt cx="2100698" cy="1599657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0406CDA-EF38-94DE-FB4E-E73F07D29260}"/>
                </a:ext>
              </a:extLst>
            </p:cNvPr>
            <p:cNvSpPr txBox="1"/>
            <p:nvPr/>
          </p:nvSpPr>
          <p:spPr>
            <a:xfrm>
              <a:off x="479270" y="1274650"/>
              <a:ext cx="1847687" cy="505916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defTabSz="743407">
                <a:lnSpc>
                  <a:spcPct val="107000"/>
                </a:lnSpc>
                <a:defRPr/>
              </a:pPr>
              <a:r>
                <a:rPr lang="en-US" sz="854" b="1">
                  <a:solidFill>
                    <a:srgbClr val="ACBACF">
                      <a:lumMod val="75000"/>
                    </a:srgbClr>
                  </a:solidFill>
                  <a:latin typeface="Microsoft Sans Serif"/>
                  <a:cs typeface="Microsoft Sans Serif" panose="020B0604020202020204" pitchFamily="34" charset="0"/>
                </a:rPr>
                <a:t>The standards body responsible for global 6G technology standardization</a:t>
              </a: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760FB2A5-79D4-C020-B88B-DBE07E5F985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/>
            <a:stretch/>
          </p:blipFill>
          <p:spPr>
            <a:xfrm>
              <a:off x="226259" y="180909"/>
              <a:ext cx="1787212" cy="1229150"/>
            </a:xfrm>
            <a:prstGeom prst="rect">
              <a:avLst/>
            </a:prstGeom>
          </p:spPr>
        </p:pic>
      </p:grpSp>
      <p:pic>
        <p:nvPicPr>
          <p:cNvPr id="2" name="Picture 2">
            <a:extLst>
              <a:ext uri="{FF2B5EF4-FFF2-40B4-BE49-F238E27FC236}">
                <a16:creationId xmlns:a16="http://schemas.microsoft.com/office/drawing/2014/main" id="{772386E3-3685-9BF2-3DEB-F72FACA007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85" t="16038" r="24745" b="35604"/>
          <a:stretch/>
        </p:blipFill>
        <p:spPr bwMode="auto">
          <a:xfrm>
            <a:off x="6007671" y="3255663"/>
            <a:ext cx="533118" cy="257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90012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Tm="10000">
        <p:fade/>
      </p:transition>
    </mc:Choice>
    <mc:Fallback>
      <p:transition spd="med" advTm="10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6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2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1.25E-6 0.03889 L 1.25E-6 1.85185E-6 " pathEditMode="relative" rAng="0" ptsTypes="AA">
                                      <p:cBhvr>
                                        <p:cTn id="1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42" presetClass="path" presetSubtype="0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45833E-6 0.03889 L 1.45833E-6 1.48148E-6 " pathEditMode="relative" rAng="0" ptsTypes="AA">
                                      <p:cBhvr>
                                        <p:cTn id="22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45833E-6 0.03889 L 1.45833E-6 1.48148E-6 " pathEditMode="relative" rAng="0" ptsTypes="AA">
                                      <p:cBhvr>
                                        <p:cTn id="27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25E-6 0.03889 L 1.25E-6 -3.7037E-7 " pathEditMode="relative" rAng="0" ptsTypes="AA">
                                      <p:cBhvr>
                                        <p:cTn id="32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1.25E-6 0.03889 L 1.25E-6 -3.7037E-7 " pathEditMode="relative" rAng="0" ptsTypes="AA">
                                      <p:cBhvr>
                                        <p:cTn id="37" dur="75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3.75E-6 0.03889 L -3.75E-6 -2.22222E-6 " pathEditMode="relative" rAng="0" ptsTypes="AA">
                                      <p:cBhvr>
                                        <p:cTn id="42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42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3.54167E-6 0.03889 L -3.54167E-6 -3.7037E-6 " pathEditMode="relative" rAng="0" ptsTypes="AA">
                                      <p:cBhvr>
                                        <p:cTn id="47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42" presetClass="path" presetSubtype="0" decel="10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3.95833E-6 0.03889 L -3.95833E-6 -3.7037E-7 " pathEditMode="relative" rAng="0" ptsTypes="AA">
                                      <p:cBhvr>
                                        <p:cTn id="5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3.33333E-6 0.03889 L -3.33333E-6 3.33333E-6 " pathEditMode="relative" rAng="0" ptsTypes="AA">
                                      <p:cBhvr>
                                        <p:cTn id="57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42" presetClass="path" presetSubtype="0" decel="100000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2.29167E-6 0.03889 L -2.29167E-6 1.11111E-6 " pathEditMode="relative" rAng="0" ptsTypes="AA">
                                      <p:cBhvr>
                                        <p:cTn id="62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63" presetID="2" presetClass="entr" presetSubtype="1" decel="5500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7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7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1" decel="5500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7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7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1" decel="5500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7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7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  <p:bldP spid="7" grpId="0"/>
      <p:bldP spid="7" grpId="1"/>
      <p:bldP spid="8" grpId="0"/>
      <p:bldP spid="8" grpId="1"/>
      <p:bldP spid="9" grpId="0"/>
      <p:bldP spid="9" grpId="1"/>
      <p:bldP spid="10" grpId="0"/>
      <p:bldP spid="10" grpId="1"/>
      <p:bldP spid="11" grpId="0"/>
      <p:bldP spid="11" grpId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CAF449-51A3-437E-C76E-48D06A0C7A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gend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E9C7A32-1332-77B7-50E2-B5EF96032C7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09" r="19209"/>
          <a:stretch/>
        </p:blipFill>
        <p:spPr>
          <a:xfrm>
            <a:off x="5915525" y="4353886"/>
            <a:ext cx="866775" cy="111442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520266-F5A6-364E-7588-62C61F302A1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40" r="15540"/>
          <a:stretch/>
        </p:blipFill>
        <p:spPr>
          <a:xfrm>
            <a:off x="5904639" y="3130414"/>
            <a:ext cx="850864" cy="111442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F2C5A29-9515-BCC3-D934-3287000550F1}"/>
              </a:ext>
            </a:extLst>
          </p:cNvPr>
          <p:cNvSpPr txBox="1"/>
          <p:nvPr/>
        </p:nvSpPr>
        <p:spPr>
          <a:xfrm>
            <a:off x="7252699" y="3179796"/>
            <a:ext cx="3372484" cy="101566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Wanshi Chen</a:t>
            </a:r>
            <a:br>
              <a:rPr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cs typeface="Arial" charset="0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Qualcomm</a:t>
            </a:r>
            <a:br>
              <a:rPr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cs typeface="Arial" charset="0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3GPP RAN </a:t>
            </a:r>
            <a:r>
              <a:rPr lang="en-US" sz="2000">
                <a:solidFill>
                  <a:prstClr val="black"/>
                </a:solidFill>
                <a:latin typeface="Arial"/>
                <a:cs typeface="Arial"/>
              </a:rPr>
              <a:t>Plenary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Chair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C0E362-05D8-50CC-D3F3-D006D0AD714E}"/>
              </a:ext>
            </a:extLst>
          </p:cNvPr>
          <p:cNvSpPr txBox="1"/>
          <p:nvPr/>
        </p:nvSpPr>
        <p:spPr>
          <a:xfrm>
            <a:off x="7236789" y="2198940"/>
            <a:ext cx="287420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Iain Sharp</a:t>
            </a:r>
            <a:endParaRPr kumimoji="0" lang="de-DE" sz="20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ATIS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BF2A88-2BD8-3186-E48A-1DF161622DE4}"/>
              </a:ext>
            </a:extLst>
          </p:cNvPr>
          <p:cNvSpPr txBox="1"/>
          <p:nvPr/>
        </p:nvSpPr>
        <p:spPr>
          <a:xfrm>
            <a:off x="7252699" y="4379701"/>
            <a:ext cx="4771240" cy="101566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Puneet Jain</a:t>
            </a:r>
            <a:br>
              <a:rPr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cs typeface="Arial" charset="0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Intel Corporation</a:t>
            </a:r>
            <a:br>
              <a:rPr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cs typeface="Arial" charset="0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3GPP </a:t>
            </a:r>
            <a:r>
              <a:rPr lang="en-US" sz="2000">
                <a:solidFill>
                  <a:prstClr val="black"/>
                </a:solidFill>
                <a:latin typeface="Arial"/>
                <a:cs typeface="Arial"/>
              </a:rPr>
              <a:t>SA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lang="en-US" sz="2000">
                <a:solidFill>
                  <a:prstClr val="black"/>
                </a:solidFill>
                <a:latin typeface="Arial"/>
                <a:cs typeface="Arial"/>
              </a:rPr>
              <a:t>Plenary Chair</a:t>
            </a:r>
            <a:endParaRPr kumimoji="0" lang="en-GB" sz="20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BFBA78B-4201-DA00-4C3B-2FFE1C8E90A2}"/>
              </a:ext>
            </a:extLst>
          </p:cNvPr>
          <p:cNvSpPr txBox="1"/>
          <p:nvPr/>
        </p:nvSpPr>
        <p:spPr>
          <a:xfrm>
            <a:off x="956627" y="2290732"/>
            <a:ext cx="44508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>
                <a:solidFill>
                  <a:srgbClr val="333333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roduction</a:t>
            </a:r>
            <a:endParaRPr lang="en-GB" sz="20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335C4C4-B3E2-3E9D-6B8D-1AA395532B0B}"/>
              </a:ext>
            </a:extLst>
          </p:cNvPr>
          <p:cNvSpPr txBox="1"/>
          <p:nvPr/>
        </p:nvSpPr>
        <p:spPr>
          <a:xfrm>
            <a:off x="956628" y="5638180"/>
            <a:ext cx="44508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rgbClr val="333333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&amp;A</a:t>
            </a:r>
            <a:endParaRPr lang="en-GB" sz="20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 descr="Logo&#10;&#10;Description automatically generated with low confidence">
            <a:extLst>
              <a:ext uri="{FF2B5EF4-FFF2-40B4-BE49-F238E27FC236}">
                <a16:creationId xmlns:a16="http://schemas.microsoft.com/office/drawing/2014/main" id="{608209F1-2549-550A-E355-B94A723463E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6" t="13297" r="4202" b="9503"/>
          <a:stretch/>
        </p:blipFill>
        <p:spPr>
          <a:xfrm>
            <a:off x="9980127" y="5372764"/>
            <a:ext cx="2079614" cy="1323311"/>
          </a:xfrm>
          <a:prstGeom prst="rect">
            <a:avLst/>
          </a:prstGeom>
        </p:spPr>
      </p:pic>
      <p:pic>
        <p:nvPicPr>
          <p:cNvPr id="16" name="Picture 15" descr="A person in a suit and glasses&#10;&#10;Description automatically generated">
            <a:extLst>
              <a:ext uri="{FF2B5EF4-FFF2-40B4-BE49-F238E27FC236}">
                <a16:creationId xmlns:a16="http://schemas.microsoft.com/office/drawing/2014/main" id="{FF265F85-A966-FFA8-D3FF-17D872F2F0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88728" y="1906942"/>
            <a:ext cx="866775" cy="111442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86AEAF9-62CF-D3DB-E011-98345DCDFCA1}"/>
              </a:ext>
            </a:extLst>
          </p:cNvPr>
          <p:cNvSpPr txBox="1"/>
          <p:nvPr/>
        </p:nvSpPr>
        <p:spPr>
          <a:xfrm>
            <a:off x="956628" y="3429000"/>
            <a:ext cx="44508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>
                <a:solidFill>
                  <a:srgbClr val="333333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GPP RAN: Current Status and Beyond</a:t>
            </a:r>
            <a:endParaRPr lang="en-GB" sz="20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415D21-82E8-0904-4509-CD5465CE4051}"/>
              </a:ext>
            </a:extLst>
          </p:cNvPr>
          <p:cNvSpPr txBox="1"/>
          <p:nvPr/>
        </p:nvSpPr>
        <p:spPr>
          <a:xfrm>
            <a:off x="956628" y="4533590"/>
            <a:ext cx="435451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>
                <a:solidFill>
                  <a:srgbClr val="333333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GPP SA Release 19 Status Update and 6G Planning</a:t>
            </a:r>
            <a:endParaRPr lang="en-GB" sz="20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7687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9B7AC4-53FC-BEF0-2697-A7FB0FD0ED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DBA319-42D5-64D4-7856-501E73633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41582" y="611597"/>
            <a:ext cx="8759155" cy="598160"/>
          </a:xfrm>
        </p:spPr>
        <p:txBody>
          <a:bodyPr>
            <a:noAutofit/>
          </a:bodyPr>
          <a:lstStyle/>
          <a:p>
            <a:pPr algn="ctr"/>
            <a:r>
              <a:rPr kumimoji="1" lang="en-US" altLang="ja-JP" sz="4400"/>
              <a:t>6G Discussion in 3GPP</a:t>
            </a:r>
            <a:endParaRPr kumimoji="1" lang="ja-JP" altLang="en-US" sz="44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7FC71A-636B-C826-D976-846A6C20769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93912" y="1372914"/>
            <a:ext cx="11454493" cy="5085036"/>
          </a:xfrm>
        </p:spPr>
        <p:txBody>
          <a:bodyPr/>
          <a:lstStyle/>
          <a:p>
            <a:r>
              <a:rPr lang="en-US" sz="2800"/>
              <a:t>3GPP is expected to develop an input to the IMT-2030 process</a:t>
            </a:r>
          </a:p>
          <a:p>
            <a:endParaRPr lang="en-US" sz="1138"/>
          </a:p>
          <a:p>
            <a:r>
              <a:rPr lang="en-US" sz="2800"/>
              <a:t>Initial 6G discussion in 3GPP RAN</a:t>
            </a:r>
          </a:p>
          <a:p>
            <a:pPr lvl="1"/>
            <a:r>
              <a:rPr lang="en-US" sz="2400"/>
              <a:t>First (</a:t>
            </a:r>
            <a:r>
              <a:rPr lang="en-US" sz="2400" i="1"/>
              <a:t>very brief</a:t>
            </a:r>
            <a:r>
              <a:rPr lang="en-US" sz="2400"/>
              <a:t>) 6G timeline discussion in RAN#101 (September 2023)</a:t>
            </a:r>
          </a:p>
          <a:p>
            <a:pPr lvl="2"/>
            <a:r>
              <a:rPr lang="en-US" sz="2000"/>
              <a:t>Triggered by the liaison from ITU-R WP5D in </a:t>
            </a:r>
            <a:r>
              <a:rPr lang="en-US" sz="2000">
                <a:hlinkClick r:id="rId2"/>
              </a:rPr>
              <a:t>RP-231518</a:t>
            </a:r>
            <a:r>
              <a:rPr lang="en-US" sz="2000"/>
              <a:t>: On completion of draft new Recommendation ITU-R M.[IMT.FRAMEWORK FOR 2030 AND BEYOND]</a:t>
            </a:r>
          </a:p>
          <a:p>
            <a:pPr lvl="1"/>
            <a:r>
              <a:rPr lang="en-US" sz="2400"/>
              <a:t>High-level considerations for 6G timeline discussed in RAN#102 (December 2023), including a TSG-wide joint session, resulting in the endorsed way forward in </a:t>
            </a:r>
            <a:r>
              <a:rPr lang="en-US" sz="2400">
                <a:hlinkClick r:id="rId3"/>
              </a:rPr>
              <a:t>RP</a:t>
            </a:r>
            <a:r>
              <a:rPr lang="en-US" sz="2400">
                <a:hlinkClick r:id="rId4"/>
              </a:rPr>
              <a:t>-</a:t>
            </a:r>
            <a:r>
              <a:rPr lang="en-US" sz="2400">
                <a:hlinkClick r:id="rId5"/>
              </a:rPr>
              <a:t>233985</a:t>
            </a:r>
            <a:endParaRPr lang="en-US" sz="2400"/>
          </a:p>
          <a:p>
            <a:pPr lvl="1"/>
            <a:r>
              <a:rPr lang="en-US" sz="2400"/>
              <a:t>Additional considerations for 6G timeline discussed in RAN#103 (March 2024), including another TSG-wide joint session, resulting in the endorsed way forward in </a:t>
            </a:r>
            <a:r>
              <a:rPr lang="en-US" sz="2400">
                <a:hlinkClick r:id="rId6"/>
              </a:rPr>
              <a:t>RP-240823</a:t>
            </a:r>
            <a:endParaRPr lang="en-US" sz="2400"/>
          </a:p>
          <a:p>
            <a:pPr marL="0" indent="0">
              <a:buNone/>
            </a:pPr>
            <a:endParaRPr lang="en-US" sz="1626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B4365AA-C6EB-02C6-75DB-4618C64100A8}"/>
              </a:ext>
            </a:extLst>
          </p:cNvPr>
          <p:cNvSpPr txBox="1"/>
          <p:nvPr/>
        </p:nvSpPr>
        <p:spPr>
          <a:xfrm>
            <a:off x="10274081" y="5970107"/>
            <a:ext cx="448786" cy="340322"/>
          </a:xfrm>
          <a:prstGeom prst="rect">
            <a:avLst/>
          </a:prstGeom>
          <a:noFill/>
          <a:ln>
            <a:noFill/>
          </a:ln>
        </p:spPr>
        <p:txBody>
          <a:bodyPr wrap="square" lIns="111517" tIns="74345" rIns="0" bIns="74345" rtlCol="0">
            <a:spAutoFit/>
          </a:bodyPr>
          <a:lstStyle/>
          <a:p>
            <a:pPr defTabSz="743407">
              <a:lnSpc>
                <a:spcPct val="95000"/>
              </a:lnSpc>
              <a:spcBef>
                <a:spcPts val="976"/>
              </a:spcBef>
            </a:pPr>
            <a:r>
              <a:rPr lang="en-US" sz="1301">
                <a:solidFill>
                  <a:prstClr val="black"/>
                </a:solidFill>
                <a:latin typeface="Calibri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5239842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B5A8A8-F4CE-4836-B683-FCE1F67DF4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6548" y="505332"/>
            <a:ext cx="10278904" cy="598160"/>
          </a:xfrm>
        </p:spPr>
        <p:txBody>
          <a:bodyPr>
            <a:noAutofit/>
          </a:bodyPr>
          <a:lstStyle/>
          <a:p>
            <a:pPr algn="ctr"/>
            <a:r>
              <a:rPr kumimoji="1" lang="en-US" altLang="ja-JP" sz="4000"/>
              <a:t>6G Timeline Considerations: RAN-Specifics 1/2 </a:t>
            </a:r>
            <a:br>
              <a:rPr kumimoji="1" lang="en-US" altLang="ja-JP" sz="3577"/>
            </a:br>
            <a:r>
              <a:rPr kumimoji="1" lang="en-US" altLang="ja-JP" sz="2000"/>
              <a:t>(As in </a:t>
            </a:r>
            <a:r>
              <a:rPr lang="en-US" sz="2000">
                <a:hlinkClick r:id="rId3"/>
              </a:rPr>
              <a:t>RP</a:t>
            </a:r>
            <a:r>
              <a:rPr lang="en-US" sz="2000">
                <a:hlinkClick r:id="rId4"/>
              </a:rPr>
              <a:t>-</a:t>
            </a:r>
            <a:r>
              <a:rPr lang="en-US" sz="2000">
                <a:hlinkClick r:id="rId5"/>
              </a:rPr>
              <a:t>233985</a:t>
            </a:r>
            <a:r>
              <a:rPr lang="en-US" sz="2000"/>
              <a:t> and </a:t>
            </a:r>
            <a:r>
              <a:rPr lang="en-US" sz="2000">
                <a:hlinkClick r:id="rId6"/>
              </a:rPr>
              <a:t>RP-240823</a:t>
            </a:r>
            <a:r>
              <a:rPr lang="en-US" sz="2000"/>
              <a:t>)</a:t>
            </a:r>
            <a:r>
              <a:rPr kumimoji="1" lang="en-US" altLang="ja-JP" sz="2000"/>
              <a:t> </a:t>
            </a:r>
            <a:endParaRPr kumimoji="1" lang="ja-JP" altLang="en-US" sz="3577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6A6D916-C501-08E1-C2FC-D3999A3B45F6}"/>
              </a:ext>
            </a:extLst>
          </p:cNvPr>
          <p:cNvSpPr txBox="1"/>
          <p:nvPr/>
        </p:nvSpPr>
        <p:spPr>
          <a:xfrm>
            <a:off x="10216931" y="5509450"/>
            <a:ext cx="448786" cy="340322"/>
          </a:xfrm>
          <a:prstGeom prst="rect">
            <a:avLst/>
          </a:prstGeom>
          <a:noFill/>
          <a:ln>
            <a:noFill/>
          </a:ln>
        </p:spPr>
        <p:txBody>
          <a:bodyPr wrap="square" lIns="111517" tIns="74345" rIns="0" bIns="74345" rtlCol="0">
            <a:spAutoFit/>
          </a:bodyPr>
          <a:lstStyle/>
          <a:p>
            <a:pPr defTabSz="743407">
              <a:lnSpc>
                <a:spcPct val="95000"/>
              </a:lnSpc>
              <a:spcBef>
                <a:spcPts val="976"/>
              </a:spcBef>
            </a:pPr>
            <a:r>
              <a:rPr lang="en-US" sz="1301">
                <a:solidFill>
                  <a:prstClr val="black"/>
                </a:solidFill>
                <a:latin typeface="Calibri"/>
              </a:rPr>
              <a:t>…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3F3E545-3C25-4FFD-D297-8AF3AD5E795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7224" y="1747051"/>
            <a:ext cx="11317551" cy="4192527"/>
          </a:xfrm>
        </p:spPr>
        <p:txBody>
          <a:bodyPr/>
          <a:lstStyle/>
          <a:p>
            <a:r>
              <a:rPr lang="en-US" sz="2400" b="1">
                <a:solidFill>
                  <a:srgbClr val="0066FF"/>
                </a:solidFill>
              </a:rPr>
              <a:t>First 3GPP TSG-wide 6G workshop: March 10</a:t>
            </a:r>
            <a:r>
              <a:rPr lang="en-US" sz="2400" b="1" baseline="30000">
                <a:solidFill>
                  <a:srgbClr val="0066FF"/>
                </a:solidFill>
              </a:rPr>
              <a:t>th</a:t>
            </a:r>
            <a:r>
              <a:rPr lang="en-US" sz="2400" b="1">
                <a:solidFill>
                  <a:srgbClr val="0066FF"/>
                </a:solidFill>
              </a:rPr>
              <a:t> – 11</a:t>
            </a:r>
            <a:r>
              <a:rPr lang="en-US" sz="2400" b="1" baseline="30000">
                <a:solidFill>
                  <a:srgbClr val="0066FF"/>
                </a:solidFill>
              </a:rPr>
              <a:t>th</a:t>
            </a:r>
            <a:r>
              <a:rPr lang="en-US" sz="2400" b="1">
                <a:solidFill>
                  <a:srgbClr val="0066FF"/>
                </a:solidFill>
              </a:rPr>
              <a:t>(Monday – Tuesday), 2025 </a:t>
            </a:r>
          </a:p>
          <a:p>
            <a:pPr lvl="1"/>
            <a:r>
              <a:rPr lang="en-US" sz="1800"/>
              <a:t>Right before the planned Rel-19 RAN1 functional freeze (June 2025). </a:t>
            </a:r>
          </a:p>
          <a:p>
            <a:pPr lvl="1"/>
            <a:r>
              <a:rPr lang="en-US" sz="1800"/>
              <a:t>Details TBD (e.g., whether to have a joint or separate workshop across TSGs, how to handle contributions, etc.)</a:t>
            </a:r>
          </a:p>
          <a:p>
            <a:pPr lvl="1"/>
            <a:r>
              <a:rPr lang="en-US" sz="1800"/>
              <a:t>TSG#107 plenary meetings are to be scheduled subsequently in the same week</a:t>
            </a:r>
          </a:p>
          <a:p>
            <a:endParaRPr lang="en-US" sz="813" b="1">
              <a:solidFill>
                <a:srgbClr val="0066FF"/>
              </a:solidFill>
            </a:endParaRPr>
          </a:p>
          <a:p>
            <a:r>
              <a:rPr lang="en-US" sz="2400" b="1">
                <a:solidFill>
                  <a:srgbClr val="0066FF"/>
                </a:solidFill>
              </a:rPr>
              <a:t>Studies for 6G </a:t>
            </a:r>
            <a:r>
              <a:rPr lang="en-US" sz="2400"/>
              <a:t>in 3GPP: from </a:t>
            </a:r>
            <a:r>
              <a:rPr lang="en-US" sz="2400" b="1">
                <a:solidFill>
                  <a:srgbClr val="0066FF"/>
                </a:solidFill>
              </a:rPr>
              <a:t>Release 20</a:t>
            </a:r>
          </a:p>
          <a:p>
            <a:endParaRPr lang="en-US" sz="813" b="1">
              <a:solidFill>
                <a:srgbClr val="0066FF"/>
              </a:solidFill>
            </a:endParaRPr>
          </a:p>
          <a:p>
            <a:r>
              <a:rPr lang="en-US" sz="2400" b="1">
                <a:solidFill>
                  <a:srgbClr val="0066FF"/>
                </a:solidFill>
              </a:rPr>
              <a:t>RAN plenary work </a:t>
            </a:r>
            <a:r>
              <a:rPr lang="en-US" sz="2400" b="1"/>
              <a:t>is split into an </a:t>
            </a:r>
            <a:r>
              <a:rPr lang="en-US" sz="2400" b="1">
                <a:solidFill>
                  <a:srgbClr val="0066FF"/>
                </a:solidFill>
              </a:rPr>
              <a:t>ITU focused SI (study item) and General RAN SI</a:t>
            </a:r>
          </a:p>
          <a:p>
            <a:pPr lvl="1"/>
            <a:r>
              <a:rPr lang="en-US" sz="1800"/>
              <a:t>IMT-2030 discussion is expected in RAN from 09/24 to 12/24</a:t>
            </a:r>
          </a:p>
          <a:p>
            <a:pPr lvl="1"/>
            <a:r>
              <a:rPr lang="en-US" sz="1800"/>
              <a:t>RP SI Rel-20 focusing on ITU– IMT-2030:  approval 12/24 until 06/25</a:t>
            </a:r>
          </a:p>
          <a:p>
            <a:pPr lvl="1"/>
            <a:r>
              <a:rPr lang="en-US" sz="1800"/>
              <a:t>RP SI Rel-20 focusing on 6G General (e.g., radio requirements and KPIs) : approval 03/25 (after WS), until 06/26</a:t>
            </a:r>
          </a:p>
          <a:p>
            <a:endParaRPr lang="en-US" sz="1626" b="1">
              <a:solidFill>
                <a:srgbClr val="0066FF"/>
              </a:solidFill>
            </a:endParaRPr>
          </a:p>
          <a:p>
            <a:pPr mar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2060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662F0F-FC47-7AC7-E9C0-46E511D547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74A188-1969-D0B6-05BA-6F9091769A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6548" y="505333"/>
            <a:ext cx="10278904" cy="598160"/>
          </a:xfrm>
        </p:spPr>
        <p:txBody>
          <a:bodyPr>
            <a:noAutofit/>
          </a:bodyPr>
          <a:lstStyle/>
          <a:p>
            <a:pPr algn="ctr"/>
            <a:r>
              <a:rPr kumimoji="1" lang="en-US" altLang="ja-JP" sz="4000"/>
              <a:t>6G Timeline Considerations: RAN-Specifics 2/2 </a:t>
            </a:r>
            <a:br>
              <a:rPr kumimoji="1" lang="en-US" altLang="ja-JP" sz="3577"/>
            </a:br>
            <a:r>
              <a:rPr kumimoji="1" lang="en-US" altLang="ja-JP" sz="2000"/>
              <a:t>(As in </a:t>
            </a:r>
            <a:r>
              <a:rPr lang="en-US" sz="2000">
                <a:hlinkClick r:id="rId3"/>
              </a:rPr>
              <a:t>RP</a:t>
            </a:r>
            <a:r>
              <a:rPr lang="en-US" sz="2000">
                <a:hlinkClick r:id="rId4"/>
              </a:rPr>
              <a:t>-</a:t>
            </a:r>
            <a:r>
              <a:rPr lang="en-US" sz="2000">
                <a:hlinkClick r:id="rId5"/>
              </a:rPr>
              <a:t>233985</a:t>
            </a:r>
            <a:r>
              <a:rPr lang="en-US" sz="2000"/>
              <a:t> and </a:t>
            </a:r>
            <a:r>
              <a:rPr lang="en-US" sz="2000">
                <a:hlinkClick r:id="rId6"/>
              </a:rPr>
              <a:t>RP-240823</a:t>
            </a:r>
            <a:r>
              <a:rPr lang="en-US" sz="2000"/>
              <a:t>)</a:t>
            </a:r>
            <a:r>
              <a:rPr kumimoji="1" lang="en-US" altLang="ja-JP" sz="2000"/>
              <a:t> </a:t>
            </a:r>
            <a:endParaRPr kumimoji="1" lang="ja-JP" altLang="en-US" sz="3577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FD5B696-DF44-201B-8671-F2EBD9995D43}"/>
              </a:ext>
            </a:extLst>
          </p:cNvPr>
          <p:cNvSpPr txBox="1"/>
          <p:nvPr/>
        </p:nvSpPr>
        <p:spPr>
          <a:xfrm>
            <a:off x="10745047" y="5868677"/>
            <a:ext cx="448786" cy="340322"/>
          </a:xfrm>
          <a:prstGeom prst="rect">
            <a:avLst/>
          </a:prstGeom>
          <a:noFill/>
          <a:ln>
            <a:noFill/>
          </a:ln>
        </p:spPr>
        <p:txBody>
          <a:bodyPr wrap="square" lIns="111517" tIns="74345" rIns="0" bIns="74345" rtlCol="0">
            <a:spAutoFit/>
          </a:bodyPr>
          <a:lstStyle/>
          <a:p>
            <a:pPr defTabSz="743407">
              <a:lnSpc>
                <a:spcPct val="95000"/>
              </a:lnSpc>
              <a:spcBef>
                <a:spcPts val="976"/>
              </a:spcBef>
            </a:pPr>
            <a:r>
              <a:rPr lang="en-US" sz="1301">
                <a:solidFill>
                  <a:prstClr val="black"/>
                </a:solidFill>
                <a:latin typeface="Calibri"/>
              </a:rPr>
              <a:t>…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8E0BF8B-22AB-36F5-B71A-D8070530846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91193" y="1553252"/>
            <a:ext cx="11609614" cy="4799415"/>
          </a:xfrm>
        </p:spPr>
        <p:txBody>
          <a:bodyPr/>
          <a:lstStyle/>
          <a:p>
            <a:r>
              <a:rPr lang="en-US" sz="2200" b="1">
                <a:solidFill>
                  <a:srgbClr val="0066FF"/>
                </a:solidFill>
              </a:rPr>
              <a:t>RAN WGs in Rel-20</a:t>
            </a:r>
          </a:p>
          <a:p>
            <a:pPr lvl="1"/>
            <a:r>
              <a:rPr lang="en-US" sz="1800" b="1">
                <a:solidFill>
                  <a:srgbClr val="0066FF"/>
                </a:solidFill>
              </a:rPr>
              <a:t>For 5G-Advanced: 18-month</a:t>
            </a:r>
            <a:r>
              <a:rPr lang="en-US" sz="1800"/>
              <a:t>. Assuming no delay of Rel-19</a:t>
            </a:r>
            <a:endParaRPr lang="en-US" sz="900"/>
          </a:p>
          <a:p>
            <a:pPr lvl="2"/>
            <a:r>
              <a:rPr lang="en-US" sz="1400"/>
              <a:t>Stage-1 freeze : Jun 2025</a:t>
            </a:r>
          </a:p>
          <a:p>
            <a:pPr lvl="2"/>
            <a:r>
              <a:rPr lang="en-US" sz="1400"/>
              <a:t>Stage-2 freeze : Jun 2026 (&gt;=80%); Sep 2026 (100%)</a:t>
            </a:r>
          </a:p>
          <a:p>
            <a:pPr lvl="2"/>
            <a:r>
              <a:rPr lang="en-US" sz="1400"/>
              <a:t>Stage-3 freeze : Mar 2027</a:t>
            </a:r>
          </a:p>
          <a:p>
            <a:pPr lvl="2"/>
            <a:r>
              <a:rPr lang="en-US" sz="1400"/>
              <a:t>ASN.1/</a:t>
            </a:r>
            <a:r>
              <a:rPr lang="en-US" sz="1400" err="1"/>
              <a:t>OpenAPI</a:t>
            </a:r>
            <a:r>
              <a:rPr lang="en-US" sz="1400"/>
              <a:t> freeze: June 2027</a:t>
            </a:r>
          </a:p>
          <a:p>
            <a:pPr lvl="1"/>
            <a:r>
              <a:rPr lang="en-US" sz="1800" b="1">
                <a:solidFill>
                  <a:srgbClr val="0066FF"/>
                </a:solidFill>
              </a:rPr>
              <a:t>For 6G SI: 21 months</a:t>
            </a:r>
          </a:p>
          <a:p>
            <a:pPr lvl="2"/>
            <a:r>
              <a:rPr lang="en-US" sz="1400" b="1"/>
              <a:t>RAN1 starts in 3Q/25 until 1Q/27</a:t>
            </a:r>
          </a:p>
          <a:p>
            <a:pPr lvl="2"/>
            <a:r>
              <a:rPr lang="en-US" sz="1400" b="1"/>
              <a:t>RAN2/3/4 start in 4Q/25 until 2Q/27</a:t>
            </a:r>
          </a:p>
          <a:p>
            <a:r>
              <a:rPr lang="en-US" sz="2200" b="1">
                <a:solidFill>
                  <a:srgbClr val="0066FF"/>
                </a:solidFill>
              </a:rPr>
              <a:t>IMT-2030 submission and normative work for 6G </a:t>
            </a:r>
            <a:r>
              <a:rPr lang="en-US" sz="2200"/>
              <a:t>in 3GPP are expected to start from </a:t>
            </a:r>
            <a:r>
              <a:rPr lang="en-US" sz="2200" b="1">
                <a:solidFill>
                  <a:srgbClr val="0066FF"/>
                </a:solidFill>
              </a:rPr>
              <a:t>Release 21</a:t>
            </a:r>
          </a:p>
          <a:p>
            <a:pPr lvl="1"/>
            <a:r>
              <a:rPr lang="en-US" sz="1800" b="1"/>
              <a:t>Release 21 </a:t>
            </a:r>
            <a:r>
              <a:rPr lang="en-US" sz="1800"/>
              <a:t>is expected to produce the 1</a:t>
            </a:r>
            <a:r>
              <a:rPr lang="en-US" sz="1800" baseline="30000"/>
              <a:t>st</a:t>
            </a:r>
            <a:r>
              <a:rPr lang="en-US" sz="1800"/>
              <a:t> set of 3GPP </a:t>
            </a:r>
            <a:r>
              <a:rPr lang="en-US" sz="1800" b="1"/>
              <a:t>6G technical specifications</a:t>
            </a:r>
            <a:r>
              <a:rPr lang="en-US" sz="1800"/>
              <a:t>, and will be the release for    </a:t>
            </a:r>
            <a:r>
              <a:rPr lang="en-US" sz="1800" b="1"/>
              <a:t>IMT-2030 submission </a:t>
            </a:r>
            <a:r>
              <a:rPr lang="en-US" sz="1800"/>
              <a:t>before 2030</a:t>
            </a:r>
          </a:p>
          <a:p>
            <a:pPr lvl="1"/>
            <a:r>
              <a:rPr lang="en-US" sz="1800" b="1"/>
              <a:t>Release 21 </a:t>
            </a:r>
            <a:r>
              <a:rPr lang="en-US" sz="1800"/>
              <a:t>is expected to be delivered with a </a:t>
            </a:r>
            <a:r>
              <a:rPr lang="en-US" sz="1800" b="1">
                <a:solidFill>
                  <a:srgbClr val="0066FF"/>
                </a:solidFill>
              </a:rPr>
              <a:t>single drop </a:t>
            </a:r>
            <a:r>
              <a:rPr lang="en-US" sz="1800"/>
              <a:t>(i.e., a single code freeze)</a:t>
            </a:r>
          </a:p>
          <a:p>
            <a:pPr lvl="1"/>
            <a:r>
              <a:rPr lang="en-US" sz="1800"/>
              <a:t>Rel-21 timeline is to be decided no later than </a:t>
            </a:r>
            <a:r>
              <a:rPr lang="en-US" sz="1800" b="1"/>
              <a:t>June 2026</a:t>
            </a:r>
          </a:p>
          <a:p>
            <a:pPr lvl="2"/>
            <a:r>
              <a:rPr lang="en-US" sz="1400"/>
              <a:t>However, ASN.1/</a:t>
            </a:r>
            <a:r>
              <a:rPr lang="en-US" sz="1400" err="1"/>
              <a:t>OpenAPI</a:t>
            </a:r>
            <a:r>
              <a:rPr lang="en-US" sz="1400"/>
              <a:t> freeze date is no earlier than March 2029</a:t>
            </a:r>
          </a:p>
          <a:p>
            <a:pPr lvl="1"/>
            <a:endParaRPr lang="en-US" sz="1463"/>
          </a:p>
        </p:txBody>
      </p:sp>
    </p:spTree>
    <p:extLst>
      <p:ext uri="{BB962C8B-B14F-4D97-AF65-F5344CB8AC3E}">
        <p14:creationId xmlns:p14="http://schemas.microsoft.com/office/powerpoint/2010/main" val="215807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28992F-C49F-EE61-F694-80B07DDE08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114">
            <a:extLst>
              <a:ext uri="{FF2B5EF4-FFF2-40B4-BE49-F238E27FC236}">
                <a16:creationId xmlns:a16="http://schemas.microsoft.com/office/drawing/2014/main" id="{D777A93A-0494-CB81-BF07-6ED0D44FE2A4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541242" y="2348794"/>
            <a:ext cx="0" cy="3134214"/>
          </a:xfrm>
          <a:prstGeom prst="line">
            <a:avLst/>
          </a:prstGeom>
          <a:noFill/>
          <a:ln w="28575" algn="ctr">
            <a:solidFill>
              <a:schemeClr val="accent4">
                <a:lumMod val="40000"/>
                <a:lumOff val="60000"/>
              </a:schemeClr>
            </a:solidFill>
            <a:round/>
            <a:headEnd/>
            <a:tailEnd/>
          </a:ln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74300E3-F476-EEBF-D35B-A1E8736C7C9D}"/>
              </a:ext>
            </a:extLst>
          </p:cNvPr>
          <p:cNvCxnSpPr>
            <a:cxnSpLocks/>
          </p:cNvCxnSpPr>
          <p:nvPr/>
        </p:nvCxnSpPr>
        <p:spPr bwMode="auto">
          <a:xfrm>
            <a:off x="1612272" y="1793629"/>
            <a:ext cx="2530576" cy="0"/>
          </a:xfrm>
          <a:prstGeom prst="line">
            <a:avLst/>
          </a:prstGeom>
          <a:ln>
            <a:solidFill>
              <a:schemeClr val="accent4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6" name="Straight Connector 114">
            <a:extLst>
              <a:ext uri="{FF2B5EF4-FFF2-40B4-BE49-F238E27FC236}">
                <a16:creationId xmlns:a16="http://schemas.microsoft.com/office/drawing/2014/main" id="{C33B306E-5E8B-AC76-C303-4AC9B7802E64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2341491" y="2282664"/>
            <a:ext cx="5299" cy="3190224"/>
          </a:xfrm>
          <a:prstGeom prst="line">
            <a:avLst/>
          </a:prstGeom>
          <a:ln>
            <a:solidFill>
              <a:srgbClr val="C00000"/>
            </a:solidFill>
            <a:headEnd/>
            <a:tailEnd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272" name="Straight Connector 114">
            <a:extLst>
              <a:ext uri="{FF2B5EF4-FFF2-40B4-BE49-F238E27FC236}">
                <a16:creationId xmlns:a16="http://schemas.microsoft.com/office/drawing/2014/main" id="{63507367-7C85-5DDA-8929-8D09E8B90A31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2852112" y="2348794"/>
            <a:ext cx="1348" cy="3057964"/>
          </a:xfrm>
          <a:prstGeom prst="line">
            <a:avLst/>
          </a:prstGeom>
          <a:noFill/>
          <a:ln w="9525" algn="ctr">
            <a:solidFill>
              <a:schemeClr val="accent4">
                <a:lumMod val="40000"/>
                <a:lumOff val="60000"/>
              </a:schemeClr>
            </a:solidFill>
            <a:prstDash val="dash"/>
            <a:round/>
            <a:headEnd/>
            <a:tailEnd/>
          </a:ln>
        </p:spPr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3B9E7960-6113-C4D1-ECEF-73196F0C03E0}"/>
              </a:ext>
            </a:extLst>
          </p:cNvPr>
          <p:cNvSpPr txBox="1"/>
          <p:nvPr/>
        </p:nvSpPr>
        <p:spPr>
          <a:xfrm>
            <a:off x="2575956" y="1591740"/>
            <a:ext cx="691215" cy="39254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defTabSz="743407">
              <a:defRPr/>
            </a:pPr>
            <a:r>
              <a:rPr lang="en-GB" sz="1951">
                <a:solidFill>
                  <a:prstClr val="white"/>
                </a:solidFill>
                <a:latin typeface="Calibri"/>
              </a:rPr>
              <a:t>2024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A5BB33D-59DC-8CD1-D095-4371152BEFFE}"/>
              </a:ext>
            </a:extLst>
          </p:cNvPr>
          <p:cNvGrpSpPr/>
          <p:nvPr/>
        </p:nvGrpSpPr>
        <p:grpSpPr>
          <a:xfrm>
            <a:off x="2000370" y="1948743"/>
            <a:ext cx="381836" cy="376091"/>
            <a:chOff x="1014357" y="755453"/>
            <a:chExt cx="352229" cy="346930"/>
          </a:xfrm>
        </p:grpSpPr>
        <p:sp>
          <p:nvSpPr>
            <p:cNvPr id="17432" name="TextBox 86">
              <a:extLst>
                <a:ext uri="{FF2B5EF4-FFF2-40B4-BE49-F238E27FC236}">
                  <a16:creationId xmlns:a16="http://schemas.microsoft.com/office/drawing/2014/main" id="{988CC082-346E-34BD-676E-57B18118E76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14357" y="755453"/>
              <a:ext cx="352229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3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743407">
                <a:spcBef>
                  <a:spcPct val="0"/>
                </a:spcBef>
                <a:buNone/>
              </a:pPr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#103</a:t>
              </a:r>
              <a:endParaRPr lang="en-GB" altLang="en-US" sz="43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448" name="TextBox 59">
              <a:extLst>
                <a:ext uri="{FF2B5EF4-FFF2-40B4-BE49-F238E27FC236}">
                  <a16:creationId xmlns:a16="http://schemas.microsoft.com/office/drawing/2014/main" id="{165C6395-ACED-7B3D-FC22-AC91FB3A142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18228" y="909441"/>
              <a:ext cx="343357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743407"/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Mar.</a:t>
              </a:r>
            </a:p>
          </p:txBody>
        </p:sp>
      </p:grpSp>
      <p:grpSp>
        <p:nvGrpSpPr>
          <p:cNvPr id="17489" name="Group 17488">
            <a:extLst>
              <a:ext uri="{FF2B5EF4-FFF2-40B4-BE49-F238E27FC236}">
                <a16:creationId xmlns:a16="http://schemas.microsoft.com/office/drawing/2014/main" id="{D08FB91D-770B-B580-B528-B623B4BC2A75}"/>
              </a:ext>
            </a:extLst>
          </p:cNvPr>
          <p:cNvGrpSpPr/>
          <p:nvPr/>
        </p:nvGrpSpPr>
        <p:grpSpPr>
          <a:xfrm>
            <a:off x="7237893" y="1948743"/>
            <a:ext cx="404809" cy="376091"/>
            <a:chOff x="6315814" y="755453"/>
            <a:chExt cx="373421" cy="346930"/>
          </a:xfrm>
        </p:grpSpPr>
        <p:sp>
          <p:nvSpPr>
            <p:cNvPr id="17440" name="TextBox 86">
              <a:extLst>
                <a:ext uri="{FF2B5EF4-FFF2-40B4-BE49-F238E27FC236}">
                  <a16:creationId xmlns:a16="http://schemas.microsoft.com/office/drawing/2014/main" id="{6A931EFD-74D2-FC18-4BBF-502319A23C8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15814" y="755453"/>
              <a:ext cx="352229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3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743407">
                <a:spcBef>
                  <a:spcPct val="0"/>
                </a:spcBef>
                <a:buNone/>
              </a:pPr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#111</a:t>
              </a:r>
              <a:endParaRPr lang="en-GB" altLang="en-US" sz="43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449" name="TextBox 60">
              <a:extLst>
                <a:ext uri="{FF2B5EF4-FFF2-40B4-BE49-F238E27FC236}">
                  <a16:creationId xmlns:a16="http://schemas.microsoft.com/office/drawing/2014/main" id="{11D523C6-2A70-26A7-1D99-1B54A6962C4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45878" y="909441"/>
              <a:ext cx="343357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743407"/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Mar.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43653F7-377D-9559-CA06-3E13217E3369}"/>
              </a:ext>
            </a:extLst>
          </p:cNvPr>
          <p:cNvGrpSpPr/>
          <p:nvPr/>
        </p:nvGrpSpPr>
        <p:grpSpPr>
          <a:xfrm>
            <a:off x="4604833" y="1948743"/>
            <a:ext cx="397430" cy="376091"/>
            <a:chOff x="3683640" y="755453"/>
            <a:chExt cx="366613" cy="346930"/>
          </a:xfrm>
        </p:grpSpPr>
        <p:sp>
          <p:nvSpPr>
            <p:cNvPr id="17436" name="TextBox 86">
              <a:extLst>
                <a:ext uri="{FF2B5EF4-FFF2-40B4-BE49-F238E27FC236}">
                  <a16:creationId xmlns:a16="http://schemas.microsoft.com/office/drawing/2014/main" id="{58981BF9-119B-4A80-8B18-44F700DD457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98025" y="755453"/>
              <a:ext cx="352228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3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743407">
                <a:spcBef>
                  <a:spcPct val="0"/>
                </a:spcBef>
                <a:buNone/>
              </a:pPr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#107</a:t>
              </a:r>
              <a:endParaRPr lang="en-GB" altLang="en-US" sz="43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450" name="TextBox 61">
              <a:extLst>
                <a:ext uri="{FF2B5EF4-FFF2-40B4-BE49-F238E27FC236}">
                  <a16:creationId xmlns:a16="http://schemas.microsoft.com/office/drawing/2014/main" id="{10B86475-D05A-F024-8D10-3834410937D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83640" y="909441"/>
              <a:ext cx="343356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743407"/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Mar.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BEEB882-0873-17C9-668A-5BD3DDAC9943}"/>
              </a:ext>
            </a:extLst>
          </p:cNvPr>
          <p:cNvGrpSpPr/>
          <p:nvPr/>
        </p:nvGrpSpPr>
        <p:grpSpPr>
          <a:xfrm>
            <a:off x="2659368" y="1948743"/>
            <a:ext cx="383663" cy="376091"/>
            <a:chOff x="1705615" y="755453"/>
            <a:chExt cx="353914" cy="346930"/>
          </a:xfrm>
        </p:grpSpPr>
        <p:sp>
          <p:nvSpPr>
            <p:cNvPr id="17433" name="TextBox 86">
              <a:extLst>
                <a:ext uri="{FF2B5EF4-FFF2-40B4-BE49-F238E27FC236}">
                  <a16:creationId xmlns:a16="http://schemas.microsoft.com/office/drawing/2014/main" id="{C103280A-1592-A747-3090-8C7DDE8D80F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07300" y="755453"/>
              <a:ext cx="352229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3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743407">
                <a:spcBef>
                  <a:spcPct val="0"/>
                </a:spcBef>
                <a:buNone/>
              </a:pPr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#104</a:t>
              </a:r>
              <a:endParaRPr lang="en-GB" altLang="en-US" sz="43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451" name="TextBox 62">
              <a:extLst>
                <a:ext uri="{FF2B5EF4-FFF2-40B4-BE49-F238E27FC236}">
                  <a16:creationId xmlns:a16="http://schemas.microsoft.com/office/drawing/2014/main" id="{F552B731-B734-8036-32D1-B31A30D549F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05615" y="909441"/>
              <a:ext cx="315260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743407"/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Jun.</a:t>
              </a:r>
            </a:p>
          </p:txBody>
        </p:sp>
      </p:grpSp>
      <p:grpSp>
        <p:nvGrpSpPr>
          <p:cNvPr id="17476" name="Group 17475">
            <a:extLst>
              <a:ext uri="{FF2B5EF4-FFF2-40B4-BE49-F238E27FC236}">
                <a16:creationId xmlns:a16="http://schemas.microsoft.com/office/drawing/2014/main" id="{42783D1B-5915-E686-B1DF-AC2941019424}"/>
              </a:ext>
            </a:extLst>
          </p:cNvPr>
          <p:cNvGrpSpPr/>
          <p:nvPr/>
        </p:nvGrpSpPr>
        <p:grpSpPr>
          <a:xfrm>
            <a:off x="5270051" y="1948743"/>
            <a:ext cx="381836" cy="376091"/>
            <a:chOff x="4390176" y="755453"/>
            <a:chExt cx="352230" cy="346930"/>
          </a:xfrm>
        </p:grpSpPr>
        <p:sp>
          <p:nvSpPr>
            <p:cNvPr id="17437" name="TextBox 86">
              <a:extLst>
                <a:ext uri="{FF2B5EF4-FFF2-40B4-BE49-F238E27FC236}">
                  <a16:creationId xmlns:a16="http://schemas.microsoft.com/office/drawing/2014/main" id="{FEF09D13-9AE7-21AF-924D-235C465BCB1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90176" y="755453"/>
              <a:ext cx="352230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3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743407">
                <a:spcBef>
                  <a:spcPct val="0"/>
                </a:spcBef>
                <a:buNone/>
              </a:pPr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#108</a:t>
              </a:r>
              <a:endParaRPr lang="en-GB" altLang="en-US" sz="43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452" name="TextBox 63">
              <a:extLst>
                <a:ext uri="{FF2B5EF4-FFF2-40B4-BE49-F238E27FC236}">
                  <a16:creationId xmlns:a16="http://schemas.microsoft.com/office/drawing/2014/main" id="{B7BB6509-4F48-4659-60CC-4CD60BF4B78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18653" y="909441"/>
              <a:ext cx="315261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743407"/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Jun.</a:t>
              </a:r>
            </a:p>
          </p:txBody>
        </p:sp>
      </p:grpSp>
      <p:grpSp>
        <p:nvGrpSpPr>
          <p:cNvPr id="17494" name="Group 17493">
            <a:extLst>
              <a:ext uri="{FF2B5EF4-FFF2-40B4-BE49-F238E27FC236}">
                <a16:creationId xmlns:a16="http://schemas.microsoft.com/office/drawing/2014/main" id="{B967BDC6-86AB-7837-B13B-ABA3A2B01909}"/>
              </a:ext>
            </a:extLst>
          </p:cNvPr>
          <p:cNvGrpSpPr/>
          <p:nvPr/>
        </p:nvGrpSpPr>
        <p:grpSpPr>
          <a:xfrm>
            <a:off x="7909022" y="1948743"/>
            <a:ext cx="381836" cy="376091"/>
            <a:chOff x="6889695" y="755453"/>
            <a:chExt cx="352230" cy="346930"/>
          </a:xfrm>
        </p:grpSpPr>
        <p:sp>
          <p:nvSpPr>
            <p:cNvPr id="17441" name="TextBox 86">
              <a:extLst>
                <a:ext uri="{FF2B5EF4-FFF2-40B4-BE49-F238E27FC236}">
                  <a16:creationId xmlns:a16="http://schemas.microsoft.com/office/drawing/2014/main" id="{00AF13A8-AEBE-A2D0-0350-B7A6452A466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89695" y="755453"/>
              <a:ext cx="352230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3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743407">
                <a:spcBef>
                  <a:spcPct val="0"/>
                </a:spcBef>
                <a:buNone/>
              </a:pPr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#112</a:t>
              </a:r>
              <a:endParaRPr lang="en-GB" altLang="en-US" sz="43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453" name="TextBox 64">
              <a:extLst>
                <a:ext uri="{FF2B5EF4-FFF2-40B4-BE49-F238E27FC236}">
                  <a16:creationId xmlns:a16="http://schemas.microsoft.com/office/drawing/2014/main" id="{68398172-EC8D-5C71-9A9B-F20456E8A9B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20553" y="909441"/>
              <a:ext cx="315261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743407"/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Jun.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C09B5BA-9CA0-3246-1446-5E993967CCDA}"/>
              </a:ext>
            </a:extLst>
          </p:cNvPr>
          <p:cNvGrpSpPr/>
          <p:nvPr/>
        </p:nvGrpSpPr>
        <p:grpSpPr>
          <a:xfrm>
            <a:off x="3307281" y="1948743"/>
            <a:ext cx="385385" cy="376091"/>
            <a:chOff x="2480315" y="755453"/>
            <a:chExt cx="355503" cy="346930"/>
          </a:xfrm>
        </p:grpSpPr>
        <p:sp>
          <p:nvSpPr>
            <p:cNvPr id="17434" name="TextBox 86">
              <a:extLst>
                <a:ext uri="{FF2B5EF4-FFF2-40B4-BE49-F238E27FC236}">
                  <a16:creationId xmlns:a16="http://schemas.microsoft.com/office/drawing/2014/main" id="{4D4D40CF-F5F4-931C-680D-53F544AE870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83589" y="755453"/>
              <a:ext cx="352229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3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743407">
                <a:spcBef>
                  <a:spcPct val="0"/>
                </a:spcBef>
                <a:buNone/>
              </a:pPr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#105</a:t>
              </a:r>
              <a:endParaRPr lang="en-GB" altLang="en-US" sz="43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454" name="TextBox 65">
              <a:extLst>
                <a:ext uri="{FF2B5EF4-FFF2-40B4-BE49-F238E27FC236}">
                  <a16:creationId xmlns:a16="http://schemas.microsoft.com/office/drawing/2014/main" id="{18CD9CF9-FC30-2A87-862D-F40F70B1542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80315" y="909441"/>
              <a:ext cx="325612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743407"/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Sep.</a:t>
              </a:r>
            </a:p>
          </p:txBody>
        </p:sp>
      </p:grpSp>
      <p:grpSp>
        <p:nvGrpSpPr>
          <p:cNvPr id="17477" name="Group 17476">
            <a:extLst>
              <a:ext uri="{FF2B5EF4-FFF2-40B4-BE49-F238E27FC236}">
                <a16:creationId xmlns:a16="http://schemas.microsoft.com/office/drawing/2014/main" id="{FA1DC7AC-7706-EA7D-0E2A-1F7AC3F2258D}"/>
              </a:ext>
            </a:extLst>
          </p:cNvPr>
          <p:cNvGrpSpPr/>
          <p:nvPr/>
        </p:nvGrpSpPr>
        <p:grpSpPr>
          <a:xfrm>
            <a:off x="5948962" y="1948743"/>
            <a:ext cx="381836" cy="376091"/>
            <a:chOff x="5118838" y="755453"/>
            <a:chExt cx="352229" cy="346930"/>
          </a:xfrm>
        </p:grpSpPr>
        <p:sp>
          <p:nvSpPr>
            <p:cNvPr id="17438" name="TextBox 86">
              <a:extLst>
                <a:ext uri="{FF2B5EF4-FFF2-40B4-BE49-F238E27FC236}">
                  <a16:creationId xmlns:a16="http://schemas.microsoft.com/office/drawing/2014/main" id="{11FB991E-569C-E793-E8D8-9E228FDDF8C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18838" y="755453"/>
              <a:ext cx="352229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3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743407">
                <a:spcBef>
                  <a:spcPct val="0"/>
                </a:spcBef>
                <a:buNone/>
              </a:pPr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#109</a:t>
              </a:r>
              <a:endParaRPr lang="en-GB" altLang="en-US" sz="43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455" name="TextBox 66">
              <a:extLst>
                <a:ext uri="{FF2B5EF4-FFF2-40B4-BE49-F238E27FC236}">
                  <a16:creationId xmlns:a16="http://schemas.microsoft.com/office/drawing/2014/main" id="{4B4B0B0E-28A4-0105-E66C-8A8333E6113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29853" y="909441"/>
              <a:ext cx="325612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743407"/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Sep.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AC441D9-25AA-5353-8C62-E595297BE9B0}"/>
              </a:ext>
            </a:extLst>
          </p:cNvPr>
          <p:cNvGrpSpPr/>
          <p:nvPr/>
        </p:nvGrpSpPr>
        <p:grpSpPr>
          <a:xfrm>
            <a:off x="1341164" y="1948743"/>
            <a:ext cx="395710" cy="376091"/>
            <a:chOff x="321315" y="755453"/>
            <a:chExt cx="365027" cy="346930"/>
          </a:xfrm>
        </p:grpSpPr>
        <p:sp>
          <p:nvSpPr>
            <p:cNvPr id="17431" name="TextBox 86">
              <a:extLst>
                <a:ext uri="{FF2B5EF4-FFF2-40B4-BE49-F238E27FC236}">
                  <a16:creationId xmlns:a16="http://schemas.microsoft.com/office/drawing/2014/main" id="{4D677330-5A69-54E2-DED8-C11576419F8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4113" y="755453"/>
              <a:ext cx="352229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3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743407">
                <a:spcBef>
                  <a:spcPct val="0"/>
                </a:spcBef>
                <a:buNone/>
              </a:pPr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#102</a:t>
              </a:r>
              <a:endParaRPr lang="en-GB" altLang="en-US" sz="43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457" name="TextBox 69">
              <a:extLst>
                <a:ext uri="{FF2B5EF4-FFF2-40B4-BE49-F238E27FC236}">
                  <a16:creationId xmlns:a16="http://schemas.microsoft.com/office/drawing/2014/main" id="{5C00D17C-21B0-E262-9FB1-9FCEFFA608B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1315" y="909441"/>
              <a:ext cx="330047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743407"/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Dec.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35396D1-395D-655F-8E73-A7129BF72176}"/>
              </a:ext>
            </a:extLst>
          </p:cNvPr>
          <p:cNvGrpSpPr/>
          <p:nvPr/>
        </p:nvGrpSpPr>
        <p:grpSpPr>
          <a:xfrm>
            <a:off x="3957880" y="1948743"/>
            <a:ext cx="381836" cy="376091"/>
            <a:chOff x="3011433" y="755453"/>
            <a:chExt cx="352230" cy="346930"/>
          </a:xfrm>
        </p:grpSpPr>
        <p:sp>
          <p:nvSpPr>
            <p:cNvPr id="17435" name="TextBox 86">
              <a:extLst>
                <a:ext uri="{FF2B5EF4-FFF2-40B4-BE49-F238E27FC236}">
                  <a16:creationId xmlns:a16="http://schemas.microsoft.com/office/drawing/2014/main" id="{2ADC4CDE-F1A3-6E94-6512-72859838839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11433" y="755453"/>
              <a:ext cx="352230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3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743407">
                <a:spcBef>
                  <a:spcPct val="0"/>
                </a:spcBef>
                <a:buNone/>
              </a:pPr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#106</a:t>
              </a:r>
              <a:endParaRPr lang="en-GB" altLang="en-US" sz="43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458" name="TextBox 70">
              <a:extLst>
                <a:ext uri="{FF2B5EF4-FFF2-40B4-BE49-F238E27FC236}">
                  <a16:creationId xmlns:a16="http://schemas.microsoft.com/office/drawing/2014/main" id="{01CE645F-8CED-7913-53C8-9468C2B0173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13715" y="909441"/>
              <a:ext cx="330048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743407"/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Dec.</a:t>
              </a:r>
            </a:p>
          </p:txBody>
        </p:sp>
      </p:grpSp>
      <p:grpSp>
        <p:nvGrpSpPr>
          <p:cNvPr id="17481" name="Group 17480">
            <a:extLst>
              <a:ext uri="{FF2B5EF4-FFF2-40B4-BE49-F238E27FC236}">
                <a16:creationId xmlns:a16="http://schemas.microsoft.com/office/drawing/2014/main" id="{F75057D1-7761-0C3C-B95B-D7F0AFE0E076}"/>
              </a:ext>
            </a:extLst>
          </p:cNvPr>
          <p:cNvGrpSpPr/>
          <p:nvPr/>
        </p:nvGrpSpPr>
        <p:grpSpPr>
          <a:xfrm>
            <a:off x="6599464" y="1948743"/>
            <a:ext cx="381836" cy="376091"/>
            <a:chOff x="5767333" y="755453"/>
            <a:chExt cx="352228" cy="346930"/>
          </a:xfrm>
        </p:grpSpPr>
        <p:sp>
          <p:nvSpPr>
            <p:cNvPr id="17439" name="TextBox 86">
              <a:extLst>
                <a:ext uri="{FF2B5EF4-FFF2-40B4-BE49-F238E27FC236}">
                  <a16:creationId xmlns:a16="http://schemas.microsoft.com/office/drawing/2014/main" id="{3428D37B-08D1-24DC-2032-8DD18AFD346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67333" y="755453"/>
              <a:ext cx="352228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3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743407">
                <a:spcBef>
                  <a:spcPct val="0"/>
                </a:spcBef>
                <a:buNone/>
              </a:pPr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#110</a:t>
              </a:r>
              <a:endParaRPr lang="en-GB" altLang="en-US" sz="43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459" name="TextBox 71">
              <a:extLst>
                <a:ext uri="{FF2B5EF4-FFF2-40B4-BE49-F238E27FC236}">
                  <a16:creationId xmlns:a16="http://schemas.microsoft.com/office/drawing/2014/main" id="{B8CC51AC-4382-E7E2-EF4E-204594DAC3C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71203" y="909441"/>
              <a:ext cx="330047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743407"/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Dec.</a:t>
              </a:r>
            </a:p>
          </p:txBody>
        </p:sp>
      </p:grpSp>
      <p:sp>
        <p:nvSpPr>
          <p:cNvPr id="17472" name="Rectangle 12">
            <a:extLst>
              <a:ext uri="{FF2B5EF4-FFF2-40B4-BE49-F238E27FC236}">
                <a16:creationId xmlns:a16="http://schemas.microsoft.com/office/drawing/2014/main" id="{6B99021C-6BD6-077A-8701-E3EDEA137C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5994" y="5563918"/>
            <a:ext cx="943075" cy="2759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Blip>
                <a:blip r:embed="rId3"/>
              </a:buBlip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defTabSz="743407">
              <a:spcBef>
                <a:spcPct val="0"/>
              </a:spcBef>
              <a:buNone/>
            </a:pPr>
            <a:r>
              <a:rPr lang="en-GB" altLang="en-US" sz="1193">
                <a:solidFill>
                  <a:srgbClr val="C00000"/>
                </a:solidFill>
                <a:latin typeface="Calibri"/>
              </a:rPr>
              <a:t>Now</a:t>
            </a:r>
          </a:p>
        </p:txBody>
      </p:sp>
      <p:sp>
        <p:nvSpPr>
          <p:cNvPr id="17475" name="TextBox 67">
            <a:extLst>
              <a:ext uri="{FF2B5EF4-FFF2-40B4-BE49-F238E27FC236}">
                <a16:creationId xmlns:a16="http://schemas.microsoft.com/office/drawing/2014/main" id="{1F8F20E1-4E79-A367-379B-29EFCC3C6B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44030" y="1803830"/>
            <a:ext cx="377026" cy="209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743407"/>
            <a:r>
              <a:rPr lang="en-GB" altLang="en-US" sz="759">
                <a:solidFill>
                  <a:prstClr val="black"/>
                </a:solidFill>
                <a:latin typeface="Calibri"/>
              </a:rPr>
              <a:t>TSGs</a:t>
            </a:r>
          </a:p>
        </p:txBody>
      </p:sp>
      <p:sp>
        <p:nvSpPr>
          <p:cNvPr id="27" name="Star: 5 Points 26">
            <a:extLst>
              <a:ext uri="{FF2B5EF4-FFF2-40B4-BE49-F238E27FC236}">
                <a16:creationId xmlns:a16="http://schemas.microsoft.com/office/drawing/2014/main" id="{F787BCF1-2498-28B4-199E-7A531CA4AEB8}"/>
              </a:ext>
            </a:extLst>
          </p:cNvPr>
          <p:cNvSpPr/>
          <p:nvPr/>
        </p:nvSpPr>
        <p:spPr bwMode="auto">
          <a:xfrm>
            <a:off x="4646829" y="3923748"/>
            <a:ext cx="367821" cy="348890"/>
          </a:xfrm>
          <a:prstGeom prst="star5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743407">
              <a:defRPr/>
            </a:pPr>
            <a:endParaRPr lang="en-GB" sz="1951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30" name="TextBox 1">
            <a:extLst>
              <a:ext uri="{FF2B5EF4-FFF2-40B4-BE49-F238E27FC236}">
                <a16:creationId xmlns:a16="http://schemas.microsoft.com/office/drawing/2014/main" id="{944B49F7-1C1D-DBCA-2AE8-96E1020637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07232" y="4208591"/>
            <a:ext cx="1170352" cy="20916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defTabSz="743407">
              <a:defRPr/>
            </a:pPr>
            <a:r>
              <a:rPr lang="en-GB" altLang="en-US" sz="759" b="1">
                <a:solidFill>
                  <a:prstClr val="black"/>
                </a:solidFill>
                <a:latin typeface="Calibri"/>
              </a:rPr>
              <a:t>Workshop 6G TSGs</a:t>
            </a:r>
            <a:endParaRPr lang="en-GB" altLang="en-US" sz="759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261DFA2-5EBE-0760-005F-090827A42373}"/>
              </a:ext>
            </a:extLst>
          </p:cNvPr>
          <p:cNvGrpSpPr/>
          <p:nvPr/>
        </p:nvGrpSpPr>
        <p:grpSpPr>
          <a:xfrm>
            <a:off x="8573660" y="1937729"/>
            <a:ext cx="381836" cy="376091"/>
            <a:chOff x="7364200" y="745293"/>
            <a:chExt cx="352229" cy="346930"/>
          </a:xfrm>
        </p:grpSpPr>
        <p:sp>
          <p:nvSpPr>
            <p:cNvPr id="17490" name="TextBox 86">
              <a:extLst>
                <a:ext uri="{FF2B5EF4-FFF2-40B4-BE49-F238E27FC236}">
                  <a16:creationId xmlns:a16="http://schemas.microsoft.com/office/drawing/2014/main" id="{35BB9D75-F8E4-FE51-0578-EE1CE5798D0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64200" y="745293"/>
              <a:ext cx="352229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3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743407">
                <a:spcBef>
                  <a:spcPct val="0"/>
                </a:spcBef>
                <a:buNone/>
              </a:pPr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#113</a:t>
              </a:r>
              <a:endParaRPr lang="en-GB" altLang="en-US" sz="43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492" name="TextBox 66">
              <a:extLst>
                <a:ext uri="{FF2B5EF4-FFF2-40B4-BE49-F238E27FC236}">
                  <a16:creationId xmlns:a16="http://schemas.microsoft.com/office/drawing/2014/main" id="{52784947-6AA6-617B-CED1-6981515A19C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75213" y="899281"/>
              <a:ext cx="325612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743407"/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Sep.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5523F22-A626-40BA-8A66-0EF7EE745E28}"/>
              </a:ext>
            </a:extLst>
          </p:cNvPr>
          <p:cNvGrpSpPr/>
          <p:nvPr/>
        </p:nvGrpSpPr>
        <p:grpSpPr>
          <a:xfrm>
            <a:off x="9214602" y="1937729"/>
            <a:ext cx="392325" cy="376091"/>
            <a:chOff x="8016563" y="745293"/>
            <a:chExt cx="361904" cy="346930"/>
          </a:xfrm>
        </p:grpSpPr>
        <p:sp>
          <p:nvSpPr>
            <p:cNvPr id="17491" name="TextBox 86">
              <a:extLst>
                <a:ext uri="{FF2B5EF4-FFF2-40B4-BE49-F238E27FC236}">
                  <a16:creationId xmlns:a16="http://schemas.microsoft.com/office/drawing/2014/main" id="{DADF5BC1-A476-EB24-2179-C4E5EBE78D5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26238" y="745293"/>
              <a:ext cx="352229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3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 defTabSz="743407">
                <a:spcBef>
                  <a:spcPct val="0"/>
                </a:spcBef>
                <a:buNone/>
              </a:pPr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#114</a:t>
              </a:r>
              <a:endParaRPr lang="en-GB" altLang="en-US" sz="433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493" name="TextBox 71">
              <a:extLst>
                <a:ext uri="{FF2B5EF4-FFF2-40B4-BE49-F238E27FC236}">
                  <a16:creationId xmlns:a16="http://schemas.microsoft.com/office/drawing/2014/main" id="{FF47688E-A86E-2353-7C06-DBC3A372063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16563" y="899281"/>
              <a:ext cx="330047" cy="192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743407"/>
              <a:r>
                <a:rPr lang="en-GB" altLang="en-US" sz="759">
                  <a:solidFill>
                    <a:prstClr val="black"/>
                  </a:solidFill>
                  <a:latin typeface="Calibri"/>
                </a:rPr>
                <a:t>Dec.</a:t>
              </a:r>
            </a:p>
          </p:txBody>
        </p:sp>
      </p:grpSp>
      <p:sp>
        <p:nvSpPr>
          <p:cNvPr id="17497" name="TextBox 86">
            <a:extLst>
              <a:ext uri="{FF2B5EF4-FFF2-40B4-BE49-F238E27FC236}">
                <a16:creationId xmlns:a16="http://schemas.microsoft.com/office/drawing/2014/main" id="{5357307E-DFB7-4014-E67F-B234B2ED5C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59526" y="1952415"/>
            <a:ext cx="381836" cy="209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Blip>
                <a:blip r:embed="rId3"/>
              </a:buBlip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defTabSz="743407">
              <a:spcBef>
                <a:spcPct val="0"/>
              </a:spcBef>
              <a:buNone/>
            </a:pPr>
            <a:r>
              <a:rPr lang="en-GB" altLang="en-US" sz="759">
                <a:solidFill>
                  <a:prstClr val="black"/>
                </a:solidFill>
                <a:latin typeface="Calibri"/>
              </a:rPr>
              <a:t>#115</a:t>
            </a:r>
            <a:endParaRPr lang="en-GB" altLang="en-US" sz="433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498" name="TextBox 60">
            <a:extLst>
              <a:ext uri="{FF2B5EF4-FFF2-40B4-BE49-F238E27FC236}">
                <a16:creationId xmlns:a16="http://schemas.microsoft.com/office/drawing/2014/main" id="{7AF265C0-820D-2759-0403-8611A7BA1C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92117" y="2119347"/>
            <a:ext cx="372218" cy="209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743407"/>
            <a:r>
              <a:rPr lang="en-GB" altLang="en-US" sz="759">
                <a:solidFill>
                  <a:prstClr val="black"/>
                </a:solidFill>
                <a:latin typeface="Calibri"/>
              </a:rPr>
              <a:t>Mar.</a:t>
            </a:r>
          </a:p>
        </p:txBody>
      </p:sp>
      <p:sp>
        <p:nvSpPr>
          <p:cNvPr id="17502" name="TextBox 60">
            <a:extLst>
              <a:ext uri="{FF2B5EF4-FFF2-40B4-BE49-F238E27FC236}">
                <a16:creationId xmlns:a16="http://schemas.microsoft.com/office/drawing/2014/main" id="{C355434E-FF94-C598-923E-8C580DCE39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31884" y="2100989"/>
            <a:ext cx="317716" cy="209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743407"/>
            <a:r>
              <a:rPr lang="en-GB" altLang="en-US" sz="759">
                <a:solidFill>
                  <a:prstClr val="black"/>
                </a:solidFill>
                <a:latin typeface="Calibri"/>
              </a:rPr>
              <a:t>Jun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2B9B160-85F8-B7F3-949C-6A80EDD7C45E}"/>
              </a:ext>
            </a:extLst>
          </p:cNvPr>
          <p:cNvCxnSpPr>
            <a:cxnSpLocks/>
          </p:cNvCxnSpPr>
          <p:nvPr/>
        </p:nvCxnSpPr>
        <p:spPr bwMode="auto">
          <a:xfrm>
            <a:off x="1157652" y="3551051"/>
            <a:ext cx="9912615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38" name="Chevron 60">
            <a:extLst>
              <a:ext uri="{FF2B5EF4-FFF2-40B4-BE49-F238E27FC236}">
                <a16:creationId xmlns:a16="http://schemas.microsoft.com/office/drawing/2014/main" id="{45312065-6CBD-33B4-1D64-1C5F55E68AA2}"/>
              </a:ext>
            </a:extLst>
          </p:cNvPr>
          <p:cNvSpPr/>
          <p:nvPr/>
        </p:nvSpPr>
        <p:spPr bwMode="auto">
          <a:xfrm>
            <a:off x="5454471" y="2637684"/>
            <a:ext cx="3861881" cy="238004"/>
          </a:xfrm>
          <a:prstGeom prst="chevron">
            <a:avLst/>
          </a:prstGeom>
          <a:gradFill>
            <a:gsLst>
              <a:gs pos="12000">
                <a:schemeClr val="accent3">
                  <a:lumMod val="40000"/>
                  <a:lumOff val="60000"/>
                </a:schemeClr>
              </a:gs>
              <a:gs pos="60000">
                <a:srgbClr val="92D050"/>
              </a:gs>
              <a:gs pos="83000">
                <a:srgbClr val="92D050"/>
              </a:gs>
              <a:gs pos="100000">
                <a:srgbClr val="92D050"/>
              </a:gs>
            </a:gsLst>
            <a:lin ang="36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/>
          <a:lstStyle/>
          <a:p>
            <a:pPr algn="ctr" defTabSz="743407">
              <a:defRPr/>
            </a:pPr>
            <a:r>
              <a:rPr lang="fr-FR" sz="976">
                <a:solidFill>
                  <a:prstClr val="black"/>
                </a:solidFill>
                <a:latin typeface="Calibri"/>
                <a:ea typeface="ＭＳ Ｐゴシック" charset="-128"/>
                <a:cs typeface="Arial" pitchFamily="34" charset="0"/>
              </a:rPr>
              <a:t>RAN1</a:t>
            </a:r>
          </a:p>
        </p:txBody>
      </p:sp>
      <p:sp>
        <p:nvSpPr>
          <p:cNvPr id="39" name="Chevron 60">
            <a:extLst>
              <a:ext uri="{FF2B5EF4-FFF2-40B4-BE49-F238E27FC236}">
                <a16:creationId xmlns:a16="http://schemas.microsoft.com/office/drawing/2014/main" id="{23AA6E87-D2AB-0497-606D-17BBDD9C183D}"/>
              </a:ext>
            </a:extLst>
          </p:cNvPr>
          <p:cNvSpPr/>
          <p:nvPr/>
        </p:nvSpPr>
        <p:spPr bwMode="auto">
          <a:xfrm>
            <a:off x="6113960" y="2962589"/>
            <a:ext cx="3940081" cy="227625"/>
          </a:xfrm>
          <a:prstGeom prst="chevron">
            <a:avLst/>
          </a:prstGeom>
          <a:gradFill>
            <a:gsLst>
              <a:gs pos="12000">
                <a:schemeClr val="accent3">
                  <a:lumMod val="40000"/>
                  <a:lumOff val="60000"/>
                </a:schemeClr>
              </a:gs>
              <a:gs pos="60000">
                <a:srgbClr val="92D050"/>
              </a:gs>
              <a:gs pos="83000">
                <a:srgbClr val="92D050"/>
              </a:gs>
              <a:gs pos="100000">
                <a:srgbClr val="92D050"/>
              </a:gs>
            </a:gsLst>
            <a:lin ang="36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/>
          <a:lstStyle/>
          <a:p>
            <a:pPr algn="ctr" defTabSz="743407">
              <a:defRPr/>
            </a:pPr>
            <a:r>
              <a:rPr lang="fr-FR" sz="976">
                <a:solidFill>
                  <a:prstClr val="black"/>
                </a:solidFill>
                <a:latin typeface="Calibri"/>
                <a:ea typeface="ＭＳ Ｐゴシック" charset="-128"/>
                <a:cs typeface="Arial" pitchFamily="34" charset="0"/>
              </a:rPr>
              <a:t>RAN </a:t>
            </a:r>
            <a:r>
              <a:rPr lang="fr-FR" sz="976" err="1">
                <a:solidFill>
                  <a:prstClr val="black"/>
                </a:solidFill>
                <a:latin typeface="Calibri"/>
                <a:ea typeface="ＭＳ Ｐゴシック" charset="-128"/>
                <a:cs typeface="Arial" pitchFamily="34" charset="0"/>
              </a:rPr>
              <a:t>Completion</a:t>
            </a:r>
            <a:r>
              <a:rPr lang="fr-FR" sz="976">
                <a:solidFill>
                  <a:prstClr val="black"/>
                </a:solidFill>
                <a:latin typeface="Calibri"/>
                <a:ea typeface="ＭＳ Ｐゴシック" charset="-128"/>
                <a:cs typeface="Arial" pitchFamily="34" charset="0"/>
              </a:rPr>
              <a:t> (RAN2/3/4core)</a:t>
            </a:r>
          </a:p>
        </p:txBody>
      </p:sp>
      <p:sp>
        <p:nvSpPr>
          <p:cNvPr id="41" name="TextBox 86">
            <a:extLst>
              <a:ext uri="{FF2B5EF4-FFF2-40B4-BE49-F238E27FC236}">
                <a16:creationId xmlns:a16="http://schemas.microsoft.com/office/drawing/2014/main" id="{E7CFFE9A-BA11-5507-66C4-463BFE813E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487324" y="1948743"/>
            <a:ext cx="381836" cy="209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Blip>
                <a:blip r:embed="rId3"/>
              </a:buBlip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defTabSz="743407">
              <a:spcBef>
                <a:spcPct val="0"/>
              </a:spcBef>
              <a:buNone/>
            </a:pPr>
            <a:r>
              <a:rPr lang="en-GB" altLang="en-US" sz="759">
                <a:solidFill>
                  <a:prstClr val="black"/>
                </a:solidFill>
                <a:latin typeface="Calibri"/>
              </a:rPr>
              <a:t>#116</a:t>
            </a:r>
            <a:endParaRPr lang="en-GB" altLang="en-US" sz="433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46" name="Straight Connector 114">
            <a:extLst>
              <a:ext uri="{FF2B5EF4-FFF2-40B4-BE49-F238E27FC236}">
                <a16:creationId xmlns:a16="http://schemas.microsoft.com/office/drawing/2014/main" id="{651AFA73-F0D3-3C1E-F07B-8562524BC031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3485313" y="2348794"/>
            <a:ext cx="24256" cy="3134214"/>
          </a:xfrm>
          <a:prstGeom prst="line">
            <a:avLst/>
          </a:prstGeom>
          <a:noFill/>
          <a:ln w="9525" algn="ctr">
            <a:solidFill>
              <a:schemeClr val="accent4">
                <a:lumMod val="40000"/>
                <a:lumOff val="60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48" name="Straight Connector 114">
            <a:extLst>
              <a:ext uri="{FF2B5EF4-FFF2-40B4-BE49-F238E27FC236}">
                <a16:creationId xmlns:a16="http://schemas.microsoft.com/office/drawing/2014/main" id="{2A413990-7B6F-5FC0-02A3-545705497B65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4811346" y="2348794"/>
            <a:ext cx="10441" cy="3134214"/>
          </a:xfrm>
          <a:prstGeom prst="line">
            <a:avLst/>
          </a:prstGeom>
          <a:noFill/>
          <a:ln w="9525" algn="ctr">
            <a:solidFill>
              <a:schemeClr val="accent4">
                <a:lumMod val="40000"/>
                <a:lumOff val="60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49" name="Straight Connector 114">
            <a:extLst>
              <a:ext uri="{FF2B5EF4-FFF2-40B4-BE49-F238E27FC236}">
                <a16:creationId xmlns:a16="http://schemas.microsoft.com/office/drawing/2014/main" id="{E57E96D9-2BD0-D27A-86EA-0E49CF66F1B4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5454471" y="2348794"/>
            <a:ext cx="23425" cy="3134214"/>
          </a:xfrm>
          <a:prstGeom prst="line">
            <a:avLst/>
          </a:prstGeom>
          <a:noFill/>
          <a:ln w="9525" algn="ctr">
            <a:solidFill>
              <a:schemeClr val="accent4">
                <a:lumMod val="40000"/>
                <a:lumOff val="60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50" name="Straight Connector 114">
            <a:extLst>
              <a:ext uri="{FF2B5EF4-FFF2-40B4-BE49-F238E27FC236}">
                <a16:creationId xmlns:a16="http://schemas.microsoft.com/office/drawing/2014/main" id="{0B518462-35CA-01DF-E3DA-79CF4D1A67DB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6113959" y="2348794"/>
            <a:ext cx="20046" cy="3134214"/>
          </a:xfrm>
          <a:prstGeom prst="line">
            <a:avLst/>
          </a:prstGeom>
          <a:noFill/>
          <a:ln w="9525" algn="ctr">
            <a:solidFill>
              <a:schemeClr val="accent4">
                <a:lumMod val="40000"/>
                <a:lumOff val="60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51" name="Straight Connector 114">
            <a:extLst>
              <a:ext uri="{FF2B5EF4-FFF2-40B4-BE49-F238E27FC236}">
                <a16:creationId xmlns:a16="http://schemas.microsoft.com/office/drawing/2014/main" id="{A3B6C350-D29D-A509-A057-DD254318F84D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7428811" y="2044641"/>
            <a:ext cx="33110" cy="3519277"/>
          </a:xfrm>
          <a:prstGeom prst="line">
            <a:avLst/>
          </a:prstGeom>
          <a:noFill/>
          <a:ln w="9525" algn="ctr">
            <a:solidFill>
              <a:schemeClr val="accent4">
                <a:lumMod val="40000"/>
                <a:lumOff val="60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52" name="Straight Connector 114">
            <a:extLst>
              <a:ext uri="{FF2B5EF4-FFF2-40B4-BE49-F238E27FC236}">
                <a16:creationId xmlns:a16="http://schemas.microsoft.com/office/drawing/2014/main" id="{66E04F16-36C6-027F-9585-CF454FC4A2D0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8084000" y="2348794"/>
            <a:ext cx="18333" cy="3215124"/>
          </a:xfrm>
          <a:prstGeom prst="line">
            <a:avLst/>
          </a:prstGeom>
          <a:noFill/>
          <a:ln w="9525" algn="ctr">
            <a:solidFill>
              <a:schemeClr val="accent4">
                <a:lumMod val="40000"/>
                <a:lumOff val="60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53" name="Straight Connector 114">
            <a:extLst>
              <a:ext uri="{FF2B5EF4-FFF2-40B4-BE49-F238E27FC236}">
                <a16:creationId xmlns:a16="http://schemas.microsoft.com/office/drawing/2014/main" id="{DE683D18-B47F-D070-F845-F7E8B61125EA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758442" y="2348794"/>
            <a:ext cx="0" cy="3215124"/>
          </a:xfrm>
          <a:prstGeom prst="line">
            <a:avLst/>
          </a:prstGeom>
          <a:noFill/>
          <a:ln w="9525" algn="ctr">
            <a:solidFill>
              <a:schemeClr val="accent4">
                <a:lumMod val="40000"/>
                <a:lumOff val="60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54" name="Straight Connector 114">
            <a:extLst>
              <a:ext uri="{FF2B5EF4-FFF2-40B4-BE49-F238E27FC236}">
                <a16:creationId xmlns:a16="http://schemas.microsoft.com/office/drawing/2014/main" id="{65ECC03C-392D-C70D-4A68-5DA2FD703EF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0070660" y="2348794"/>
            <a:ext cx="23432" cy="3280362"/>
          </a:xfrm>
          <a:prstGeom prst="line">
            <a:avLst/>
          </a:prstGeom>
          <a:noFill/>
          <a:ln w="9525" algn="ctr">
            <a:solidFill>
              <a:schemeClr val="accent4">
                <a:lumMod val="40000"/>
                <a:lumOff val="60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55" name="Straight Connector 114">
            <a:extLst>
              <a:ext uri="{FF2B5EF4-FFF2-40B4-BE49-F238E27FC236}">
                <a16:creationId xmlns:a16="http://schemas.microsoft.com/office/drawing/2014/main" id="{9C497097-315E-8A6D-769F-09FBCED69F5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0726775" y="2348794"/>
            <a:ext cx="0" cy="3280362"/>
          </a:xfrm>
          <a:prstGeom prst="line">
            <a:avLst/>
          </a:prstGeom>
          <a:noFill/>
          <a:ln w="9525" algn="ctr">
            <a:solidFill>
              <a:schemeClr val="accent4">
                <a:lumMod val="40000"/>
                <a:lumOff val="60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57" name="Straight Connector 114">
            <a:extLst>
              <a:ext uri="{FF2B5EF4-FFF2-40B4-BE49-F238E27FC236}">
                <a16:creationId xmlns:a16="http://schemas.microsoft.com/office/drawing/2014/main" id="{71746959-D045-E5B5-AFE7-E047AC2F1E3F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6781505" y="2348795"/>
            <a:ext cx="8610" cy="3344438"/>
          </a:xfrm>
          <a:prstGeom prst="line">
            <a:avLst/>
          </a:prstGeom>
          <a:noFill/>
          <a:ln w="28575" algn="ctr">
            <a:solidFill>
              <a:schemeClr val="accent4">
                <a:lumMod val="40000"/>
                <a:lumOff val="60000"/>
              </a:schemeClr>
            </a:solidFill>
            <a:round/>
            <a:headEnd/>
            <a:tailEnd/>
          </a:ln>
        </p:spPr>
      </p:cxnSp>
      <p:cxnSp>
        <p:nvCxnSpPr>
          <p:cNvPr id="59" name="Straight Connector 114">
            <a:extLst>
              <a:ext uri="{FF2B5EF4-FFF2-40B4-BE49-F238E27FC236}">
                <a16:creationId xmlns:a16="http://schemas.microsoft.com/office/drawing/2014/main" id="{2C79B9F4-97F9-05EA-B005-992434CCBE58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9413564" y="2367151"/>
            <a:ext cx="2433" cy="3401799"/>
          </a:xfrm>
          <a:prstGeom prst="line">
            <a:avLst/>
          </a:prstGeom>
          <a:noFill/>
          <a:ln w="28575" algn="ctr">
            <a:solidFill>
              <a:schemeClr val="accent4">
                <a:lumMod val="40000"/>
                <a:lumOff val="60000"/>
              </a:schemeClr>
            </a:solidFill>
            <a:round/>
            <a:headEnd/>
            <a:tailEnd/>
          </a:ln>
        </p:spPr>
      </p:cxnSp>
      <p:cxnSp>
        <p:nvCxnSpPr>
          <p:cNvPr id="60" name="Straight Connector 114">
            <a:extLst>
              <a:ext uri="{FF2B5EF4-FFF2-40B4-BE49-F238E27FC236}">
                <a16:creationId xmlns:a16="http://schemas.microsoft.com/office/drawing/2014/main" id="{F15672DF-A3AB-3988-49FA-718AB9547C1F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165678" y="2348794"/>
            <a:ext cx="0" cy="3215124"/>
          </a:xfrm>
          <a:prstGeom prst="line">
            <a:avLst/>
          </a:prstGeom>
          <a:noFill/>
          <a:ln w="28575" algn="ctr">
            <a:solidFill>
              <a:schemeClr val="accent4">
                <a:lumMod val="40000"/>
                <a:lumOff val="60000"/>
              </a:schemeClr>
            </a:solidFill>
            <a:round/>
            <a:headEnd/>
            <a:tailEnd/>
          </a:ln>
        </p:spPr>
      </p:cxnSp>
      <p:sp>
        <p:nvSpPr>
          <p:cNvPr id="9248" name="Chevron 60">
            <a:extLst>
              <a:ext uri="{FF2B5EF4-FFF2-40B4-BE49-F238E27FC236}">
                <a16:creationId xmlns:a16="http://schemas.microsoft.com/office/drawing/2014/main" id="{F94E59AC-70F6-5A8F-3EB3-2B4249484BEC}"/>
              </a:ext>
            </a:extLst>
          </p:cNvPr>
          <p:cNvSpPr/>
          <p:nvPr/>
        </p:nvSpPr>
        <p:spPr bwMode="auto">
          <a:xfrm>
            <a:off x="10005716" y="2973601"/>
            <a:ext cx="768456" cy="227619"/>
          </a:xfrm>
          <a:prstGeom prst="chevron">
            <a:avLst/>
          </a:prstGeom>
          <a:gradFill>
            <a:gsLst>
              <a:gs pos="12000">
                <a:schemeClr val="accent3">
                  <a:lumMod val="40000"/>
                  <a:lumOff val="60000"/>
                </a:schemeClr>
              </a:gs>
              <a:gs pos="60000">
                <a:srgbClr val="92D050"/>
              </a:gs>
              <a:gs pos="83000">
                <a:srgbClr val="92D050"/>
              </a:gs>
              <a:gs pos="100000">
                <a:srgbClr val="92D050"/>
              </a:gs>
            </a:gsLst>
            <a:lin ang="36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/>
          <a:lstStyle/>
          <a:p>
            <a:pPr algn="ctr" defTabSz="743407">
              <a:defRPr/>
            </a:pPr>
            <a:r>
              <a:rPr lang="fr-FR" sz="759">
                <a:solidFill>
                  <a:prstClr val="black"/>
                </a:solidFill>
                <a:latin typeface="Calibri"/>
                <a:ea typeface="ＭＳ Ｐゴシック" charset="-128"/>
                <a:cs typeface="Arial" pitchFamily="34" charset="0"/>
              </a:rPr>
              <a:t>RAN4 Perf</a:t>
            </a:r>
          </a:p>
        </p:txBody>
      </p:sp>
      <p:sp>
        <p:nvSpPr>
          <p:cNvPr id="25" name="Chevron 60">
            <a:extLst>
              <a:ext uri="{FF2B5EF4-FFF2-40B4-BE49-F238E27FC236}">
                <a16:creationId xmlns:a16="http://schemas.microsoft.com/office/drawing/2014/main" id="{5985ECF7-20BF-200E-8F19-EA178CFE7DB5}"/>
              </a:ext>
            </a:extLst>
          </p:cNvPr>
          <p:cNvSpPr/>
          <p:nvPr/>
        </p:nvSpPr>
        <p:spPr bwMode="auto">
          <a:xfrm>
            <a:off x="3471698" y="3613166"/>
            <a:ext cx="748953" cy="315736"/>
          </a:xfrm>
          <a:custGeom>
            <a:avLst/>
            <a:gdLst>
              <a:gd name="connsiteX0" fmla="*/ 0 w 1578187"/>
              <a:gd name="connsiteY0" fmla="*/ 0 h 222250"/>
              <a:gd name="connsiteX1" fmla="*/ 1467062 w 1578187"/>
              <a:gd name="connsiteY1" fmla="*/ 0 h 222250"/>
              <a:gd name="connsiteX2" fmla="*/ 1578187 w 1578187"/>
              <a:gd name="connsiteY2" fmla="*/ 111125 h 222250"/>
              <a:gd name="connsiteX3" fmla="*/ 1467062 w 1578187"/>
              <a:gd name="connsiteY3" fmla="*/ 222250 h 222250"/>
              <a:gd name="connsiteX4" fmla="*/ 0 w 1578187"/>
              <a:gd name="connsiteY4" fmla="*/ 222250 h 222250"/>
              <a:gd name="connsiteX5" fmla="*/ 111125 w 1578187"/>
              <a:gd name="connsiteY5" fmla="*/ 111125 h 222250"/>
              <a:gd name="connsiteX6" fmla="*/ 0 w 1578187"/>
              <a:gd name="connsiteY6" fmla="*/ 0 h 222250"/>
              <a:gd name="connsiteX0" fmla="*/ 0 w 1578187"/>
              <a:gd name="connsiteY0" fmla="*/ 0 h 222250"/>
              <a:gd name="connsiteX1" fmla="*/ 1467062 w 1578187"/>
              <a:gd name="connsiteY1" fmla="*/ 0 h 222250"/>
              <a:gd name="connsiteX2" fmla="*/ 1578187 w 1578187"/>
              <a:gd name="connsiteY2" fmla="*/ 111125 h 222250"/>
              <a:gd name="connsiteX3" fmla="*/ 1467062 w 1578187"/>
              <a:gd name="connsiteY3" fmla="*/ 222250 h 222250"/>
              <a:gd name="connsiteX4" fmla="*/ 0 w 1578187"/>
              <a:gd name="connsiteY4" fmla="*/ 222250 h 222250"/>
              <a:gd name="connsiteX5" fmla="*/ 26818 w 1578187"/>
              <a:gd name="connsiteY5" fmla="*/ 98155 h 222250"/>
              <a:gd name="connsiteX6" fmla="*/ 0 w 1578187"/>
              <a:gd name="connsiteY6" fmla="*/ 0 h 222250"/>
              <a:gd name="connsiteX0" fmla="*/ 0 w 1506850"/>
              <a:gd name="connsiteY0" fmla="*/ 0 h 222250"/>
              <a:gd name="connsiteX1" fmla="*/ 1467062 w 1506850"/>
              <a:gd name="connsiteY1" fmla="*/ 0 h 222250"/>
              <a:gd name="connsiteX2" fmla="*/ 1506850 w 1506850"/>
              <a:gd name="connsiteY2" fmla="*/ 111125 h 222250"/>
              <a:gd name="connsiteX3" fmla="*/ 1467062 w 1506850"/>
              <a:gd name="connsiteY3" fmla="*/ 222250 h 222250"/>
              <a:gd name="connsiteX4" fmla="*/ 0 w 1506850"/>
              <a:gd name="connsiteY4" fmla="*/ 222250 h 222250"/>
              <a:gd name="connsiteX5" fmla="*/ 26818 w 1506850"/>
              <a:gd name="connsiteY5" fmla="*/ 98155 h 222250"/>
              <a:gd name="connsiteX6" fmla="*/ 0 w 1506850"/>
              <a:gd name="connsiteY6" fmla="*/ 0 h 222250"/>
              <a:gd name="connsiteX0" fmla="*/ 0 w 1582192"/>
              <a:gd name="connsiteY0" fmla="*/ 0 h 222250"/>
              <a:gd name="connsiteX1" fmla="*/ 1467062 w 1582192"/>
              <a:gd name="connsiteY1" fmla="*/ 0 h 222250"/>
              <a:gd name="connsiteX2" fmla="*/ 1582192 w 1582192"/>
              <a:gd name="connsiteY2" fmla="*/ 104333 h 222250"/>
              <a:gd name="connsiteX3" fmla="*/ 1467062 w 1582192"/>
              <a:gd name="connsiteY3" fmla="*/ 222250 h 222250"/>
              <a:gd name="connsiteX4" fmla="*/ 0 w 1582192"/>
              <a:gd name="connsiteY4" fmla="*/ 222250 h 222250"/>
              <a:gd name="connsiteX5" fmla="*/ 26818 w 1582192"/>
              <a:gd name="connsiteY5" fmla="*/ 98155 h 222250"/>
              <a:gd name="connsiteX6" fmla="*/ 0 w 1582192"/>
              <a:gd name="connsiteY6" fmla="*/ 0 h 222250"/>
              <a:gd name="connsiteX0" fmla="*/ 0 w 1944424"/>
              <a:gd name="connsiteY0" fmla="*/ 0 h 222250"/>
              <a:gd name="connsiteX1" fmla="*/ 1467062 w 1944424"/>
              <a:gd name="connsiteY1" fmla="*/ 0 h 222250"/>
              <a:gd name="connsiteX2" fmla="*/ 1944424 w 1944424"/>
              <a:gd name="connsiteY2" fmla="*/ 109889 h 222250"/>
              <a:gd name="connsiteX3" fmla="*/ 1467062 w 1944424"/>
              <a:gd name="connsiteY3" fmla="*/ 222250 h 222250"/>
              <a:gd name="connsiteX4" fmla="*/ 0 w 1944424"/>
              <a:gd name="connsiteY4" fmla="*/ 222250 h 222250"/>
              <a:gd name="connsiteX5" fmla="*/ 26818 w 1944424"/>
              <a:gd name="connsiteY5" fmla="*/ 98155 h 222250"/>
              <a:gd name="connsiteX6" fmla="*/ 0 w 1944424"/>
              <a:gd name="connsiteY6" fmla="*/ 0 h 22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44424" h="222250">
                <a:moveTo>
                  <a:pt x="0" y="0"/>
                </a:moveTo>
                <a:lnTo>
                  <a:pt x="1467062" y="0"/>
                </a:lnTo>
                <a:lnTo>
                  <a:pt x="1944424" y="109889"/>
                </a:lnTo>
                <a:lnTo>
                  <a:pt x="1467062" y="222250"/>
                </a:lnTo>
                <a:lnTo>
                  <a:pt x="0" y="222250"/>
                </a:lnTo>
                <a:lnTo>
                  <a:pt x="26818" y="98155"/>
                </a:lnTo>
                <a:lnTo>
                  <a:pt x="0" y="0"/>
                </a:lnTo>
                <a:close/>
              </a:path>
            </a:pathLst>
          </a:custGeom>
          <a:ln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/>
          <a:lstStyle/>
          <a:p>
            <a:pPr algn="ctr" defTabSz="743407">
              <a:defRPr/>
            </a:pPr>
            <a:r>
              <a:rPr lang="fr-FR" sz="867">
                <a:solidFill>
                  <a:prstClr val="black"/>
                </a:solidFill>
                <a:latin typeface="Calibri"/>
                <a:ea typeface="ＭＳ Ｐゴシック" charset="-128"/>
                <a:cs typeface="Arial" pitchFamily="34" charset="0"/>
              </a:rPr>
              <a:t>RP IMT-2030 disc.</a:t>
            </a:r>
          </a:p>
        </p:txBody>
      </p:sp>
      <p:sp>
        <p:nvSpPr>
          <p:cNvPr id="9249" name="Chevron 60">
            <a:extLst>
              <a:ext uri="{FF2B5EF4-FFF2-40B4-BE49-F238E27FC236}">
                <a16:creationId xmlns:a16="http://schemas.microsoft.com/office/drawing/2014/main" id="{B36A3B24-2876-59C8-CCA5-6562DEF88E9F}"/>
              </a:ext>
            </a:extLst>
          </p:cNvPr>
          <p:cNvSpPr/>
          <p:nvPr/>
        </p:nvSpPr>
        <p:spPr bwMode="auto">
          <a:xfrm>
            <a:off x="4125198" y="3650052"/>
            <a:ext cx="1380423" cy="263705"/>
          </a:xfrm>
          <a:prstGeom prst="chevron">
            <a:avLst/>
          </a:prstGeom>
          <a:gradFill>
            <a:gsLst>
              <a:gs pos="12000">
                <a:schemeClr val="accent3">
                  <a:lumMod val="40000"/>
                  <a:lumOff val="60000"/>
                </a:schemeClr>
              </a:gs>
              <a:gs pos="60000">
                <a:srgbClr val="92D050"/>
              </a:gs>
              <a:gs pos="83000">
                <a:srgbClr val="92D050"/>
              </a:gs>
              <a:gs pos="100000">
                <a:srgbClr val="92D050"/>
              </a:gs>
            </a:gsLst>
            <a:lin ang="36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/>
          <a:lstStyle/>
          <a:p>
            <a:pPr algn="ctr" defTabSz="743407">
              <a:defRPr/>
            </a:pPr>
            <a:r>
              <a:rPr lang="fr-FR" sz="976">
                <a:solidFill>
                  <a:prstClr val="black"/>
                </a:solidFill>
                <a:latin typeface="Calibri"/>
                <a:ea typeface="ＭＳ Ｐゴシック" charset="-128"/>
                <a:cs typeface="Arial" pitchFamily="34" charset="0"/>
              </a:rPr>
              <a:t>RP ITU </a:t>
            </a:r>
            <a:r>
              <a:rPr lang="fr-FR" sz="976" err="1">
                <a:solidFill>
                  <a:prstClr val="black"/>
                </a:solidFill>
                <a:latin typeface="Calibri"/>
                <a:ea typeface="ＭＳ Ｐゴシック" charset="-128"/>
                <a:cs typeface="Arial" pitchFamily="34" charset="0"/>
              </a:rPr>
              <a:t>Study</a:t>
            </a:r>
            <a:endParaRPr lang="fr-FR" sz="976">
              <a:solidFill>
                <a:prstClr val="black"/>
              </a:solidFill>
              <a:latin typeface="Calibri"/>
              <a:ea typeface="ＭＳ Ｐゴシック" charset="-128"/>
              <a:cs typeface="Arial" pitchFamily="34" charset="0"/>
            </a:endParaRPr>
          </a:p>
        </p:txBody>
      </p:sp>
      <p:sp>
        <p:nvSpPr>
          <p:cNvPr id="9250" name="Chevron 60">
            <a:extLst>
              <a:ext uri="{FF2B5EF4-FFF2-40B4-BE49-F238E27FC236}">
                <a16:creationId xmlns:a16="http://schemas.microsoft.com/office/drawing/2014/main" id="{5CA2ED88-17A5-C7DC-9D89-4691B65C00C1}"/>
              </a:ext>
            </a:extLst>
          </p:cNvPr>
          <p:cNvSpPr/>
          <p:nvPr/>
        </p:nvSpPr>
        <p:spPr bwMode="auto">
          <a:xfrm>
            <a:off x="4925550" y="4010647"/>
            <a:ext cx="3205109" cy="238004"/>
          </a:xfrm>
          <a:prstGeom prst="chevron">
            <a:avLst/>
          </a:prstGeom>
          <a:gradFill>
            <a:gsLst>
              <a:gs pos="12000">
                <a:schemeClr val="accent3">
                  <a:lumMod val="40000"/>
                  <a:lumOff val="60000"/>
                </a:schemeClr>
              </a:gs>
              <a:gs pos="60000">
                <a:srgbClr val="92D050"/>
              </a:gs>
              <a:gs pos="83000">
                <a:srgbClr val="92D050"/>
              </a:gs>
              <a:gs pos="100000">
                <a:srgbClr val="92D050"/>
              </a:gs>
            </a:gsLst>
            <a:lin ang="36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/>
          <a:lstStyle/>
          <a:p>
            <a:pPr algn="ctr" defTabSz="743407">
              <a:defRPr/>
            </a:pPr>
            <a:r>
              <a:rPr lang="fr-FR" sz="976">
                <a:solidFill>
                  <a:prstClr val="black"/>
                </a:solidFill>
                <a:latin typeface="Calibri"/>
                <a:ea typeface="ＭＳ Ｐゴシック" charset="-128"/>
                <a:cs typeface="Arial" pitchFamily="34" charset="0"/>
              </a:rPr>
              <a:t>RP 6G </a:t>
            </a:r>
            <a:r>
              <a:rPr lang="fr-FR" sz="976" err="1">
                <a:solidFill>
                  <a:prstClr val="black"/>
                </a:solidFill>
                <a:latin typeface="Calibri"/>
                <a:ea typeface="ＭＳ Ｐゴシック" charset="-128"/>
                <a:cs typeface="Arial" pitchFamily="34" charset="0"/>
              </a:rPr>
              <a:t>Study</a:t>
            </a:r>
            <a:r>
              <a:rPr lang="fr-FR" sz="976">
                <a:solidFill>
                  <a:prstClr val="black"/>
                </a:solidFill>
                <a:latin typeface="Calibri"/>
                <a:ea typeface="ＭＳ Ｐゴシック" charset="-128"/>
                <a:cs typeface="Arial" pitchFamily="34" charset="0"/>
              </a:rPr>
              <a:t>(</a:t>
            </a:r>
            <a:r>
              <a:rPr lang="fr-FR" sz="976" err="1">
                <a:solidFill>
                  <a:prstClr val="black"/>
                </a:solidFill>
                <a:latin typeface="Calibri"/>
                <a:ea typeface="ＭＳ Ｐゴシック" charset="-128"/>
                <a:cs typeface="Arial" pitchFamily="34" charset="0"/>
              </a:rPr>
              <a:t>ies</a:t>
            </a:r>
            <a:r>
              <a:rPr lang="fr-FR" sz="976">
                <a:solidFill>
                  <a:prstClr val="black"/>
                </a:solidFill>
                <a:latin typeface="Calibri"/>
                <a:ea typeface="ＭＳ Ｐゴシック" charset="-128"/>
                <a:cs typeface="Arial" pitchFamily="34" charset="0"/>
              </a:rPr>
              <a:t>)</a:t>
            </a:r>
          </a:p>
        </p:txBody>
      </p:sp>
      <p:sp>
        <p:nvSpPr>
          <p:cNvPr id="9251" name="Chevron 60">
            <a:extLst>
              <a:ext uri="{FF2B5EF4-FFF2-40B4-BE49-F238E27FC236}">
                <a16:creationId xmlns:a16="http://schemas.microsoft.com/office/drawing/2014/main" id="{3ACF84FC-3DCF-7BAF-3948-80C3F1974504}"/>
              </a:ext>
            </a:extLst>
          </p:cNvPr>
          <p:cNvSpPr/>
          <p:nvPr/>
        </p:nvSpPr>
        <p:spPr bwMode="auto">
          <a:xfrm>
            <a:off x="5477585" y="4401601"/>
            <a:ext cx="4616508" cy="238004"/>
          </a:xfrm>
          <a:prstGeom prst="chevron">
            <a:avLst/>
          </a:prstGeom>
          <a:gradFill>
            <a:gsLst>
              <a:gs pos="12000">
                <a:schemeClr val="accent3">
                  <a:lumMod val="40000"/>
                  <a:lumOff val="60000"/>
                </a:schemeClr>
              </a:gs>
              <a:gs pos="60000">
                <a:srgbClr val="92D050"/>
              </a:gs>
              <a:gs pos="83000">
                <a:srgbClr val="92D050"/>
              </a:gs>
              <a:gs pos="100000">
                <a:srgbClr val="92D050"/>
              </a:gs>
            </a:gsLst>
            <a:lin ang="36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/>
          <a:lstStyle/>
          <a:p>
            <a:pPr algn="ctr" defTabSz="743407">
              <a:defRPr/>
            </a:pPr>
            <a:r>
              <a:rPr lang="fr-FR" sz="976">
                <a:solidFill>
                  <a:prstClr val="black"/>
                </a:solidFill>
                <a:latin typeface="Calibri"/>
                <a:ea typeface="ＭＳ Ｐゴシック" charset="-128"/>
                <a:cs typeface="Arial" pitchFamily="34" charset="0"/>
              </a:rPr>
              <a:t>RAN1 6G </a:t>
            </a:r>
            <a:r>
              <a:rPr lang="fr-FR" sz="976" err="1">
                <a:solidFill>
                  <a:prstClr val="black"/>
                </a:solidFill>
                <a:latin typeface="Calibri"/>
                <a:ea typeface="ＭＳ Ｐゴシック" charset="-128"/>
                <a:cs typeface="Arial" pitchFamily="34" charset="0"/>
              </a:rPr>
              <a:t>Study</a:t>
            </a:r>
            <a:r>
              <a:rPr lang="fr-FR" sz="976">
                <a:solidFill>
                  <a:prstClr val="black"/>
                </a:solidFill>
                <a:latin typeface="Calibri"/>
                <a:ea typeface="ＭＳ Ｐゴシック" charset="-128"/>
                <a:cs typeface="Arial" pitchFamily="34" charset="0"/>
              </a:rPr>
              <a:t>(</a:t>
            </a:r>
            <a:r>
              <a:rPr lang="fr-FR" sz="976" err="1">
                <a:solidFill>
                  <a:prstClr val="black"/>
                </a:solidFill>
                <a:latin typeface="Calibri"/>
                <a:ea typeface="ＭＳ Ｐゴシック" charset="-128"/>
                <a:cs typeface="Arial" pitchFamily="34" charset="0"/>
              </a:rPr>
              <a:t>ies</a:t>
            </a:r>
            <a:r>
              <a:rPr lang="fr-FR" sz="976">
                <a:solidFill>
                  <a:prstClr val="black"/>
                </a:solidFill>
                <a:latin typeface="Calibri"/>
                <a:ea typeface="ＭＳ Ｐゴシック" charset="-128"/>
                <a:cs typeface="Arial" pitchFamily="34" charset="0"/>
              </a:rPr>
              <a:t>)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5290C507-3484-6A34-73D1-2C0E61E8F4E2}"/>
              </a:ext>
            </a:extLst>
          </p:cNvPr>
          <p:cNvSpPr txBox="1">
            <a:spLocks/>
          </p:cNvSpPr>
          <p:nvPr/>
        </p:nvSpPr>
        <p:spPr bwMode="auto">
          <a:xfrm>
            <a:off x="2827561" y="2717305"/>
            <a:ext cx="2282071" cy="42135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9116" tIns="49557" rIns="99116" bIns="49557" anchor="ctr"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 defTabSz="743407">
              <a:defRPr/>
            </a:pPr>
            <a:r>
              <a:rPr lang="en-GB" sz="1951" b="1" kern="0">
                <a:solidFill>
                  <a:prstClr val="black"/>
                </a:solidFill>
                <a:latin typeface="Calibri"/>
                <a:ea typeface="ＭＳ Ｐゴシック" charset="0"/>
                <a:cs typeface="ＭＳ Ｐゴシック" charset="0"/>
              </a:rPr>
              <a:t>5G-Advanced</a:t>
            </a:r>
            <a:endParaRPr lang="en-US" sz="1734" b="1" kern="0">
              <a:solidFill>
                <a:prstClr val="black"/>
              </a:solidFill>
              <a:latin typeface="Calibri"/>
              <a:ea typeface="ＭＳ Ｐゴシック" charset="0"/>
              <a:cs typeface="ＭＳ Ｐゴシック" charset="0"/>
            </a:endParaRPr>
          </a:p>
        </p:txBody>
      </p:sp>
      <p:sp>
        <p:nvSpPr>
          <p:cNvPr id="9255" name="Title 1">
            <a:extLst>
              <a:ext uri="{FF2B5EF4-FFF2-40B4-BE49-F238E27FC236}">
                <a16:creationId xmlns:a16="http://schemas.microsoft.com/office/drawing/2014/main" id="{2AC0A55B-9075-2801-E70D-1CD4078A7F2A}"/>
              </a:ext>
            </a:extLst>
          </p:cNvPr>
          <p:cNvSpPr txBox="1">
            <a:spLocks/>
          </p:cNvSpPr>
          <p:nvPr/>
        </p:nvSpPr>
        <p:spPr bwMode="auto">
          <a:xfrm>
            <a:off x="2823901" y="4543485"/>
            <a:ext cx="2287079" cy="42135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9116" tIns="49557" rIns="99116" bIns="49557" anchor="ctr"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 defTabSz="743407">
              <a:defRPr/>
            </a:pPr>
            <a:r>
              <a:rPr lang="en-GB" sz="1951" b="1" kern="0">
                <a:solidFill>
                  <a:prstClr val="black"/>
                </a:solidFill>
                <a:latin typeface="Calibri"/>
                <a:ea typeface="ＭＳ Ｐゴシック" charset="0"/>
                <a:cs typeface="ＭＳ Ｐゴシック" charset="0"/>
              </a:rPr>
              <a:t>6G Study</a:t>
            </a:r>
            <a:endParaRPr lang="en-US" sz="1734" b="1" kern="0">
              <a:solidFill>
                <a:prstClr val="black"/>
              </a:solidFill>
              <a:latin typeface="Calibri"/>
              <a:ea typeface="ＭＳ Ｐゴシック" charset="0"/>
              <a:cs typeface="ＭＳ Ｐゴシック" charset="0"/>
            </a:endParaRPr>
          </a:p>
        </p:txBody>
      </p:sp>
      <p:cxnSp>
        <p:nvCxnSpPr>
          <p:cNvPr id="9258" name="Straight Connector 9257">
            <a:extLst>
              <a:ext uri="{FF2B5EF4-FFF2-40B4-BE49-F238E27FC236}">
                <a16:creationId xmlns:a16="http://schemas.microsoft.com/office/drawing/2014/main" id="{B3D2C5F5-C828-910F-2389-D3361E4D9E0A}"/>
              </a:ext>
            </a:extLst>
          </p:cNvPr>
          <p:cNvCxnSpPr>
            <a:cxnSpLocks/>
          </p:cNvCxnSpPr>
          <p:nvPr/>
        </p:nvCxnSpPr>
        <p:spPr bwMode="auto">
          <a:xfrm>
            <a:off x="4178530" y="1789959"/>
            <a:ext cx="2530576" cy="0"/>
          </a:xfrm>
          <a:prstGeom prst="line">
            <a:avLst/>
          </a:prstGeom>
          <a:ln>
            <a:solidFill>
              <a:schemeClr val="accent4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9259" name="TextBox 9258">
            <a:extLst>
              <a:ext uri="{FF2B5EF4-FFF2-40B4-BE49-F238E27FC236}">
                <a16:creationId xmlns:a16="http://schemas.microsoft.com/office/drawing/2014/main" id="{F81E3299-24A4-DF10-CECA-31D007D89477}"/>
              </a:ext>
            </a:extLst>
          </p:cNvPr>
          <p:cNvSpPr txBox="1"/>
          <p:nvPr/>
        </p:nvSpPr>
        <p:spPr>
          <a:xfrm>
            <a:off x="5112343" y="1569866"/>
            <a:ext cx="691215" cy="39254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defTabSz="743407">
              <a:defRPr/>
            </a:pPr>
            <a:r>
              <a:rPr lang="en-GB" sz="1951">
                <a:solidFill>
                  <a:prstClr val="white"/>
                </a:solidFill>
                <a:latin typeface="Calibri"/>
              </a:rPr>
              <a:t>2025</a:t>
            </a:r>
          </a:p>
        </p:txBody>
      </p:sp>
      <p:cxnSp>
        <p:nvCxnSpPr>
          <p:cNvPr id="9260" name="Straight Connector 9259">
            <a:extLst>
              <a:ext uri="{FF2B5EF4-FFF2-40B4-BE49-F238E27FC236}">
                <a16:creationId xmlns:a16="http://schemas.microsoft.com/office/drawing/2014/main" id="{0C7B2277-0162-5EBE-D8FF-C790B09D2D58}"/>
              </a:ext>
            </a:extLst>
          </p:cNvPr>
          <p:cNvCxnSpPr>
            <a:cxnSpLocks/>
          </p:cNvCxnSpPr>
          <p:nvPr/>
        </p:nvCxnSpPr>
        <p:spPr bwMode="auto">
          <a:xfrm>
            <a:off x="6781505" y="1793636"/>
            <a:ext cx="2530576" cy="0"/>
          </a:xfrm>
          <a:prstGeom prst="line">
            <a:avLst/>
          </a:prstGeom>
          <a:ln>
            <a:solidFill>
              <a:schemeClr val="accent4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9261" name="TextBox 9260">
            <a:extLst>
              <a:ext uri="{FF2B5EF4-FFF2-40B4-BE49-F238E27FC236}">
                <a16:creationId xmlns:a16="http://schemas.microsoft.com/office/drawing/2014/main" id="{4FC19360-BDB4-2F9F-BCF6-7F93FDEE6550}"/>
              </a:ext>
            </a:extLst>
          </p:cNvPr>
          <p:cNvSpPr txBox="1"/>
          <p:nvPr/>
        </p:nvSpPr>
        <p:spPr>
          <a:xfrm>
            <a:off x="7730023" y="1571138"/>
            <a:ext cx="691215" cy="39254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defTabSz="743407">
              <a:defRPr/>
            </a:pPr>
            <a:r>
              <a:rPr lang="en-GB" sz="1951">
                <a:solidFill>
                  <a:prstClr val="white"/>
                </a:solidFill>
                <a:latin typeface="Calibri"/>
              </a:rPr>
              <a:t>2026</a:t>
            </a:r>
          </a:p>
        </p:txBody>
      </p:sp>
      <p:cxnSp>
        <p:nvCxnSpPr>
          <p:cNvPr id="9262" name="Straight Connector 9261">
            <a:extLst>
              <a:ext uri="{FF2B5EF4-FFF2-40B4-BE49-F238E27FC236}">
                <a16:creationId xmlns:a16="http://schemas.microsoft.com/office/drawing/2014/main" id="{5BA0E2EC-7BB4-F154-F288-F7C6185809BE}"/>
              </a:ext>
            </a:extLst>
          </p:cNvPr>
          <p:cNvCxnSpPr>
            <a:cxnSpLocks/>
          </p:cNvCxnSpPr>
          <p:nvPr/>
        </p:nvCxnSpPr>
        <p:spPr bwMode="auto">
          <a:xfrm>
            <a:off x="9377137" y="1782627"/>
            <a:ext cx="1616429" cy="0"/>
          </a:xfrm>
          <a:prstGeom prst="line">
            <a:avLst/>
          </a:prstGeom>
          <a:ln>
            <a:solidFill>
              <a:schemeClr val="accent4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9263" name="TextBox 9262">
            <a:extLst>
              <a:ext uri="{FF2B5EF4-FFF2-40B4-BE49-F238E27FC236}">
                <a16:creationId xmlns:a16="http://schemas.microsoft.com/office/drawing/2014/main" id="{4B4B98A0-23F0-642A-193B-29EEB7C93F6F}"/>
              </a:ext>
            </a:extLst>
          </p:cNvPr>
          <p:cNvSpPr txBox="1"/>
          <p:nvPr/>
        </p:nvSpPr>
        <p:spPr>
          <a:xfrm>
            <a:off x="9959469" y="1544621"/>
            <a:ext cx="691215" cy="39254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defTabSz="743407">
              <a:defRPr/>
            </a:pPr>
            <a:r>
              <a:rPr lang="en-GB" sz="1951">
                <a:solidFill>
                  <a:prstClr val="white"/>
                </a:solidFill>
                <a:latin typeface="Calibri"/>
              </a:rPr>
              <a:t>2027</a:t>
            </a:r>
          </a:p>
        </p:txBody>
      </p:sp>
      <p:sp>
        <p:nvSpPr>
          <p:cNvPr id="9277" name="Chevron 60">
            <a:extLst>
              <a:ext uri="{FF2B5EF4-FFF2-40B4-BE49-F238E27FC236}">
                <a16:creationId xmlns:a16="http://schemas.microsoft.com/office/drawing/2014/main" id="{68C7BE15-DE8E-30D2-86AF-788B32BA535D}"/>
              </a:ext>
            </a:extLst>
          </p:cNvPr>
          <p:cNvSpPr/>
          <p:nvPr/>
        </p:nvSpPr>
        <p:spPr bwMode="auto">
          <a:xfrm>
            <a:off x="6134005" y="4736496"/>
            <a:ext cx="4624600" cy="238004"/>
          </a:xfrm>
          <a:prstGeom prst="chevron">
            <a:avLst/>
          </a:prstGeom>
          <a:gradFill>
            <a:gsLst>
              <a:gs pos="12000">
                <a:schemeClr val="accent3">
                  <a:lumMod val="40000"/>
                  <a:lumOff val="60000"/>
                </a:schemeClr>
              </a:gs>
              <a:gs pos="60000">
                <a:srgbClr val="92D050"/>
              </a:gs>
              <a:gs pos="83000">
                <a:srgbClr val="92D050"/>
              </a:gs>
              <a:gs pos="100000">
                <a:srgbClr val="92D050"/>
              </a:gs>
            </a:gsLst>
            <a:lin ang="36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/>
          <a:lstStyle/>
          <a:p>
            <a:pPr algn="ctr" defTabSz="743407">
              <a:defRPr/>
            </a:pPr>
            <a:r>
              <a:rPr lang="fr-FR" sz="976">
                <a:solidFill>
                  <a:prstClr val="black"/>
                </a:solidFill>
                <a:latin typeface="Calibri"/>
                <a:ea typeface="ＭＳ Ｐゴシック" charset="-128"/>
                <a:cs typeface="Arial" pitchFamily="34" charset="0"/>
              </a:rPr>
              <a:t>RAN2/3/4 6G </a:t>
            </a:r>
            <a:r>
              <a:rPr lang="fr-FR" sz="976" err="1">
                <a:solidFill>
                  <a:prstClr val="black"/>
                </a:solidFill>
                <a:latin typeface="Calibri"/>
                <a:ea typeface="ＭＳ Ｐゴシック" charset="-128"/>
                <a:cs typeface="Arial" pitchFamily="34" charset="0"/>
              </a:rPr>
              <a:t>Study</a:t>
            </a:r>
            <a:r>
              <a:rPr lang="fr-FR" sz="976">
                <a:solidFill>
                  <a:prstClr val="black"/>
                </a:solidFill>
                <a:latin typeface="Calibri"/>
                <a:ea typeface="ＭＳ Ｐゴシック" charset="-128"/>
                <a:cs typeface="Arial" pitchFamily="34" charset="0"/>
              </a:rPr>
              <a:t>(</a:t>
            </a:r>
            <a:r>
              <a:rPr lang="fr-FR" sz="976" err="1">
                <a:solidFill>
                  <a:prstClr val="black"/>
                </a:solidFill>
                <a:latin typeface="Calibri"/>
                <a:ea typeface="ＭＳ Ｐゴシック" charset="-128"/>
                <a:cs typeface="Arial" pitchFamily="34" charset="0"/>
              </a:rPr>
              <a:t>ies</a:t>
            </a:r>
            <a:r>
              <a:rPr lang="fr-FR" sz="976">
                <a:solidFill>
                  <a:prstClr val="black"/>
                </a:solidFill>
                <a:latin typeface="Calibri"/>
                <a:ea typeface="ＭＳ Ｐゴシック" charset="-128"/>
                <a:cs typeface="Arial" pitchFamily="34" charset="0"/>
              </a:rPr>
              <a:t>)</a:t>
            </a:r>
          </a:p>
        </p:txBody>
      </p:sp>
      <p:sp>
        <p:nvSpPr>
          <p:cNvPr id="17473" name="Title 1">
            <a:extLst>
              <a:ext uri="{FF2B5EF4-FFF2-40B4-BE49-F238E27FC236}">
                <a16:creationId xmlns:a16="http://schemas.microsoft.com/office/drawing/2014/main" id="{C3AF14EE-D00F-FF88-D0EF-DCB82A375C54}"/>
              </a:ext>
            </a:extLst>
          </p:cNvPr>
          <p:cNvSpPr txBox="1">
            <a:spLocks/>
          </p:cNvSpPr>
          <p:nvPr/>
        </p:nvSpPr>
        <p:spPr bwMode="auto">
          <a:xfrm>
            <a:off x="2217116" y="487310"/>
            <a:ext cx="7742353" cy="421358"/>
          </a:xfrm>
          <a:prstGeom prst="rect">
            <a:avLst/>
          </a:prstGeom>
          <a:noFill/>
          <a:ln>
            <a:noFill/>
          </a:ln>
        </p:spPr>
        <p:txBody>
          <a:bodyPr lIns="99116" tIns="49557" rIns="99116" bIns="49557" anchor="ctr"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 defTabSz="743407">
              <a:defRPr/>
            </a:pPr>
            <a:r>
              <a:rPr lang="en-GB" sz="3200" b="1" kern="0">
                <a:solidFill>
                  <a:srgbClr val="FF0000"/>
                </a:solidFill>
                <a:latin typeface="Calibri"/>
                <a:ea typeface="ＭＳ Ｐゴシック" charset="0"/>
                <a:cs typeface="ＭＳ Ｐゴシック" charset="0"/>
              </a:rPr>
              <a:t>Illustration of 3GPP RAN Rel-20 Timeline</a:t>
            </a:r>
            <a:endParaRPr lang="en-US" sz="2800" b="1" kern="0">
              <a:solidFill>
                <a:srgbClr val="FF0000"/>
              </a:solidFill>
              <a:latin typeface="Calibri"/>
              <a:ea typeface="ＭＳ Ｐゴシック" charset="0"/>
              <a:cs typeface="ＭＳ Ｐゴシック" charset="0"/>
            </a:endParaRPr>
          </a:p>
        </p:txBody>
      </p:sp>
      <p:cxnSp>
        <p:nvCxnSpPr>
          <p:cNvPr id="3" name="Straight Connector 114">
            <a:extLst>
              <a:ext uri="{FF2B5EF4-FFF2-40B4-BE49-F238E27FC236}">
                <a16:creationId xmlns:a16="http://schemas.microsoft.com/office/drawing/2014/main" id="{9C5228EB-6E86-237A-8214-592FAC0AA742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2160431" y="2329565"/>
            <a:ext cx="1348" cy="3057964"/>
          </a:xfrm>
          <a:prstGeom prst="line">
            <a:avLst/>
          </a:prstGeom>
          <a:noFill/>
          <a:ln w="9525" algn="ctr">
            <a:solidFill>
              <a:schemeClr val="accent4">
                <a:lumMod val="40000"/>
                <a:lumOff val="60000"/>
              </a:schemeClr>
            </a:solidFill>
            <a:prstDash val="dash"/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2165156776"/>
      </p:ext>
    </p:extLst>
  </p:cSld>
  <p:clrMapOvr>
    <a:masterClrMapping/>
  </p:clrMapOvr>
  <p:transition spd="slow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EFC876-73F5-460D-805B-FE4B3F7B4D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>
            <a:normAutofit/>
          </a:bodyPr>
          <a:lstStyle/>
          <a:p>
            <a:r>
              <a:rPr lang="en-US"/>
              <a:t>3GPP SA Rel-19 status Update and 6G Plann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7C2DC6-7B5C-48EE-A8C3-20B6CFA1A1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lIns="91440" tIns="45720" rIns="91440" bIns="45720" anchor="t"/>
          <a:lstStyle/>
          <a:p>
            <a:r>
              <a:rPr lang="en-US"/>
              <a:t>Puneet Jain</a:t>
            </a:r>
          </a:p>
          <a:p>
            <a:r>
              <a:rPr lang="en-US"/>
              <a:t>3GPP SA Plenary Chair</a:t>
            </a:r>
          </a:p>
          <a:p>
            <a:r>
              <a:rPr lang="en-US"/>
              <a:t>Sr. Principal Engineer &amp; Sr. Director, Intel Corporation </a:t>
            </a:r>
          </a:p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AAB8FB1-402B-473E-9601-27576939D6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April 3, 2024</a:t>
            </a:r>
          </a:p>
        </p:txBody>
      </p:sp>
    </p:spTree>
    <p:extLst>
      <p:ext uri="{BB962C8B-B14F-4D97-AF65-F5344CB8AC3E}">
        <p14:creationId xmlns:p14="http://schemas.microsoft.com/office/powerpoint/2010/main" val="29763145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F633A9-77C1-9AF9-D028-912FD7B023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592" y="400441"/>
            <a:ext cx="11010816" cy="952499"/>
          </a:xfrm>
        </p:spPr>
        <p:txBody>
          <a:bodyPr>
            <a:normAutofit/>
          </a:bodyPr>
          <a:lstStyle/>
          <a:p>
            <a:pPr marL="0" marR="0" lvl="0" indent="0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0"/>
                <a:cs typeface="ＭＳ Ｐゴシック" charset="0"/>
                <a:sym typeface="Helvetica Neue"/>
              </a:rPr>
              <a:t>3GPP </a:t>
            </a:r>
            <a:r>
              <a:rPr lang="en-GB" sz="3200" b="1">
                <a:solidFill>
                  <a:srgbClr val="000000"/>
                </a:solidFill>
                <a:latin typeface="Montserrat" panose="00000500000000000000" pitchFamily="50" charset="0"/>
                <a:ea typeface="ＭＳ Ｐゴシック" charset="0"/>
                <a:cs typeface="ＭＳ Ｐゴシック" charset="0"/>
                <a:sym typeface="Helvetica Neue"/>
              </a:rPr>
              <a:t>Rel-18 and </a:t>
            </a:r>
            <a:r>
              <a:rPr kumimoji="0" lang="en-GB" sz="3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0"/>
                <a:cs typeface="ＭＳ Ｐゴシック" charset="0"/>
                <a:sym typeface="Helvetica Neue"/>
              </a:rPr>
              <a:t>Rel-19 Timeline</a:t>
            </a:r>
            <a:endParaRPr kumimoji="0" lang="en-US" sz="2667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50" charset="0"/>
              <a:ea typeface="ＭＳ Ｐゴシック" charset="0"/>
              <a:cs typeface="ＭＳ Ｐゴシック" charset="0"/>
              <a:sym typeface="Helvetica Neue"/>
            </a:endParaRPr>
          </a:p>
        </p:txBody>
      </p:sp>
      <p:pic>
        <p:nvPicPr>
          <p:cNvPr id="3" name="Picture 2" descr="A close-up of a timeline&#10;&#10;Description automatically generated">
            <a:extLst>
              <a:ext uri="{FF2B5EF4-FFF2-40B4-BE49-F238E27FC236}">
                <a16:creationId xmlns:a16="http://schemas.microsoft.com/office/drawing/2014/main" id="{21E4422B-410A-B129-39DA-32DB882F8C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235" y="1352940"/>
            <a:ext cx="10819798" cy="505825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765133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>
          <a:xfrm>
            <a:off x="511175" y="349252"/>
            <a:ext cx="10515600" cy="713355"/>
          </a:xfrm>
        </p:spPr>
        <p:txBody>
          <a:bodyPr/>
          <a:lstStyle/>
          <a:p>
            <a:pPr defTabSz="1219169" rtl="0" hangingPunct="0">
              <a:lnSpc>
                <a:spcPct val="90000"/>
              </a:lnSpc>
              <a:spcBef>
                <a:spcPts val="2250"/>
              </a:spcBef>
              <a:defRPr/>
            </a:pPr>
            <a:r>
              <a:rPr lang="en-US" sz="3200" b="1">
                <a:solidFill>
                  <a:srgbClr val="000000"/>
                </a:solidFill>
                <a:latin typeface="Montserrat" panose="00000500000000000000" pitchFamily="50" charset="0"/>
                <a:ea typeface="ＭＳ Ｐゴシック" charset="0"/>
              </a:rPr>
              <a:t>Rel-19 Target Dates (Unchanged)</a:t>
            </a:r>
            <a:endParaRPr lang="en-US" altLang="en-US" sz="3200" b="1">
              <a:solidFill>
                <a:srgbClr val="000000"/>
              </a:solidFill>
              <a:latin typeface="Montserrat" panose="00000500000000000000" pitchFamily="50" charset="0"/>
              <a:ea typeface="ＭＳ Ｐゴシック" charset="0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4294967295"/>
          </p:nvPr>
        </p:nvSpPr>
        <p:spPr>
          <a:xfrm>
            <a:off x="357930" y="1563623"/>
            <a:ext cx="10820143" cy="4683427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3200">
                <a:solidFill>
                  <a:schemeClr val="tx1"/>
                </a:solidFill>
              </a:rPr>
              <a:t>Key target dates for Rel-19</a:t>
            </a:r>
          </a:p>
          <a:p>
            <a:pPr lvl="1"/>
            <a:r>
              <a:rPr lang="en-US" sz="2000">
                <a:solidFill>
                  <a:schemeClr val="tx1"/>
                </a:solidFill>
              </a:rPr>
              <a:t>Stage-1 target freeze: Dec 2023 (</a:t>
            </a:r>
            <a:r>
              <a:rPr lang="en-US" sz="2000" b="1">
                <a:solidFill>
                  <a:srgbClr val="FF0000"/>
                </a:solidFill>
              </a:rPr>
              <a:t>Stage-1 has been frozen</a:t>
            </a:r>
            <a:r>
              <a:rPr lang="en-US" sz="2000">
                <a:solidFill>
                  <a:schemeClr val="tx1"/>
                </a:solidFill>
              </a:rPr>
              <a:t>)</a:t>
            </a:r>
          </a:p>
          <a:p>
            <a:pPr lvl="1"/>
            <a:r>
              <a:rPr lang="en-US" sz="2000">
                <a:solidFill>
                  <a:schemeClr val="tx1"/>
                </a:solidFill>
              </a:rPr>
              <a:t>Stage-2 target freeze: Dec 2024</a:t>
            </a:r>
          </a:p>
          <a:p>
            <a:pPr lvl="1"/>
            <a:r>
              <a:rPr lang="en-US" sz="2000">
                <a:solidFill>
                  <a:schemeClr val="tx1"/>
                </a:solidFill>
              </a:rPr>
              <a:t>Stage-3 target freeze: Sep 2025</a:t>
            </a:r>
          </a:p>
          <a:p>
            <a:pPr lvl="1"/>
            <a:r>
              <a:rPr lang="en-US" sz="2000">
                <a:solidFill>
                  <a:schemeClr val="tx1"/>
                </a:solidFill>
              </a:rPr>
              <a:t>ASN.1/Code target freeze: Dec 2025</a:t>
            </a:r>
          </a:p>
          <a:p>
            <a:pPr lvl="1"/>
            <a:endParaRPr lang="en-US" sz="1700">
              <a:solidFill>
                <a:schemeClr val="tx1"/>
              </a:solidFill>
            </a:endParaRPr>
          </a:p>
          <a:p>
            <a:pPr marL="228600" lvl="1" indent="0">
              <a:buNone/>
            </a:pPr>
            <a:endParaRPr lang="en-US" sz="1600">
              <a:solidFill>
                <a:schemeClr val="tx1"/>
              </a:solidFill>
            </a:endParaRPr>
          </a:p>
          <a:p>
            <a:pPr marL="228600" lvl="1" indent="0">
              <a:buNone/>
            </a:pPr>
            <a:endParaRPr lang="en-US" sz="1900">
              <a:solidFill>
                <a:schemeClr val="tx1"/>
              </a:solidFill>
            </a:endParaRPr>
          </a:p>
          <a:p>
            <a:pPr lvl="1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5940224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529D5F7-C804-30F0-F29A-3C48C133F1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370" y="451184"/>
            <a:ext cx="11010816" cy="952499"/>
          </a:xfrm>
        </p:spPr>
        <p:txBody>
          <a:bodyPr>
            <a:normAutofit/>
          </a:bodyPr>
          <a:lstStyle/>
          <a:p>
            <a:pPr defTabSz="1219169" rtl="0" hangingPunct="0">
              <a:spcBef>
                <a:spcPts val="2250"/>
              </a:spcBef>
              <a:defRPr/>
            </a:pPr>
            <a:r>
              <a:rPr lang="en-US" sz="3200" b="1">
                <a:solidFill>
                  <a:srgbClr val="000000"/>
                </a:solidFill>
                <a:latin typeface="Montserrat" panose="00000500000000000000" pitchFamily="50" charset="0"/>
                <a:ea typeface="ＭＳ Ｐゴシック" charset="0"/>
              </a:rPr>
              <a:t>SA Rel-19 Content Definition Process</a:t>
            </a:r>
          </a:p>
        </p:txBody>
      </p:sp>
      <p:pic>
        <p:nvPicPr>
          <p:cNvPr id="3" name="Picture 2" descr="A close-up of a calendar&#10;&#10;Description automatically generated">
            <a:extLst>
              <a:ext uri="{FF2B5EF4-FFF2-40B4-BE49-F238E27FC236}">
                <a16:creationId xmlns:a16="http://schemas.microsoft.com/office/drawing/2014/main" id="{8084CEC0-6A94-4B20-8D78-C7675F1315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286" y="1144238"/>
            <a:ext cx="11010900" cy="456952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977283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548705B4-A24C-30D4-4CB8-2A11A3F705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040" y="230500"/>
            <a:ext cx="11010816" cy="952499"/>
          </a:xfrm>
        </p:spPr>
        <p:txBody>
          <a:bodyPr/>
          <a:lstStyle/>
          <a:p>
            <a:pPr defTabSz="1219169" rtl="0" hangingPunct="0">
              <a:spcBef>
                <a:spcPts val="2250"/>
              </a:spcBef>
              <a:defRPr/>
            </a:pPr>
            <a:r>
              <a:rPr lang="en-US" altLang="en-US" sz="3200" b="1">
                <a:solidFill>
                  <a:srgbClr val="000000"/>
                </a:solidFill>
                <a:latin typeface="Montserrat" panose="00000500000000000000" pitchFamily="50" charset="0"/>
                <a:ea typeface="ＭＳ Ｐゴシック" charset="0"/>
              </a:rPr>
              <a:t>SA Rel-19 Content Planning (Step 1)</a:t>
            </a:r>
          </a:p>
        </p:txBody>
      </p:sp>
      <p:pic>
        <p:nvPicPr>
          <p:cNvPr id="3" name="Picture 2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93DF3AE0-7D03-1850-8C35-8DB51ACA97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8882" y="857516"/>
            <a:ext cx="8696130" cy="553662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417817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EB93054C-AAAE-5B4F-BF8F-8966AEDD38C1}"/>
              </a:ext>
            </a:extLst>
          </p:cNvPr>
          <p:cNvSpPr txBox="1">
            <a:spLocks/>
          </p:cNvSpPr>
          <p:nvPr/>
        </p:nvSpPr>
        <p:spPr>
          <a:xfrm>
            <a:off x="196596" y="231821"/>
            <a:ext cx="11010901" cy="952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rmAutofit/>
          </a:bodyPr>
          <a:lstStyle>
            <a:lvl1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0" i="0" u="none" strike="noStrike" cap="none" spc="0" baseline="0">
                <a:solidFill>
                  <a:schemeClr val="bg2"/>
                </a:solidFill>
                <a:uFillTx/>
                <a:latin typeface="Intel Clear Light" panose="020B0404020203020204" pitchFamily="34" charset="0"/>
                <a:ea typeface="Intel Clear Light" panose="020B0404020203020204" pitchFamily="34" charset="0"/>
                <a:cs typeface="Intel Clear Light" panose="020B0404020203020204" pitchFamily="34" charset="0"/>
                <a:sym typeface="Helvetica"/>
              </a:defRPr>
            </a:lvl1pPr>
            <a:lvl2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2pPr>
            <a:lvl3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3pPr>
            <a:lvl4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4pPr>
            <a:lvl5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5pPr>
            <a:lvl6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6pPr>
            <a:lvl7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7pPr>
            <a:lvl8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8pPr>
            <a:lvl9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9pPr>
          </a:lstStyle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0"/>
                <a:sym typeface="Helvetica"/>
              </a:rPr>
              <a:t>SA Rel-19 Content Planning (Step 2)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26CC7F50-0D20-1988-C0E3-4CCF49F54B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0538373"/>
              </p:ext>
            </p:extLst>
          </p:nvPr>
        </p:nvGraphicFramePr>
        <p:xfrm>
          <a:off x="5567173" y="923334"/>
          <a:ext cx="6428231" cy="5058003"/>
        </p:xfrm>
        <a:graphic>
          <a:graphicData uri="http://schemas.openxmlformats.org/drawingml/2006/table">
            <a:tbl>
              <a:tblPr firstRow="1" firstCol="1" bandRow="1"/>
              <a:tblGrid>
                <a:gridCol w="603039">
                  <a:extLst>
                    <a:ext uri="{9D8B030D-6E8A-4147-A177-3AD203B41FA5}">
                      <a16:colId xmlns:a16="http://schemas.microsoft.com/office/drawing/2014/main" val="1983762880"/>
                    </a:ext>
                  </a:extLst>
                </a:gridCol>
                <a:gridCol w="4293705">
                  <a:extLst>
                    <a:ext uri="{9D8B030D-6E8A-4147-A177-3AD203B41FA5}">
                      <a16:colId xmlns:a16="http://schemas.microsoft.com/office/drawing/2014/main" val="532123116"/>
                    </a:ext>
                  </a:extLst>
                </a:gridCol>
                <a:gridCol w="1531487">
                  <a:extLst>
                    <a:ext uri="{9D8B030D-6E8A-4147-A177-3AD203B41FA5}">
                      <a16:colId xmlns:a16="http://schemas.microsoft.com/office/drawing/2014/main" val="4219324654"/>
                    </a:ext>
                  </a:extLst>
                </a:gridCol>
              </a:tblGrid>
              <a:tr h="215487"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1" i="0" u="sng" strike="noStrike" kern="10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doc#</a:t>
                      </a:r>
                      <a:endParaRPr lang="en-GB" sz="2000" b="1" i="0" u="sng" strike="noStrike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1" i="0" u="sng" strike="noStrike" kern="10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l-19 Study Title</a:t>
                      </a:r>
                      <a:endParaRPr lang="en-GB" sz="2000" b="1" i="0" u="sng" strike="noStrike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1" i="0" u="sng" strike="noStrike" kern="10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apporteur(s)/ Comment</a:t>
                      </a:r>
                      <a:endParaRPr lang="en-GB" sz="2000" b="1" i="0" u="sng" strike="noStrike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962213"/>
                  </a:ext>
                </a:extLst>
              </a:tr>
              <a:tr h="215487"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1" i="0" u="sng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rId2"/>
                        </a:rPr>
                        <a:t>SP-231805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udy on Architecture enhancement for XRM Ph2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kia, Meta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046675"/>
                  </a:ext>
                </a:extLst>
              </a:tr>
              <a:tr h="204148"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1" i="0" u="sng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rId3"/>
                        </a:rPr>
                        <a:t>SP-231391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udy on 5GS Enhancement for Energy Efficiency and Energy Saving as Service Criteria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amsung, Lenovo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8139362"/>
                  </a:ext>
                </a:extLst>
              </a:tr>
              <a:tr h="226986"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1" i="0" u="sng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rId4"/>
                        </a:rPr>
                        <a:t>SP-231196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udy on system architecture for next generation real time communication services Ph 2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hina Mobile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6139279"/>
                  </a:ext>
                </a:extLst>
              </a:tr>
              <a:tr h="190233"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1" i="0" u="sng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rId5"/>
                        </a:rPr>
                        <a:t>SP-231199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udy on Integration of satellite components in the 5G architecture Phase III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HALES, CATT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7765932"/>
                  </a:ext>
                </a:extLst>
              </a:tr>
              <a:tr h="215487"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1" i="0" u="sng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rId6"/>
                        </a:rPr>
                        <a:t>SP-231672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udy on MPS for IMS Messaging and SMS services</a:t>
                      </a:r>
                      <a:r>
                        <a:rPr lang="en-GB" sz="900" b="0" i="0" u="none" strike="noStrike" kern="100" baseline="30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*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eraton Labs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0572010"/>
                  </a:ext>
                </a:extLst>
              </a:tr>
              <a:tr h="215487"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1" i="0" u="sng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rId7"/>
                        </a:rPr>
                        <a:t>SP-231795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Study on UPF enhancement for Exposure and SBA Phase 2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TE, Vodafone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63463"/>
                  </a:ext>
                </a:extLst>
              </a:tr>
              <a:tr h="215487"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1" i="0" u="sng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rId8"/>
                        </a:rPr>
                        <a:t>SP-231796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udy on Enhancement of support for Edge Computing in 5G Core network phase 3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tel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2459749"/>
                  </a:ext>
                </a:extLst>
              </a:tr>
              <a:tr h="215487"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1" i="0" u="sng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rId9"/>
                        </a:rPr>
                        <a:t>SP-231797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udy on architecture aspects of 5G Femto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TT DOCOMO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0087044"/>
                  </a:ext>
                </a:extLst>
              </a:tr>
              <a:tr h="215487"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1" i="0" u="sng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rId10"/>
                        </a:rPr>
                        <a:t>SP-231798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udy on System Enhancement for Proximity-based Services in 5GS - Phase 3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T&amp;T, KPN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8889593"/>
                  </a:ext>
                </a:extLst>
              </a:tr>
              <a:tr h="215487"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1" i="0" u="sng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rId11"/>
                        </a:rPr>
                        <a:t>SP-231799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udy on Architecture Enhancements for Vehicle Mounted Relays (VMR) Phase 2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ualcomm, Sony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7718435"/>
                  </a:ext>
                </a:extLst>
              </a:tr>
              <a:tr h="249631"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1" i="0" u="sng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rId12"/>
                        </a:rPr>
                        <a:t>SP-231800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udy on Core Network Enhanced Support for AI/ML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ivo, MediaTek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5125419"/>
                  </a:ext>
                </a:extLst>
              </a:tr>
              <a:tr h="215487"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1" i="0" u="sng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rId13"/>
                        </a:rPr>
                        <a:t>SP-231801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udy on Phase 3 for UAS, UAV and UAM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G Electronics, Ericsson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0304652"/>
                  </a:ext>
                </a:extLst>
              </a:tr>
              <a:tr h="215487"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1" i="0" u="sng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rId14"/>
                        </a:rPr>
                        <a:t>SP-231802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udy on Multi-Access (Dual 3GPP access + ATSSS Enhancements)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pple, China Telecom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8447937"/>
                  </a:ext>
                </a:extLst>
              </a:tr>
              <a:tr h="215487"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1" i="0" u="sng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rId15"/>
                        </a:rPr>
                        <a:t>SP-231803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udy on Architecture support of Ambient power-enabled Internet of Things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uawei, OPPO</a:t>
                      </a:r>
                    </a:p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nly Study. Check in Dec  2024</a:t>
                      </a: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1701805"/>
                  </a:ext>
                </a:extLst>
              </a:tr>
              <a:tr h="215487"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1" i="0" u="sng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rId16"/>
                        </a:rPr>
                        <a:t>SP-231804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udy on the Enhancement of Usage of User Identifiers in the 5G System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terDigital, Inc.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4592402"/>
                  </a:ext>
                </a:extLst>
              </a:tr>
              <a:tr h="220129"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1" i="0" u="sng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rId17"/>
                        </a:rPr>
                        <a:t>SP-231754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udy on Architecture Enhancement to support Integrated Sensing and Communication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 study. Check in Sep 2024 </a:t>
                      </a:r>
                      <a:endParaRPr lang="en-GB" sz="1600" b="0" i="0" u="none" strike="noStrike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5857769"/>
                  </a:ext>
                </a:extLst>
              </a:tr>
              <a:tr h="215487"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1" i="0" u="sng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rId18"/>
                        </a:rPr>
                        <a:t>SP-231052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twork Sharing Enhancements SA WG2 Status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ssible TEI19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0969770"/>
                  </a:ext>
                </a:extLst>
              </a:tr>
              <a:tr h="215487"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i="0" u="sng" strike="noStrike" kern="10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Arial" panose="020B0604020202020204" pitchFamily="34" charset="0"/>
                          <a:cs typeface="Calibri" panose="020F0502020204030204" pitchFamily="34" charset="0"/>
                          <a:hlinkClick r:id="rId19"/>
                        </a:rPr>
                        <a:t>SP-231503</a:t>
                      </a:r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w WID on Architecture support of Roaming Value Added Services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ssible TEI19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5784113"/>
                  </a:ext>
                </a:extLst>
              </a:tr>
              <a:tr h="215487"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i="0" u="sng" strike="noStrike" kern="10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  <a:ea typeface="Arial" panose="020B0604020202020204" pitchFamily="34" charset="0"/>
                          <a:cs typeface="Calibri" panose="020F0502020204030204" pitchFamily="34" charset="0"/>
                          <a:hlinkClick r:id="rId20"/>
                        </a:rPr>
                        <a:t>SP-231674</a:t>
                      </a:r>
                      <a:endParaRPr lang="en-US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udy on Improvements of network controlled Network Slicing Selection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ssible TEI19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3962576"/>
                  </a:ext>
                </a:extLst>
              </a:tr>
              <a:tr h="215487"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1" i="0" u="sng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rId21"/>
                        </a:rPr>
                        <a:t>SP-231757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udy on enhancement of Timing Resiliency, TSC&amp;URLLC and LAN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ed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6106442"/>
                  </a:ext>
                </a:extLst>
              </a:tr>
              <a:tr h="215487"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1" i="0" u="sng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rId22"/>
                        </a:rPr>
                        <a:t>SP-231701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udy on Enhanced Traffic Management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ed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448014"/>
                  </a:ext>
                </a:extLst>
              </a:tr>
              <a:tr h="215487"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1" i="0" u="sng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  <a:hlinkClick r:id="rId23"/>
                        </a:rPr>
                        <a:t>SP-231682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w WID on Study on Sidelink time synchronisation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kern="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ed</a:t>
                      </a:r>
                      <a:endParaRPr lang="en-GB" sz="16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50" marR="5050" marT="5050" marB="505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1002762"/>
                  </a:ext>
                </a:extLst>
              </a:tr>
            </a:tbl>
          </a:graphicData>
        </a:graphic>
      </p:graphicFrame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5A1265EC-F1A6-875B-1FED-076C7D6E570C}"/>
              </a:ext>
            </a:extLst>
          </p:cNvPr>
          <p:cNvSpPr txBox="1">
            <a:spLocks/>
          </p:cNvSpPr>
          <p:nvPr/>
        </p:nvSpPr>
        <p:spPr>
          <a:xfrm>
            <a:off x="196596" y="1322679"/>
            <a:ext cx="5148871" cy="48272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t">
            <a:normAutofit/>
          </a:bodyPr>
          <a:lstStyle>
            <a:lvl1pPr marL="228600" marR="0" indent="-228600" algn="l" defTabSz="609600" latinLnBrk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2400" b="0" i="0" u="none" strike="noStrike" cap="none" spc="0" baseline="0">
                <a:solidFill>
                  <a:schemeClr val="bg2"/>
                </a:solidFill>
                <a:uFillTx/>
                <a:latin typeface="Intel Clear Light" panose="020B0404020203020204" pitchFamily="34" charset="0"/>
                <a:ea typeface="Intel Clear Light" panose="020B0404020203020204" pitchFamily="34" charset="0"/>
                <a:cs typeface="Intel Clear Light" panose="020B0404020203020204" pitchFamily="34" charset="0"/>
                <a:sym typeface="Helvetica"/>
              </a:defRPr>
            </a:lvl1pPr>
            <a:lvl2pPr marL="431800" marR="0" indent="-203200" algn="l" defTabSz="609600" latinLnBrk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b="0" i="0" u="none" strike="noStrike" cap="none" spc="0" baseline="0">
                <a:solidFill>
                  <a:schemeClr val="bg2"/>
                </a:solidFill>
                <a:uFillTx/>
                <a:latin typeface="Intel Clear Light" panose="020B0404020203020204" pitchFamily="34" charset="0"/>
                <a:ea typeface="Intel Clear Light" panose="020B0404020203020204" pitchFamily="34" charset="0"/>
                <a:cs typeface="Intel Clear Light" panose="020B0404020203020204" pitchFamily="34" charset="0"/>
                <a:sym typeface="Helvetica"/>
              </a:defRPr>
            </a:lvl2pPr>
            <a:lvl3pPr marL="686594" marR="0" indent="-197644" algn="l" defTabSz="609600" latinLnBrk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b="0" i="0" u="none" strike="noStrike" cap="none" spc="0" baseline="0">
                <a:solidFill>
                  <a:schemeClr val="bg2"/>
                </a:solidFill>
                <a:uFillTx/>
                <a:latin typeface="Intel Clear Light" panose="020B0404020203020204" pitchFamily="34" charset="0"/>
                <a:ea typeface="Intel Clear Light" panose="020B0404020203020204" pitchFamily="34" charset="0"/>
                <a:cs typeface="Intel Clear Light" panose="020B0404020203020204" pitchFamily="34" charset="0"/>
                <a:sym typeface="Helvetica"/>
              </a:defRPr>
            </a:lvl3pPr>
            <a:lvl4pPr marL="919957" marR="0" indent="-228600" algn="l" defTabSz="609600" latinLnBrk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b="0" i="0" u="none" strike="noStrike" cap="none" spc="0" baseline="0">
                <a:solidFill>
                  <a:schemeClr val="bg2"/>
                </a:solidFill>
                <a:uFillTx/>
                <a:latin typeface="Intel Clear Light" panose="020B0404020203020204" pitchFamily="34" charset="0"/>
                <a:ea typeface="Intel Clear Light" panose="020B0404020203020204" pitchFamily="34" charset="0"/>
                <a:cs typeface="Intel Clear Light" panose="020B0404020203020204" pitchFamily="34" charset="0"/>
                <a:sym typeface="Helvetica"/>
              </a:defRPr>
            </a:lvl4pPr>
            <a:lvl5pPr marL="1148557" marR="0" indent="-228600" algn="l" defTabSz="609600" latinLnBrk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b="0" i="0" u="none" strike="noStrike" cap="none" spc="0" baseline="0">
                <a:solidFill>
                  <a:schemeClr val="bg2"/>
                </a:solidFill>
                <a:uFillTx/>
                <a:latin typeface="Intel Clear Light" panose="020B0404020203020204" pitchFamily="34" charset="0"/>
                <a:ea typeface="Intel Clear Light" panose="020B0404020203020204" pitchFamily="34" charset="0"/>
                <a:cs typeface="Intel Clear Light" panose="020B0404020203020204" pitchFamily="34" charset="0"/>
                <a:sym typeface="Helvetica"/>
              </a:defRPr>
            </a:lvl5pPr>
            <a:lvl6pPr marL="0" marR="0" indent="571500" algn="l" defTabSz="60960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00" b="0" i="0" u="none" strike="noStrike" cap="none" spc="0" baseline="0">
                <a:solidFill>
                  <a:srgbClr val="5E5E5E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6pPr>
            <a:lvl7pPr marL="0" marR="0" indent="685800" algn="l" defTabSz="60960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00" b="0" i="0" u="none" strike="noStrike" cap="none" spc="0" baseline="0">
                <a:solidFill>
                  <a:srgbClr val="5E5E5E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7pPr>
            <a:lvl8pPr marL="0" marR="0" indent="800100" algn="l" defTabSz="60960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00" b="0" i="0" u="none" strike="noStrike" cap="none" spc="0" baseline="0">
                <a:solidFill>
                  <a:srgbClr val="5E5E5E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8pPr>
            <a:lvl9pPr marL="0" marR="0" indent="914400" algn="l" defTabSz="60960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00" b="0" i="0" u="none" strike="noStrike" cap="none" spc="0" baseline="0">
                <a:solidFill>
                  <a:srgbClr val="5E5E5E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9pPr>
          </a:lstStyle>
          <a:p>
            <a:pPr marL="228600" marR="0" lvl="0" indent="-228600" algn="l" defTabSz="6096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tel Clear"/>
                <a:sym typeface="Helvetica"/>
              </a:rPr>
              <a:t>After lengthy online and offline discussions, the SA Chair prepared a proposal (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Qualcomm Office Regular"/>
                <a:ea typeface="+mj-ea"/>
                <a:cs typeface="+mj-cs"/>
                <a:sym typeface="Helvetica"/>
              </a:rPr>
              <a:t>in SP-231760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tel Clear"/>
                <a:sym typeface="Helvetica"/>
              </a:rPr>
              <a:t>) on Rel-19 content, reflecting a balance of Rel-19 priority from the Operators and Vendors side, which was endorsed</a:t>
            </a:r>
          </a:p>
          <a:p>
            <a:pPr marL="228600" marR="0" lvl="0" indent="-228600" algn="l" defTabSz="6096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tel Clear"/>
                <a:sym typeface="Helvetica"/>
              </a:rPr>
              <a:t>Based on SP-231760, SA#102 approved a package of 15 study items (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00FF00"/>
                </a:highlight>
                <a:uLnTx/>
                <a:uFillTx/>
                <a:latin typeface="Intel Clear"/>
                <a:sym typeface="Helvetica"/>
              </a:rPr>
              <a:t>green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tel Clear"/>
                <a:sym typeface="Helvetica"/>
              </a:rPr>
              <a:t> in the table)</a:t>
            </a:r>
            <a:endParaRPr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l Clear"/>
            </a:endParaRPr>
          </a:p>
          <a:p>
            <a:pPr marL="431800" marR="0" lvl="1" indent="-203200" algn="l" defTabSz="6096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tel Clear"/>
                <a:sym typeface="Helvetica"/>
              </a:rPr>
              <a:t>AI/ML study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tel Clear"/>
                <a:sym typeface="Helvetica"/>
              </a:rPr>
              <a:t>: whether SA2 can start work on Work Tasks 1.1, 1.2, and 1.3 will be discussed at SA#105 (Sep. 2024) based on the outcome of the related work in the involved RAN WGs</a:t>
            </a:r>
            <a:endParaRPr lang="en-US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l Clear"/>
            </a:endParaRPr>
          </a:p>
          <a:p>
            <a:pPr marL="431800" marR="0" lvl="1" indent="-203200" algn="l" defTabSz="6096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tel Clear"/>
                <a:sym typeface="Helvetica"/>
              </a:rPr>
              <a:t>Ambient IoT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tel Clear"/>
                <a:sym typeface="Helvetica"/>
              </a:rPr>
              <a:t>: </a:t>
            </a: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tel Clear"/>
                <a:sym typeface="Helvetica"/>
              </a:rPr>
              <a:t>check in TSG#106 (Dec’24) for further Ambient IoT work taking into account RAN Ambient IoT progress</a:t>
            </a:r>
            <a:endParaRPr lang="en-GB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l Clear"/>
            </a:endParaRPr>
          </a:p>
          <a:p>
            <a:pPr marL="228600" marR="0" lvl="0" indent="-228600" algn="l" defTabSz="6096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tel Clear"/>
                <a:sym typeface="Helvetica"/>
              </a:rPr>
              <a:t>The Sensing study (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00FFFF"/>
                </a:highlight>
                <a:uLnTx/>
                <a:uFillTx/>
                <a:latin typeface="Intel Clear"/>
                <a:sym typeface="Helvetica"/>
              </a:rPr>
              <a:t>cyan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tel Clear"/>
                <a:sym typeface="Helvetica"/>
              </a:rPr>
              <a:t> in the table) was only endorsed. The work on this study is postponed until Sep 2024 when it will be determined if/when to start the study</a:t>
            </a:r>
            <a:endParaRPr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l Clear"/>
            </a:endParaRPr>
          </a:p>
          <a:p>
            <a:pPr>
              <a:lnSpc>
                <a:spcPct val="90000"/>
              </a:lnSpc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tel Clear"/>
                <a:sym typeface="Helvetica"/>
              </a:rPr>
              <a:t>Three study item proposals (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Intel Clear"/>
                <a:sym typeface="Helvetica"/>
              </a:rPr>
              <a:t>yellow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tel Clear"/>
                <a:sym typeface="Helvetica"/>
              </a:rPr>
              <a:t> in the table) will be considered as a small technical enhancement (TEI19)</a:t>
            </a:r>
            <a:r>
              <a:rPr lang="en-US" sz="1400" kern="0">
                <a:solidFill>
                  <a:srgbClr val="000000"/>
                </a:solidFill>
                <a:latin typeface="Intel Clear"/>
              </a:rPr>
              <a:t> </a:t>
            </a:r>
            <a:endParaRPr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l Clear"/>
              <a:ea typeface="Intel Clear Light" panose="020B0404020203020204" pitchFamily="34" charset="0"/>
              <a:cs typeface="Intel Clear Light" panose="020B0404020203020204" pitchFamily="34" charset="0"/>
            </a:endParaRPr>
          </a:p>
          <a:p>
            <a:pPr marL="228600" marR="0" lvl="0" indent="-228600" algn="l" defTabSz="6096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tel Clear"/>
                <a:sym typeface="Helvetica"/>
              </a:rPr>
              <a:t>The remaining items (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0000"/>
                </a:highlight>
                <a:uLnTx/>
                <a:uFillTx/>
                <a:latin typeface="Intel Clear"/>
                <a:sym typeface="Helvetica"/>
              </a:rPr>
              <a:t>red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tel Clear"/>
                <a:sym typeface="Helvetica"/>
              </a:rPr>
              <a:t> in the table) were not considered as part of Rel-19 content</a:t>
            </a: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Helvetica"/>
            </a:endParaRP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2202B82F-9887-6F2A-95D8-8ED48B523AEC}"/>
              </a:ext>
            </a:extLst>
          </p:cNvPr>
          <p:cNvSpPr txBox="1">
            <a:spLocks/>
          </p:cNvSpPr>
          <p:nvPr/>
        </p:nvSpPr>
        <p:spPr bwMode="auto">
          <a:xfrm>
            <a:off x="9793307" y="5979113"/>
            <a:ext cx="2398693" cy="34163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Qualcomm Office Regular" pitchFamily="34" charset="0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marL="0" marR="0" lvl="0" indent="0" algn="l" defTabSz="1219169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Qualcomm Office Regular" pitchFamily="34" charset="0"/>
                <a:sym typeface="Helvetica Neue"/>
              </a:rPr>
              <a:t>Source: SP-231760</a:t>
            </a:r>
          </a:p>
        </p:txBody>
      </p:sp>
    </p:spTree>
    <p:extLst>
      <p:ext uri="{BB962C8B-B14F-4D97-AF65-F5344CB8AC3E}">
        <p14:creationId xmlns:p14="http://schemas.microsoft.com/office/powerpoint/2010/main" val="19385727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F8CA0F-D8F1-4A1D-B054-9C9D5323BB3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99177" y="2413279"/>
            <a:ext cx="8811213" cy="1195193"/>
          </a:xfrm>
        </p:spPr>
        <p:txBody>
          <a:bodyPr/>
          <a:lstStyle/>
          <a:p>
            <a:r>
              <a:rPr lang="en-US" sz="3902"/>
              <a:t>3GPP RAN: Current Status and Beyon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131E32-5769-4333-B8D6-800B757A4D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56654" y="3762601"/>
            <a:ext cx="8394556" cy="1424938"/>
          </a:xfrm>
        </p:spPr>
        <p:txBody>
          <a:bodyPr/>
          <a:lstStyle/>
          <a:p>
            <a:r>
              <a:rPr lang="en-US"/>
              <a:t>Wanshi Chen</a:t>
            </a:r>
          </a:p>
          <a:p>
            <a:r>
              <a:rPr lang="en-US" sz="1951"/>
              <a:t>3GPP TSG RAN Chair</a:t>
            </a:r>
          </a:p>
          <a:p>
            <a:r>
              <a:rPr lang="en-US" sz="1951"/>
              <a:t>Sr. Director, Technology, Qualcomm Technologies, Inc.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343419"/>
      </p:ext>
    </p:extLst>
  </p:cSld>
  <p:clrMapOvr>
    <a:masterClrMapping/>
  </p:clrMapOvr>
  <p:transition spd="slow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>
            <a:extLst>
              <a:ext uri="{FF2B5EF4-FFF2-40B4-BE49-F238E27FC236}">
                <a16:creationId xmlns:a16="http://schemas.microsoft.com/office/drawing/2014/main" id="{D0072777-E1E6-3C1F-E102-15E95E69EE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7940" y="207114"/>
            <a:ext cx="5654746" cy="514781"/>
          </a:xfrm>
        </p:spPr>
        <p:txBody>
          <a:bodyPr>
            <a:normAutofit/>
          </a:bodyPr>
          <a:lstStyle/>
          <a:p>
            <a:pPr defTabSz="1219169" rtl="0" hangingPunct="0">
              <a:spcBef>
                <a:spcPts val="2250"/>
              </a:spcBef>
              <a:defRPr/>
            </a:pPr>
            <a:r>
              <a:rPr lang="en-GB" altLang="en-US" sz="3200" b="1">
                <a:solidFill>
                  <a:srgbClr val="000000"/>
                </a:solidFill>
                <a:latin typeface="Montserrat" panose="00000500000000000000" pitchFamily="50" charset="0"/>
                <a:ea typeface="ＭＳ Ｐゴシック" charset="0"/>
              </a:rPr>
              <a:t>SA1 Release 19 SIDs/WID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070AED0-C1E5-4104-D288-F58942B178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9969677"/>
              </p:ext>
            </p:extLst>
          </p:nvPr>
        </p:nvGraphicFramePr>
        <p:xfrm>
          <a:off x="1697940" y="754380"/>
          <a:ext cx="8796121" cy="54542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49369">
                  <a:extLst>
                    <a:ext uri="{9D8B030D-6E8A-4147-A177-3AD203B41FA5}">
                      <a16:colId xmlns:a16="http://schemas.microsoft.com/office/drawing/2014/main" val="3127438382"/>
                    </a:ext>
                  </a:extLst>
                </a:gridCol>
                <a:gridCol w="962533">
                  <a:extLst>
                    <a:ext uri="{9D8B030D-6E8A-4147-A177-3AD203B41FA5}">
                      <a16:colId xmlns:a16="http://schemas.microsoft.com/office/drawing/2014/main" val="3381144266"/>
                    </a:ext>
                  </a:extLst>
                </a:gridCol>
                <a:gridCol w="636663">
                  <a:extLst>
                    <a:ext uri="{9D8B030D-6E8A-4147-A177-3AD203B41FA5}">
                      <a16:colId xmlns:a16="http://schemas.microsoft.com/office/drawing/2014/main" val="2212237353"/>
                    </a:ext>
                  </a:extLst>
                </a:gridCol>
                <a:gridCol w="753773">
                  <a:extLst>
                    <a:ext uri="{9D8B030D-6E8A-4147-A177-3AD203B41FA5}">
                      <a16:colId xmlns:a16="http://schemas.microsoft.com/office/drawing/2014/main" val="3841200417"/>
                    </a:ext>
                  </a:extLst>
                </a:gridCol>
                <a:gridCol w="1593783">
                  <a:extLst>
                    <a:ext uri="{9D8B030D-6E8A-4147-A177-3AD203B41FA5}">
                      <a16:colId xmlns:a16="http://schemas.microsoft.com/office/drawing/2014/main" val="1967984084"/>
                    </a:ext>
                  </a:extLst>
                </a:gridCol>
              </a:tblGrid>
              <a:tr h="220452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 Name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 Acronym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 %Complete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 Hyperlink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 Impacted TSs and TRs</a:t>
                      </a:r>
                      <a:endParaRPr lang="en-US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4222060881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 Study on Energy Efficiency as service criteria </a:t>
                      </a:r>
                      <a:endParaRPr lang="en-US" sz="7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FS_EnergyServ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2"/>
                        </a:rPr>
                        <a:t>SP-230235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88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738663477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rgbClr val="0000FF"/>
                          </a:solidFill>
                          <a:effectLst/>
                        </a:rPr>
                        <a:t> Stage 1 of Energy Efficiency as Service Criteria 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EnergyServ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3"/>
                        </a:rPr>
                        <a:t>SP-230520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26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2684912674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 Study on AI/ML Model Transfer Phase2 </a:t>
                      </a:r>
                      <a:endParaRPr lang="en-US" sz="7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FS_AIML_MT_Ph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4"/>
                        </a:rPr>
                        <a:t>SP-220439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875; 22.87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4131945459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it-IT" sz="900" b="0" u="none" strike="noStrike">
                          <a:solidFill>
                            <a:srgbClr val="0000FF"/>
                          </a:solidFill>
                          <a:effectLst/>
                        </a:rPr>
                        <a:t> AI/ML Model Transfer Phase 2 </a:t>
                      </a:r>
                      <a:endParaRPr lang="it-IT" sz="900" b="0" i="0" u="none" strike="noStrike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AIML_MT_Ph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5"/>
                        </a:rPr>
                        <a:t>SP-230514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26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2673016530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 Study on Ambient power-enabled Internet of Things </a:t>
                      </a:r>
                      <a:endParaRPr lang="en-US" sz="7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FS_AmbientIo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6"/>
                        </a:rPr>
                        <a:t>SP-220085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8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2601621496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rgbClr val="0000FF"/>
                          </a:solidFill>
                          <a:effectLst/>
                        </a:rPr>
                        <a:t> Stage 1 of Ambient power-enabled Internet of Things 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AmbientIo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95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7"/>
                        </a:rPr>
                        <a:t>SP-231403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u="none" strike="noStrike">
                          <a:solidFill>
                            <a:srgbClr val="000000"/>
                          </a:solidFill>
                          <a:effectLst/>
                        </a:rPr>
                        <a:t>22.261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2203172727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 Study on satellite access - Phase 3 </a:t>
                      </a:r>
                      <a:endParaRPr lang="en-US" sz="7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FS_5GSAT_Ph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8"/>
                        </a:rPr>
                        <a:t>SP-220679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1225018796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rgbClr val="0000FF"/>
                          </a:solidFill>
                          <a:effectLst/>
                        </a:rPr>
                        <a:t> Stage 1 of Satellite access Phase 3 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5GSAT_Ph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9"/>
                        </a:rPr>
                        <a:t>SP-230516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26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1888191786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 Study on Localized Mobile Metaverse Services </a:t>
                      </a:r>
                      <a:endParaRPr lang="en-US" sz="7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FS_Metavers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10"/>
                        </a:rPr>
                        <a:t>SP-220353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85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3985413996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rgbClr val="0000FF"/>
                          </a:solidFill>
                          <a:effectLst/>
                        </a:rPr>
                        <a:t> Stage 1 of Localized Mobile Metaverse Services 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Metavers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11"/>
                        </a:rPr>
                        <a:t>SP-230509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new 22.156, 22.261 ; 22.15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1865966529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rgbClr val="0000FF"/>
                          </a:solidFill>
                          <a:effectLst/>
                        </a:rPr>
                        <a:t> Supporting UE Mobility for XR Services 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XRMobilit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12"/>
                        </a:rPr>
                        <a:t>SP-230233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26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982468444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 Study on Integrated Sensing and Communication </a:t>
                      </a:r>
                      <a:endParaRPr lang="en-US" sz="7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FS_Sensing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13"/>
                        </a:rPr>
                        <a:t>SP-220717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83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4227855393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rgbClr val="0000FF"/>
                          </a:solidFill>
                          <a:effectLst/>
                        </a:rPr>
                        <a:t> Stage 1 of Integrated Sensing and Communication 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Sensing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14"/>
                        </a:rPr>
                        <a:t>SP-230750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13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1809675101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 Study on (Stage 1 of) UAV Phase 3 </a:t>
                      </a:r>
                      <a:endParaRPr lang="en-US" sz="7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FS_UAV_Ph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15"/>
                        </a:rPr>
                        <a:t>SP-220954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4040217897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rgbClr val="0000FF"/>
                          </a:solidFill>
                          <a:effectLst/>
                        </a:rPr>
                        <a:t> Stage 1 of Uncrewed Aerial System Phase 3 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UAS_Ph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16"/>
                        </a:rPr>
                        <a:t>SP-230518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 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3604993159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 Study on Network Sharing Aspects </a:t>
                      </a:r>
                      <a:endParaRPr lang="en-US" sz="7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FS_NetSha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17"/>
                        </a:rPr>
                        <a:t>SP-220087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85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1800627342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rgbClr val="0000FF"/>
                          </a:solidFill>
                          <a:effectLst/>
                        </a:rPr>
                        <a:t> Indirect Network Sharing 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NetShare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18"/>
                        </a:rPr>
                        <a:t>SP-230511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26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2264282578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 Study on Upper layer traffic steering, switching and split over dual 3GPP access </a:t>
                      </a:r>
                      <a:endParaRPr lang="en-US" sz="7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FS_DualSteer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19"/>
                        </a:rPr>
                        <a:t>SP-220445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84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4069094614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rgbClr val="0000FF"/>
                          </a:solidFill>
                          <a:effectLst/>
                        </a:rPr>
                        <a:t> Upper layer traffic steering and switching over dual 3GPP access 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DualSteer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95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20"/>
                        </a:rPr>
                        <a:t>SP-231412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1" u="none" strike="noStrike">
                          <a:solidFill>
                            <a:srgbClr val="000000"/>
                          </a:solidFill>
                          <a:effectLst/>
                        </a:rPr>
                        <a:t>22.261</a:t>
                      </a:r>
                      <a:endParaRPr lang="en-US" sz="7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623312557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rgbClr val="0000FF"/>
                          </a:solidFill>
                          <a:effectLst/>
                        </a:rPr>
                        <a:t> Edge Computing Considering the Operational Needs of Service Hosting Environment 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EdgeOpNeed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21"/>
                        </a:rPr>
                        <a:t>SP-231037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26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2249545489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 Study on FRMCS Phase 5</a:t>
                      </a:r>
                      <a:endParaRPr lang="en-US" sz="7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FS_FRMCS_Ph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22"/>
                        </a:rPr>
                        <a:t>SP-220437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989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3513447958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rgbClr val="0000FF"/>
                          </a:solidFill>
                          <a:effectLst/>
                        </a:rPr>
                        <a:t> FRMCS Phase 5 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FRMCS_Ph5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23"/>
                        </a:rPr>
                        <a:t>SP-230512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280; 22.179; 22.289; 22.261 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2030521457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 Study on Supporting of Railway Smart Station Services </a:t>
                      </a:r>
                      <a:endParaRPr lang="en-US" sz="7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FS_RAILS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24"/>
                        </a:rPr>
                        <a:t>SP-190838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New ; 22.890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3111972398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 Study on Network of Service Robots with Ambient Intelligence </a:t>
                      </a:r>
                      <a:endParaRPr lang="en-US" sz="7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FS_SOBOT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25"/>
                        </a:rPr>
                        <a:t>SP-220447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916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1423791374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 Study on roaming value added services </a:t>
                      </a:r>
                      <a:endParaRPr lang="en-US" sz="7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FS_RVA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26"/>
                        </a:rPr>
                        <a:t>SP-220442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877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2522496892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rgbClr val="0000FF"/>
                          </a:solidFill>
                          <a:effectLst/>
                        </a:rPr>
                        <a:t> Roaming Value-Added Services 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RVA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27"/>
                        </a:rPr>
                        <a:t>SP-230231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26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3120082806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 Study on Interconnect of SNPN </a:t>
                      </a:r>
                      <a:endParaRPr lang="en-US" sz="7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FS_IS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65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28"/>
                        </a:rPr>
                        <a:t>SP-230236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848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1503131943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900" b="0" i="0" u="none" strike="noStrike" cap="none" spc="0" baseline="0">
                          <a:solidFill>
                            <a:srgbClr val="0000FF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 Interconnect of SNPN </a:t>
                      </a: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SN</a:t>
                      </a: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marL="0" marR="0" lvl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29"/>
                        </a:rPr>
                        <a:t>SP-240194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1293237305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rgbClr val="0000FF"/>
                          </a:solidFill>
                          <a:effectLst/>
                        </a:rPr>
                        <a:t> Edge Computing for Industrial Scenarios 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EDGINDU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30"/>
                        </a:rPr>
                        <a:t>SP-230229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104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3378432683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rgbClr val="0000FF"/>
                          </a:solidFill>
                          <a:effectLst/>
                        </a:rPr>
                        <a:t> PS Data Off for IMS Data Channel Service 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IMSDCDataOff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31"/>
                        </a:rPr>
                        <a:t>SP-230227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01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4070784673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rgbClr val="0000FF"/>
                          </a:solidFill>
                          <a:effectLst/>
                        </a:rPr>
                        <a:t> Multi-path relay 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MultiRela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32"/>
                        </a:rPr>
                        <a:t>SP-220943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26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840602190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rgbClr val="0000FF"/>
                          </a:solidFill>
                          <a:effectLst/>
                        </a:rPr>
                        <a:t> UE-to-UE multi-hop relay 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UEMHopRelay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33"/>
                        </a:rPr>
                        <a:t>SP-230521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261; 22.280 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1689738920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rgbClr val="0000FF"/>
                          </a:solidFill>
                          <a:effectLst/>
                        </a:rPr>
                        <a:t> Interworking of Non-3GPP Digital Terrestrial Broadcast Networks with 5GS Multicast Broadcast Services 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DTT4MBS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34"/>
                        </a:rPr>
                        <a:t>SP-220941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26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2170641878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rgbClr val="0000FF"/>
                          </a:solidFill>
                          <a:effectLst/>
                        </a:rPr>
                        <a:t> MPS for Messaging services 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MPS4msg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35"/>
                        </a:rPr>
                        <a:t>SP-220939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153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3254230492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rgbClr val="0000FF"/>
                          </a:solidFill>
                          <a:effectLst/>
                        </a:rPr>
                        <a:t> Minimization of Service Interruption During Core Network Failure Phase 2 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MINT_Ph2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36"/>
                        </a:rPr>
                        <a:t>SP-220992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26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582391544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rgbClr val="0000FF"/>
                          </a:solidFill>
                          <a:effectLst/>
                        </a:rPr>
                        <a:t> Measurement Data Collection 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MeasureDat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37"/>
                        </a:rPr>
                        <a:t>SP-221263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26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2526944044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rgbClr val="0000FF"/>
                          </a:solidFill>
                          <a:effectLst/>
                        </a:rPr>
                        <a:t> Local traffic routing for multi-access UE 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LTR_MA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38"/>
                        </a:rPr>
                        <a:t>SP-231035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26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3342136011"/>
                  </a:ext>
                </a:extLst>
              </a:tr>
              <a:tr h="12496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none" strike="noStrike">
                          <a:solidFill>
                            <a:srgbClr val="0000FF"/>
                          </a:solidFill>
                          <a:effectLst/>
                        </a:rPr>
                        <a:t> Non-Public Network (NPN) security considerations </a:t>
                      </a:r>
                      <a:endParaRPr lang="en-US" sz="900" b="0" i="0" u="none" strike="noStrike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SecNPN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u="sng" strike="noStrike">
                          <a:solidFill>
                            <a:srgbClr val="0563C1"/>
                          </a:solidFill>
                          <a:effectLst/>
                          <a:hlinkClick r:id="rId39"/>
                        </a:rPr>
                        <a:t>SP-230523</a:t>
                      </a:r>
                      <a:endParaRPr lang="en-US" sz="9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2" marR="572" marT="57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u="none" strike="noStrike">
                          <a:solidFill>
                            <a:srgbClr val="000000"/>
                          </a:solidFill>
                          <a:effectLst/>
                        </a:rPr>
                        <a:t>22.261</a:t>
                      </a:r>
                      <a:endParaRPr lang="en-US" sz="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72" marR="572" marT="572" marB="0" anchor="ctr"/>
                </a:tc>
                <a:extLst>
                  <a:ext uri="{0D108BD9-81ED-4DB2-BD59-A6C34878D82A}">
                    <a16:rowId xmlns:a16="http://schemas.microsoft.com/office/drawing/2014/main" val="30193391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01108786"/>
      </p:ext>
    </p:extLst>
  </p:cSld>
  <p:clrMapOvr>
    <a:masterClrMapping/>
  </p:clrMapOvr>
  <p:transition>
    <p:wipe dir="r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>
            <a:extLst>
              <a:ext uri="{FF2B5EF4-FFF2-40B4-BE49-F238E27FC236}">
                <a16:creationId xmlns:a16="http://schemas.microsoft.com/office/drawing/2014/main" id="{D0072777-E1E6-3C1F-E102-15E95E69EE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471" y="362869"/>
            <a:ext cx="4606804" cy="575594"/>
          </a:xfrm>
        </p:spPr>
        <p:txBody>
          <a:bodyPr>
            <a:normAutofit/>
          </a:bodyPr>
          <a:lstStyle/>
          <a:p>
            <a:pPr defTabSz="1219169" rtl="0" hangingPunct="0">
              <a:spcBef>
                <a:spcPts val="2250"/>
              </a:spcBef>
              <a:defRPr/>
            </a:pPr>
            <a:r>
              <a:rPr lang="en-GB" altLang="en-US" sz="3200" b="1">
                <a:solidFill>
                  <a:srgbClr val="000000"/>
                </a:solidFill>
                <a:latin typeface="Montserrat" panose="00000500000000000000" pitchFamily="50" charset="0"/>
                <a:ea typeface="ＭＳ Ｐゴシック" charset="0"/>
              </a:rPr>
              <a:t>SA2 Release 19 SID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47D706D-4B92-197B-A7D9-17DD9ECE81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9156544"/>
              </p:ext>
            </p:extLst>
          </p:nvPr>
        </p:nvGraphicFramePr>
        <p:xfrm>
          <a:off x="831471" y="1133935"/>
          <a:ext cx="10529059" cy="44860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20297">
                  <a:extLst>
                    <a:ext uri="{9D8B030D-6E8A-4147-A177-3AD203B41FA5}">
                      <a16:colId xmlns:a16="http://schemas.microsoft.com/office/drawing/2014/main" val="1474709964"/>
                    </a:ext>
                  </a:extLst>
                </a:gridCol>
                <a:gridCol w="1487277">
                  <a:extLst>
                    <a:ext uri="{9D8B030D-6E8A-4147-A177-3AD203B41FA5}">
                      <a16:colId xmlns:a16="http://schemas.microsoft.com/office/drawing/2014/main" val="2693391408"/>
                    </a:ext>
                  </a:extLst>
                </a:gridCol>
                <a:gridCol w="958468">
                  <a:extLst>
                    <a:ext uri="{9D8B030D-6E8A-4147-A177-3AD203B41FA5}">
                      <a16:colId xmlns:a16="http://schemas.microsoft.com/office/drawing/2014/main" val="1117558240"/>
                    </a:ext>
                  </a:extLst>
                </a:gridCol>
                <a:gridCol w="919387">
                  <a:extLst>
                    <a:ext uri="{9D8B030D-6E8A-4147-A177-3AD203B41FA5}">
                      <a16:colId xmlns:a16="http://schemas.microsoft.com/office/drawing/2014/main" val="3786716196"/>
                    </a:ext>
                  </a:extLst>
                </a:gridCol>
                <a:gridCol w="1743630">
                  <a:extLst>
                    <a:ext uri="{9D8B030D-6E8A-4147-A177-3AD203B41FA5}">
                      <a16:colId xmlns:a16="http://schemas.microsoft.com/office/drawing/2014/main" val="3892818655"/>
                    </a:ext>
                  </a:extLst>
                </a:gridCol>
              </a:tblGrid>
              <a:tr h="43312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Name</a:t>
                      </a:r>
                      <a:endParaRPr lang="en-US" sz="1200" b="1" i="0" u="none" strike="noStrike" cap="none" spc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Acronym</a:t>
                      </a:r>
                      <a:endParaRPr lang="en-US" sz="1200" b="1" i="0" u="none" strike="noStrike" cap="none" spc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%Complete</a:t>
                      </a:r>
                      <a:endParaRPr lang="en-US" sz="1200" b="1" i="0" u="none" strike="noStrike" cap="none" spc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Hyperlink</a:t>
                      </a:r>
                      <a:endParaRPr lang="en-US" sz="1200" b="1" i="0" u="none" strike="noStrike" cap="none" spc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Impacted TSs and TRs</a:t>
                      </a:r>
                      <a:endParaRPr lang="en-US" sz="1200" b="1" i="0" u="none" strike="noStrike" cap="none" spc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extLst>
                  <a:ext uri="{0D108BD9-81ED-4DB2-BD59-A6C34878D82A}">
                    <a16:rowId xmlns:a16="http://schemas.microsoft.com/office/drawing/2014/main" val="3564162601"/>
                  </a:ext>
                </a:extLst>
              </a:tr>
              <a:tr h="35720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Energy Efficiency and Energy Saving</a:t>
                      </a:r>
                      <a:endParaRPr lang="en-US" sz="11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EnergySys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55%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391</a:t>
                      </a:r>
                      <a:endParaRPr lang="en-US" sz="11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 23.700-66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extLst>
                  <a:ext uri="{0D108BD9-81ED-4DB2-BD59-A6C34878D82A}">
                    <a16:rowId xmlns:a16="http://schemas.microsoft.com/office/drawing/2014/main" val="3599491676"/>
                  </a:ext>
                </a:extLst>
              </a:tr>
              <a:tr h="35720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Core Network Enhanced Support for Artificial Intelligence (AI)/Machine Learning (ML) </a:t>
                      </a:r>
                      <a:endParaRPr lang="en-US" sz="11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AIML_CN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25%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800</a:t>
                      </a:r>
                      <a:endParaRPr lang="en-US" sz="11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 23.700-84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extLst>
                  <a:ext uri="{0D108BD9-81ED-4DB2-BD59-A6C34878D82A}">
                    <a16:rowId xmlns:a16="http://schemas.microsoft.com/office/drawing/2014/main" val="594290013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Architecture support of Ambient power-enabled Internet of Things </a:t>
                      </a:r>
                      <a:endParaRPr lang="en-US" sz="11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AmbientIoT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25%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803</a:t>
                      </a:r>
                      <a:endParaRPr lang="en-US" sz="11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 23.700-13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extLst>
                  <a:ext uri="{0D108BD9-81ED-4DB2-BD59-A6C34878D82A}">
                    <a16:rowId xmlns:a16="http://schemas.microsoft.com/office/drawing/2014/main" val="1183655327"/>
                  </a:ext>
                </a:extLst>
              </a:tr>
              <a:tr h="35720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Integration of satellite components in the 5G architecture Phase 3</a:t>
                      </a:r>
                      <a:endParaRPr lang="en-US" sz="11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5GSAT_Ph3_ARCH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55%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199</a:t>
                      </a:r>
                      <a:endParaRPr lang="en-US" sz="11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 23.700-29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extLst>
                  <a:ext uri="{0D108BD9-81ED-4DB2-BD59-A6C34878D82A}">
                    <a16:rowId xmlns:a16="http://schemas.microsoft.com/office/drawing/2014/main" val="3061096161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Extended Reality and Media service (XRM) Phase 2 </a:t>
                      </a:r>
                      <a:endParaRPr lang="en-US" sz="11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XRM_Ph2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45%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671</a:t>
                      </a:r>
                      <a:endParaRPr lang="en-US" sz="11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 23.700-70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extLst>
                  <a:ext uri="{0D108BD9-81ED-4DB2-BD59-A6C34878D82A}">
                    <a16:rowId xmlns:a16="http://schemas.microsoft.com/office/drawing/2014/main" val="297443295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(Stage 2 of) Phase 3 for UAS, UAV and UAM </a:t>
                      </a:r>
                      <a:endParaRPr lang="en-US" sz="11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UAS_Ph3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50%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801</a:t>
                      </a:r>
                      <a:endParaRPr lang="en-US" sz="11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 23.700-59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extLst>
                  <a:ext uri="{0D108BD9-81ED-4DB2-BD59-A6C34878D82A}">
                    <a16:rowId xmlns:a16="http://schemas.microsoft.com/office/drawing/2014/main" val="412969242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Multi-Access (DualSteer and ATSSS_Ph4) </a:t>
                      </a:r>
                      <a:endParaRPr lang="en-US" sz="11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MASSS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30%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802</a:t>
                      </a:r>
                      <a:endParaRPr lang="en-US" sz="11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 23.700-54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extLst>
                  <a:ext uri="{0D108BD9-81ED-4DB2-BD59-A6C34878D82A}">
                    <a16:rowId xmlns:a16="http://schemas.microsoft.com/office/drawing/2014/main" val="679672885"/>
                  </a:ext>
                </a:extLst>
              </a:tr>
              <a:tr h="29514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Enhancement of support for Edge Computing in 5G Core network - Phase 3 </a:t>
                      </a:r>
                      <a:endParaRPr lang="en-US" sz="11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eEDGE_5GC_Ph3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50%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9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96</a:t>
                      </a:r>
                      <a:endParaRPr lang="en-US" sz="11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 23.700-49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extLst>
                  <a:ext uri="{0D108BD9-81ED-4DB2-BD59-A6C34878D82A}">
                    <a16:rowId xmlns:a16="http://schemas.microsoft.com/office/drawing/2014/main" val="1258738269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System aspects of 5G NR Femto </a:t>
                      </a:r>
                      <a:endParaRPr lang="en-US" sz="11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5G_Femto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40%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1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97</a:t>
                      </a:r>
                      <a:endParaRPr lang="en-US" sz="11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 23.700-45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extLst>
                  <a:ext uri="{0D108BD9-81ED-4DB2-BD59-A6C34878D82A}">
                    <a16:rowId xmlns:a16="http://schemas.microsoft.com/office/drawing/2014/main" val="3613484953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Proximity-based Services in 5GS Phase 3 </a:t>
                      </a:r>
                      <a:endParaRPr lang="en-US" sz="11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5G_ProSe_Ph3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45%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11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98</a:t>
                      </a:r>
                      <a:endParaRPr lang="en-US" sz="11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 23.700-03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extLst>
                  <a:ext uri="{0D108BD9-81ED-4DB2-BD59-A6C34878D82A}">
                    <a16:rowId xmlns:a16="http://schemas.microsoft.com/office/drawing/2014/main" val="1256501356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Vehicle Mounted Relays Phase 2 </a:t>
                      </a:r>
                      <a:endParaRPr lang="en-US" sz="11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VMR_Ph2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40%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1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99</a:t>
                      </a:r>
                      <a:endParaRPr lang="en-US" sz="11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 23.700-06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extLst>
                  <a:ext uri="{0D108BD9-81ED-4DB2-BD59-A6C34878D82A}">
                    <a16:rowId xmlns:a16="http://schemas.microsoft.com/office/drawing/2014/main" val="1225204638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User Identities and Authentication Architecture </a:t>
                      </a:r>
                      <a:endParaRPr lang="en-US" sz="11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UIA_ARC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35%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1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804</a:t>
                      </a:r>
                      <a:endParaRPr lang="en-US" sz="11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 23.700-32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extLst>
                  <a:ext uri="{0D108BD9-81ED-4DB2-BD59-A6C34878D82A}">
                    <a16:rowId xmlns:a16="http://schemas.microsoft.com/office/drawing/2014/main" val="310764981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UPF enhancement for Exposure And SBA Phase 2 </a:t>
                      </a:r>
                      <a:endParaRPr lang="en-US" sz="11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UPEAS_Ph2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45%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1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95</a:t>
                      </a:r>
                      <a:endParaRPr lang="en-US" sz="11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 23.700-54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extLst>
                  <a:ext uri="{0D108BD9-81ED-4DB2-BD59-A6C34878D82A}">
                    <a16:rowId xmlns:a16="http://schemas.microsoft.com/office/drawing/2014/main" val="266704178"/>
                  </a:ext>
                </a:extLst>
              </a:tr>
              <a:tr h="27181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system architecture for next generation real time communication services phase 2 </a:t>
                      </a:r>
                      <a:endParaRPr lang="en-US" sz="11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NG_RTC_Ph2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45%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1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196</a:t>
                      </a:r>
                      <a:endParaRPr lang="en-US" sz="11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 23.700-77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extLst>
                  <a:ext uri="{0D108BD9-81ED-4DB2-BD59-A6C34878D82A}">
                    <a16:rowId xmlns:a16="http://schemas.microsoft.com/office/drawing/2014/main" val="2263145413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MPS for IMS Messaging and SMS services </a:t>
                      </a:r>
                      <a:endParaRPr lang="en-US" sz="11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MPS4msg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70%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1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197</a:t>
                      </a:r>
                      <a:endParaRPr lang="en-US" sz="11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 23.700-75</a:t>
                      </a:r>
                      <a:endParaRPr lang="en-US" sz="11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extLst>
                  <a:ext uri="{0D108BD9-81ED-4DB2-BD59-A6C34878D82A}">
                    <a16:rowId xmlns:a16="http://schemas.microsoft.com/office/drawing/2014/main" val="1801443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94677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F33FF2-DB47-9C22-18C1-8DEE9900CD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>
            <a:extLst>
              <a:ext uri="{FF2B5EF4-FFF2-40B4-BE49-F238E27FC236}">
                <a16:creationId xmlns:a16="http://schemas.microsoft.com/office/drawing/2014/main" id="{0DABE70D-1C96-8E27-C8A0-BFB4166DC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3286" y="492064"/>
            <a:ext cx="9112251" cy="551530"/>
          </a:xfrm>
        </p:spPr>
        <p:txBody>
          <a:bodyPr>
            <a:normAutofit/>
          </a:bodyPr>
          <a:lstStyle/>
          <a:p>
            <a:pPr defTabSz="1219169" rtl="0" hangingPunct="0">
              <a:spcBef>
                <a:spcPts val="2250"/>
              </a:spcBef>
              <a:defRPr/>
            </a:pPr>
            <a:r>
              <a:rPr lang="en-GB" altLang="en-US" sz="3200" b="1">
                <a:solidFill>
                  <a:srgbClr val="000000"/>
                </a:solidFill>
                <a:latin typeface="Montserrat" panose="00000500000000000000" pitchFamily="50" charset="0"/>
                <a:ea typeface="ＭＳ Ｐゴシック" charset="0"/>
              </a:rPr>
              <a:t>SA2 Release 19 Normative TEI19 </a:t>
            </a:r>
            <a:r>
              <a:rPr lang="en-GB" altLang="en-US" sz="3200" b="1" err="1">
                <a:solidFill>
                  <a:srgbClr val="000000"/>
                </a:solidFill>
                <a:latin typeface="Montserrat" panose="00000500000000000000" pitchFamily="50" charset="0"/>
                <a:ea typeface="ＭＳ Ｐゴシック" charset="0"/>
              </a:rPr>
              <a:t>miniWIDs</a:t>
            </a:r>
            <a:endParaRPr lang="en-GB" altLang="en-US" sz="3200" b="1">
              <a:solidFill>
                <a:srgbClr val="000000"/>
              </a:solidFill>
              <a:latin typeface="Montserrat" panose="00000500000000000000" pitchFamily="50" charset="0"/>
              <a:ea typeface="ＭＳ Ｐゴシック" charset="0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13B9F99-36E5-E5E3-65CE-0440AF2A5D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0013514"/>
              </p:ext>
            </p:extLst>
          </p:nvPr>
        </p:nvGraphicFramePr>
        <p:xfrm>
          <a:off x="1703286" y="1403628"/>
          <a:ext cx="8785429" cy="40507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20297">
                  <a:extLst>
                    <a:ext uri="{9D8B030D-6E8A-4147-A177-3AD203B41FA5}">
                      <a16:colId xmlns:a16="http://schemas.microsoft.com/office/drawing/2014/main" val="1474709964"/>
                    </a:ext>
                  </a:extLst>
                </a:gridCol>
                <a:gridCol w="1487277">
                  <a:extLst>
                    <a:ext uri="{9D8B030D-6E8A-4147-A177-3AD203B41FA5}">
                      <a16:colId xmlns:a16="http://schemas.microsoft.com/office/drawing/2014/main" val="2693391408"/>
                    </a:ext>
                  </a:extLst>
                </a:gridCol>
                <a:gridCol w="958468">
                  <a:extLst>
                    <a:ext uri="{9D8B030D-6E8A-4147-A177-3AD203B41FA5}">
                      <a16:colId xmlns:a16="http://schemas.microsoft.com/office/drawing/2014/main" val="1117558240"/>
                    </a:ext>
                  </a:extLst>
                </a:gridCol>
                <a:gridCol w="919387">
                  <a:extLst>
                    <a:ext uri="{9D8B030D-6E8A-4147-A177-3AD203B41FA5}">
                      <a16:colId xmlns:a16="http://schemas.microsoft.com/office/drawing/2014/main" val="3786716196"/>
                    </a:ext>
                  </a:extLst>
                </a:gridCol>
              </a:tblGrid>
              <a:tr h="43312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Name</a:t>
                      </a:r>
                      <a:endParaRPr lang="en-US" sz="1200" b="1" i="0" u="none" strike="noStrike" cap="none" spc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Acronym</a:t>
                      </a:r>
                      <a:endParaRPr lang="en-US" sz="1200" b="1" i="0" u="none" strike="noStrike" cap="none" spc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%Complete</a:t>
                      </a:r>
                      <a:endParaRPr lang="en-US" sz="1200" b="1" i="0" u="none" strike="noStrike" cap="none" spc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Hyperlink</a:t>
                      </a:r>
                      <a:endParaRPr lang="en-US" sz="1200" b="1" i="0" u="none" strike="noStrike" cap="none" spc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0385" marR="3014" marT="8682" marB="65110" anchor="ctr"/>
                </a:tc>
                <a:extLst>
                  <a:ext uri="{0D108BD9-81ED-4DB2-BD59-A6C34878D82A}">
                    <a16:rowId xmlns:a16="http://schemas.microsoft.com/office/drawing/2014/main" val="3564162601"/>
                  </a:ext>
                </a:extLst>
              </a:tr>
              <a:tr h="304274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(Stage 2 of) Indirect Network Sharing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TEI19_NetShar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2"/>
                        </a:rPr>
                        <a:t>SP-240117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99491676"/>
                  </a:ext>
                </a:extLst>
              </a:tr>
              <a:tr h="287079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Architecture support of roaming value-added services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TEI19_RVA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3"/>
                        </a:rPr>
                        <a:t>SP-240119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94290013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 err="1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ProSe</a:t>
                      </a: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 support in NPN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TEI19_ProSe_NPN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4"/>
                        </a:rPr>
                        <a:t>SP-240122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83655327"/>
                  </a:ext>
                </a:extLst>
              </a:tr>
              <a:tr h="269049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5GS enhancement on On-demand broadcast of GNSS assistance data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TEI19_OBGA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5"/>
                        </a:rPr>
                        <a:t>SP-240116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61096161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Minimize the Number of Policy Associations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TEI19_MINP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6"/>
                        </a:rPr>
                        <a:t>SP-240118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7443295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Spending Limits for UE Policies in Roaming scenario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TEI19_SLUPi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7"/>
                        </a:rPr>
                        <a:t>SP-240120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2969242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Enhancing Parameter Provisioning with static UE IP address and UP security policy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TEI19_IP_SP_EXP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8"/>
                        </a:rPr>
                        <a:t>SP-240121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79672885"/>
                  </a:ext>
                </a:extLst>
              </a:tr>
              <a:tr h="295149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Multiple Location Procedure for Emergency LCS Routing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TEI19_MLR4RT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9"/>
                        </a:rPr>
                        <a:t>SP-240123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58738269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Roaming traffic offloading via session breakout in HPLMN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TEI19_HSB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0"/>
                        </a:rPr>
                        <a:t>SP-240124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13484953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Deferred 5GC-MT-LR Procedure for Periodic Location Events based </a:t>
                      </a:r>
                      <a:r>
                        <a:rPr lang="en-US" sz="1100" b="0" i="0" u="none" strike="noStrike" cap="none" spc="0" baseline="0" err="1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NRPPa</a:t>
                      </a: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 Periodic Measurement Reports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TEI19_DLPM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1"/>
                        </a:rPr>
                        <a:t>SP-240125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56501356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5GS enhancement on QoS monitoring enhancement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TEI19_QM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2"/>
                        </a:rPr>
                        <a:t>SP-240126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25204638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Subscription control for reference time distribution in EPS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TEI19_TIME_SUB_EP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3"/>
                        </a:rPr>
                        <a:t>SP-240127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0764981"/>
                  </a:ext>
                </a:extLst>
              </a:tr>
              <a:tr h="230682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Providing per-subscriber VLAN instructions from UDM and DN-AAA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TEI19_VLANSUB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4"/>
                        </a:rPr>
                        <a:t>SP-240128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66704178"/>
                  </a:ext>
                </a:extLst>
              </a:tr>
              <a:tr h="271810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NF discovery and selection by target PLMN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TEI19_TPlmnNfSel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sng" strike="noStrike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hlinkClick r:id="rId15"/>
                        </a:rPr>
                        <a:t>SP-240129</a:t>
                      </a:r>
                      <a:endParaRPr lang="en-US" sz="11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63145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42564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>
            <a:extLst>
              <a:ext uri="{FF2B5EF4-FFF2-40B4-BE49-F238E27FC236}">
                <a16:creationId xmlns:a16="http://schemas.microsoft.com/office/drawing/2014/main" id="{D0072777-E1E6-3C1F-E102-15E95E69EE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434" y="290680"/>
            <a:ext cx="9112251" cy="1143000"/>
          </a:xfrm>
        </p:spPr>
        <p:txBody>
          <a:bodyPr>
            <a:normAutofit/>
          </a:bodyPr>
          <a:lstStyle/>
          <a:p>
            <a:pPr defTabSz="1219169" rtl="0" hangingPunct="0">
              <a:spcBef>
                <a:spcPts val="2250"/>
              </a:spcBef>
              <a:defRPr/>
            </a:pPr>
            <a:r>
              <a:rPr lang="en-GB" altLang="en-US" sz="3200" b="1">
                <a:solidFill>
                  <a:srgbClr val="000000"/>
                </a:solidFill>
                <a:latin typeface="Montserrat" panose="00000500000000000000" pitchFamily="50" charset="0"/>
                <a:ea typeface="ＭＳ Ｐゴシック" charset="0"/>
              </a:rPr>
              <a:t>SA3 Release 19 SIDs/WID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E3DB733-A472-355E-4A9B-0F3AB3EE8D75}"/>
              </a:ext>
            </a:extLst>
          </p:cNvPr>
          <p:cNvGraphicFramePr>
            <a:graphicFrameLocks noGrp="1"/>
          </p:cNvGraphicFramePr>
          <p:nvPr/>
        </p:nvGraphicFramePr>
        <p:xfrm>
          <a:off x="287079" y="792973"/>
          <a:ext cx="11589487" cy="59796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48177">
                  <a:extLst>
                    <a:ext uri="{9D8B030D-6E8A-4147-A177-3AD203B41FA5}">
                      <a16:colId xmlns:a16="http://schemas.microsoft.com/office/drawing/2014/main" val="227577927"/>
                    </a:ext>
                  </a:extLst>
                </a:gridCol>
                <a:gridCol w="1297172">
                  <a:extLst>
                    <a:ext uri="{9D8B030D-6E8A-4147-A177-3AD203B41FA5}">
                      <a16:colId xmlns:a16="http://schemas.microsoft.com/office/drawing/2014/main" val="379978907"/>
                    </a:ext>
                  </a:extLst>
                </a:gridCol>
                <a:gridCol w="882502">
                  <a:extLst>
                    <a:ext uri="{9D8B030D-6E8A-4147-A177-3AD203B41FA5}">
                      <a16:colId xmlns:a16="http://schemas.microsoft.com/office/drawing/2014/main" val="2306150510"/>
                    </a:ext>
                  </a:extLst>
                </a:gridCol>
                <a:gridCol w="1275907">
                  <a:extLst>
                    <a:ext uri="{9D8B030D-6E8A-4147-A177-3AD203B41FA5}">
                      <a16:colId xmlns:a16="http://schemas.microsoft.com/office/drawing/2014/main" val="3345951185"/>
                    </a:ext>
                  </a:extLst>
                </a:gridCol>
                <a:gridCol w="2785729">
                  <a:extLst>
                    <a:ext uri="{9D8B030D-6E8A-4147-A177-3AD203B41FA5}">
                      <a16:colId xmlns:a16="http://schemas.microsoft.com/office/drawing/2014/main" val="4125621142"/>
                    </a:ext>
                  </a:extLst>
                </a:gridCol>
              </a:tblGrid>
              <a:tr h="25681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Name</a:t>
                      </a:r>
                      <a:endParaRPr lang="en-US" sz="1200" b="1" i="0" u="none" strike="noStrike" cap="none" spc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Acronym</a:t>
                      </a:r>
                      <a:endParaRPr lang="en-US" sz="1200" b="1" i="0" u="none" strike="noStrike" cap="none" spc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%Complete</a:t>
                      </a:r>
                      <a:endParaRPr lang="en-US" sz="1200" b="1" i="0" u="none" strike="noStrike" cap="none" spc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Hyperlink</a:t>
                      </a:r>
                      <a:endParaRPr lang="en-US" sz="1200" b="1" i="0" u="none" strike="noStrike" cap="none" spc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Impacted TSs and TRs</a:t>
                      </a:r>
                      <a:endParaRPr lang="en-US" sz="1200" b="1" i="0" u="none" strike="noStrike" cap="none" spc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1925300931"/>
                  </a:ext>
                </a:extLst>
              </a:tr>
              <a:tr h="289915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Security Aspects of 5G Satellite Access Phase 3 </a:t>
                      </a:r>
                      <a:endParaRPr lang="en-US" sz="105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5GSAT_Ph3_SEC</a:t>
                      </a:r>
                      <a:endParaRPr lang="en-US" sz="105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10%</a:t>
                      </a: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u="sng" strike="noStrike" cap="none" spc="0">
                          <a:solidFill>
                            <a:schemeClr val="tx1"/>
                          </a:solidFill>
                          <a:effectLst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90</a:t>
                      </a:r>
                      <a:endParaRPr lang="en-US" sz="105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33.700-29</a:t>
                      </a:r>
                      <a:endParaRPr lang="en-US" sz="105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2209442814"/>
                  </a:ext>
                </a:extLst>
              </a:tr>
              <a:tr h="19376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5G Security Assurance Specification (SCAS) for the Unified Data Repository (UDR) </a:t>
                      </a:r>
                      <a:endParaRPr lang="en-US" sz="105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CAS_5G_UDR</a:t>
                      </a:r>
                      <a:endParaRPr lang="en-US" sz="105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10%</a:t>
                      </a: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u="sng" strike="noStrike" cap="none" spc="0">
                          <a:solidFill>
                            <a:schemeClr val="tx1"/>
                          </a:solidFill>
                          <a:effectLst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0864</a:t>
                      </a:r>
                      <a:endParaRPr lang="en-US" sz="105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33.926</a:t>
                      </a:r>
                      <a:endParaRPr lang="en-US" sz="105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3774672145"/>
                  </a:ext>
                </a:extLst>
              </a:tr>
              <a:tr h="227059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5G Security Assurance Specification (SCAS) for the Short Message Service Function (SMSF) </a:t>
                      </a:r>
                      <a:endParaRPr lang="en-US" sz="105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CAS_5G_SMSF</a:t>
                      </a:r>
                      <a:endParaRPr lang="en-US" sz="105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40%</a:t>
                      </a: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u="sng" strike="noStrike" cap="none" spc="0">
                          <a:solidFill>
                            <a:schemeClr val="tx1"/>
                          </a:solidFill>
                          <a:effectLst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158</a:t>
                      </a:r>
                      <a:endParaRPr lang="en-US" sz="105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33.529</a:t>
                      </a:r>
                      <a:endParaRPr lang="en-US" sz="105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3921419332"/>
                  </a:ext>
                </a:extLst>
              </a:tr>
              <a:tr h="123852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Addition of 256-bit security Algorithms </a:t>
                      </a:r>
                      <a:endParaRPr lang="en-US" sz="105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256_Algo</a:t>
                      </a:r>
                      <a:endParaRPr lang="en-US" sz="105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100%</a:t>
                      </a: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u="sng" strike="noStrike" cap="none" spc="0">
                          <a:solidFill>
                            <a:schemeClr val="tx1"/>
                          </a:solidFill>
                          <a:effectLst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159</a:t>
                      </a:r>
                      <a:endParaRPr lang="en-US" sz="105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35.248; 35.247; 35.246; 35.245; 35.244; …</a:t>
                      </a:r>
                      <a:endParaRPr lang="en-US" sz="105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240792744"/>
                  </a:ext>
                </a:extLst>
              </a:tr>
              <a:tr h="216301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Addition of Milenage-256 algorithm </a:t>
                      </a:r>
                      <a:endParaRPr lang="en-US" sz="105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Milenage_256</a:t>
                      </a: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5%</a:t>
                      </a: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u="sng" strike="noStrike" cap="none" spc="0">
                          <a:solidFill>
                            <a:schemeClr val="tx1"/>
                          </a:solidFill>
                          <a:effectLst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92</a:t>
                      </a:r>
                      <a:endParaRPr lang="en-US" sz="105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35.237; 35.236; 35.235; 35.234</a:t>
                      </a:r>
                      <a:endParaRPr lang="en-US" sz="105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2698766433"/>
                  </a:ext>
                </a:extLst>
              </a:tr>
              <a:tr h="216301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enabling a cryptographic algorithm transition to 256-bits </a:t>
                      </a:r>
                      <a:endParaRPr lang="en-US" sz="105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FS_CAT256</a:t>
                      </a: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10%</a:t>
                      </a: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u="sng" strike="noStrike" cap="none" spc="0">
                          <a:solidFill>
                            <a:schemeClr val="tx1"/>
                          </a:solidFill>
                          <a:effectLst/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88</a:t>
                      </a:r>
                      <a:endParaRPr lang="en-US" sz="105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33.700-41</a:t>
                      </a:r>
                      <a:endParaRPr lang="en-US" sz="105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2454429657"/>
                  </a:ext>
                </a:extLst>
              </a:tr>
              <a:tr h="216301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enablers for Zero Trust Security </a:t>
                      </a:r>
                      <a:endParaRPr lang="en-US" sz="105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err="1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FS_eZTS</a:t>
                      </a:r>
                      <a:endParaRPr lang="en-US" sz="1050" b="0" i="0" u="none" strike="noStrike" cap="none" spc="0" baseline="0">
                        <a:solidFill>
                          <a:schemeClr val="tx1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Intel Clear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20%</a:t>
                      </a: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u="sng" strike="noStrike" cap="none" spc="0">
                          <a:solidFill>
                            <a:schemeClr val="tx1"/>
                          </a:solidFill>
                          <a:effectLst/>
                          <a:hlinkClick r:id="rId9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84</a:t>
                      </a:r>
                      <a:endParaRPr lang="en-US" sz="105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33.794</a:t>
                      </a:r>
                      <a:endParaRPr lang="en-US" sz="105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2428777939"/>
                  </a:ext>
                </a:extLst>
              </a:tr>
              <a:tr h="216301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Mission critical security enhancements for release 19 </a:t>
                      </a:r>
                      <a:endParaRPr lang="en-US" sz="105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MCXSec4</a:t>
                      </a: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0%</a:t>
                      </a: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u="sng" strike="noStrike" cap="none" spc="0">
                          <a:solidFill>
                            <a:schemeClr val="tx1"/>
                          </a:solidFill>
                          <a:effectLst/>
                          <a:hlinkClick r:id="rId1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83</a:t>
                      </a:r>
                      <a:endParaRPr lang="en-US" sz="105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33.18</a:t>
                      </a:r>
                      <a:endParaRPr lang="en-US" sz="105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535682919"/>
                  </a:ext>
                </a:extLst>
              </a:tr>
              <a:tr h="265622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the security support for the Next Generation Real Time Communication services phase 2 </a:t>
                      </a:r>
                      <a:endParaRPr lang="en-US" sz="105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FS_NG_RTC_SEC_Ph2</a:t>
                      </a: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0%</a:t>
                      </a: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u="sng" strike="noStrike" cap="none" spc="0">
                          <a:solidFill>
                            <a:schemeClr val="tx1"/>
                          </a:solidFill>
                          <a:effectLst/>
                          <a:hlinkClick r:id="rId11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85</a:t>
                      </a:r>
                      <a:endParaRPr lang="en-US" sz="105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33.79</a:t>
                      </a:r>
                      <a:endParaRPr lang="en-US" sz="105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220117103"/>
                  </a:ext>
                </a:extLst>
              </a:tr>
              <a:tr h="216301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security for PLMN hosting a NPN </a:t>
                      </a:r>
                      <a:endParaRPr lang="en-US" sz="105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PLMNNPN_SEC</a:t>
                      </a: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25%</a:t>
                      </a: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u="sng" strike="noStrike" cap="none" spc="0">
                          <a:solidFill>
                            <a:schemeClr val="tx1"/>
                          </a:solidFill>
                          <a:effectLst/>
                          <a:hlinkClick r:id="rId1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86</a:t>
                      </a:r>
                      <a:endParaRPr lang="en-US" sz="105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33.757</a:t>
                      </a:r>
                      <a:endParaRPr lang="en-US" sz="105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2733114949"/>
                  </a:ext>
                </a:extLst>
              </a:tr>
              <a:tr h="216301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f ACME for Automated Certificate Management in SBA </a:t>
                      </a:r>
                      <a:endParaRPr lang="en-US" sz="105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FS_ACME_SBA</a:t>
                      </a: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0%</a:t>
                      </a: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u="sng" strike="noStrike" cap="none" spc="0">
                          <a:solidFill>
                            <a:schemeClr val="tx1"/>
                          </a:solidFill>
                          <a:effectLst/>
                          <a:hlinkClick r:id="rId1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87</a:t>
                      </a:r>
                      <a:endParaRPr lang="en-US" sz="105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33.776</a:t>
                      </a:r>
                      <a:endParaRPr lang="en-US" sz="105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1021815997"/>
                  </a:ext>
                </a:extLst>
              </a:tr>
              <a:tr h="226617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3GPP profiles for cryptographic algorithms and security protocols </a:t>
                      </a:r>
                      <a:endParaRPr lang="en-US" sz="105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err="1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CryptoSP</a:t>
                      </a:r>
                      <a:endParaRPr lang="en-US" sz="1050" b="0" i="0" u="none" strike="noStrike" cap="none" spc="0" baseline="0">
                        <a:solidFill>
                          <a:schemeClr val="tx1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Intel Clear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0%</a:t>
                      </a: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u="sng" strike="noStrike" cap="none" spc="0">
                          <a:solidFill>
                            <a:schemeClr val="tx1"/>
                          </a:solidFill>
                          <a:effectLst/>
                          <a:hlinkClick r:id="rId1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93</a:t>
                      </a:r>
                      <a:endParaRPr lang="en-US" sz="105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33.127; 33.203; 33.210; 33.222; 33.246; …</a:t>
                      </a:r>
                      <a:endParaRPr lang="en-US" sz="105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2426310325"/>
                  </a:ext>
                </a:extLst>
              </a:tr>
              <a:tr h="216301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mitigations against bidding down attacks </a:t>
                      </a:r>
                      <a:endParaRPr lang="en-US" sz="105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err="1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FS_MiBiDA</a:t>
                      </a:r>
                      <a:endParaRPr lang="en-US" sz="1050" b="0" i="0" u="none" strike="noStrike" cap="none" spc="0" baseline="0">
                        <a:solidFill>
                          <a:schemeClr val="tx1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Intel Clear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0%</a:t>
                      </a: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u="sng" strike="noStrike" cap="none" spc="0">
                          <a:solidFill>
                            <a:schemeClr val="tx1"/>
                          </a:solidFill>
                          <a:effectLst/>
                          <a:hlinkClick r:id="rId1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89</a:t>
                      </a:r>
                      <a:endParaRPr lang="en-US" sz="105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33.701</a:t>
                      </a:r>
                      <a:endParaRPr lang="en-US" sz="105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3903452309"/>
                  </a:ext>
                </a:extLst>
              </a:tr>
              <a:tr h="278187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ecurity for mobility over non-3GPP access to avoid full primary authentication </a:t>
                      </a:r>
                      <a:endParaRPr lang="en-US" sz="105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FS_Non3GPPMob_Sec</a:t>
                      </a: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0%</a:t>
                      </a: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u="sng" strike="noStrike" cap="none" spc="0">
                          <a:solidFill>
                            <a:schemeClr val="tx1"/>
                          </a:solidFill>
                          <a:effectLst/>
                          <a:hlinkClick r:id="rId1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91</a:t>
                      </a:r>
                      <a:endParaRPr lang="en-US" sz="105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17" marR="608" marT="33391" marB="15465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33.702</a:t>
                      </a:r>
                      <a:endParaRPr lang="en-US" sz="105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2937726"/>
                  </a:ext>
                </a:extLst>
              </a:tr>
              <a:tr h="233917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Study on security aspects of energy saving in 5G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FS_EE_5G_SEC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sng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hlinkClick r:id="rId17"/>
                        </a:rPr>
                        <a:t>SP-240512</a:t>
                      </a:r>
                      <a:endParaRPr lang="en-US" sz="1100" b="0" i="0" u="sng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050" b="0" i="0" u="none" strike="noStrike" cap="none" spc="0" baseline="0">
                        <a:solidFill>
                          <a:schemeClr val="tx1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Intel Clear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2225006438"/>
                  </a:ext>
                </a:extLst>
              </a:tr>
              <a:tr h="212651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Study on security aspects of Core Network Enhanced Support for AIML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FS_AIML_SEC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sng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hlinkClick r:id="rId18"/>
                        </a:rPr>
                        <a:t>SP-240509</a:t>
                      </a:r>
                      <a:endParaRPr lang="en-US" sz="1100" b="0" i="0" u="sng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050" b="0" i="0" u="none" strike="noStrike" cap="none" spc="0" baseline="0">
                        <a:solidFill>
                          <a:schemeClr val="tx1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Intel Clear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811232571"/>
                  </a:ext>
                </a:extLst>
              </a:tr>
              <a:tr h="191386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Study on Security Aspect of Ambient IoT Services in 5G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 err="1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FS_AIOT_Sec</a:t>
                      </a:r>
                      <a:endParaRPr lang="en-US" sz="1050" b="0" i="0" u="none" strike="noStrike" cap="none" spc="0" baseline="0">
                        <a:solidFill>
                          <a:schemeClr val="tx1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Intel Clear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sng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hlinkClick r:id="rId19"/>
                        </a:rPr>
                        <a:t>SP-240506</a:t>
                      </a:r>
                      <a:endParaRPr lang="en-US" sz="1100" b="0" i="0" u="sng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050" b="0" i="0" u="none" strike="noStrike" cap="none" spc="0" baseline="0">
                        <a:solidFill>
                          <a:schemeClr val="tx1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Intel Clear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2608189333"/>
                  </a:ext>
                </a:extLst>
              </a:tr>
              <a:tr h="173896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Study on security aspects of 5G Mobile Metaverse services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FS_Metaverse_Sec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sng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hlinkClick r:id="rId20"/>
                        </a:rPr>
                        <a:t>SP-240508</a:t>
                      </a:r>
                      <a:endParaRPr lang="en-US" sz="1100" b="0" i="0" u="sng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050" b="0" i="0" u="none" strike="noStrike" cap="none" spc="0" baseline="0">
                        <a:solidFill>
                          <a:schemeClr val="tx1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Intel Clear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3996918031"/>
                  </a:ext>
                </a:extLst>
              </a:tr>
              <a:tr h="173896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Study on UAS security enhancements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FS_UAS3_Sec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sng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hlinkClick r:id="rId21"/>
                        </a:rPr>
                        <a:t>SP-240504</a:t>
                      </a:r>
                      <a:endParaRPr lang="en-US" sz="1100" b="0" i="0" u="sng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050" b="0" i="0" u="none" strike="noStrike" cap="none" spc="0" baseline="0">
                        <a:solidFill>
                          <a:schemeClr val="tx1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Intel Clear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643904859"/>
                  </a:ext>
                </a:extLst>
              </a:tr>
              <a:tr h="173896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Study on security aspects for Multi-Access (</a:t>
                      </a:r>
                      <a:r>
                        <a:rPr lang="en-US" sz="1050" b="0" i="0" u="none" strike="noStrike" cap="none" spc="0" baseline="0" err="1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DualSteer</a:t>
                      </a: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 + ATSSS Ph-4)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FS_MASSS_Sec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sng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hlinkClick r:id="rId22"/>
                        </a:rPr>
                        <a:t>SP-240511</a:t>
                      </a:r>
                      <a:endParaRPr lang="en-US" sz="1100" b="0" i="0" u="sng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050" b="0" i="0" u="none" strike="noStrike" cap="none" spc="0" baseline="0">
                        <a:solidFill>
                          <a:schemeClr val="tx1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Intel Clear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3204894345"/>
                  </a:ext>
                </a:extLst>
              </a:tr>
              <a:tr h="173896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Study on Security Aspects of Enhancement of Support for Edge Computing in 5GC phase 3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FS_EDGE_Ph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sng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hlinkClick r:id="rId23"/>
                        </a:rPr>
                        <a:t>SP-240510</a:t>
                      </a:r>
                      <a:endParaRPr lang="en-US" sz="1100" b="0" i="0" u="sng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050" b="0" i="0" u="none" strike="noStrike" cap="none" spc="0" baseline="0">
                        <a:solidFill>
                          <a:schemeClr val="tx1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Intel Clear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1951266343"/>
                  </a:ext>
                </a:extLst>
              </a:tr>
              <a:tr h="173896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Study on security aspects of 5G NR </a:t>
                      </a:r>
                      <a:r>
                        <a:rPr lang="en-US" sz="1050" b="0" i="0" u="none" strike="noStrike" cap="none" spc="0" baseline="0" err="1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Femto</a:t>
                      </a: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 Document for: Approval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FS_5G_Femto_Sec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sng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hlinkClick r:id="rId24"/>
                        </a:rPr>
                        <a:t>SP-240505</a:t>
                      </a:r>
                      <a:endParaRPr lang="en-US" sz="1100" b="0" i="0" u="sng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050" b="0" i="0" u="none" strike="noStrike" cap="none" spc="0" baseline="0">
                        <a:solidFill>
                          <a:schemeClr val="tx1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Intel Clear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67341552"/>
                  </a:ext>
                </a:extLst>
              </a:tr>
              <a:tr h="173896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Study on Security Aspects of Enhancement for Proximity Based Services in 5GS Phase 3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FS_5G_ProSe_Ph3_SEC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sng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hlinkClick r:id="rId25"/>
                        </a:rPr>
                        <a:t>SP-240513</a:t>
                      </a:r>
                      <a:endParaRPr lang="en-US" sz="1100" b="0" i="0" u="sng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050" b="0" i="0" u="none" strike="noStrike" cap="none" spc="0" baseline="0">
                        <a:solidFill>
                          <a:schemeClr val="tx1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Intel Clear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1948411419"/>
                  </a:ext>
                </a:extLst>
              </a:tr>
              <a:tr h="173896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Study on security aspects of User Identities and Authentication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FS_UIA_Sec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sng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hlinkClick r:id="rId26"/>
                        </a:rPr>
                        <a:t>SP-240507</a:t>
                      </a:r>
                      <a:endParaRPr lang="en-US" sz="1100" b="0" i="0" u="sng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050" b="0" i="0" u="none" strike="noStrike" cap="none" spc="0" baseline="0">
                        <a:solidFill>
                          <a:schemeClr val="tx1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Intel Clear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3308698146"/>
                  </a:ext>
                </a:extLst>
              </a:tr>
              <a:tr h="173896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Security aspects for MSGin5G Service Phase 3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5GMARCH_SEC_Ph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sng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hlinkClick r:id="rId27"/>
                        </a:rPr>
                        <a:t>SP-240516</a:t>
                      </a:r>
                      <a:endParaRPr lang="en-US" sz="1100" b="0" i="0" u="sng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33.50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154455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Security Assurance Specification for maintenance of 5G features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SCAS_5G_Main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r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050" b="0" i="0" u="none" strike="noStrike" cap="none" spc="0" baseline="0"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Intel Clear"/>
                        </a:rPr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sng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hlinkClick r:id="rId28"/>
                        </a:rPr>
                        <a:t>SP-240515</a:t>
                      </a:r>
                      <a:endParaRPr lang="en-US" sz="1100" b="0" i="0" u="sng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l" defTabSz="60960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050" b="0" i="0" u="none" strike="noStrike" cap="none" spc="0" baseline="0">
                        <a:solidFill>
                          <a:schemeClr val="tx1"/>
                        </a:solidFill>
                        <a:effectLst/>
                        <a:uFillTx/>
                        <a:latin typeface="+mn-lt"/>
                        <a:ea typeface="+mn-ea"/>
                        <a:cs typeface="+mn-cs"/>
                        <a:sym typeface="Intel Clear"/>
                      </a:endParaRPr>
                    </a:p>
                  </a:txBody>
                  <a:tcPr marL="7217" marR="608" marT="33391" marB="15465" anchor="ctr"/>
                </a:tc>
                <a:extLst>
                  <a:ext uri="{0D108BD9-81ED-4DB2-BD59-A6C34878D82A}">
                    <a16:rowId xmlns:a16="http://schemas.microsoft.com/office/drawing/2014/main" val="22147091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1352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>
            <a:extLst>
              <a:ext uri="{FF2B5EF4-FFF2-40B4-BE49-F238E27FC236}">
                <a16:creationId xmlns:a16="http://schemas.microsoft.com/office/drawing/2014/main" id="{D0072777-E1E6-3C1F-E102-15E95E69EE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2890" y="410240"/>
            <a:ext cx="9112251" cy="1143000"/>
          </a:xfrm>
        </p:spPr>
        <p:txBody>
          <a:bodyPr>
            <a:normAutofit/>
          </a:bodyPr>
          <a:lstStyle/>
          <a:p>
            <a:pPr defTabSz="1219169" rtl="0" hangingPunct="0">
              <a:spcBef>
                <a:spcPts val="2250"/>
              </a:spcBef>
              <a:defRPr/>
            </a:pPr>
            <a:r>
              <a:rPr lang="en-GB" altLang="en-US" sz="3200" b="1">
                <a:solidFill>
                  <a:srgbClr val="000000"/>
                </a:solidFill>
                <a:latin typeface="Montserrat" panose="00000500000000000000" pitchFamily="50" charset="0"/>
                <a:ea typeface="ＭＳ Ｐゴシック" charset="0"/>
              </a:rPr>
              <a:t>SA4 Release 19 SIDs/WIDs</a:t>
            </a:r>
          </a:p>
        </p:txBody>
      </p:sp>
      <p:pic>
        <p:nvPicPr>
          <p:cNvPr id="2" name="table">
            <a:extLst>
              <a:ext uri="{FF2B5EF4-FFF2-40B4-BE49-F238E27FC236}">
                <a16:creationId xmlns:a16="http://schemas.microsoft.com/office/drawing/2014/main" id="{1F42427A-893E-E2D8-1492-5EE82A57E2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180" y="1146251"/>
            <a:ext cx="10699640" cy="3455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63506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>
            <a:extLst>
              <a:ext uri="{FF2B5EF4-FFF2-40B4-BE49-F238E27FC236}">
                <a16:creationId xmlns:a16="http://schemas.microsoft.com/office/drawing/2014/main" id="{D0072777-E1E6-3C1F-E102-15E95E69EE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550" y="475247"/>
            <a:ext cx="11010901" cy="952500"/>
          </a:xfrm>
        </p:spPr>
        <p:txBody>
          <a:bodyPr>
            <a:normAutofit/>
          </a:bodyPr>
          <a:lstStyle/>
          <a:p>
            <a:pPr defTabSz="1219169" rtl="0" hangingPunct="0">
              <a:spcBef>
                <a:spcPts val="2250"/>
              </a:spcBef>
              <a:defRPr/>
            </a:pPr>
            <a:r>
              <a:rPr lang="en-GB" altLang="en-US" sz="3200" b="1">
                <a:solidFill>
                  <a:srgbClr val="000000"/>
                </a:solidFill>
                <a:latin typeface="Montserrat" panose="00000500000000000000" pitchFamily="50" charset="0"/>
                <a:ea typeface="ＭＳ Ｐゴシック" charset="0"/>
              </a:rPr>
              <a:t>SA5 Release 19 SIDs/WID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F850F585-8490-2F6D-932D-DBD3FFC1A7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0934276"/>
              </p:ext>
            </p:extLst>
          </p:nvPr>
        </p:nvGraphicFramePr>
        <p:xfrm>
          <a:off x="590549" y="1248887"/>
          <a:ext cx="11010902" cy="43602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65256">
                  <a:extLst>
                    <a:ext uri="{9D8B030D-6E8A-4147-A177-3AD203B41FA5}">
                      <a16:colId xmlns:a16="http://schemas.microsoft.com/office/drawing/2014/main" val="1863914367"/>
                    </a:ext>
                  </a:extLst>
                </a:gridCol>
                <a:gridCol w="1599345">
                  <a:extLst>
                    <a:ext uri="{9D8B030D-6E8A-4147-A177-3AD203B41FA5}">
                      <a16:colId xmlns:a16="http://schemas.microsoft.com/office/drawing/2014/main" val="4193447877"/>
                    </a:ext>
                  </a:extLst>
                </a:gridCol>
                <a:gridCol w="946205">
                  <a:extLst>
                    <a:ext uri="{9D8B030D-6E8A-4147-A177-3AD203B41FA5}">
                      <a16:colId xmlns:a16="http://schemas.microsoft.com/office/drawing/2014/main" val="4100741566"/>
                    </a:ext>
                  </a:extLst>
                </a:gridCol>
                <a:gridCol w="1367624">
                  <a:extLst>
                    <a:ext uri="{9D8B030D-6E8A-4147-A177-3AD203B41FA5}">
                      <a16:colId xmlns:a16="http://schemas.microsoft.com/office/drawing/2014/main" val="3398889486"/>
                    </a:ext>
                  </a:extLst>
                </a:gridCol>
                <a:gridCol w="2732472">
                  <a:extLst>
                    <a:ext uri="{9D8B030D-6E8A-4147-A177-3AD203B41FA5}">
                      <a16:colId xmlns:a16="http://schemas.microsoft.com/office/drawing/2014/main" val="2242924805"/>
                    </a:ext>
                  </a:extLst>
                </a:gridCol>
              </a:tblGrid>
              <a:tr h="23825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Name</a:t>
                      </a:r>
                      <a:endParaRPr lang="en-US" sz="1200" b="1" i="0" u="none" strike="noStrike" cap="none" spc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Acronym</a:t>
                      </a:r>
                      <a:endParaRPr lang="en-US" sz="1200" b="1" i="0" u="none" strike="noStrike" cap="none" spc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%Complete</a:t>
                      </a:r>
                      <a:endParaRPr lang="en-US" sz="1200" b="1" i="0" u="none" strike="noStrike" cap="none" spc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Hyperlink</a:t>
                      </a:r>
                      <a:endParaRPr lang="en-US" sz="1200" b="1" i="0" u="none" strike="noStrike" cap="none" spc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cap="none" spc="0">
                          <a:solidFill>
                            <a:schemeClr val="bg1"/>
                          </a:solidFill>
                          <a:effectLst/>
                        </a:rPr>
                        <a:t>Impacted TSs and TRs</a:t>
                      </a:r>
                      <a:endParaRPr lang="en-US" sz="1200" b="1" i="0" u="none" strike="noStrike" cap="none" spc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b"/>
                </a:tc>
                <a:extLst>
                  <a:ext uri="{0D108BD9-81ED-4DB2-BD59-A6C34878D82A}">
                    <a16:rowId xmlns:a16="http://schemas.microsoft.com/office/drawing/2014/main" val="3350521729"/>
                  </a:ext>
                </a:extLst>
              </a:tr>
              <a:tr h="189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 Study on energy efficiency and energy saving aspects of 5G networks and services </a:t>
                      </a:r>
                      <a:endParaRPr lang="en-US" sz="10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Energy_OAM_Ph3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10%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23</a:t>
                      </a:r>
                      <a:endParaRPr lang="en-US" sz="10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28.866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extLst>
                  <a:ext uri="{0D108BD9-81ED-4DB2-BD59-A6C34878D82A}">
                    <a16:rowId xmlns:a16="http://schemas.microsoft.com/office/drawing/2014/main" val="2742509856"/>
                  </a:ext>
                </a:extLst>
              </a:tr>
              <a:tr h="189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AI/ML management - phase 2 </a:t>
                      </a:r>
                      <a:endParaRPr lang="en-US" sz="10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AIML_MGT_Ph2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0%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80</a:t>
                      </a:r>
                      <a:endParaRPr lang="en-US" sz="10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extLst>
                  <a:ext uri="{0D108BD9-81ED-4DB2-BD59-A6C34878D82A}">
                    <a16:rowId xmlns:a16="http://schemas.microsoft.com/office/drawing/2014/main" val="2665623962"/>
                  </a:ext>
                </a:extLst>
              </a:tr>
              <a:tr h="189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intent driven management services for mobile network phase 3 </a:t>
                      </a:r>
                      <a:endParaRPr lang="en-US" sz="10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IDMS_MN_Ph3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0%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37</a:t>
                      </a:r>
                      <a:endParaRPr lang="en-US" sz="10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extLst>
                  <a:ext uri="{0D108BD9-81ED-4DB2-BD59-A6C34878D82A}">
                    <a16:rowId xmlns:a16="http://schemas.microsoft.com/office/drawing/2014/main" val="619805883"/>
                  </a:ext>
                </a:extLst>
              </a:tr>
              <a:tr h="189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closed control loop management </a:t>
                      </a:r>
                      <a:endParaRPr lang="en-US" sz="10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CCLM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0%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35</a:t>
                      </a:r>
                      <a:endParaRPr lang="en-US" sz="10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extLst>
                  <a:ext uri="{0D108BD9-81ED-4DB2-BD59-A6C34878D82A}">
                    <a16:rowId xmlns:a16="http://schemas.microsoft.com/office/drawing/2014/main" val="3885716358"/>
                  </a:ext>
                </a:extLst>
              </a:tr>
              <a:tr h="189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Cloud Aspects of Management and Orchestration </a:t>
                      </a:r>
                      <a:endParaRPr lang="en-US" sz="10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Cloud_OAM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0%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81</a:t>
                      </a:r>
                      <a:endParaRPr lang="en-US" sz="10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extLst>
                  <a:ext uri="{0D108BD9-81ED-4DB2-BD59-A6C34878D82A}">
                    <a16:rowId xmlns:a16="http://schemas.microsoft.com/office/drawing/2014/main" val="2647920210"/>
                  </a:ext>
                </a:extLst>
              </a:tr>
              <a:tr h="189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Service Based Management Architecture enhancement phase 3 </a:t>
                      </a:r>
                      <a:endParaRPr lang="en-US" sz="10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SBMA_Ph3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0%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25</a:t>
                      </a:r>
                      <a:endParaRPr lang="en-US" sz="10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extLst>
                  <a:ext uri="{0D108BD9-81ED-4DB2-BD59-A6C34878D82A}">
                    <a16:rowId xmlns:a16="http://schemas.microsoft.com/office/drawing/2014/main" val="2379428447"/>
                  </a:ext>
                </a:extLst>
              </a:tr>
              <a:tr h="189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data management regarding subscriptions and reporting </a:t>
                      </a:r>
                      <a:endParaRPr lang="en-US" sz="10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Data_SREP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0%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32</a:t>
                      </a:r>
                      <a:endParaRPr lang="en-US" sz="10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extLst>
                  <a:ext uri="{0D108BD9-81ED-4DB2-BD59-A6C34878D82A}">
                    <a16:rowId xmlns:a16="http://schemas.microsoft.com/office/drawing/2014/main" val="2428205028"/>
                  </a:ext>
                </a:extLst>
              </a:tr>
              <a:tr h="189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Management Aspects of NTN Phase 2 </a:t>
                      </a:r>
                      <a:endParaRPr lang="en-US" sz="10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NTN_OAM_Ph2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0%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9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33</a:t>
                      </a:r>
                      <a:endParaRPr lang="en-US" sz="10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extLst>
                  <a:ext uri="{0D108BD9-81ED-4DB2-BD59-A6C34878D82A}">
                    <a16:rowId xmlns:a16="http://schemas.microsoft.com/office/drawing/2014/main" val="2634250463"/>
                  </a:ext>
                </a:extLst>
              </a:tr>
              <a:tr h="189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management of IAB nodes </a:t>
                      </a:r>
                      <a:endParaRPr lang="en-US" sz="10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n-NO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NR_mobile_IAB_OAM</a:t>
                      </a:r>
                      <a:endParaRPr lang="nn-NO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0%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1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29</a:t>
                      </a:r>
                      <a:endParaRPr lang="en-US" sz="10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extLst>
                  <a:ext uri="{0D108BD9-81ED-4DB2-BD59-A6C34878D82A}">
                    <a16:rowId xmlns:a16="http://schemas.microsoft.com/office/drawing/2014/main" val="3540417055"/>
                  </a:ext>
                </a:extLst>
              </a:tr>
              <a:tr h="189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Management of Network Sharing Phase3 </a:t>
                      </a:r>
                      <a:endParaRPr lang="en-US" sz="10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NetShare_OAM_Ph3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0%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11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31</a:t>
                      </a:r>
                      <a:endParaRPr lang="en-US" sz="10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extLst>
                  <a:ext uri="{0D108BD9-81ED-4DB2-BD59-A6C34878D82A}">
                    <a16:rowId xmlns:a16="http://schemas.microsoft.com/office/drawing/2014/main" val="3092192233"/>
                  </a:ext>
                </a:extLst>
              </a:tr>
              <a:tr h="189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Enablers for Security Monitoring </a:t>
                      </a:r>
                      <a:endParaRPr lang="en-US" sz="10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SECM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0%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1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36</a:t>
                      </a:r>
                      <a:endParaRPr lang="en-US" sz="10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28.87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extLst>
                  <a:ext uri="{0D108BD9-81ED-4DB2-BD59-A6C34878D82A}">
                    <a16:rowId xmlns:a16="http://schemas.microsoft.com/office/drawing/2014/main" val="2625166682"/>
                  </a:ext>
                </a:extLst>
              </a:tr>
              <a:tr h="189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management aspects of RedCap feature </a:t>
                      </a:r>
                      <a:endParaRPr lang="en-US" sz="10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NR_RedCap_OAM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0%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1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34</a:t>
                      </a:r>
                      <a:endParaRPr lang="en-US" sz="10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extLst>
                  <a:ext uri="{0D108BD9-81ED-4DB2-BD59-A6C34878D82A}">
                    <a16:rowId xmlns:a16="http://schemas.microsoft.com/office/drawing/2014/main" val="3918881088"/>
                  </a:ext>
                </a:extLst>
              </a:tr>
              <a:tr h="189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management aspects of Network Digital Twin </a:t>
                      </a:r>
                      <a:endParaRPr lang="en-US" sz="10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NDT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0%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1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428</a:t>
                      </a:r>
                      <a:endParaRPr lang="en-US" sz="10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28.915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extLst>
                  <a:ext uri="{0D108BD9-81ED-4DB2-BD59-A6C34878D82A}">
                    <a16:rowId xmlns:a16="http://schemas.microsoft.com/office/drawing/2014/main" val="1292539710"/>
                  </a:ext>
                </a:extLst>
              </a:tr>
              <a:tr h="189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Management Data Analytics (MDA) Phase 3 </a:t>
                      </a:r>
                      <a:endParaRPr lang="en-US" sz="10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eMDAS_Ph3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0%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1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26</a:t>
                      </a:r>
                      <a:endParaRPr lang="en-US" sz="10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extLst>
                  <a:ext uri="{0D108BD9-81ED-4DB2-BD59-A6C34878D82A}">
                    <a16:rowId xmlns:a16="http://schemas.microsoft.com/office/drawing/2014/main" val="2221269727"/>
                  </a:ext>
                </a:extLst>
              </a:tr>
              <a:tr h="189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Enhancement of Management Aspects related to NWDAF Phase 2 </a:t>
                      </a:r>
                      <a:endParaRPr lang="en-US" sz="10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NWDAF_OAM_Ph2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0%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1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24</a:t>
                      </a:r>
                      <a:endParaRPr lang="en-US" sz="10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extLst>
                  <a:ext uri="{0D108BD9-81ED-4DB2-BD59-A6C34878D82A}">
                    <a16:rowId xmlns:a16="http://schemas.microsoft.com/office/drawing/2014/main" val="1279468587"/>
                  </a:ext>
                </a:extLst>
              </a:tr>
              <a:tr h="189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Management of planned configurations </a:t>
                      </a:r>
                      <a:endParaRPr lang="en-US" sz="10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PlanM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0%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1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21</a:t>
                      </a:r>
                      <a:endParaRPr lang="en-US" sz="10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28.872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extLst>
                  <a:ext uri="{0D108BD9-81ED-4DB2-BD59-A6C34878D82A}">
                    <a16:rowId xmlns:a16="http://schemas.microsoft.com/office/drawing/2014/main" val="2100404559"/>
                  </a:ext>
                </a:extLst>
              </a:tr>
              <a:tr h="189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tudy on Enhanced OAM for management exposure to external consumers </a:t>
                      </a:r>
                      <a:endParaRPr lang="en-US" sz="1000" b="0" i="1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FS_MExpo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0%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1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28</a:t>
                      </a:r>
                      <a:endParaRPr lang="en-US" sz="10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extLst>
                  <a:ext uri="{0D108BD9-81ED-4DB2-BD59-A6C34878D82A}">
                    <a16:rowId xmlns:a16="http://schemas.microsoft.com/office/drawing/2014/main" val="3820179805"/>
                  </a:ext>
                </a:extLst>
              </a:tr>
              <a:tr h="189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Data management phase 2 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MADCOL_Ph2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0%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19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46</a:t>
                      </a:r>
                      <a:endParaRPr lang="en-US" sz="10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28.622; 28.623 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extLst>
                  <a:ext uri="{0D108BD9-81ED-4DB2-BD59-A6C34878D82A}">
                    <a16:rowId xmlns:a16="http://schemas.microsoft.com/office/drawing/2014/main" val="1308946731"/>
                  </a:ext>
                </a:extLst>
              </a:tr>
              <a:tr h="189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5G performance measurements and KPIs phase 4 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PM_KPI_5G_Ph4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0%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2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47</a:t>
                      </a:r>
                      <a:endParaRPr lang="en-US" sz="10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28.552; 32.425; 28.554; 28.532; 28.550; 28.abc </a:t>
                      </a:r>
                      <a:endParaRPr lang="pl-PL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extLst>
                  <a:ext uri="{0D108BD9-81ED-4DB2-BD59-A6C34878D82A}">
                    <a16:rowId xmlns:a16="http://schemas.microsoft.com/office/drawing/2014/main" val="3579552966"/>
                  </a:ext>
                </a:extLst>
              </a:tr>
              <a:tr h="189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5G Advanced NRM features phase 3 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AdNRM_Ph3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0%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21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45</a:t>
                      </a:r>
                      <a:endParaRPr lang="en-US" sz="10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28.540; 28.541; 28.622; 28.623 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extLst>
                  <a:ext uri="{0D108BD9-81ED-4DB2-BD59-A6C34878D82A}">
                    <a16:rowId xmlns:a16="http://schemas.microsoft.com/office/drawing/2014/main" val="2424989707"/>
                  </a:ext>
                </a:extLst>
              </a:tr>
              <a:tr h="189036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Subscriber and Equipment Trace and QoE collection management 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TraceQoE_OAM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0%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sng" strike="noStrike" cap="none" spc="0">
                          <a:solidFill>
                            <a:schemeClr val="tx1"/>
                          </a:solidFill>
                          <a:effectLst/>
                          <a:hlinkClick r:id="rId2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P-231748</a:t>
                      </a:r>
                      <a:endParaRPr lang="en-US" sz="1000" b="0" i="0" u="sng" strike="noStrike" cap="none" spc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5008" marR="2679" marT="4288" marB="3216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u="none" strike="noStrike" cap="none" spc="0">
                          <a:solidFill>
                            <a:schemeClr val="tx1"/>
                          </a:solidFill>
                          <a:effectLst/>
                        </a:rPr>
                        <a:t>32.421; 32.422; 32.423; 28.404; 28.405; 28.406; 28.622; 28.623 </a:t>
                      </a:r>
                      <a:endParaRPr lang="en-US" sz="1000" b="0" i="0" u="none" strike="noStrike" cap="none" spc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5008" marR="2679" marT="4288" marB="32160" anchor="ctr"/>
                </a:tc>
                <a:extLst>
                  <a:ext uri="{0D108BD9-81ED-4DB2-BD59-A6C34878D82A}">
                    <a16:rowId xmlns:a16="http://schemas.microsoft.com/office/drawing/2014/main" val="20457119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26521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>
            <a:extLst>
              <a:ext uri="{FF2B5EF4-FFF2-40B4-BE49-F238E27FC236}">
                <a16:creationId xmlns:a16="http://schemas.microsoft.com/office/drawing/2014/main" id="{D0072777-E1E6-3C1F-E102-15E95E69EE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2916" y="571500"/>
            <a:ext cx="10972801" cy="883673"/>
          </a:xfrm>
        </p:spPr>
        <p:txBody>
          <a:bodyPr>
            <a:normAutofit/>
          </a:bodyPr>
          <a:lstStyle/>
          <a:p>
            <a:pPr defTabSz="1219169" rtl="0" hangingPunct="0">
              <a:spcBef>
                <a:spcPts val="2250"/>
              </a:spcBef>
              <a:defRPr/>
            </a:pPr>
            <a:r>
              <a:rPr lang="en-GB" altLang="en-US" sz="3200" b="1">
                <a:solidFill>
                  <a:srgbClr val="000000"/>
                </a:solidFill>
                <a:latin typeface="Montserrat" panose="00000500000000000000" pitchFamily="50" charset="0"/>
                <a:ea typeface="ＭＳ Ｐゴシック" charset="0"/>
              </a:rPr>
              <a:t>SA6 Release 19 SIDS/WID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8A8D536-B75B-D676-0E6F-04A594C50A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4126539"/>
              </p:ext>
            </p:extLst>
          </p:nvPr>
        </p:nvGraphicFramePr>
        <p:xfrm>
          <a:off x="592913" y="1280883"/>
          <a:ext cx="10972804" cy="45346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27669">
                  <a:extLst>
                    <a:ext uri="{9D8B030D-6E8A-4147-A177-3AD203B41FA5}">
                      <a16:colId xmlns:a16="http://schemas.microsoft.com/office/drawing/2014/main" val="2849087000"/>
                    </a:ext>
                  </a:extLst>
                </a:gridCol>
                <a:gridCol w="1370198">
                  <a:extLst>
                    <a:ext uri="{9D8B030D-6E8A-4147-A177-3AD203B41FA5}">
                      <a16:colId xmlns:a16="http://schemas.microsoft.com/office/drawing/2014/main" val="476922360"/>
                    </a:ext>
                  </a:extLst>
                </a:gridCol>
                <a:gridCol w="995046">
                  <a:extLst>
                    <a:ext uri="{9D8B030D-6E8A-4147-A177-3AD203B41FA5}">
                      <a16:colId xmlns:a16="http://schemas.microsoft.com/office/drawing/2014/main" val="977988646"/>
                    </a:ext>
                  </a:extLst>
                </a:gridCol>
                <a:gridCol w="826875">
                  <a:extLst>
                    <a:ext uri="{9D8B030D-6E8A-4147-A177-3AD203B41FA5}">
                      <a16:colId xmlns:a16="http://schemas.microsoft.com/office/drawing/2014/main" val="227415433"/>
                    </a:ext>
                  </a:extLst>
                </a:gridCol>
                <a:gridCol w="2853016">
                  <a:extLst>
                    <a:ext uri="{9D8B030D-6E8A-4147-A177-3AD203B41FA5}">
                      <a16:colId xmlns:a16="http://schemas.microsoft.com/office/drawing/2014/main" val="1565776411"/>
                    </a:ext>
                  </a:extLst>
                </a:gridCol>
              </a:tblGrid>
              <a:tr h="310575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1" u="none" strike="noStrike" cap="none" spc="0">
                          <a:solidFill>
                            <a:srgbClr val="FFFFFF"/>
                          </a:solidFill>
                          <a:effectLst/>
                        </a:rPr>
                        <a:t>Name</a:t>
                      </a:r>
                      <a:endParaRPr lang="en-US" sz="1300" b="1" i="0" u="none" strike="noStrike" cap="none" spc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166" marR="4166" marT="7151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1" u="none" strike="noStrike" cap="none" spc="0">
                          <a:solidFill>
                            <a:srgbClr val="FFFFFF"/>
                          </a:solidFill>
                          <a:effectLst/>
                        </a:rPr>
                        <a:t>Acronym</a:t>
                      </a:r>
                      <a:endParaRPr lang="en-US" sz="1300" b="1" i="0" u="none" strike="noStrike" cap="none" spc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166" marR="4166" marT="7151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1" u="none" strike="noStrike" cap="none" spc="0">
                          <a:solidFill>
                            <a:srgbClr val="FFFFFF"/>
                          </a:solidFill>
                          <a:effectLst/>
                        </a:rPr>
                        <a:t>%Complete</a:t>
                      </a:r>
                      <a:endParaRPr lang="en-US" sz="1300" b="1" i="0" u="none" strike="noStrike" cap="none" spc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166" marR="4166" marT="7151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1" u="none" strike="noStrike" cap="none" spc="0">
                          <a:solidFill>
                            <a:srgbClr val="FFFFFF"/>
                          </a:solidFill>
                          <a:effectLst/>
                        </a:rPr>
                        <a:t>Hyperlink</a:t>
                      </a:r>
                      <a:endParaRPr lang="en-US" sz="1300" b="1" i="0" u="none" strike="noStrike" cap="none" spc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166" marR="4166" marT="71512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1" u="none" strike="noStrike" cap="none" spc="0">
                          <a:solidFill>
                            <a:srgbClr val="FFFFFF"/>
                          </a:solidFill>
                          <a:effectLst/>
                        </a:rPr>
                        <a:t>Impacted TSs and TRs</a:t>
                      </a:r>
                      <a:endParaRPr lang="en-US" sz="1300" b="1" i="0" u="none" strike="noStrike" cap="none" spc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166" marR="4166" marT="71512" marB="0" anchor="ctr"/>
                </a:tc>
                <a:extLst>
                  <a:ext uri="{0D108BD9-81ED-4DB2-BD59-A6C34878D82A}">
                    <a16:rowId xmlns:a16="http://schemas.microsoft.com/office/drawing/2014/main" val="1827009397"/>
                  </a:ext>
                </a:extLst>
              </a:tr>
              <a:tr h="264004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Study on application layer support for AI/ML services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FS_AIMLAPP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/>
                        <a:t>5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>
                          <a:hlinkClick r:id="rId2"/>
                        </a:rPr>
                        <a:t>SP-231182</a:t>
                      </a:r>
                      <a:endParaRPr lang="en-GB" sz="1100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23.700-8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45158755"/>
                  </a:ext>
                </a:extLst>
              </a:tr>
              <a:tr h="264004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   Study on application enablement for Satellite access enabled 5G Services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FS_5GSAT_Ph3_App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/>
                        <a:t>2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>
                          <a:hlinkClick r:id="rId3"/>
                        </a:rPr>
                        <a:t>SP-240296</a:t>
                      </a:r>
                      <a:endParaRPr lang="en-GB" sz="1100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23.700-0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4280119"/>
                  </a:ext>
                </a:extLst>
              </a:tr>
              <a:tr h="264004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   Study on application enablement for Localized Mobile Metaverse Services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FS_Metaverse_App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/>
                        <a:t>3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>
                          <a:hlinkClick r:id="rId4"/>
                        </a:rPr>
                        <a:t>SP-231806</a:t>
                      </a:r>
                      <a:endParaRPr lang="en-GB" sz="1100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23.700-2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441588163"/>
                  </a:ext>
                </a:extLst>
              </a:tr>
              <a:tr h="264004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Study on Application enabler for XR Services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FS_XRApp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/>
                        <a:t>2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>
                          <a:hlinkClick r:id="rId5"/>
                        </a:rPr>
                        <a:t>SP-2315739</a:t>
                      </a:r>
                      <a:endParaRPr lang="en-GB" sz="1100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23.700-2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43250972"/>
                  </a:ext>
                </a:extLst>
              </a:tr>
              <a:tr h="264004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   Study on Sensing application enabler for vertical applications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FS_SensingAPP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/>
                        <a:t>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>
                          <a:hlinkClick r:id="rId6"/>
                        </a:rPr>
                        <a:t>SP-231579</a:t>
                      </a:r>
                      <a:endParaRPr lang="en-GB" sz="1100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 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56850348"/>
                  </a:ext>
                </a:extLst>
              </a:tr>
              <a:tr h="264004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   Application Architecture for UAS applications Phase 3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UASAPP_Ph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/>
                        <a:t>4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>
                          <a:hlinkClick r:id="rId7"/>
                        </a:rPr>
                        <a:t>SP-230991</a:t>
                      </a:r>
                      <a:endParaRPr lang="en-GB" sz="1100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23.255; 23.434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742910705"/>
                  </a:ext>
                </a:extLst>
              </a:tr>
              <a:tr h="264004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Study on Service aspects for supporting the eMMTel service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FS_eMMTelAPP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/>
                        <a:t>3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>
                          <a:hlinkClick r:id="rId8"/>
                        </a:rPr>
                        <a:t>SP-230779</a:t>
                      </a:r>
                      <a:endParaRPr lang="en-GB" sz="1100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23.222 ; 23.700-9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46018359"/>
                  </a:ext>
                </a:extLst>
              </a:tr>
              <a:tr h="264004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Study on enhanced application layer support for location services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FS_eLSAPP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/>
                        <a:t>4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>
                          <a:hlinkClick r:id="rId9"/>
                        </a:rPr>
                        <a:t>SP-240295</a:t>
                      </a:r>
                      <a:endParaRPr lang="en-GB" sz="1100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23.434 ; 23.700-7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772636671"/>
                  </a:ext>
                </a:extLst>
              </a:tr>
              <a:tr h="264004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Sharing of administrative configuration between interconnected MC service systems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MCShAC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/>
                        <a:t>9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>
                          <a:hlinkClick r:id="rId10"/>
                        </a:rPr>
                        <a:t>SP-230692</a:t>
                      </a:r>
                      <a:endParaRPr lang="en-GB" sz="1100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23.280; 23.379; 23.281; 23.282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8622253"/>
                  </a:ext>
                </a:extLst>
              </a:tr>
              <a:tr h="264004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5GMSG Service phase 3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5GMARCH_Ph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/>
                        <a:t>3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>
                          <a:hlinkClick r:id="rId11"/>
                        </a:rPr>
                        <a:t>SP-230781</a:t>
                      </a:r>
                      <a:endParaRPr lang="en-GB" sz="1100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 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92728621"/>
                  </a:ext>
                </a:extLst>
              </a:tr>
              <a:tr h="264004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Railways specific Enhancements to Mission Critical Services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enh4FRMC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/>
                        <a:t>4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>
                          <a:hlinkClick r:id="rId12"/>
                        </a:rPr>
                        <a:t>SP-230780</a:t>
                      </a:r>
                      <a:endParaRPr lang="en-GB" sz="1100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23.280; 23.281; 23.282; 23.379; 23.283; 23.289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94741934"/>
                  </a:ext>
                </a:extLst>
              </a:tr>
              <a:tr h="264004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Enhanced Mission Critical Architectur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enhMC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/>
                        <a:t>4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>
                          <a:hlinkClick r:id="rId13"/>
                        </a:rPr>
                        <a:t>SP-230988</a:t>
                      </a:r>
                      <a:endParaRPr lang="en-GB" sz="1100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23.280; 23.379; 23.281; 23.282; 23.283; 23.289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66329676"/>
                  </a:ext>
                </a:extLst>
              </a:tr>
              <a:tr h="264004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SEAL DD (Data Delivery) Phase 2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SEALDD_Ph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/>
                        <a:t>3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>
                          <a:hlinkClick r:id="rId14"/>
                        </a:rPr>
                        <a:t>SP-230989</a:t>
                      </a:r>
                      <a:endParaRPr lang="en-GB" sz="1100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 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30729915"/>
                  </a:ext>
                </a:extLst>
              </a:tr>
              <a:tr h="264004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Architecture for enabling Edge Applications Phase 3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EDGEAPP_Ph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/>
                        <a:t>3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>
                          <a:hlinkClick r:id="rId15"/>
                        </a:rPr>
                        <a:t>SP-231160</a:t>
                      </a:r>
                      <a:endParaRPr lang="en-GB" sz="1100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/>
                        <a:t>23.55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00729571"/>
                  </a:ext>
                </a:extLst>
              </a:tr>
              <a:tr h="264004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Guidelines for CAPIF Usage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CAPIF_EX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/>
                        <a:t>5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>
                          <a:hlinkClick r:id="rId16"/>
                        </a:rPr>
                        <a:t>SP-231161</a:t>
                      </a:r>
                      <a:endParaRPr lang="en-GB" sz="1100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/>
                        <a:t>23.94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42796954"/>
                  </a:ext>
                </a:extLst>
              </a:tr>
              <a:tr h="264004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Study on CAPIF Phase 3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FS_CAPIF_Ph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100"/>
                        <a:t>2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>
                          <a:hlinkClick r:id="rId17"/>
                        </a:rPr>
                        <a:t>SP-231741</a:t>
                      </a:r>
                      <a:endParaRPr lang="en-GB" sz="1100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/>
                        <a:t>23.700-2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4812518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45798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711872-7B2A-5CE3-A13B-6AEAB88FF4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370" y="571500"/>
            <a:ext cx="11010816" cy="952499"/>
          </a:xfrm>
        </p:spPr>
        <p:txBody>
          <a:bodyPr>
            <a:normAutofit/>
          </a:bodyPr>
          <a:lstStyle/>
          <a:p>
            <a:r>
              <a:rPr kumimoji="0" lang="en-GB" sz="3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0"/>
                <a:cs typeface="Intel Clear Light" panose="020B0404020203020204" pitchFamily="34" charset="0"/>
                <a:sym typeface="Helvetica"/>
              </a:rPr>
              <a:t>6G Timeline – Summary</a:t>
            </a:r>
            <a:br>
              <a:rPr kumimoji="0" lang="en-GB" sz="4000" b="0" i="0" u="none" strike="noStrike" kern="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Intel Clear Light" panose="020B0404020203020204" pitchFamily="34" charset="0"/>
                <a:ea typeface="Intel Clear Light" panose="020B0404020203020204" pitchFamily="34" charset="0"/>
                <a:cs typeface="Intel Clear Light" panose="020B0404020203020204" pitchFamily="34" charset="0"/>
                <a:sym typeface="Helvetica"/>
              </a:rPr>
            </a:br>
            <a:endParaRPr lang="en-GB" sz="3400"/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61BDA80F-7471-B8BC-D47D-08DC952A2338}"/>
              </a:ext>
            </a:extLst>
          </p:cNvPr>
          <p:cNvGraphicFramePr>
            <a:graphicFrameLocks noGrp="1"/>
          </p:cNvGraphicFramePr>
          <p:nvPr>
            <p:ph sz="quarter" idx="28"/>
            <p:extLst>
              <p:ext uri="{D42A27DB-BD31-4B8C-83A1-F6EECF244321}">
                <p14:modId xmlns:p14="http://schemas.microsoft.com/office/powerpoint/2010/main" val="239077386"/>
              </p:ext>
            </p:extLst>
          </p:nvPr>
        </p:nvGraphicFramePr>
        <p:xfrm>
          <a:off x="507760" y="1523999"/>
          <a:ext cx="11010900" cy="45749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165089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3">
            <a:extLst>
              <a:ext uri="{FF2B5EF4-FFF2-40B4-BE49-F238E27FC236}">
                <a16:creationId xmlns:a16="http://schemas.microsoft.com/office/drawing/2014/main" id="{2DD653F5-AF66-7CFC-1B0F-09CF85375E03}"/>
              </a:ext>
            </a:extLst>
          </p:cNvPr>
          <p:cNvGraphicFramePr>
            <a:graphicFrameLocks noGrp="1"/>
          </p:cNvGraphicFramePr>
          <p:nvPr>
            <p:ph sz="quarter" idx="28"/>
            <p:extLst>
              <p:ext uri="{D42A27DB-BD31-4B8C-83A1-F6EECF244321}">
                <p14:modId xmlns:p14="http://schemas.microsoft.com/office/powerpoint/2010/main" val="3894494222"/>
              </p:ext>
            </p:extLst>
          </p:nvPr>
        </p:nvGraphicFramePr>
        <p:xfrm>
          <a:off x="571370" y="1673454"/>
          <a:ext cx="11010900" cy="45749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E60DD59B-F6B6-C884-A15D-C6031D65E7CD}"/>
              </a:ext>
            </a:extLst>
          </p:cNvPr>
          <p:cNvSpPr txBox="1">
            <a:spLocks/>
          </p:cNvSpPr>
          <p:nvPr/>
        </p:nvSpPr>
        <p:spPr>
          <a:xfrm>
            <a:off x="780419" y="446672"/>
            <a:ext cx="11010816" cy="952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rmAutofit/>
          </a:bodyPr>
          <a:lstStyle>
            <a:lvl1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0" i="0" u="none" strike="noStrike" cap="none" spc="0" baseline="0">
                <a:solidFill>
                  <a:srgbClr val="525252"/>
                </a:solidFill>
                <a:uFillTx/>
                <a:latin typeface="Intel Clear Light" panose="020B0404020203020204" pitchFamily="34" charset="0"/>
                <a:ea typeface="Intel Clear Light" panose="020B0404020203020204" pitchFamily="34" charset="0"/>
                <a:cs typeface="Intel Clear Light" panose="020B0404020203020204" pitchFamily="34" charset="0"/>
                <a:sym typeface="Helvetica"/>
              </a:defRPr>
            </a:lvl1pPr>
            <a:lvl2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2pPr>
            <a:lvl3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3pPr>
            <a:lvl4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4pPr>
            <a:lvl5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5pPr>
            <a:lvl6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6pPr>
            <a:lvl7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7pPr>
            <a:lvl8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8pPr>
            <a:lvl9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9pPr>
          </a:lstStyle>
          <a:p>
            <a:pPr marL="0" marR="0" lvl="0" indent="0" algn="l" defTabSz="609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0"/>
                <a:sym typeface="Helvetica"/>
              </a:rPr>
              <a:t>6G timeline – Planning (1/2)</a:t>
            </a:r>
            <a:br>
              <a:rPr kumimoji="0" lang="en-GB" sz="4000" b="0" i="0" u="none" strike="noStrike" kern="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Intel Clear Light" panose="020B0404020203020204" pitchFamily="34" charset="0"/>
                <a:sym typeface="Helvetica"/>
              </a:rPr>
            </a:br>
            <a:endParaRPr kumimoji="0" lang="en-GB" sz="3400" b="0" i="0" u="none" strike="noStrike" kern="0" cap="none" spc="0" normalizeH="0" baseline="0" noProof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Intel Clear Light" panose="020B0404020203020204" pitchFamily="34" charset="0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0245975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662F0F-FC47-7AC7-E9C0-46E511D547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3">
            <a:extLst>
              <a:ext uri="{FF2B5EF4-FFF2-40B4-BE49-F238E27FC236}">
                <a16:creationId xmlns:a16="http://schemas.microsoft.com/office/drawing/2014/main" id="{7CF41496-AB72-D7EA-26EC-43F4A0E61885}"/>
              </a:ext>
            </a:extLst>
          </p:cNvPr>
          <p:cNvGraphicFramePr>
            <a:graphicFrameLocks noGrp="1"/>
          </p:cNvGraphicFramePr>
          <p:nvPr>
            <p:ph sz="quarter" idx="28"/>
            <p:extLst>
              <p:ext uri="{D42A27DB-BD31-4B8C-83A1-F6EECF244321}">
                <p14:modId xmlns:p14="http://schemas.microsoft.com/office/powerpoint/2010/main" val="2481110479"/>
              </p:ext>
            </p:extLst>
          </p:nvPr>
        </p:nvGraphicFramePr>
        <p:xfrm>
          <a:off x="571370" y="1438274"/>
          <a:ext cx="11010900" cy="49339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6998BD58-474F-7DB3-A84D-F1CD9450FAC3}"/>
              </a:ext>
            </a:extLst>
          </p:cNvPr>
          <p:cNvSpPr txBox="1">
            <a:spLocks/>
          </p:cNvSpPr>
          <p:nvPr/>
        </p:nvSpPr>
        <p:spPr>
          <a:xfrm>
            <a:off x="714245" y="485775"/>
            <a:ext cx="11010816" cy="952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rmAutofit/>
          </a:bodyPr>
          <a:lstStyle>
            <a:lvl1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0" i="0" u="none" strike="noStrike" cap="none" spc="0" baseline="0">
                <a:solidFill>
                  <a:srgbClr val="525252"/>
                </a:solidFill>
                <a:uFillTx/>
                <a:latin typeface="Intel Clear Light" panose="020B0404020203020204" pitchFamily="34" charset="0"/>
                <a:ea typeface="Intel Clear Light" panose="020B0404020203020204" pitchFamily="34" charset="0"/>
                <a:cs typeface="Intel Clear Light" panose="020B0404020203020204" pitchFamily="34" charset="0"/>
                <a:sym typeface="Helvetica"/>
              </a:defRPr>
            </a:lvl1pPr>
            <a:lvl2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2pPr>
            <a:lvl3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3pPr>
            <a:lvl4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4pPr>
            <a:lvl5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5pPr>
            <a:lvl6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6pPr>
            <a:lvl7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7pPr>
            <a:lvl8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8pPr>
            <a:lvl9pPr marL="0" marR="0" indent="0" algn="l" defTabSz="60960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solidFill>
                  <a:srgbClr val="535353"/>
                </a:solidFill>
                <a:uFillTx/>
                <a:latin typeface="Helvetica"/>
                <a:ea typeface="Helvetica"/>
                <a:cs typeface="Helvetica"/>
                <a:sym typeface="Helvetica"/>
              </a:defRPr>
            </a:lvl9pPr>
          </a:lstStyle>
          <a:p>
            <a:pPr marL="0" marR="0" lvl="0" indent="0" algn="l" defTabSz="609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0"/>
                <a:sym typeface="Helvetica"/>
              </a:rPr>
              <a:t>6G timeline – Planning (2/2)</a:t>
            </a:r>
            <a:br>
              <a:rPr kumimoji="0" lang="en-GB" sz="4000" b="0" i="0" u="none" strike="noStrike" kern="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Intel Clear Light" panose="020B0404020203020204" pitchFamily="34" charset="0"/>
                <a:sym typeface="Helvetica"/>
              </a:rPr>
            </a:br>
            <a:endParaRPr kumimoji="0" lang="en-GB" sz="3400" b="0" i="0" u="none" strike="noStrike" kern="0" cap="none" spc="0" normalizeH="0" baseline="0" noProof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Intel Clear Light" panose="020B0404020203020204" pitchFamily="34" charset="0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5126799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DD0395-6E2A-4D67-A1A6-3A5C1DB56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6510" y="792522"/>
            <a:ext cx="4198883" cy="929308"/>
          </a:xfrm>
        </p:spPr>
        <p:txBody>
          <a:bodyPr/>
          <a:lstStyle/>
          <a:p>
            <a:r>
              <a:rPr lang="en-US"/>
              <a:t>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903BC0-EB37-4C3E-8DD6-27F0E6CA81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1215" y="1721830"/>
            <a:ext cx="10968289" cy="4096534"/>
          </a:xfrm>
        </p:spPr>
        <p:txBody>
          <a:bodyPr/>
          <a:lstStyle/>
          <a:p>
            <a:r>
              <a:rPr lang="en-US" sz="2602">
                <a:sym typeface="Wingdings" panose="05000000000000000000" pitchFamily="2" charset="2"/>
              </a:rPr>
              <a:t>Overview </a:t>
            </a:r>
          </a:p>
          <a:p>
            <a:endParaRPr lang="en-US" sz="650">
              <a:sym typeface="Wingdings" panose="05000000000000000000" pitchFamily="2" charset="2"/>
            </a:endParaRPr>
          </a:p>
          <a:p>
            <a:r>
              <a:rPr lang="en-US" sz="2602">
                <a:sym typeface="Wingdings" panose="05000000000000000000" pitchFamily="2" charset="2"/>
              </a:rPr>
              <a:t>3GPP RAN Release 18 (Rel-18)</a:t>
            </a:r>
          </a:p>
          <a:p>
            <a:endParaRPr lang="en-US" sz="650">
              <a:sym typeface="Wingdings" panose="05000000000000000000" pitchFamily="2" charset="2"/>
            </a:endParaRPr>
          </a:p>
          <a:p>
            <a:r>
              <a:rPr lang="en-US" sz="2602">
                <a:sym typeface="Wingdings" panose="05000000000000000000" pitchFamily="2" charset="2"/>
              </a:rPr>
              <a:t>3GPP RAN Rel-19</a:t>
            </a:r>
          </a:p>
          <a:p>
            <a:endParaRPr lang="en-US" sz="650">
              <a:sym typeface="Wingdings" panose="05000000000000000000" pitchFamily="2" charset="2"/>
            </a:endParaRPr>
          </a:p>
          <a:p>
            <a:r>
              <a:rPr lang="en-US" sz="2602">
                <a:sym typeface="Wingdings" panose="05000000000000000000" pitchFamily="2" charset="2"/>
              </a:rPr>
              <a:t>Initial 6G Discussion</a:t>
            </a:r>
            <a:endParaRPr lang="en-US" sz="2170">
              <a:sym typeface="Wingdings" panose="05000000000000000000" pitchFamily="2" charset="2"/>
            </a:endParaRPr>
          </a:p>
          <a:p>
            <a:endParaRPr lang="en-US" sz="2602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586269898"/>
      </p:ext>
    </p:extLst>
  </p:cSld>
  <p:clrMapOvr>
    <a:masterClrMapping/>
  </p:clrMapOvr>
  <p:transition spd="slow"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28992F-C49F-EE61-F694-80B07DDE08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14">
            <a:extLst>
              <a:ext uri="{FF2B5EF4-FFF2-40B4-BE49-F238E27FC236}">
                <a16:creationId xmlns:a16="http://schemas.microsoft.com/office/drawing/2014/main" id="{C33B306E-5E8B-AC76-C303-4AC9B7802E64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300865" y="1550396"/>
            <a:ext cx="0" cy="4989537"/>
          </a:xfrm>
          <a:prstGeom prst="line">
            <a:avLst/>
          </a:prstGeom>
          <a:ln>
            <a:solidFill>
              <a:srgbClr val="C00000"/>
            </a:solidFill>
            <a:headEnd/>
            <a:tailEnd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60" name="Straight Connector 114">
            <a:extLst>
              <a:ext uri="{FF2B5EF4-FFF2-40B4-BE49-F238E27FC236}">
                <a16:creationId xmlns:a16="http://schemas.microsoft.com/office/drawing/2014/main" id="{F15672DF-A3AB-3988-49FA-718AB9547C1F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721805" y="1550395"/>
            <a:ext cx="0" cy="5197252"/>
          </a:xfrm>
          <a:prstGeom prst="line">
            <a:avLst/>
          </a:prstGeom>
          <a:noFill/>
          <a:ln w="28575" algn="ctr">
            <a:solidFill>
              <a:schemeClr val="accent4">
                <a:lumMod val="40000"/>
                <a:lumOff val="60000"/>
              </a:schemeClr>
            </a:solidFill>
            <a:round/>
            <a:headEnd/>
            <a:tailEnd/>
          </a:ln>
        </p:spPr>
      </p:cxnSp>
      <p:cxnSp>
        <p:nvCxnSpPr>
          <p:cNvPr id="59" name="Straight Connector 114">
            <a:extLst>
              <a:ext uri="{FF2B5EF4-FFF2-40B4-BE49-F238E27FC236}">
                <a16:creationId xmlns:a16="http://schemas.microsoft.com/office/drawing/2014/main" id="{2C79B9F4-97F9-05EA-B005-992434CCBE58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0177645" y="1550395"/>
            <a:ext cx="0" cy="5197252"/>
          </a:xfrm>
          <a:prstGeom prst="line">
            <a:avLst/>
          </a:prstGeom>
          <a:noFill/>
          <a:ln w="28575" algn="ctr">
            <a:solidFill>
              <a:schemeClr val="accent4">
                <a:lumMod val="40000"/>
                <a:lumOff val="60000"/>
              </a:schemeClr>
            </a:solidFill>
            <a:round/>
            <a:headEnd/>
            <a:tailEnd/>
          </a:ln>
        </p:spPr>
      </p:cxnSp>
      <p:cxnSp>
        <p:nvCxnSpPr>
          <p:cNvPr id="57" name="Straight Connector 114">
            <a:extLst>
              <a:ext uri="{FF2B5EF4-FFF2-40B4-BE49-F238E27FC236}">
                <a16:creationId xmlns:a16="http://schemas.microsoft.com/office/drawing/2014/main" id="{71746959-D045-E5B5-AFE7-E047AC2F1E3F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949725" y="1550395"/>
            <a:ext cx="0" cy="5197252"/>
          </a:xfrm>
          <a:prstGeom prst="line">
            <a:avLst/>
          </a:prstGeom>
          <a:noFill/>
          <a:ln w="28575" algn="ctr">
            <a:solidFill>
              <a:schemeClr val="accent4">
                <a:lumMod val="40000"/>
                <a:lumOff val="60000"/>
              </a:schemeClr>
            </a:solidFill>
            <a:round/>
            <a:headEnd/>
            <a:tailEnd/>
          </a:ln>
        </p:spPr>
      </p:cxnSp>
      <p:cxnSp>
        <p:nvCxnSpPr>
          <p:cNvPr id="4" name="Straight Connector 114">
            <a:extLst>
              <a:ext uri="{FF2B5EF4-FFF2-40B4-BE49-F238E27FC236}">
                <a16:creationId xmlns:a16="http://schemas.microsoft.com/office/drawing/2014/main" id="{D777A93A-0494-CB81-BF07-6ED0D44FE2A4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93885" y="1550395"/>
            <a:ext cx="0" cy="5197252"/>
          </a:xfrm>
          <a:prstGeom prst="line">
            <a:avLst/>
          </a:prstGeom>
          <a:noFill/>
          <a:ln w="28575" algn="ctr">
            <a:solidFill>
              <a:schemeClr val="accent4">
                <a:lumMod val="40000"/>
                <a:lumOff val="60000"/>
              </a:schemeClr>
            </a:solidFill>
            <a:round/>
            <a:headEnd/>
            <a:tailEnd/>
          </a:ln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74300E3-F476-EEBF-D35B-A1E8736C7C9D}"/>
              </a:ext>
            </a:extLst>
          </p:cNvPr>
          <p:cNvCxnSpPr>
            <a:cxnSpLocks/>
          </p:cNvCxnSpPr>
          <p:nvPr/>
        </p:nvCxnSpPr>
        <p:spPr bwMode="auto">
          <a:xfrm>
            <a:off x="581247" y="867571"/>
            <a:ext cx="3112477" cy="0"/>
          </a:xfrm>
          <a:prstGeom prst="line">
            <a:avLst/>
          </a:prstGeom>
          <a:ln>
            <a:solidFill>
              <a:schemeClr val="accent4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272" name="Straight Connector 114">
            <a:extLst>
              <a:ext uri="{FF2B5EF4-FFF2-40B4-BE49-F238E27FC236}">
                <a16:creationId xmlns:a16="http://schemas.microsoft.com/office/drawing/2014/main" id="{63507367-7C85-5DDA-8929-8D09E8B90A3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107845" y="1550395"/>
            <a:ext cx="0" cy="5242408"/>
          </a:xfrm>
          <a:prstGeom prst="line">
            <a:avLst/>
          </a:prstGeom>
          <a:noFill/>
          <a:ln w="9525" algn="ctr">
            <a:solidFill>
              <a:schemeClr val="accent4">
                <a:lumMod val="40000"/>
                <a:lumOff val="60000"/>
              </a:schemeClr>
            </a:solidFill>
            <a:prstDash val="dash"/>
            <a:round/>
            <a:headEnd/>
            <a:tailEnd/>
          </a:ln>
        </p:spPr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3B9E7960-6113-C4D1-ECEF-73196F0C03E0}"/>
              </a:ext>
            </a:extLst>
          </p:cNvPr>
          <p:cNvSpPr txBox="1"/>
          <p:nvPr/>
        </p:nvSpPr>
        <p:spPr>
          <a:xfrm>
            <a:off x="1778010" y="704589"/>
            <a:ext cx="752129" cy="3416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sym typeface="Helvetica Neue"/>
              </a:rPr>
              <a:t>2024</a:t>
            </a:r>
            <a:endParaRPr kumimoji="0" lang="en-GB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50" charset="0"/>
              <a:sym typeface="Helvetica Neue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A5BB33D-59DC-8CD1-D095-4371152BEFFE}"/>
              </a:ext>
            </a:extLst>
          </p:cNvPr>
          <p:cNvGrpSpPr/>
          <p:nvPr/>
        </p:nvGrpSpPr>
        <p:grpSpPr>
          <a:xfrm>
            <a:off x="1063750" y="1058354"/>
            <a:ext cx="458247" cy="426854"/>
            <a:chOff x="1018228" y="755453"/>
            <a:chExt cx="343685" cy="320140"/>
          </a:xfrm>
        </p:grpSpPr>
        <p:sp>
          <p:nvSpPr>
            <p:cNvPr id="17432" name="TextBox 86">
              <a:extLst>
                <a:ext uri="{FF2B5EF4-FFF2-40B4-BE49-F238E27FC236}">
                  <a16:creationId xmlns:a16="http://schemas.microsoft.com/office/drawing/2014/main" id="{988CC082-346E-34BD-676E-57B18118E76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19031" y="755453"/>
              <a:ext cx="342882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2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ctr" defTabSz="1219169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ea typeface="MS PGothic" panose="020B0600070205080204" pitchFamily="34" charset="-128"/>
                  <a:sym typeface="Helvetica Neue"/>
                </a:rPr>
                <a:t>#103</a:t>
              </a:r>
              <a:endParaRPr kumimoji="0" lang="en-GB" altLang="en-US" sz="5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MS PGothic" panose="020B0600070205080204" pitchFamily="34" charset="-128"/>
                <a:sym typeface="Helvetica Neue"/>
              </a:endParaRPr>
            </a:p>
          </p:txBody>
        </p:sp>
        <p:sp>
          <p:nvSpPr>
            <p:cNvPr id="17448" name="TextBox 59">
              <a:extLst>
                <a:ext uri="{FF2B5EF4-FFF2-40B4-BE49-F238E27FC236}">
                  <a16:creationId xmlns:a16="http://schemas.microsoft.com/office/drawing/2014/main" id="{165C6395-ACED-7B3D-FC22-AC91FB3A142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18228" y="909441"/>
              <a:ext cx="332062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sym typeface="Helvetica Neue"/>
                </a:rPr>
                <a:t>Mar.</a:t>
              </a:r>
            </a:p>
          </p:txBody>
        </p:sp>
      </p:grpSp>
      <p:grpSp>
        <p:nvGrpSpPr>
          <p:cNvPr id="17489" name="Group 17488">
            <a:extLst>
              <a:ext uri="{FF2B5EF4-FFF2-40B4-BE49-F238E27FC236}">
                <a16:creationId xmlns:a16="http://schemas.microsoft.com/office/drawing/2014/main" id="{D08FB91D-770B-B580-B528-B623B4BC2A75}"/>
              </a:ext>
            </a:extLst>
          </p:cNvPr>
          <p:cNvGrpSpPr/>
          <p:nvPr/>
        </p:nvGrpSpPr>
        <p:grpSpPr>
          <a:xfrm>
            <a:off x="7536355" y="1058354"/>
            <a:ext cx="446950" cy="426854"/>
            <a:chOff x="6342728" y="755453"/>
            <a:chExt cx="335213" cy="320140"/>
          </a:xfrm>
        </p:grpSpPr>
        <p:sp>
          <p:nvSpPr>
            <p:cNvPr id="17440" name="TextBox 86">
              <a:extLst>
                <a:ext uri="{FF2B5EF4-FFF2-40B4-BE49-F238E27FC236}">
                  <a16:creationId xmlns:a16="http://schemas.microsoft.com/office/drawing/2014/main" id="{6A931EFD-74D2-FC18-4BBF-502319A23C8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42728" y="755453"/>
              <a:ext cx="298400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2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ctr" defTabSz="1219169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ea typeface="MS PGothic" panose="020B0600070205080204" pitchFamily="34" charset="-128"/>
                  <a:sym typeface="Helvetica Neue"/>
                </a:rPr>
                <a:t>#111</a:t>
              </a:r>
              <a:endParaRPr kumimoji="0" lang="en-GB" altLang="en-US" sz="5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MS PGothic" panose="020B0600070205080204" pitchFamily="34" charset="-128"/>
                <a:sym typeface="Helvetica Neue"/>
              </a:endParaRPr>
            </a:p>
          </p:txBody>
        </p:sp>
        <p:sp>
          <p:nvSpPr>
            <p:cNvPr id="17449" name="TextBox 60">
              <a:extLst>
                <a:ext uri="{FF2B5EF4-FFF2-40B4-BE49-F238E27FC236}">
                  <a16:creationId xmlns:a16="http://schemas.microsoft.com/office/drawing/2014/main" id="{11D523C6-2A70-26A7-1D99-1B54A6962C4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45878" y="909441"/>
              <a:ext cx="332063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sym typeface="Helvetica Neue"/>
                </a:rPr>
                <a:t>Mar.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43653F7-377D-9559-CA06-3E13217E3369}"/>
              </a:ext>
            </a:extLst>
          </p:cNvPr>
          <p:cNvGrpSpPr/>
          <p:nvPr/>
        </p:nvGrpSpPr>
        <p:grpSpPr>
          <a:xfrm>
            <a:off x="4261943" y="1058354"/>
            <a:ext cx="484191" cy="426854"/>
            <a:chOff x="3683640" y="755453"/>
            <a:chExt cx="363143" cy="320140"/>
          </a:xfrm>
        </p:grpSpPr>
        <p:sp>
          <p:nvSpPr>
            <p:cNvPr id="17436" name="TextBox 86">
              <a:extLst>
                <a:ext uri="{FF2B5EF4-FFF2-40B4-BE49-F238E27FC236}">
                  <a16:creationId xmlns:a16="http://schemas.microsoft.com/office/drawing/2014/main" id="{58981BF9-119B-4A80-8B18-44F700DD457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01497" y="755453"/>
              <a:ext cx="345286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2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ctr" defTabSz="1219169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ea typeface="MS PGothic" panose="020B0600070205080204" pitchFamily="34" charset="-128"/>
                  <a:sym typeface="Helvetica Neue"/>
                </a:rPr>
                <a:t>#107</a:t>
              </a:r>
              <a:endParaRPr kumimoji="0" lang="en-GB" altLang="en-US" sz="5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MS PGothic" panose="020B0600070205080204" pitchFamily="34" charset="-128"/>
                <a:sym typeface="Helvetica Neue"/>
              </a:endParaRPr>
            </a:p>
          </p:txBody>
        </p:sp>
        <p:sp>
          <p:nvSpPr>
            <p:cNvPr id="17450" name="TextBox 61">
              <a:extLst>
                <a:ext uri="{FF2B5EF4-FFF2-40B4-BE49-F238E27FC236}">
                  <a16:creationId xmlns:a16="http://schemas.microsoft.com/office/drawing/2014/main" id="{10B86475-D05A-F024-8D10-3834410937D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83640" y="909441"/>
              <a:ext cx="332062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sym typeface="Helvetica Neue"/>
                </a:rPr>
                <a:t>Mar.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BEEB882-0873-17C9-668A-5BD3DDAC9943}"/>
              </a:ext>
            </a:extLst>
          </p:cNvPr>
          <p:cNvGrpSpPr/>
          <p:nvPr/>
        </p:nvGrpSpPr>
        <p:grpSpPr>
          <a:xfrm>
            <a:off x="1869119" y="1058354"/>
            <a:ext cx="471268" cy="426854"/>
            <a:chOff x="1705615" y="755453"/>
            <a:chExt cx="353451" cy="320140"/>
          </a:xfrm>
        </p:grpSpPr>
        <p:sp>
          <p:nvSpPr>
            <p:cNvPr id="17433" name="TextBox 86">
              <a:extLst>
                <a:ext uri="{FF2B5EF4-FFF2-40B4-BE49-F238E27FC236}">
                  <a16:creationId xmlns:a16="http://schemas.microsoft.com/office/drawing/2014/main" id="{C103280A-1592-A747-3090-8C7DDE8D80F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07767" y="755453"/>
              <a:ext cx="351299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2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ctr" defTabSz="1219169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ea typeface="MS PGothic" panose="020B0600070205080204" pitchFamily="34" charset="-128"/>
                  <a:sym typeface="Helvetica Neue"/>
                </a:rPr>
                <a:t>#104</a:t>
              </a:r>
              <a:endParaRPr kumimoji="0" lang="en-GB" altLang="en-US" sz="5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MS PGothic" panose="020B0600070205080204" pitchFamily="34" charset="-128"/>
                <a:sym typeface="Helvetica Neue"/>
              </a:endParaRPr>
            </a:p>
          </p:txBody>
        </p:sp>
        <p:sp>
          <p:nvSpPr>
            <p:cNvPr id="17451" name="TextBox 62">
              <a:extLst>
                <a:ext uri="{FF2B5EF4-FFF2-40B4-BE49-F238E27FC236}">
                  <a16:creationId xmlns:a16="http://schemas.microsoft.com/office/drawing/2014/main" id="{F552B731-B734-8036-32D1-B31A30D549F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05615" y="909441"/>
              <a:ext cx="323646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sym typeface="Helvetica Neue"/>
                </a:rPr>
                <a:t>Jun.</a:t>
              </a:r>
            </a:p>
          </p:txBody>
        </p:sp>
      </p:grpSp>
      <p:grpSp>
        <p:nvGrpSpPr>
          <p:cNvPr id="17476" name="Group 17475">
            <a:extLst>
              <a:ext uri="{FF2B5EF4-FFF2-40B4-BE49-F238E27FC236}">
                <a16:creationId xmlns:a16="http://schemas.microsoft.com/office/drawing/2014/main" id="{42783D1B-5915-E686-B1DF-AC2941019424}"/>
              </a:ext>
            </a:extLst>
          </p:cNvPr>
          <p:cNvGrpSpPr/>
          <p:nvPr/>
        </p:nvGrpSpPr>
        <p:grpSpPr>
          <a:xfrm>
            <a:off x="5081553" y="1058354"/>
            <a:ext cx="468075" cy="426854"/>
            <a:chOff x="4391242" y="755453"/>
            <a:chExt cx="351057" cy="320140"/>
          </a:xfrm>
        </p:grpSpPr>
        <p:sp>
          <p:nvSpPr>
            <p:cNvPr id="17437" name="TextBox 86">
              <a:extLst>
                <a:ext uri="{FF2B5EF4-FFF2-40B4-BE49-F238E27FC236}">
                  <a16:creationId xmlns:a16="http://schemas.microsoft.com/office/drawing/2014/main" id="{FEF09D13-9AE7-21AF-924D-235C465BCB1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91242" y="755453"/>
              <a:ext cx="350096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2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ctr" defTabSz="1219169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ea typeface="MS PGothic" panose="020B0600070205080204" pitchFamily="34" charset="-128"/>
                  <a:sym typeface="Helvetica Neue"/>
                </a:rPr>
                <a:t>#108</a:t>
              </a:r>
              <a:endParaRPr kumimoji="0" lang="en-GB" altLang="en-US" sz="5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MS PGothic" panose="020B0600070205080204" pitchFamily="34" charset="-128"/>
                <a:sym typeface="Helvetica Neue"/>
              </a:endParaRPr>
            </a:p>
          </p:txBody>
        </p:sp>
        <p:sp>
          <p:nvSpPr>
            <p:cNvPr id="17452" name="TextBox 63">
              <a:extLst>
                <a:ext uri="{FF2B5EF4-FFF2-40B4-BE49-F238E27FC236}">
                  <a16:creationId xmlns:a16="http://schemas.microsoft.com/office/drawing/2014/main" id="{B7BB6509-4F48-4659-60CC-4CD60BF4B78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18653" y="909441"/>
              <a:ext cx="323646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sym typeface="Helvetica Neue"/>
                </a:rPr>
                <a:t>Jun.</a:t>
              </a:r>
            </a:p>
          </p:txBody>
        </p:sp>
      </p:grpSp>
      <p:grpSp>
        <p:nvGrpSpPr>
          <p:cNvPr id="17494" name="Group 17493">
            <a:extLst>
              <a:ext uri="{FF2B5EF4-FFF2-40B4-BE49-F238E27FC236}">
                <a16:creationId xmlns:a16="http://schemas.microsoft.com/office/drawing/2014/main" id="{B967BDC6-86AB-7837-B13B-ABA3A2B01909}"/>
              </a:ext>
            </a:extLst>
          </p:cNvPr>
          <p:cNvGrpSpPr/>
          <p:nvPr/>
        </p:nvGrpSpPr>
        <p:grpSpPr>
          <a:xfrm>
            <a:off x="8349808" y="1058354"/>
            <a:ext cx="448807" cy="426854"/>
            <a:chOff x="6907593" y="755453"/>
            <a:chExt cx="336606" cy="320140"/>
          </a:xfrm>
        </p:grpSpPr>
        <p:sp>
          <p:nvSpPr>
            <p:cNvPr id="17441" name="TextBox 86">
              <a:extLst>
                <a:ext uri="{FF2B5EF4-FFF2-40B4-BE49-F238E27FC236}">
                  <a16:creationId xmlns:a16="http://schemas.microsoft.com/office/drawing/2014/main" id="{00AF13A8-AEBE-A2D0-0350-B7A6452A466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07593" y="755453"/>
              <a:ext cx="316433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2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ctr" defTabSz="1219169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ea typeface="MS PGothic" panose="020B0600070205080204" pitchFamily="34" charset="-128"/>
                  <a:sym typeface="Helvetica Neue"/>
                </a:rPr>
                <a:t>#112</a:t>
              </a:r>
              <a:endParaRPr kumimoji="0" lang="en-GB" altLang="en-US" sz="5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MS PGothic" panose="020B0600070205080204" pitchFamily="34" charset="-128"/>
                <a:sym typeface="Helvetica Neue"/>
              </a:endParaRPr>
            </a:p>
          </p:txBody>
        </p:sp>
        <p:sp>
          <p:nvSpPr>
            <p:cNvPr id="17453" name="TextBox 64">
              <a:extLst>
                <a:ext uri="{FF2B5EF4-FFF2-40B4-BE49-F238E27FC236}">
                  <a16:creationId xmlns:a16="http://schemas.microsoft.com/office/drawing/2014/main" id="{68398172-EC8D-5C71-9A9B-F20456E8A9B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20553" y="909441"/>
              <a:ext cx="323646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sym typeface="Helvetica Neue"/>
                </a:rPr>
                <a:t>Jun.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C09B5BA-9CA0-3246-1446-5E993967CCDA}"/>
              </a:ext>
            </a:extLst>
          </p:cNvPr>
          <p:cNvGrpSpPr/>
          <p:nvPr/>
        </p:nvGrpSpPr>
        <p:grpSpPr>
          <a:xfrm>
            <a:off x="2666021" y="1058354"/>
            <a:ext cx="467772" cy="426854"/>
            <a:chOff x="2480315" y="755453"/>
            <a:chExt cx="350829" cy="320140"/>
          </a:xfrm>
        </p:grpSpPr>
        <p:sp>
          <p:nvSpPr>
            <p:cNvPr id="17434" name="TextBox 86">
              <a:extLst>
                <a:ext uri="{FF2B5EF4-FFF2-40B4-BE49-F238E27FC236}">
                  <a16:creationId xmlns:a16="http://schemas.microsoft.com/office/drawing/2014/main" id="{4D4D40CF-F5F4-931C-680D-53F544AE870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88262" y="755453"/>
              <a:ext cx="342882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2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ctr" defTabSz="1219169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ea typeface="MS PGothic" panose="020B0600070205080204" pitchFamily="34" charset="-128"/>
                  <a:sym typeface="Helvetica Neue"/>
                </a:rPr>
                <a:t>#105</a:t>
              </a:r>
              <a:endParaRPr kumimoji="0" lang="en-GB" altLang="en-US" sz="5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MS PGothic" panose="020B0600070205080204" pitchFamily="34" charset="-128"/>
                <a:sym typeface="Helvetica Neue"/>
              </a:endParaRPr>
            </a:p>
          </p:txBody>
        </p:sp>
        <p:sp>
          <p:nvSpPr>
            <p:cNvPr id="17454" name="TextBox 65">
              <a:extLst>
                <a:ext uri="{FF2B5EF4-FFF2-40B4-BE49-F238E27FC236}">
                  <a16:creationId xmlns:a16="http://schemas.microsoft.com/office/drawing/2014/main" id="{18CD9CF9-FC30-2A87-862D-F40F70B1542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80315" y="909441"/>
              <a:ext cx="328455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sym typeface="Helvetica Neue"/>
                </a:rPr>
                <a:t>Sep.</a:t>
              </a:r>
            </a:p>
          </p:txBody>
        </p:sp>
      </p:grpSp>
      <p:grpSp>
        <p:nvGrpSpPr>
          <p:cNvPr id="17477" name="Group 17476">
            <a:extLst>
              <a:ext uri="{FF2B5EF4-FFF2-40B4-BE49-F238E27FC236}">
                <a16:creationId xmlns:a16="http://schemas.microsoft.com/office/drawing/2014/main" id="{FA1DC7AC-7706-EA7D-0E2A-1F7AC3F2258D}"/>
              </a:ext>
            </a:extLst>
          </p:cNvPr>
          <p:cNvGrpSpPr/>
          <p:nvPr/>
        </p:nvGrpSpPr>
        <p:grpSpPr>
          <a:xfrm>
            <a:off x="5918970" y="1058354"/>
            <a:ext cx="461985" cy="426854"/>
            <a:chOff x="5121709" y="755453"/>
            <a:chExt cx="346489" cy="320140"/>
          </a:xfrm>
        </p:grpSpPr>
        <p:sp>
          <p:nvSpPr>
            <p:cNvPr id="17438" name="TextBox 86">
              <a:extLst>
                <a:ext uri="{FF2B5EF4-FFF2-40B4-BE49-F238E27FC236}">
                  <a16:creationId xmlns:a16="http://schemas.microsoft.com/office/drawing/2014/main" id="{11FB991E-569C-E793-E8D8-9E228FDDF8C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21709" y="755453"/>
              <a:ext cx="346489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2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ctr" defTabSz="1219169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ea typeface="MS PGothic" panose="020B0600070205080204" pitchFamily="34" charset="-128"/>
                  <a:sym typeface="Helvetica Neue"/>
                </a:rPr>
                <a:t>#109</a:t>
              </a:r>
              <a:endParaRPr kumimoji="0" lang="en-GB" altLang="en-US" sz="5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MS PGothic" panose="020B0600070205080204" pitchFamily="34" charset="-128"/>
                <a:sym typeface="Helvetica Neue"/>
              </a:endParaRPr>
            </a:p>
          </p:txBody>
        </p:sp>
        <p:sp>
          <p:nvSpPr>
            <p:cNvPr id="17455" name="TextBox 66">
              <a:extLst>
                <a:ext uri="{FF2B5EF4-FFF2-40B4-BE49-F238E27FC236}">
                  <a16:creationId xmlns:a16="http://schemas.microsoft.com/office/drawing/2014/main" id="{4B4B0B0E-28A4-0105-E66C-8A8333E6113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29853" y="909441"/>
              <a:ext cx="328455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sym typeface="Helvetica Neue"/>
                </a:rPr>
                <a:t>Sep.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AC441D9-25AA-5353-8C62-E595297BE9B0}"/>
              </a:ext>
            </a:extLst>
          </p:cNvPr>
          <p:cNvGrpSpPr/>
          <p:nvPr/>
        </p:nvGrpSpPr>
        <p:grpSpPr>
          <a:xfrm>
            <a:off x="247799" y="1058354"/>
            <a:ext cx="480472" cy="426854"/>
            <a:chOff x="321315" y="755453"/>
            <a:chExt cx="360354" cy="320140"/>
          </a:xfrm>
        </p:grpSpPr>
        <p:sp>
          <p:nvSpPr>
            <p:cNvPr id="17431" name="TextBox 86">
              <a:extLst>
                <a:ext uri="{FF2B5EF4-FFF2-40B4-BE49-F238E27FC236}">
                  <a16:creationId xmlns:a16="http://schemas.microsoft.com/office/drawing/2014/main" id="{4D677330-5A69-54E2-DED8-C11576419F8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8787" y="755453"/>
              <a:ext cx="342882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2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ctr" defTabSz="1219169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ea typeface="MS PGothic" panose="020B0600070205080204" pitchFamily="34" charset="-128"/>
                  <a:sym typeface="Helvetica Neue"/>
                </a:rPr>
                <a:t>#102</a:t>
              </a:r>
              <a:endParaRPr kumimoji="0" lang="en-GB" altLang="en-US" sz="5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MS PGothic" panose="020B0600070205080204" pitchFamily="34" charset="-128"/>
                <a:sym typeface="Helvetica Neue"/>
              </a:endParaRPr>
            </a:p>
          </p:txBody>
        </p:sp>
        <p:sp>
          <p:nvSpPr>
            <p:cNvPr id="17457" name="TextBox 69">
              <a:extLst>
                <a:ext uri="{FF2B5EF4-FFF2-40B4-BE49-F238E27FC236}">
                  <a16:creationId xmlns:a16="http://schemas.microsoft.com/office/drawing/2014/main" id="{5C00D17C-21B0-E262-9FB1-9FCEFFA608B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1315" y="909441"/>
              <a:ext cx="336871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sym typeface="Helvetica Neue"/>
                </a:rPr>
                <a:t>Dec.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35396D1-395D-655F-8E73-A7129BF72176}"/>
              </a:ext>
            </a:extLst>
          </p:cNvPr>
          <p:cNvGrpSpPr/>
          <p:nvPr/>
        </p:nvGrpSpPr>
        <p:grpSpPr>
          <a:xfrm>
            <a:off x="3469274" y="1058354"/>
            <a:ext cx="462769" cy="426854"/>
            <a:chOff x="3013715" y="755453"/>
            <a:chExt cx="347077" cy="320140"/>
          </a:xfrm>
        </p:grpSpPr>
        <p:sp>
          <p:nvSpPr>
            <p:cNvPr id="17435" name="TextBox 86">
              <a:extLst>
                <a:ext uri="{FF2B5EF4-FFF2-40B4-BE49-F238E27FC236}">
                  <a16:creationId xmlns:a16="http://schemas.microsoft.com/office/drawing/2014/main" id="{2ADC4CDE-F1A3-6E94-6512-72859838839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14303" y="755453"/>
              <a:ext cx="346489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2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ctr" defTabSz="1219169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ea typeface="MS PGothic" panose="020B0600070205080204" pitchFamily="34" charset="-128"/>
                  <a:sym typeface="Helvetica Neue"/>
                </a:rPr>
                <a:t>#106</a:t>
              </a:r>
              <a:endParaRPr kumimoji="0" lang="en-GB" altLang="en-US" sz="5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MS PGothic" panose="020B0600070205080204" pitchFamily="34" charset="-128"/>
                <a:sym typeface="Helvetica Neue"/>
              </a:endParaRPr>
            </a:p>
          </p:txBody>
        </p:sp>
        <p:sp>
          <p:nvSpPr>
            <p:cNvPr id="17458" name="TextBox 70">
              <a:extLst>
                <a:ext uri="{FF2B5EF4-FFF2-40B4-BE49-F238E27FC236}">
                  <a16:creationId xmlns:a16="http://schemas.microsoft.com/office/drawing/2014/main" id="{01CE645F-8CED-7913-53C8-9468C2B0173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13715" y="909441"/>
              <a:ext cx="336872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sym typeface="Helvetica Neue"/>
                </a:rPr>
                <a:t>Dec.</a:t>
              </a:r>
            </a:p>
          </p:txBody>
        </p:sp>
      </p:grpSp>
      <p:grpSp>
        <p:nvGrpSpPr>
          <p:cNvPr id="17481" name="Group 17480">
            <a:extLst>
              <a:ext uri="{FF2B5EF4-FFF2-40B4-BE49-F238E27FC236}">
                <a16:creationId xmlns:a16="http://schemas.microsoft.com/office/drawing/2014/main" id="{F75057D1-7761-0C3C-B95B-D7F0AFE0E076}"/>
              </a:ext>
            </a:extLst>
          </p:cNvPr>
          <p:cNvGrpSpPr/>
          <p:nvPr/>
        </p:nvGrpSpPr>
        <p:grpSpPr>
          <a:xfrm>
            <a:off x="6720388" y="1058354"/>
            <a:ext cx="449162" cy="426854"/>
            <a:chOff x="5771203" y="755453"/>
            <a:chExt cx="336871" cy="320140"/>
          </a:xfrm>
        </p:grpSpPr>
        <p:sp>
          <p:nvSpPr>
            <p:cNvPr id="17439" name="TextBox 86">
              <a:extLst>
                <a:ext uri="{FF2B5EF4-FFF2-40B4-BE49-F238E27FC236}">
                  <a16:creationId xmlns:a16="http://schemas.microsoft.com/office/drawing/2014/main" id="{3428D37B-08D1-24DC-2032-8DD18AFD346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81023" y="755453"/>
              <a:ext cx="324849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2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ctr" defTabSz="1219169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ea typeface="MS PGothic" panose="020B0600070205080204" pitchFamily="34" charset="-128"/>
                  <a:sym typeface="Helvetica Neue"/>
                </a:rPr>
                <a:t>#110</a:t>
              </a:r>
              <a:endParaRPr kumimoji="0" lang="en-GB" altLang="en-US" sz="5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MS PGothic" panose="020B0600070205080204" pitchFamily="34" charset="-128"/>
                <a:sym typeface="Helvetica Neue"/>
              </a:endParaRPr>
            </a:p>
          </p:txBody>
        </p:sp>
        <p:sp>
          <p:nvSpPr>
            <p:cNvPr id="17459" name="TextBox 71">
              <a:extLst>
                <a:ext uri="{FF2B5EF4-FFF2-40B4-BE49-F238E27FC236}">
                  <a16:creationId xmlns:a16="http://schemas.microsoft.com/office/drawing/2014/main" id="{B8CC51AC-4382-E7E2-EF4E-204594DAC3C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71203" y="909441"/>
              <a:ext cx="336871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sym typeface="Helvetica Neue"/>
                </a:rPr>
                <a:t>Dec.</a:t>
              </a:r>
            </a:p>
          </p:txBody>
        </p:sp>
      </p:grpSp>
      <p:sp>
        <p:nvSpPr>
          <p:cNvPr id="17472" name="Rectangle 12">
            <a:extLst>
              <a:ext uri="{FF2B5EF4-FFF2-40B4-BE49-F238E27FC236}">
                <a16:creationId xmlns:a16="http://schemas.microsoft.com/office/drawing/2014/main" id="{6B99021C-6BD6-077A-8701-E3EDEA137C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570" y="6575426"/>
            <a:ext cx="1159933" cy="295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Blip>
                <a:blip r:embed="rId2"/>
              </a:buBlip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400" b="0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ontserrat" panose="00000500000000000000" pitchFamily="2" charset="0"/>
                <a:ea typeface="MS PGothic" panose="020B0600070205080204" pitchFamily="34" charset="-128"/>
                <a:sym typeface="Helvetica Neue"/>
              </a:rPr>
              <a:t>Now</a:t>
            </a:r>
          </a:p>
        </p:txBody>
      </p:sp>
      <p:sp>
        <p:nvSpPr>
          <p:cNvPr id="17475" name="TextBox 67">
            <a:extLst>
              <a:ext uri="{FF2B5EF4-FFF2-40B4-BE49-F238E27FC236}">
                <a16:creationId xmlns:a16="http://schemas.microsoft.com/office/drawing/2014/main" id="{1F8F20E1-4E79-A367-379B-29EFCC3C6B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0027" y="922604"/>
            <a:ext cx="478016" cy="221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sym typeface="Helvetica Neue"/>
              </a:rPr>
              <a:t>TSGs</a:t>
            </a:r>
          </a:p>
        </p:txBody>
      </p:sp>
      <p:sp>
        <p:nvSpPr>
          <p:cNvPr id="19" name="Chevron 60">
            <a:extLst>
              <a:ext uri="{FF2B5EF4-FFF2-40B4-BE49-F238E27FC236}">
                <a16:creationId xmlns:a16="http://schemas.microsoft.com/office/drawing/2014/main" id="{CB90EF0C-C64F-7152-CE75-085A8D07693F}"/>
              </a:ext>
            </a:extLst>
          </p:cNvPr>
          <p:cNvSpPr/>
          <p:nvPr/>
        </p:nvSpPr>
        <p:spPr bwMode="auto">
          <a:xfrm>
            <a:off x="99350" y="1615969"/>
            <a:ext cx="2077149" cy="295545"/>
          </a:xfrm>
          <a:custGeom>
            <a:avLst/>
            <a:gdLst>
              <a:gd name="connsiteX0" fmla="*/ 0 w 1578187"/>
              <a:gd name="connsiteY0" fmla="*/ 0 h 222250"/>
              <a:gd name="connsiteX1" fmla="*/ 1467062 w 1578187"/>
              <a:gd name="connsiteY1" fmla="*/ 0 h 222250"/>
              <a:gd name="connsiteX2" fmla="*/ 1578187 w 1578187"/>
              <a:gd name="connsiteY2" fmla="*/ 111125 h 222250"/>
              <a:gd name="connsiteX3" fmla="*/ 1467062 w 1578187"/>
              <a:gd name="connsiteY3" fmla="*/ 222250 h 222250"/>
              <a:gd name="connsiteX4" fmla="*/ 0 w 1578187"/>
              <a:gd name="connsiteY4" fmla="*/ 222250 h 222250"/>
              <a:gd name="connsiteX5" fmla="*/ 111125 w 1578187"/>
              <a:gd name="connsiteY5" fmla="*/ 111125 h 222250"/>
              <a:gd name="connsiteX6" fmla="*/ 0 w 1578187"/>
              <a:gd name="connsiteY6" fmla="*/ 0 h 222250"/>
              <a:gd name="connsiteX0" fmla="*/ 0 w 1578187"/>
              <a:gd name="connsiteY0" fmla="*/ 0 h 222250"/>
              <a:gd name="connsiteX1" fmla="*/ 1467062 w 1578187"/>
              <a:gd name="connsiteY1" fmla="*/ 0 h 222250"/>
              <a:gd name="connsiteX2" fmla="*/ 1578187 w 1578187"/>
              <a:gd name="connsiteY2" fmla="*/ 111125 h 222250"/>
              <a:gd name="connsiteX3" fmla="*/ 1467062 w 1578187"/>
              <a:gd name="connsiteY3" fmla="*/ 222250 h 222250"/>
              <a:gd name="connsiteX4" fmla="*/ 0 w 1578187"/>
              <a:gd name="connsiteY4" fmla="*/ 222250 h 222250"/>
              <a:gd name="connsiteX5" fmla="*/ 26818 w 1578187"/>
              <a:gd name="connsiteY5" fmla="*/ 98155 h 222250"/>
              <a:gd name="connsiteX6" fmla="*/ 0 w 1578187"/>
              <a:gd name="connsiteY6" fmla="*/ 0 h 222250"/>
              <a:gd name="connsiteX0" fmla="*/ 0 w 1506850"/>
              <a:gd name="connsiteY0" fmla="*/ 0 h 222250"/>
              <a:gd name="connsiteX1" fmla="*/ 1467062 w 1506850"/>
              <a:gd name="connsiteY1" fmla="*/ 0 h 222250"/>
              <a:gd name="connsiteX2" fmla="*/ 1506850 w 1506850"/>
              <a:gd name="connsiteY2" fmla="*/ 111125 h 222250"/>
              <a:gd name="connsiteX3" fmla="*/ 1467062 w 1506850"/>
              <a:gd name="connsiteY3" fmla="*/ 222250 h 222250"/>
              <a:gd name="connsiteX4" fmla="*/ 0 w 1506850"/>
              <a:gd name="connsiteY4" fmla="*/ 222250 h 222250"/>
              <a:gd name="connsiteX5" fmla="*/ 26818 w 1506850"/>
              <a:gd name="connsiteY5" fmla="*/ 98155 h 222250"/>
              <a:gd name="connsiteX6" fmla="*/ 0 w 1506850"/>
              <a:gd name="connsiteY6" fmla="*/ 0 h 222250"/>
              <a:gd name="connsiteX0" fmla="*/ 0 w 1597123"/>
              <a:gd name="connsiteY0" fmla="*/ 0 h 222250"/>
              <a:gd name="connsiteX1" fmla="*/ 1467062 w 1597123"/>
              <a:gd name="connsiteY1" fmla="*/ 0 h 222250"/>
              <a:gd name="connsiteX2" fmla="*/ 1597123 w 1597123"/>
              <a:gd name="connsiteY2" fmla="*/ 117917 h 222250"/>
              <a:gd name="connsiteX3" fmla="*/ 1467062 w 1597123"/>
              <a:gd name="connsiteY3" fmla="*/ 222250 h 222250"/>
              <a:gd name="connsiteX4" fmla="*/ 0 w 1597123"/>
              <a:gd name="connsiteY4" fmla="*/ 222250 h 222250"/>
              <a:gd name="connsiteX5" fmla="*/ 26818 w 1597123"/>
              <a:gd name="connsiteY5" fmla="*/ 98155 h 222250"/>
              <a:gd name="connsiteX6" fmla="*/ 0 w 1597123"/>
              <a:gd name="connsiteY6" fmla="*/ 0 h 22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97123" h="222250">
                <a:moveTo>
                  <a:pt x="0" y="0"/>
                </a:moveTo>
                <a:lnTo>
                  <a:pt x="1467062" y="0"/>
                </a:lnTo>
                <a:lnTo>
                  <a:pt x="1597123" y="117917"/>
                </a:lnTo>
                <a:lnTo>
                  <a:pt x="1467062" y="222250"/>
                </a:lnTo>
                <a:lnTo>
                  <a:pt x="0" y="222250"/>
                </a:lnTo>
                <a:lnTo>
                  <a:pt x="26818" y="98155"/>
                </a:lnTo>
                <a:lnTo>
                  <a:pt x="0" y="0"/>
                </a:lnTo>
                <a:close/>
              </a:path>
            </a:pathLst>
          </a:custGeom>
          <a:ln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SA1 5GA SID </a:t>
            </a:r>
            <a:r>
              <a:rPr kumimoji="0" lang="fr-FR" sz="1067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definition</a:t>
            </a:r>
            <a:endParaRPr kumimoji="0" lang="fr-FR" sz="10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50" charset="0"/>
              <a:ea typeface="ＭＳ Ｐゴシック" charset="-128"/>
              <a:cs typeface="Arial" pitchFamily="34" charset="0"/>
              <a:sym typeface="Helvetica Neue"/>
            </a:endParaRPr>
          </a:p>
        </p:txBody>
      </p:sp>
      <p:sp>
        <p:nvSpPr>
          <p:cNvPr id="27" name="Star: 5 Points 26">
            <a:extLst>
              <a:ext uri="{FF2B5EF4-FFF2-40B4-BE49-F238E27FC236}">
                <a16:creationId xmlns:a16="http://schemas.microsoft.com/office/drawing/2014/main" id="{F787BCF1-2498-28B4-199E-7A531CA4AEB8}"/>
              </a:ext>
            </a:extLst>
          </p:cNvPr>
          <p:cNvSpPr/>
          <p:nvPr/>
        </p:nvSpPr>
        <p:spPr bwMode="auto">
          <a:xfrm>
            <a:off x="1536545" y="4014516"/>
            <a:ext cx="323248" cy="302734"/>
          </a:xfrm>
          <a:prstGeom prst="star5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charset="0"/>
              <a:sym typeface="Helvetica Neue"/>
            </a:endParaRPr>
          </a:p>
        </p:txBody>
      </p:sp>
      <p:sp>
        <p:nvSpPr>
          <p:cNvPr id="30" name="TextBox 1">
            <a:extLst>
              <a:ext uri="{FF2B5EF4-FFF2-40B4-BE49-F238E27FC236}">
                <a16:creationId xmlns:a16="http://schemas.microsoft.com/office/drawing/2014/main" id="{944B49F7-1C1D-DBCA-2AE8-96E1020637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72464" y="4640827"/>
            <a:ext cx="1439472" cy="221536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33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sym typeface="Helvetica Neue"/>
              </a:rPr>
              <a:t>Workshop 6G TSGs</a:t>
            </a:r>
            <a:endParaRPr kumimoji="0" lang="en-GB" altLang="en-US" sz="933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50" charset="0"/>
              <a:sym typeface="Helvetica Neue"/>
            </a:endParaRPr>
          </a:p>
        </p:txBody>
      </p:sp>
      <p:sp>
        <p:nvSpPr>
          <p:cNvPr id="14" name="Chevron 60">
            <a:extLst>
              <a:ext uri="{FF2B5EF4-FFF2-40B4-BE49-F238E27FC236}">
                <a16:creationId xmlns:a16="http://schemas.microsoft.com/office/drawing/2014/main" id="{FDFC1886-9F10-D55D-DCEA-0E0CFBB851F9}"/>
              </a:ext>
            </a:extLst>
          </p:cNvPr>
          <p:cNvSpPr/>
          <p:nvPr/>
        </p:nvSpPr>
        <p:spPr bwMode="auto">
          <a:xfrm>
            <a:off x="4362035" y="1610103"/>
            <a:ext cx="975784" cy="296333"/>
          </a:xfrm>
          <a:prstGeom prst="chevron">
            <a:avLst/>
          </a:prstGeom>
          <a:gradFill>
            <a:gsLst>
              <a:gs pos="1770">
                <a:schemeClr val="bg1"/>
              </a:gs>
              <a:gs pos="22000">
                <a:schemeClr val="accent5">
                  <a:lumMod val="60000"/>
                  <a:lumOff val="40000"/>
                </a:schemeClr>
              </a:gs>
              <a:gs pos="100000">
                <a:schemeClr val="accent5">
                  <a:lumMod val="75000"/>
                </a:schemeClr>
              </a:gs>
            </a:gsLst>
            <a:lin ang="18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100%</a:t>
            </a:r>
          </a:p>
        </p:txBody>
      </p:sp>
      <p:sp>
        <p:nvSpPr>
          <p:cNvPr id="15" name="Chevron 60">
            <a:extLst>
              <a:ext uri="{FF2B5EF4-FFF2-40B4-BE49-F238E27FC236}">
                <a16:creationId xmlns:a16="http://schemas.microsoft.com/office/drawing/2014/main" id="{66943435-635F-E8CA-EEF6-6A85AF11A3EC}"/>
              </a:ext>
            </a:extLst>
          </p:cNvPr>
          <p:cNvSpPr/>
          <p:nvPr/>
        </p:nvSpPr>
        <p:spPr bwMode="auto">
          <a:xfrm>
            <a:off x="2059104" y="1614900"/>
            <a:ext cx="2492577" cy="296333"/>
          </a:xfrm>
          <a:prstGeom prst="chevron">
            <a:avLst/>
          </a:prstGeom>
          <a:gradFill>
            <a:gsLst>
              <a:gs pos="1770">
                <a:schemeClr val="bg1"/>
              </a:gs>
              <a:gs pos="22000">
                <a:schemeClr val="accent5">
                  <a:lumMod val="60000"/>
                  <a:lumOff val="40000"/>
                </a:schemeClr>
              </a:gs>
              <a:gs pos="100000">
                <a:schemeClr val="accent5">
                  <a:lumMod val="75000"/>
                </a:schemeClr>
              </a:gs>
            </a:gsLst>
            <a:lin ang="18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SA1 5GA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Studies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 +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Norm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 80%</a:t>
            </a:r>
          </a:p>
        </p:txBody>
      </p:sp>
      <p:sp>
        <p:nvSpPr>
          <p:cNvPr id="17479" name="Chevron 60">
            <a:extLst>
              <a:ext uri="{FF2B5EF4-FFF2-40B4-BE49-F238E27FC236}">
                <a16:creationId xmlns:a16="http://schemas.microsoft.com/office/drawing/2014/main" id="{E382B73F-88FF-5032-62B2-366A77A8E999}"/>
              </a:ext>
            </a:extLst>
          </p:cNvPr>
          <p:cNvSpPr/>
          <p:nvPr/>
        </p:nvSpPr>
        <p:spPr bwMode="auto">
          <a:xfrm>
            <a:off x="8391395" y="2176602"/>
            <a:ext cx="975784" cy="296333"/>
          </a:xfrm>
          <a:prstGeom prst="chevron">
            <a:avLst/>
          </a:prstGeom>
          <a:gradFill>
            <a:gsLst>
              <a:gs pos="1770">
                <a:schemeClr val="bg1"/>
              </a:gs>
              <a:gs pos="22000">
                <a:schemeClr val="accent5">
                  <a:lumMod val="60000"/>
                  <a:lumOff val="40000"/>
                </a:schemeClr>
              </a:gs>
              <a:gs pos="100000">
                <a:schemeClr val="accent5">
                  <a:lumMod val="75000"/>
                </a:schemeClr>
              </a:gs>
            </a:gsLst>
            <a:lin ang="18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100%</a:t>
            </a:r>
          </a:p>
        </p:txBody>
      </p:sp>
      <p:sp>
        <p:nvSpPr>
          <p:cNvPr id="17480" name="Chevron 60">
            <a:extLst>
              <a:ext uri="{FF2B5EF4-FFF2-40B4-BE49-F238E27FC236}">
                <a16:creationId xmlns:a16="http://schemas.microsoft.com/office/drawing/2014/main" id="{C7198510-45BD-C822-BE2D-F03B2E32F4E6}"/>
              </a:ext>
            </a:extLst>
          </p:cNvPr>
          <p:cNvSpPr/>
          <p:nvPr/>
        </p:nvSpPr>
        <p:spPr bwMode="auto">
          <a:xfrm>
            <a:off x="5283203" y="2178958"/>
            <a:ext cx="3251196" cy="296333"/>
          </a:xfrm>
          <a:prstGeom prst="chevron">
            <a:avLst/>
          </a:prstGeom>
          <a:gradFill>
            <a:gsLst>
              <a:gs pos="1770">
                <a:schemeClr val="bg1"/>
              </a:gs>
              <a:gs pos="22000">
                <a:schemeClr val="accent5">
                  <a:lumMod val="60000"/>
                  <a:lumOff val="40000"/>
                </a:schemeClr>
              </a:gs>
              <a:gs pos="100000">
                <a:schemeClr val="accent5">
                  <a:lumMod val="75000"/>
                </a:schemeClr>
              </a:gs>
            </a:gsLst>
            <a:lin ang="18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St. 2 (SA2, SA6, …) 5GA SI+ WI    80%</a:t>
            </a:r>
          </a:p>
        </p:txBody>
      </p:sp>
      <p:sp>
        <p:nvSpPr>
          <p:cNvPr id="17484" name="Chevron 60">
            <a:extLst>
              <a:ext uri="{FF2B5EF4-FFF2-40B4-BE49-F238E27FC236}">
                <a16:creationId xmlns:a16="http://schemas.microsoft.com/office/drawing/2014/main" id="{8D60D298-7107-495C-44F4-2BBB0286BC85}"/>
              </a:ext>
            </a:extLst>
          </p:cNvPr>
          <p:cNvSpPr/>
          <p:nvPr/>
        </p:nvSpPr>
        <p:spPr bwMode="auto">
          <a:xfrm>
            <a:off x="8486210" y="2859398"/>
            <a:ext cx="2504653" cy="296333"/>
          </a:xfrm>
          <a:prstGeom prst="chevron">
            <a:avLst/>
          </a:prstGeom>
          <a:gradFill>
            <a:gsLst>
              <a:gs pos="1770">
                <a:schemeClr val="bg1"/>
              </a:gs>
              <a:gs pos="22000">
                <a:schemeClr val="accent5">
                  <a:lumMod val="60000"/>
                  <a:lumOff val="40000"/>
                </a:schemeClr>
              </a:gs>
              <a:gs pos="100000">
                <a:schemeClr val="accent5">
                  <a:lumMod val="75000"/>
                </a:schemeClr>
              </a:gs>
            </a:gsLst>
            <a:lin ang="18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Stage 3 5GA SI + WI</a:t>
            </a:r>
          </a:p>
        </p:txBody>
      </p:sp>
      <p:sp>
        <p:nvSpPr>
          <p:cNvPr id="17485" name="Chevron 60">
            <a:extLst>
              <a:ext uri="{FF2B5EF4-FFF2-40B4-BE49-F238E27FC236}">
                <a16:creationId xmlns:a16="http://schemas.microsoft.com/office/drawing/2014/main" id="{FB1E3A0C-0C94-56B1-9E8E-15BB970781E4}"/>
              </a:ext>
            </a:extLst>
          </p:cNvPr>
          <p:cNvSpPr/>
          <p:nvPr/>
        </p:nvSpPr>
        <p:spPr bwMode="auto">
          <a:xfrm>
            <a:off x="6150591" y="6060383"/>
            <a:ext cx="1661320" cy="263856"/>
          </a:xfrm>
          <a:custGeom>
            <a:avLst/>
            <a:gdLst>
              <a:gd name="connsiteX0" fmla="*/ 0 w 1578187"/>
              <a:gd name="connsiteY0" fmla="*/ 0 h 222250"/>
              <a:gd name="connsiteX1" fmla="*/ 1467062 w 1578187"/>
              <a:gd name="connsiteY1" fmla="*/ 0 h 222250"/>
              <a:gd name="connsiteX2" fmla="*/ 1578187 w 1578187"/>
              <a:gd name="connsiteY2" fmla="*/ 111125 h 222250"/>
              <a:gd name="connsiteX3" fmla="*/ 1467062 w 1578187"/>
              <a:gd name="connsiteY3" fmla="*/ 222250 h 222250"/>
              <a:gd name="connsiteX4" fmla="*/ 0 w 1578187"/>
              <a:gd name="connsiteY4" fmla="*/ 222250 h 222250"/>
              <a:gd name="connsiteX5" fmla="*/ 111125 w 1578187"/>
              <a:gd name="connsiteY5" fmla="*/ 111125 h 222250"/>
              <a:gd name="connsiteX6" fmla="*/ 0 w 1578187"/>
              <a:gd name="connsiteY6" fmla="*/ 0 h 222250"/>
              <a:gd name="connsiteX0" fmla="*/ 0 w 1578187"/>
              <a:gd name="connsiteY0" fmla="*/ 0 h 222250"/>
              <a:gd name="connsiteX1" fmla="*/ 1467062 w 1578187"/>
              <a:gd name="connsiteY1" fmla="*/ 0 h 222250"/>
              <a:gd name="connsiteX2" fmla="*/ 1578187 w 1578187"/>
              <a:gd name="connsiteY2" fmla="*/ 111125 h 222250"/>
              <a:gd name="connsiteX3" fmla="*/ 1467062 w 1578187"/>
              <a:gd name="connsiteY3" fmla="*/ 222250 h 222250"/>
              <a:gd name="connsiteX4" fmla="*/ 0 w 1578187"/>
              <a:gd name="connsiteY4" fmla="*/ 222250 h 222250"/>
              <a:gd name="connsiteX5" fmla="*/ 26818 w 1578187"/>
              <a:gd name="connsiteY5" fmla="*/ 98155 h 222250"/>
              <a:gd name="connsiteX6" fmla="*/ 0 w 1578187"/>
              <a:gd name="connsiteY6" fmla="*/ 0 h 222250"/>
              <a:gd name="connsiteX0" fmla="*/ 0 w 1506850"/>
              <a:gd name="connsiteY0" fmla="*/ 0 h 222250"/>
              <a:gd name="connsiteX1" fmla="*/ 1467062 w 1506850"/>
              <a:gd name="connsiteY1" fmla="*/ 0 h 222250"/>
              <a:gd name="connsiteX2" fmla="*/ 1506850 w 1506850"/>
              <a:gd name="connsiteY2" fmla="*/ 111125 h 222250"/>
              <a:gd name="connsiteX3" fmla="*/ 1467062 w 1506850"/>
              <a:gd name="connsiteY3" fmla="*/ 222250 h 222250"/>
              <a:gd name="connsiteX4" fmla="*/ 0 w 1506850"/>
              <a:gd name="connsiteY4" fmla="*/ 222250 h 222250"/>
              <a:gd name="connsiteX5" fmla="*/ 26818 w 1506850"/>
              <a:gd name="connsiteY5" fmla="*/ 98155 h 222250"/>
              <a:gd name="connsiteX6" fmla="*/ 0 w 1506850"/>
              <a:gd name="connsiteY6" fmla="*/ 0 h 222250"/>
              <a:gd name="connsiteX0" fmla="*/ 0 w 1625034"/>
              <a:gd name="connsiteY0" fmla="*/ 0 h 222250"/>
              <a:gd name="connsiteX1" fmla="*/ 1467062 w 1625034"/>
              <a:gd name="connsiteY1" fmla="*/ 0 h 222250"/>
              <a:gd name="connsiteX2" fmla="*/ 1625034 w 1625034"/>
              <a:gd name="connsiteY2" fmla="*/ 104677 h 222250"/>
              <a:gd name="connsiteX3" fmla="*/ 1467062 w 1625034"/>
              <a:gd name="connsiteY3" fmla="*/ 222250 h 222250"/>
              <a:gd name="connsiteX4" fmla="*/ 0 w 1625034"/>
              <a:gd name="connsiteY4" fmla="*/ 222250 h 222250"/>
              <a:gd name="connsiteX5" fmla="*/ 26818 w 1625034"/>
              <a:gd name="connsiteY5" fmla="*/ 98155 h 222250"/>
              <a:gd name="connsiteX6" fmla="*/ 0 w 1625034"/>
              <a:gd name="connsiteY6" fmla="*/ 0 h 22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25034" h="222250">
                <a:moveTo>
                  <a:pt x="0" y="0"/>
                </a:moveTo>
                <a:lnTo>
                  <a:pt x="1467062" y="0"/>
                </a:lnTo>
                <a:lnTo>
                  <a:pt x="1625034" y="104677"/>
                </a:lnTo>
                <a:lnTo>
                  <a:pt x="1467062" y="222250"/>
                </a:lnTo>
                <a:lnTo>
                  <a:pt x="0" y="222250"/>
                </a:lnTo>
                <a:lnTo>
                  <a:pt x="26818" y="9815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lin ang="10800000" scaled="1"/>
            <a:tileRect/>
          </a:gradFill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Stage 3 6G SID </a:t>
            </a:r>
            <a:r>
              <a:rPr kumimoji="0" lang="fr-FR" sz="1067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def</a:t>
            </a:r>
            <a:r>
              <a:rPr kumimoji="0" lang="fr-FR" sz="10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.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261DFA2-5EBE-0760-005F-090827A42373}"/>
              </a:ext>
            </a:extLst>
          </p:cNvPr>
          <p:cNvGrpSpPr/>
          <p:nvPr/>
        </p:nvGrpSpPr>
        <p:grpSpPr>
          <a:xfrm>
            <a:off x="9158089" y="1044808"/>
            <a:ext cx="437940" cy="426854"/>
            <a:chOff x="7375213" y="745293"/>
            <a:chExt cx="328455" cy="320140"/>
          </a:xfrm>
        </p:grpSpPr>
        <p:sp>
          <p:nvSpPr>
            <p:cNvPr id="17490" name="TextBox 86">
              <a:extLst>
                <a:ext uri="{FF2B5EF4-FFF2-40B4-BE49-F238E27FC236}">
                  <a16:creationId xmlns:a16="http://schemas.microsoft.com/office/drawing/2014/main" id="{35BB9D75-F8E4-FE51-0578-EE1CE5798D0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82097" y="745293"/>
              <a:ext cx="316433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2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ctr" defTabSz="1219169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ea typeface="MS PGothic" panose="020B0600070205080204" pitchFamily="34" charset="-128"/>
                  <a:sym typeface="Helvetica Neue"/>
                </a:rPr>
                <a:t>#113</a:t>
              </a:r>
              <a:endParaRPr kumimoji="0" lang="en-GB" altLang="en-US" sz="5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MS PGothic" panose="020B0600070205080204" pitchFamily="34" charset="-128"/>
                <a:sym typeface="Helvetica Neue"/>
              </a:endParaRPr>
            </a:p>
          </p:txBody>
        </p:sp>
        <p:sp>
          <p:nvSpPr>
            <p:cNvPr id="17492" name="TextBox 66">
              <a:extLst>
                <a:ext uri="{FF2B5EF4-FFF2-40B4-BE49-F238E27FC236}">
                  <a16:creationId xmlns:a16="http://schemas.microsoft.com/office/drawing/2014/main" id="{52784947-6AA6-617B-CED1-6981515A19C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75213" y="899281"/>
              <a:ext cx="328455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sym typeface="Helvetica Neue"/>
                </a:rPr>
                <a:t>Sep.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5523F22-A626-40BA-8A66-0EF7EE745E28}"/>
              </a:ext>
            </a:extLst>
          </p:cNvPr>
          <p:cNvGrpSpPr/>
          <p:nvPr/>
        </p:nvGrpSpPr>
        <p:grpSpPr>
          <a:xfrm>
            <a:off x="9931704" y="1044808"/>
            <a:ext cx="464285" cy="426854"/>
            <a:chOff x="8016563" y="745293"/>
            <a:chExt cx="348214" cy="320140"/>
          </a:xfrm>
        </p:grpSpPr>
        <p:sp>
          <p:nvSpPr>
            <p:cNvPr id="17491" name="TextBox 86">
              <a:extLst>
                <a:ext uri="{FF2B5EF4-FFF2-40B4-BE49-F238E27FC236}">
                  <a16:creationId xmlns:a16="http://schemas.microsoft.com/office/drawing/2014/main" id="{DADF5BC1-A476-EB24-2179-C4E5EBE78D5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39928" y="745293"/>
              <a:ext cx="324849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Blip>
                  <a:blip r:embed="rId2"/>
                </a:buBlip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rgbClr val="C00000"/>
                </a:buClr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6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ctr" defTabSz="1219169" rtl="0" eaLnBrk="1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ea typeface="MS PGothic" panose="020B0600070205080204" pitchFamily="34" charset="-128"/>
                  <a:sym typeface="Helvetica Neue"/>
                </a:rPr>
                <a:t>#114</a:t>
              </a:r>
              <a:endParaRPr kumimoji="0" lang="en-GB" altLang="en-US" sz="5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MS PGothic" panose="020B0600070205080204" pitchFamily="34" charset="-128"/>
                <a:sym typeface="Helvetica Neue"/>
              </a:endParaRPr>
            </a:p>
          </p:txBody>
        </p:sp>
        <p:sp>
          <p:nvSpPr>
            <p:cNvPr id="17493" name="TextBox 71">
              <a:extLst>
                <a:ext uri="{FF2B5EF4-FFF2-40B4-BE49-F238E27FC236}">
                  <a16:creationId xmlns:a16="http://schemas.microsoft.com/office/drawing/2014/main" id="{FF47688E-A86E-2353-7C06-DBC3A372063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16563" y="899281"/>
              <a:ext cx="336872" cy="166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933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anose="00000500000000000000" pitchFamily="2" charset="0"/>
                  <a:sym typeface="Helvetica Neue"/>
                </a:rPr>
                <a:t>Dec.</a:t>
              </a:r>
            </a:p>
          </p:txBody>
        </p:sp>
      </p:grpSp>
      <p:sp>
        <p:nvSpPr>
          <p:cNvPr id="17497" name="TextBox 86">
            <a:extLst>
              <a:ext uri="{FF2B5EF4-FFF2-40B4-BE49-F238E27FC236}">
                <a16:creationId xmlns:a16="http://schemas.microsoft.com/office/drawing/2014/main" id="{5357307E-DFB7-4014-E67F-B234B2ED5C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48805" y="1062870"/>
            <a:ext cx="421910" cy="221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Blip>
                <a:blip r:embed="rId2"/>
              </a:buBlip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MS PGothic" panose="020B0600070205080204" pitchFamily="34" charset="-128"/>
                <a:sym typeface="Helvetica Neue"/>
              </a:rPr>
              <a:t>#115</a:t>
            </a:r>
            <a:endParaRPr kumimoji="0" lang="en-GB" altLang="en-US" sz="533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MS PGothic" panose="020B0600070205080204" pitchFamily="34" charset="-128"/>
              <a:sym typeface="Helvetica Neue"/>
            </a:endParaRPr>
          </a:p>
        </p:txBody>
      </p:sp>
      <p:sp>
        <p:nvSpPr>
          <p:cNvPr id="17498" name="TextBox 60">
            <a:extLst>
              <a:ext uri="{FF2B5EF4-FFF2-40B4-BE49-F238E27FC236}">
                <a16:creationId xmlns:a16="http://schemas.microsoft.com/office/drawing/2014/main" id="{7AF265C0-820D-2759-0403-8611A7BA1C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65026" y="1268187"/>
            <a:ext cx="442750" cy="221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sym typeface="Helvetica Neue"/>
              </a:rPr>
              <a:t>Mar.</a:t>
            </a:r>
          </a:p>
        </p:txBody>
      </p:sp>
      <p:sp>
        <p:nvSpPr>
          <p:cNvPr id="17502" name="TextBox 60">
            <a:extLst>
              <a:ext uri="{FF2B5EF4-FFF2-40B4-BE49-F238E27FC236}">
                <a16:creationId xmlns:a16="http://schemas.microsoft.com/office/drawing/2014/main" id="{C355434E-FF94-C598-923E-8C580DCE39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51907" y="1245608"/>
            <a:ext cx="405880" cy="221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sym typeface="Helvetica Neue"/>
              </a:rPr>
              <a:t>Jun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2B9B160-85F8-B7F3-949C-6A80EDD7C45E}"/>
              </a:ext>
            </a:extLst>
          </p:cNvPr>
          <p:cNvCxnSpPr>
            <a:cxnSpLocks/>
          </p:cNvCxnSpPr>
          <p:nvPr/>
        </p:nvCxnSpPr>
        <p:spPr bwMode="auto">
          <a:xfrm>
            <a:off x="0" y="3772058"/>
            <a:ext cx="1219200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28" name="TextBox 1">
            <a:extLst>
              <a:ext uri="{FF2B5EF4-FFF2-40B4-BE49-F238E27FC236}">
                <a16:creationId xmlns:a16="http://schemas.microsoft.com/office/drawing/2014/main" id="{350EBDED-2AAF-158F-80CB-DEAAEA111A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0320" y="4376907"/>
            <a:ext cx="2061557" cy="350737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33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sym typeface="Helvetica Neue"/>
              </a:rPr>
              <a:t>Stage-1  Workshop IMT-2030 use cases</a:t>
            </a:r>
            <a:endParaRPr kumimoji="0" lang="en-GB" altLang="en-US" sz="933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50" charset="0"/>
              <a:sym typeface="Helvetica Neue"/>
            </a:endParaRPr>
          </a:p>
        </p:txBody>
      </p:sp>
      <p:sp>
        <p:nvSpPr>
          <p:cNvPr id="41" name="TextBox 86">
            <a:extLst>
              <a:ext uri="{FF2B5EF4-FFF2-40B4-BE49-F238E27FC236}">
                <a16:creationId xmlns:a16="http://schemas.microsoft.com/office/drawing/2014/main" id="{E7CFFE9A-BA11-5507-66C4-463BFE813E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18559" y="1058354"/>
            <a:ext cx="426720" cy="221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Blip>
                <a:blip r:embed="rId2"/>
              </a:buBlip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0"/>
                <a:ea typeface="MS PGothic" panose="020B0600070205080204" pitchFamily="34" charset="-128"/>
                <a:sym typeface="Helvetica Neue"/>
              </a:rPr>
              <a:t>#116</a:t>
            </a:r>
            <a:endParaRPr kumimoji="0" lang="en-GB" altLang="en-US" sz="533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0"/>
              <a:ea typeface="MS PGothic" panose="020B0600070205080204" pitchFamily="34" charset="-128"/>
              <a:sym typeface="Helvetica Neue"/>
            </a:endParaRPr>
          </a:p>
        </p:txBody>
      </p:sp>
      <p:cxnSp>
        <p:nvCxnSpPr>
          <p:cNvPr id="46" name="Straight Connector 114">
            <a:extLst>
              <a:ext uri="{FF2B5EF4-FFF2-40B4-BE49-F238E27FC236}">
                <a16:creationId xmlns:a16="http://schemas.microsoft.com/office/drawing/2014/main" id="{651AFA73-F0D3-3C1E-F07B-8562524BC03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914825" y="1550395"/>
            <a:ext cx="0" cy="5242408"/>
          </a:xfrm>
          <a:prstGeom prst="line">
            <a:avLst/>
          </a:prstGeom>
          <a:noFill/>
          <a:ln w="9525" algn="ctr">
            <a:solidFill>
              <a:schemeClr val="accent4">
                <a:lumMod val="40000"/>
                <a:lumOff val="60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48" name="Straight Connector 114">
            <a:extLst>
              <a:ext uri="{FF2B5EF4-FFF2-40B4-BE49-F238E27FC236}">
                <a16:creationId xmlns:a16="http://schemas.microsoft.com/office/drawing/2014/main" id="{2A413990-7B6F-5FC0-02A3-545705497B65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518998" y="1562478"/>
            <a:ext cx="0" cy="5242408"/>
          </a:xfrm>
          <a:prstGeom prst="line">
            <a:avLst/>
          </a:prstGeom>
          <a:noFill/>
          <a:ln w="9525" algn="ctr">
            <a:solidFill>
              <a:schemeClr val="accent4">
                <a:lumMod val="40000"/>
                <a:lumOff val="60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49" name="Straight Connector 114">
            <a:extLst>
              <a:ext uri="{FF2B5EF4-FFF2-40B4-BE49-F238E27FC236}">
                <a16:creationId xmlns:a16="http://schemas.microsoft.com/office/drawing/2014/main" id="{E57E96D9-2BD0-D27A-86EA-0E49CF66F1B4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335765" y="1550395"/>
            <a:ext cx="0" cy="5242408"/>
          </a:xfrm>
          <a:prstGeom prst="line">
            <a:avLst/>
          </a:prstGeom>
          <a:noFill/>
          <a:ln w="9525" algn="ctr">
            <a:solidFill>
              <a:schemeClr val="accent4">
                <a:lumMod val="40000"/>
                <a:lumOff val="60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50" name="Straight Connector 114">
            <a:extLst>
              <a:ext uri="{FF2B5EF4-FFF2-40B4-BE49-F238E27FC236}">
                <a16:creationId xmlns:a16="http://schemas.microsoft.com/office/drawing/2014/main" id="{0B518462-35CA-01DF-E3DA-79CF4D1A67DB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142745" y="1550395"/>
            <a:ext cx="0" cy="5242408"/>
          </a:xfrm>
          <a:prstGeom prst="line">
            <a:avLst/>
          </a:prstGeom>
          <a:noFill/>
          <a:ln w="9525" algn="ctr">
            <a:solidFill>
              <a:schemeClr val="accent4">
                <a:lumMod val="40000"/>
                <a:lumOff val="60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51" name="Straight Connector 114">
            <a:extLst>
              <a:ext uri="{FF2B5EF4-FFF2-40B4-BE49-F238E27FC236}">
                <a16:creationId xmlns:a16="http://schemas.microsoft.com/office/drawing/2014/main" id="{A3B6C350-D29D-A509-A057-DD254318F84D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756705" y="1550395"/>
            <a:ext cx="0" cy="5242408"/>
          </a:xfrm>
          <a:prstGeom prst="line">
            <a:avLst/>
          </a:prstGeom>
          <a:noFill/>
          <a:ln w="9525" algn="ctr">
            <a:solidFill>
              <a:schemeClr val="accent4">
                <a:lumMod val="40000"/>
                <a:lumOff val="60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52" name="Straight Connector 114">
            <a:extLst>
              <a:ext uri="{FF2B5EF4-FFF2-40B4-BE49-F238E27FC236}">
                <a16:creationId xmlns:a16="http://schemas.microsoft.com/office/drawing/2014/main" id="{66E04F16-36C6-027F-9585-CF454FC4A2D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563685" y="1550395"/>
            <a:ext cx="0" cy="5242408"/>
          </a:xfrm>
          <a:prstGeom prst="line">
            <a:avLst/>
          </a:prstGeom>
          <a:noFill/>
          <a:ln w="9525" algn="ctr">
            <a:solidFill>
              <a:schemeClr val="accent4">
                <a:lumMod val="40000"/>
                <a:lumOff val="60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53" name="Straight Connector 114">
            <a:extLst>
              <a:ext uri="{FF2B5EF4-FFF2-40B4-BE49-F238E27FC236}">
                <a16:creationId xmlns:a16="http://schemas.microsoft.com/office/drawing/2014/main" id="{DE683D18-B47F-D070-F845-F7E8B61125EA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9370665" y="1550395"/>
            <a:ext cx="0" cy="5242408"/>
          </a:xfrm>
          <a:prstGeom prst="line">
            <a:avLst/>
          </a:prstGeom>
          <a:noFill/>
          <a:ln w="9525" algn="ctr">
            <a:solidFill>
              <a:schemeClr val="accent4">
                <a:lumMod val="40000"/>
                <a:lumOff val="60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54" name="Straight Connector 114">
            <a:extLst>
              <a:ext uri="{FF2B5EF4-FFF2-40B4-BE49-F238E27FC236}">
                <a16:creationId xmlns:a16="http://schemas.microsoft.com/office/drawing/2014/main" id="{65ECC03C-392D-C70D-4A68-5DA2FD703EF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0984625" y="1550395"/>
            <a:ext cx="0" cy="5242408"/>
          </a:xfrm>
          <a:prstGeom prst="line">
            <a:avLst/>
          </a:prstGeom>
          <a:noFill/>
          <a:ln w="9525" algn="ctr">
            <a:solidFill>
              <a:schemeClr val="accent4">
                <a:lumMod val="40000"/>
                <a:lumOff val="60000"/>
              </a:schemeClr>
            </a:solidFill>
            <a:prstDash val="dash"/>
            <a:round/>
            <a:headEnd/>
            <a:tailEnd/>
          </a:ln>
        </p:spPr>
      </p:cxnSp>
      <p:cxnSp>
        <p:nvCxnSpPr>
          <p:cNvPr id="55" name="Straight Connector 114">
            <a:extLst>
              <a:ext uri="{FF2B5EF4-FFF2-40B4-BE49-F238E27FC236}">
                <a16:creationId xmlns:a16="http://schemas.microsoft.com/office/drawing/2014/main" id="{9C497097-315E-8A6D-769F-09FBCED69F5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791612" y="1550395"/>
            <a:ext cx="0" cy="5242408"/>
          </a:xfrm>
          <a:prstGeom prst="line">
            <a:avLst/>
          </a:prstGeom>
          <a:noFill/>
          <a:ln w="9525" algn="ctr">
            <a:solidFill>
              <a:schemeClr val="accent4">
                <a:lumMod val="40000"/>
                <a:lumOff val="60000"/>
              </a:schemeClr>
            </a:solidFill>
            <a:prstDash val="dash"/>
            <a:round/>
            <a:headEnd/>
            <a:tailEnd/>
          </a:ln>
        </p:spPr>
      </p:cxnSp>
      <p:sp>
        <p:nvSpPr>
          <p:cNvPr id="61" name="Chevron 60">
            <a:extLst>
              <a:ext uri="{FF2B5EF4-FFF2-40B4-BE49-F238E27FC236}">
                <a16:creationId xmlns:a16="http://schemas.microsoft.com/office/drawing/2014/main" id="{949047CD-F01D-8426-6AF0-4CD1206C7FB8}"/>
              </a:ext>
            </a:extLst>
          </p:cNvPr>
          <p:cNvSpPr/>
          <p:nvPr/>
        </p:nvSpPr>
        <p:spPr bwMode="auto">
          <a:xfrm>
            <a:off x="2713857" y="4024911"/>
            <a:ext cx="5070961" cy="296333"/>
          </a:xfrm>
          <a:prstGeom prst="chevron">
            <a:avLst/>
          </a:prstGeom>
          <a:gradFill>
            <a:gsLst>
              <a:gs pos="1770">
                <a:schemeClr val="bg1"/>
              </a:gs>
              <a:gs pos="22000">
                <a:schemeClr val="accent5">
                  <a:lumMod val="60000"/>
                  <a:lumOff val="40000"/>
                </a:schemeClr>
              </a:gs>
              <a:gs pos="100000">
                <a:schemeClr val="accent5">
                  <a:lumMod val="75000"/>
                </a:schemeClr>
              </a:gs>
            </a:gsLst>
            <a:lin ang="18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SA1 6G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Study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(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ies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)</a:t>
            </a:r>
          </a:p>
        </p:txBody>
      </p:sp>
      <p:sp>
        <p:nvSpPr>
          <p:cNvPr id="5" name="Chevron 60">
            <a:extLst>
              <a:ext uri="{FF2B5EF4-FFF2-40B4-BE49-F238E27FC236}">
                <a16:creationId xmlns:a16="http://schemas.microsoft.com/office/drawing/2014/main" id="{9772A3F5-EE99-B673-A6CB-BF15F057A1FD}"/>
              </a:ext>
            </a:extLst>
          </p:cNvPr>
          <p:cNvSpPr/>
          <p:nvPr/>
        </p:nvSpPr>
        <p:spPr bwMode="auto">
          <a:xfrm>
            <a:off x="1934989" y="4033796"/>
            <a:ext cx="1094862" cy="292381"/>
          </a:xfrm>
          <a:custGeom>
            <a:avLst/>
            <a:gdLst>
              <a:gd name="connsiteX0" fmla="*/ 0 w 1578187"/>
              <a:gd name="connsiteY0" fmla="*/ 0 h 222250"/>
              <a:gd name="connsiteX1" fmla="*/ 1467062 w 1578187"/>
              <a:gd name="connsiteY1" fmla="*/ 0 h 222250"/>
              <a:gd name="connsiteX2" fmla="*/ 1578187 w 1578187"/>
              <a:gd name="connsiteY2" fmla="*/ 111125 h 222250"/>
              <a:gd name="connsiteX3" fmla="*/ 1467062 w 1578187"/>
              <a:gd name="connsiteY3" fmla="*/ 222250 h 222250"/>
              <a:gd name="connsiteX4" fmla="*/ 0 w 1578187"/>
              <a:gd name="connsiteY4" fmla="*/ 222250 h 222250"/>
              <a:gd name="connsiteX5" fmla="*/ 111125 w 1578187"/>
              <a:gd name="connsiteY5" fmla="*/ 111125 h 222250"/>
              <a:gd name="connsiteX6" fmla="*/ 0 w 1578187"/>
              <a:gd name="connsiteY6" fmla="*/ 0 h 222250"/>
              <a:gd name="connsiteX0" fmla="*/ 0 w 1578187"/>
              <a:gd name="connsiteY0" fmla="*/ 0 h 222250"/>
              <a:gd name="connsiteX1" fmla="*/ 1467062 w 1578187"/>
              <a:gd name="connsiteY1" fmla="*/ 0 h 222250"/>
              <a:gd name="connsiteX2" fmla="*/ 1578187 w 1578187"/>
              <a:gd name="connsiteY2" fmla="*/ 111125 h 222250"/>
              <a:gd name="connsiteX3" fmla="*/ 1467062 w 1578187"/>
              <a:gd name="connsiteY3" fmla="*/ 222250 h 222250"/>
              <a:gd name="connsiteX4" fmla="*/ 0 w 1578187"/>
              <a:gd name="connsiteY4" fmla="*/ 222250 h 222250"/>
              <a:gd name="connsiteX5" fmla="*/ 26818 w 1578187"/>
              <a:gd name="connsiteY5" fmla="*/ 98155 h 222250"/>
              <a:gd name="connsiteX6" fmla="*/ 0 w 1578187"/>
              <a:gd name="connsiteY6" fmla="*/ 0 h 222250"/>
              <a:gd name="connsiteX0" fmla="*/ 0 w 1506850"/>
              <a:gd name="connsiteY0" fmla="*/ 0 h 222250"/>
              <a:gd name="connsiteX1" fmla="*/ 1467062 w 1506850"/>
              <a:gd name="connsiteY1" fmla="*/ 0 h 222250"/>
              <a:gd name="connsiteX2" fmla="*/ 1506850 w 1506850"/>
              <a:gd name="connsiteY2" fmla="*/ 111125 h 222250"/>
              <a:gd name="connsiteX3" fmla="*/ 1467062 w 1506850"/>
              <a:gd name="connsiteY3" fmla="*/ 222250 h 222250"/>
              <a:gd name="connsiteX4" fmla="*/ 0 w 1506850"/>
              <a:gd name="connsiteY4" fmla="*/ 222250 h 222250"/>
              <a:gd name="connsiteX5" fmla="*/ 26818 w 1506850"/>
              <a:gd name="connsiteY5" fmla="*/ 98155 h 222250"/>
              <a:gd name="connsiteX6" fmla="*/ 0 w 1506850"/>
              <a:gd name="connsiteY6" fmla="*/ 0 h 222250"/>
              <a:gd name="connsiteX0" fmla="*/ 0 w 1592394"/>
              <a:gd name="connsiteY0" fmla="*/ 0 h 222250"/>
              <a:gd name="connsiteX1" fmla="*/ 1467062 w 1592394"/>
              <a:gd name="connsiteY1" fmla="*/ 0 h 222250"/>
              <a:gd name="connsiteX2" fmla="*/ 1592394 w 1592394"/>
              <a:gd name="connsiteY2" fmla="*/ 124393 h 222250"/>
              <a:gd name="connsiteX3" fmla="*/ 1467062 w 1592394"/>
              <a:gd name="connsiteY3" fmla="*/ 222250 h 222250"/>
              <a:gd name="connsiteX4" fmla="*/ 0 w 1592394"/>
              <a:gd name="connsiteY4" fmla="*/ 222250 h 222250"/>
              <a:gd name="connsiteX5" fmla="*/ 26818 w 1592394"/>
              <a:gd name="connsiteY5" fmla="*/ 98155 h 222250"/>
              <a:gd name="connsiteX6" fmla="*/ 0 w 1592394"/>
              <a:gd name="connsiteY6" fmla="*/ 0 h 222250"/>
              <a:gd name="connsiteX0" fmla="*/ 0 w 1770114"/>
              <a:gd name="connsiteY0" fmla="*/ 0 h 222250"/>
              <a:gd name="connsiteX1" fmla="*/ 1467062 w 1770114"/>
              <a:gd name="connsiteY1" fmla="*/ 0 h 222250"/>
              <a:gd name="connsiteX2" fmla="*/ 1770114 w 1770114"/>
              <a:gd name="connsiteY2" fmla="*/ 124393 h 222250"/>
              <a:gd name="connsiteX3" fmla="*/ 1467062 w 1770114"/>
              <a:gd name="connsiteY3" fmla="*/ 222250 h 222250"/>
              <a:gd name="connsiteX4" fmla="*/ 0 w 1770114"/>
              <a:gd name="connsiteY4" fmla="*/ 222250 h 222250"/>
              <a:gd name="connsiteX5" fmla="*/ 26818 w 1770114"/>
              <a:gd name="connsiteY5" fmla="*/ 98155 h 222250"/>
              <a:gd name="connsiteX6" fmla="*/ 0 w 1770114"/>
              <a:gd name="connsiteY6" fmla="*/ 0 h 22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0114" h="222250">
                <a:moveTo>
                  <a:pt x="0" y="0"/>
                </a:moveTo>
                <a:lnTo>
                  <a:pt x="1467062" y="0"/>
                </a:lnTo>
                <a:lnTo>
                  <a:pt x="1770114" y="124393"/>
                </a:lnTo>
                <a:lnTo>
                  <a:pt x="1467062" y="222250"/>
                </a:lnTo>
                <a:lnTo>
                  <a:pt x="0" y="222250"/>
                </a:lnTo>
                <a:lnTo>
                  <a:pt x="26818" y="9815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lin ang="10800000" scaled="1"/>
            <a:tileRect/>
          </a:gradFill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SA1 6G SID </a:t>
            </a:r>
            <a:r>
              <a:rPr kumimoji="0" lang="fr-FR" sz="1067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def</a:t>
            </a:r>
            <a:r>
              <a:rPr kumimoji="0" lang="fr-FR" sz="10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.</a:t>
            </a:r>
          </a:p>
        </p:txBody>
      </p:sp>
      <p:sp>
        <p:nvSpPr>
          <p:cNvPr id="9252" name="Chevron 60">
            <a:extLst>
              <a:ext uri="{FF2B5EF4-FFF2-40B4-BE49-F238E27FC236}">
                <a16:creationId xmlns:a16="http://schemas.microsoft.com/office/drawing/2014/main" id="{D2D7662F-972A-BEB4-88DD-8603D72E89DE}"/>
              </a:ext>
            </a:extLst>
          </p:cNvPr>
          <p:cNvSpPr/>
          <p:nvPr/>
        </p:nvSpPr>
        <p:spPr bwMode="auto">
          <a:xfrm>
            <a:off x="5210953" y="4845664"/>
            <a:ext cx="5048391" cy="296333"/>
          </a:xfrm>
          <a:prstGeom prst="chevron">
            <a:avLst/>
          </a:prstGeom>
          <a:gradFill>
            <a:gsLst>
              <a:gs pos="1770">
                <a:schemeClr val="bg1"/>
              </a:gs>
              <a:gs pos="22000">
                <a:schemeClr val="accent5">
                  <a:lumMod val="60000"/>
                  <a:lumOff val="40000"/>
                </a:schemeClr>
              </a:gs>
              <a:gs pos="100000">
                <a:schemeClr val="accent5">
                  <a:lumMod val="75000"/>
                </a:schemeClr>
              </a:gs>
            </a:gsLst>
            <a:lin ang="18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SA2 6G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Study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(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ies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)</a:t>
            </a:r>
          </a:p>
        </p:txBody>
      </p:sp>
      <p:sp>
        <p:nvSpPr>
          <p:cNvPr id="9253" name="Chevron 60">
            <a:extLst>
              <a:ext uri="{FF2B5EF4-FFF2-40B4-BE49-F238E27FC236}">
                <a16:creationId xmlns:a16="http://schemas.microsoft.com/office/drawing/2014/main" id="{EDB78B5A-985D-0D72-3F44-7FD392550BB6}"/>
              </a:ext>
            </a:extLst>
          </p:cNvPr>
          <p:cNvSpPr/>
          <p:nvPr/>
        </p:nvSpPr>
        <p:spPr bwMode="auto">
          <a:xfrm>
            <a:off x="7721600" y="6048577"/>
            <a:ext cx="3612445" cy="296333"/>
          </a:xfrm>
          <a:prstGeom prst="chevron">
            <a:avLst/>
          </a:prstGeom>
          <a:gradFill>
            <a:gsLst>
              <a:gs pos="1770">
                <a:schemeClr val="bg1"/>
              </a:gs>
              <a:gs pos="22000">
                <a:schemeClr val="accent5">
                  <a:lumMod val="60000"/>
                  <a:lumOff val="40000"/>
                </a:schemeClr>
              </a:gs>
              <a:gs pos="100000">
                <a:schemeClr val="accent5">
                  <a:lumMod val="75000"/>
                </a:schemeClr>
              </a:gs>
            </a:gsLst>
            <a:lin ang="18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Stage 3 6G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Study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(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ies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)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5290C507-3484-6A34-73D1-2C0E61E8F4E2}"/>
              </a:ext>
            </a:extLst>
          </p:cNvPr>
          <p:cNvSpPr txBox="1">
            <a:spLocks/>
          </p:cNvSpPr>
          <p:nvPr/>
        </p:nvSpPr>
        <p:spPr bwMode="auto">
          <a:xfrm>
            <a:off x="1442052" y="2959558"/>
            <a:ext cx="2829665" cy="51824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21907" tIns="60953" rIns="121907" bIns="60953" anchor="ctr"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0"/>
                <a:cs typeface="ＭＳ Ｐゴシック" charset="0"/>
                <a:sym typeface="Helvetica Neue"/>
              </a:rPr>
              <a:t>5G-Advanced</a:t>
            </a:r>
            <a:endParaRPr kumimoji="0" lang="en-US" sz="2133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50" charset="0"/>
              <a:ea typeface="ＭＳ Ｐゴシック" charset="0"/>
              <a:cs typeface="ＭＳ Ｐゴシック" charset="0"/>
              <a:sym typeface="Helvetica Neue"/>
            </a:endParaRPr>
          </a:p>
        </p:txBody>
      </p:sp>
      <p:sp>
        <p:nvSpPr>
          <p:cNvPr id="9255" name="Title 1">
            <a:extLst>
              <a:ext uri="{FF2B5EF4-FFF2-40B4-BE49-F238E27FC236}">
                <a16:creationId xmlns:a16="http://schemas.microsoft.com/office/drawing/2014/main" id="{2AC0A55B-9075-2801-E70D-1CD4078A7F2A}"/>
              </a:ext>
            </a:extLst>
          </p:cNvPr>
          <p:cNvSpPr txBox="1">
            <a:spLocks/>
          </p:cNvSpPr>
          <p:nvPr/>
        </p:nvSpPr>
        <p:spPr bwMode="auto">
          <a:xfrm>
            <a:off x="1442052" y="5975503"/>
            <a:ext cx="2812988" cy="51824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21907" tIns="60953" rIns="121907" bIns="60953" anchor="ctr"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0"/>
                <a:cs typeface="ＭＳ Ｐゴシック" charset="0"/>
                <a:sym typeface="Helvetica Neue"/>
              </a:rPr>
              <a:t>6G Study</a:t>
            </a:r>
            <a:endParaRPr kumimoji="0" lang="en-US" sz="2133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50" charset="0"/>
              <a:ea typeface="ＭＳ Ｐゴシック" charset="0"/>
              <a:cs typeface="ＭＳ Ｐゴシック" charset="0"/>
              <a:sym typeface="Helvetica Neue"/>
            </a:endParaRPr>
          </a:p>
        </p:txBody>
      </p:sp>
      <p:cxnSp>
        <p:nvCxnSpPr>
          <p:cNvPr id="9258" name="Straight Connector 9257">
            <a:extLst>
              <a:ext uri="{FF2B5EF4-FFF2-40B4-BE49-F238E27FC236}">
                <a16:creationId xmlns:a16="http://schemas.microsoft.com/office/drawing/2014/main" id="{B3D2C5F5-C828-910F-2389-D3361E4D9E0A}"/>
              </a:ext>
            </a:extLst>
          </p:cNvPr>
          <p:cNvCxnSpPr>
            <a:cxnSpLocks/>
          </p:cNvCxnSpPr>
          <p:nvPr/>
        </p:nvCxnSpPr>
        <p:spPr bwMode="auto">
          <a:xfrm>
            <a:off x="3737611" y="863057"/>
            <a:ext cx="3112477" cy="0"/>
          </a:xfrm>
          <a:prstGeom prst="line">
            <a:avLst/>
          </a:prstGeom>
          <a:ln>
            <a:solidFill>
              <a:schemeClr val="accent4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9259" name="TextBox 9258">
            <a:extLst>
              <a:ext uri="{FF2B5EF4-FFF2-40B4-BE49-F238E27FC236}">
                <a16:creationId xmlns:a16="http://schemas.microsoft.com/office/drawing/2014/main" id="{F81E3299-24A4-DF10-CECA-31D007D89477}"/>
              </a:ext>
            </a:extLst>
          </p:cNvPr>
          <p:cNvSpPr txBox="1"/>
          <p:nvPr/>
        </p:nvSpPr>
        <p:spPr>
          <a:xfrm>
            <a:off x="4934374" y="700076"/>
            <a:ext cx="731290" cy="3416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sym typeface="Helvetica Neue"/>
              </a:rPr>
              <a:t>2025</a:t>
            </a:r>
            <a:endParaRPr kumimoji="0" lang="en-GB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50" charset="0"/>
              <a:sym typeface="Helvetica Neue"/>
            </a:endParaRPr>
          </a:p>
        </p:txBody>
      </p:sp>
      <p:cxnSp>
        <p:nvCxnSpPr>
          <p:cNvPr id="9260" name="Straight Connector 9259">
            <a:extLst>
              <a:ext uri="{FF2B5EF4-FFF2-40B4-BE49-F238E27FC236}">
                <a16:creationId xmlns:a16="http://schemas.microsoft.com/office/drawing/2014/main" id="{0C7B2277-0162-5EBE-D8FF-C790B09D2D58}"/>
              </a:ext>
            </a:extLst>
          </p:cNvPr>
          <p:cNvCxnSpPr>
            <a:cxnSpLocks/>
          </p:cNvCxnSpPr>
          <p:nvPr/>
        </p:nvCxnSpPr>
        <p:spPr bwMode="auto">
          <a:xfrm>
            <a:off x="6939135" y="867580"/>
            <a:ext cx="3112477" cy="0"/>
          </a:xfrm>
          <a:prstGeom prst="line">
            <a:avLst/>
          </a:prstGeom>
          <a:ln>
            <a:solidFill>
              <a:schemeClr val="accent4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9261" name="TextBox 9260">
            <a:extLst>
              <a:ext uri="{FF2B5EF4-FFF2-40B4-BE49-F238E27FC236}">
                <a16:creationId xmlns:a16="http://schemas.microsoft.com/office/drawing/2014/main" id="{4FC19360-BDB4-2F9F-BCF6-7F93FDEE6550}"/>
              </a:ext>
            </a:extLst>
          </p:cNvPr>
          <p:cNvSpPr txBox="1"/>
          <p:nvPr/>
        </p:nvSpPr>
        <p:spPr>
          <a:xfrm>
            <a:off x="8135898" y="704598"/>
            <a:ext cx="740908" cy="3416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sym typeface="Helvetica Neue"/>
              </a:rPr>
              <a:t>2026</a:t>
            </a:r>
            <a:endParaRPr kumimoji="0" lang="en-GB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50" charset="0"/>
              <a:sym typeface="Helvetica Neue"/>
            </a:endParaRPr>
          </a:p>
        </p:txBody>
      </p:sp>
      <p:cxnSp>
        <p:nvCxnSpPr>
          <p:cNvPr id="9262" name="Straight Connector 9261">
            <a:extLst>
              <a:ext uri="{FF2B5EF4-FFF2-40B4-BE49-F238E27FC236}">
                <a16:creationId xmlns:a16="http://schemas.microsoft.com/office/drawing/2014/main" id="{5BA0E2EC-7BB4-F154-F288-F7C6185809BE}"/>
              </a:ext>
            </a:extLst>
          </p:cNvPr>
          <p:cNvCxnSpPr>
            <a:cxnSpLocks/>
          </p:cNvCxnSpPr>
          <p:nvPr/>
        </p:nvCxnSpPr>
        <p:spPr bwMode="auto">
          <a:xfrm>
            <a:off x="10131627" y="854039"/>
            <a:ext cx="1988124" cy="0"/>
          </a:xfrm>
          <a:prstGeom prst="line">
            <a:avLst/>
          </a:prstGeom>
          <a:ln>
            <a:solidFill>
              <a:schemeClr val="accent4">
                <a:lumMod val="40000"/>
                <a:lumOff val="6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9263" name="TextBox 9262">
            <a:extLst>
              <a:ext uri="{FF2B5EF4-FFF2-40B4-BE49-F238E27FC236}">
                <a16:creationId xmlns:a16="http://schemas.microsoft.com/office/drawing/2014/main" id="{4B4B98A0-23F0-642A-193B-29EEB7C93F6F}"/>
              </a:ext>
            </a:extLst>
          </p:cNvPr>
          <p:cNvSpPr txBox="1"/>
          <p:nvPr/>
        </p:nvSpPr>
        <p:spPr>
          <a:xfrm>
            <a:off x="10885866" y="709120"/>
            <a:ext cx="736099" cy="3416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anose="00000500000000000000" pitchFamily="50" charset="0"/>
                <a:sym typeface="Helvetica Neue"/>
              </a:rPr>
              <a:t>2027</a:t>
            </a:r>
            <a:endParaRPr kumimoji="0" lang="en-GB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anose="00000500000000000000" pitchFamily="50" charset="0"/>
              <a:sym typeface="Helvetica Neue"/>
            </a:endParaRPr>
          </a:p>
        </p:txBody>
      </p:sp>
      <p:sp>
        <p:nvSpPr>
          <p:cNvPr id="9265" name="Thought Bubble: Cloud 9264">
            <a:extLst>
              <a:ext uri="{FF2B5EF4-FFF2-40B4-BE49-F238E27FC236}">
                <a16:creationId xmlns:a16="http://schemas.microsoft.com/office/drawing/2014/main" id="{AF2A54D2-8579-81B9-4303-4D6D537198DD}"/>
              </a:ext>
            </a:extLst>
          </p:cNvPr>
          <p:cNvSpPr/>
          <p:nvPr/>
        </p:nvSpPr>
        <p:spPr bwMode="auto">
          <a:xfrm>
            <a:off x="4179373" y="5266892"/>
            <a:ext cx="1689527" cy="718749"/>
          </a:xfrm>
          <a:prstGeom prst="cloudCallout">
            <a:avLst>
              <a:gd name="adj1" fmla="val -1577"/>
              <a:gd name="adj2" fmla="val 30526"/>
            </a:avLst>
          </a:prstGeom>
          <a:solidFill>
            <a:srgbClr val="C9C9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0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50" charset="0"/>
              <a:ea typeface="ＭＳ Ｐゴシック" charset="-128"/>
              <a:cs typeface="Arial" pitchFamily="34" charset="0"/>
              <a:sym typeface="Helvetica Neue"/>
            </a:endParaRPr>
          </a:p>
        </p:txBody>
      </p:sp>
      <p:sp>
        <p:nvSpPr>
          <p:cNvPr id="21" name="Chevron 60">
            <a:extLst>
              <a:ext uri="{FF2B5EF4-FFF2-40B4-BE49-F238E27FC236}">
                <a16:creationId xmlns:a16="http://schemas.microsoft.com/office/drawing/2014/main" id="{32B622FC-0D4E-F8E6-3A5E-D4F5FF2BBFCD}"/>
              </a:ext>
            </a:extLst>
          </p:cNvPr>
          <p:cNvSpPr/>
          <p:nvPr/>
        </p:nvSpPr>
        <p:spPr bwMode="auto">
          <a:xfrm>
            <a:off x="4133088" y="4878897"/>
            <a:ext cx="1258485" cy="241850"/>
          </a:xfrm>
          <a:custGeom>
            <a:avLst/>
            <a:gdLst>
              <a:gd name="connsiteX0" fmla="*/ 0 w 1578187"/>
              <a:gd name="connsiteY0" fmla="*/ 0 h 222250"/>
              <a:gd name="connsiteX1" fmla="*/ 1467062 w 1578187"/>
              <a:gd name="connsiteY1" fmla="*/ 0 h 222250"/>
              <a:gd name="connsiteX2" fmla="*/ 1578187 w 1578187"/>
              <a:gd name="connsiteY2" fmla="*/ 111125 h 222250"/>
              <a:gd name="connsiteX3" fmla="*/ 1467062 w 1578187"/>
              <a:gd name="connsiteY3" fmla="*/ 222250 h 222250"/>
              <a:gd name="connsiteX4" fmla="*/ 0 w 1578187"/>
              <a:gd name="connsiteY4" fmla="*/ 222250 h 222250"/>
              <a:gd name="connsiteX5" fmla="*/ 111125 w 1578187"/>
              <a:gd name="connsiteY5" fmla="*/ 111125 h 222250"/>
              <a:gd name="connsiteX6" fmla="*/ 0 w 1578187"/>
              <a:gd name="connsiteY6" fmla="*/ 0 h 222250"/>
              <a:gd name="connsiteX0" fmla="*/ 0 w 1578187"/>
              <a:gd name="connsiteY0" fmla="*/ 0 h 222250"/>
              <a:gd name="connsiteX1" fmla="*/ 1467062 w 1578187"/>
              <a:gd name="connsiteY1" fmla="*/ 0 h 222250"/>
              <a:gd name="connsiteX2" fmla="*/ 1578187 w 1578187"/>
              <a:gd name="connsiteY2" fmla="*/ 111125 h 222250"/>
              <a:gd name="connsiteX3" fmla="*/ 1467062 w 1578187"/>
              <a:gd name="connsiteY3" fmla="*/ 222250 h 222250"/>
              <a:gd name="connsiteX4" fmla="*/ 0 w 1578187"/>
              <a:gd name="connsiteY4" fmla="*/ 222250 h 222250"/>
              <a:gd name="connsiteX5" fmla="*/ 26818 w 1578187"/>
              <a:gd name="connsiteY5" fmla="*/ 98155 h 222250"/>
              <a:gd name="connsiteX6" fmla="*/ 0 w 1578187"/>
              <a:gd name="connsiteY6" fmla="*/ 0 h 222250"/>
              <a:gd name="connsiteX0" fmla="*/ 0 w 1506850"/>
              <a:gd name="connsiteY0" fmla="*/ 0 h 222250"/>
              <a:gd name="connsiteX1" fmla="*/ 1467062 w 1506850"/>
              <a:gd name="connsiteY1" fmla="*/ 0 h 222250"/>
              <a:gd name="connsiteX2" fmla="*/ 1506850 w 1506850"/>
              <a:gd name="connsiteY2" fmla="*/ 111125 h 222250"/>
              <a:gd name="connsiteX3" fmla="*/ 1467062 w 1506850"/>
              <a:gd name="connsiteY3" fmla="*/ 222250 h 222250"/>
              <a:gd name="connsiteX4" fmla="*/ 0 w 1506850"/>
              <a:gd name="connsiteY4" fmla="*/ 222250 h 222250"/>
              <a:gd name="connsiteX5" fmla="*/ 26818 w 1506850"/>
              <a:gd name="connsiteY5" fmla="*/ 98155 h 222250"/>
              <a:gd name="connsiteX6" fmla="*/ 0 w 1506850"/>
              <a:gd name="connsiteY6" fmla="*/ 0 h 222250"/>
              <a:gd name="connsiteX0" fmla="*/ 0 w 1609167"/>
              <a:gd name="connsiteY0" fmla="*/ 0 h 222250"/>
              <a:gd name="connsiteX1" fmla="*/ 1467062 w 1609167"/>
              <a:gd name="connsiteY1" fmla="*/ 0 h 222250"/>
              <a:gd name="connsiteX2" fmla="*/ 1609167 w 1609167"/>
              <a:gd name="connsiteY2" fmla="*/ 118533 h 222250"/>
              <a:gd name="connsiteX3" fmla="*/ 1467062 w 1609167"/>
              <a:gd name="connsiteY3" fmla="*/ 222250 h 222250"/>
              <a:gd name="connsiteX4" fmla="*/ 0 w 1609167"/>
              <a:gd name="connsiteY4" fmla="*/ 222250 h 222250"/>
              <a:gd name="connsiteX5" fmla="*/ 26818 w 1609167"/>
              <a:gd name="connsiteY5" fmla="*/ 98155 h 222250"/>
              <a:gd name="connsiteX6" fmla="*/ 0 w 1609167"/>
              <a:gd name="connsiteY6" fmla="*/ 0 h 22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09167" h="222250">
                <a:moveTo>
                  <a:pt x="0" y="0"/>
                </a:moveTo>
                <a:lnTo>
                  <a:pt x="1467062" y="0"/>
                </a:lnTo>
                <a:lnTo>
                  <a:pt x="1609167" y="118533"/>
                </a:lnTo>
                <a:lnTo>
                  <a:pt x="1467062" y="222250"/>
                </a:lnTo>
                <a:lnTo>
                  <a:pt x="0" y="222250"/>
                </a:lnTo>
                <a:lnTo>
                  <a:pt x="26818" y="9815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lin ang="10800000" scaled="1"/>
            <a:tileRect/>
          </a:gradFill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SA2 6G SID </a:t>
            </a:r>
            <a:r>
              <a:rPr kumimoji="0" lang="fr-FR" sz="1067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def</a:t>
            </a:r>
            <a:r>
              <a:rPr kumimoji="0" lang="fr-FR" sz="10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.</a:t>
            </a:r>
          </a:p>
        </p:txBody>
      </p:sp>
      <p:sp>
        <p:nvSpPr>
          <p:cNvPr id="9276" name="TextBox 9275">
            <a:extLst>
              <a:ext uri="{FF2B5EF4-FFF2-40B4-BE49-F238E27FC236}">
                <a16:creationId xmlns:a16="http://schemas.microsoft.com/office/drawing/2014/main" id="{9E629B9B-1D33-4DD0-424D-CB4E78B9D692}"/>
              </a:ext>
            </a:extLst>
          </p:cNvPr>
          <p:cNvSpPr txBox="1"/>
          <p:nvPr/>
        </p:nvSpPr>
        <p:spPr>
          <a:xfrm>
            <a:off x="4253652" y="5446704"/>
            <a:ext cx="1598507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SA3/4/5/6 SID </a:t>
            </a: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def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. TBD</a:t>
            </a:r>
          </a:p>
        </p:txBody>
      </p:sp>
      <p:sp>
        <p:nvSpPr>
          <p:cNvPr id="17483" name="Chevron 58">
            <a:extLst>
              <a:ext uri="{FF2B5EF4-FFF2-40B4-BE49-F238E27FC236}">
                <a16:creationId xmlns:a16="http://schemas.microsoft.com/office/drawing/2014/main" id="{26C68756-CB67-71B5-669C-291289081C71}"/>
              </a:ext>
            </a:extLst>
          </p:cNvPr>
          <p:cNvSpPr/>
          <p:nvPr/>
        </p:nvSpPr>
        <p:spPr bwMode="auto">
          <a:xfrm>
            <a:off x="10701868" y="2842089"/>
            <a:ext cx="1137920" cy="325121"/>
          </a:xfrm>
          <a:prstGeom prst="chevron">
            <a:avLst/>
          </a:prstGeom>
          <a:gradFill>
            <a:gsLst>
              <a:gs pos="1770">
                <a:schemeClr val="bg1"/>
              </a:gs>
              <a:gs pos="22000">
                <a:schemeClr val="accent5">
                  <a:lumMod val="60000"/>
                  <a:lumOff val="40000"/>
                </a:schemeClr>
              </a:gs>
              <a:gs pos="100000">
                <a:schemeClr val="accent5">
                  <a:lumMod val="75000"/>
                </a:schemeClr>
              </a:gs>
            </a:gsLst>
            <a:lin ang="18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rIns="0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ASN.1 &amp; Open APIs </a:t>
            </a:r>
          </a:p>
        </p:txBody>
      </p:sp>
      <p:sp>
        <p:nvSpPr>
          <p:cNvPr id="17473" name="Title 1">
            <a:extLst>
              <a:ext uri="{FF2B5EF4-FFF2-40B4-BE49-F238E27FC236}">
                <a16:creationId xmlns:a16="http://schemas.microsoft.com/office/drawing/2014/main" id="{C3AF14EE-D00F-FF88-D0EF-DCB82A375C54}"/>
              </a:ext>
            </a:extLst>
          </p:cNvPr>
          <p:cNvSpPr txBox="1">
            <a:spLocks/>
          </p:cNvSpPr>
          <p:nvPr/>
        </p:nvSpPr>
        <p:spPr bwMode="auto">
          <a:xfrm>
            <a:off x="1157624" y="100337"/>
            <a:ext cx="9522691" cy="518248"/>
          </a:xfrm>
          <a:prstGeom prst="rect">
            <a:avLst/>
          </a:prstGeom>
          <a:noFill/>
          <a:ln>
            <a:noFill/>
          </a:ln>
        </p:spPr>
        <p:txBody>
          <a:bodyPr lIns="121907" tIns="60953" rIns="121907" bIns="60953" anchor="ctr"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0"/>
                <a:sym typeface="Helvetica"/>
              </a:rPr>
              <a:t>Illustration of 3GPP SA Rel-20 Timeline</a:t>
            </a:r>
          </a:p>
        </p:txBody>
      </p:sp>
      <p:sp>
        <p:nvSpPr>
          <p:cNvPr id="3" name="Chevron 60">
            <a:extLst>
              <a:ext uri="{FF2B5EF4-FFF2-40B4-BE49-F238E27FC236}">
                <a16:creationId xmlns:a16="http://schemas.microsoft.com/office/drawing/2014/main" id="{BFC11874-F820-8555-F3DD-56E344F97992}"/>
              </a:ext>
            </a:extLst>
          </p:cNvPr>
          <p:cNvSpPr/>
          <p:nvPr/>
        </p:nvSpPr>
        <p:spPr bwMode="auto">
          <a:xfrm>
            <a:off x="10165740" y="4827646"/>
            <a:ext cx="734273" cy="296333"/>
          </a:xfrm>
          <a:prstGeom prst="chevron">
            <a:avLst/>
          </a:prstGeom>
          <a:gradFill>
            <a:gsLst>
              <a:gs pos="1770">
                <a:schemeClr val="bg1"/>
              </a:gs>
              <a:gs pos="22000">
                <a:schemeClr val="accent5">
                  <a:lumMod val="60000"/>
                  <a:lumOff val="40000"/>
                </a:schemeClr>
              </a:gs>
              <a:gs pos="100000">
                <a:schemeClr val="accent5">
                  <a:lumMod val="75000"/>
                </a:schemeClr>
              </a:gs>
            </a:gsLst>
            <a:lin ang="1800000" scaled="0"/>
          </a:gra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lIns="0" rIns="0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or </a:t>
            </a:r>
          </a:p>
        </p:txBody>
      </p:sp>
      <p:sp>
        <p:nvSpPr>
          <p:cNvPr id="10" name="Thought Bubble: Cloud 9">
            <a:extLst>
              <a:ext uri="{FF2B5EF4-FFF2-40B4-BE49-F238E27FC236}">
                <a16:creationId xmlns:a16="http://schemas.microsoft.com/office/drawing/2014/main" id="{42539E43-96F0-9559-F463-14054C88F1A1}"/>
              </a:ext>
            </a:extLst>
          </p:cNvPr>
          <p:cNvSpPr/>
          <p:nvPr/>
        </p:nvSpPr>
        <p:spPr bwMode="auto">
          <a:xfrm>
            <a:off x="10709145" y="6042388"/>
            <a:ext cx="1204331" cy="334151"/>
          </a:xfrm>
          <a:prstGeom prst="cloudCallout">
            <a:avLst>
              <a:gd name="adj1" fmla="val -1577"/>
              <a:gd name="adj2" fmla="val 30526"/>
            </a:avLst>
          </a:prstGeom>
          <a:solidFill>
            <a:srgbClr val="88C5D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0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50" charset="0"/>
              <a:ea typeface="ＭＳ Ｐゴシック" charset="-128"/>
              <a:cs typeface="Arial" pitchFamily="34" charset="0"/>
              <a:sym typeface="Helvetica Neue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1A40ADE-56D9-03FA-B64E-D3B3C09433EC}"/>
              </a:ext>
            </a:extLst>
          </p:cNvPr>
          <p:cNvSpPr txBox="1"/>
          <p:nvPr/>
        </p:nvSpPr>
        <p:spPr>
          <a:xfrm>
            <a:off x="10591945" y="6077262"/>
            <a:ext cx="1413367" cy="2401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TBD</a:t>
            </a:r>
          </a:p>
        </p:txBody>
      </p:sp>
      <p:sp>
        <p:nvSpPr>
          <p:cNvPr id="33" name="Star: 5 Points 32">
            <a:extLst>
              <a:ext uri="{FF2B5EF4-FFF2-40B4-BE49-F238E27FC236}">
                <a16:creationId xmlns:a16="http://schemas.microsoft.com/office/drawing/2014/main" id="{00B111F1-442A-92D3-E5AC-7389E248BFC2}"/>
              </a:ext>
            </a:extLst>
          </p:cNvPr>
          <p:cNvSpPr/>
          <p:nvPr/>
        </p:nvSpPr>
        <p:spPr bwMode="auto">
          <a:xfrm>
            <a:off x="4357103" y="4367568"/>
            <a:ext cx="323248" cy="302734"/>
          </a:xfrm>
          <a:prstGeom prst="star5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charset="0"/>
              <a:sym typeface="Helvetica Neue"/>
            </a:endParaRPr>
          </a:p>
        </p:txBody>
      </p:sp>
      <p:sp>
        <p:nvSpPr>
          <p:cNvPr id="34" name="Chevron 60">
            <a:extLst>
              <a:ext uri="{FF2B5EF4-FFF2-40B4-BE49-F238E27FC236}">
                <a16:creationId xmlns:a16="http://schemas.microsoft.com/office/drawing/2014/main" id="{FD8CEA1A-FCD3-76FF-0D88-5B89BC03A8F1}"/>
              </a:ext>
            </a:extLst>
          </p:cNvPr>
          <p:cNvSpPr/>
          <p:nvPr/>
        </p:nvSpPr>
        <p:spPr bwMode="auto">
          <a:xfrm>
            <a:off x="7015288" y="2876023"/>
            <a:ext cx="1566600" cy="263856"/>
          </a:xfrm>
          <a:custGeom>
            <a:avLst/>
            <a:gdLst>
              <a:gd name="connsiteX0" fmla="*/ 0 w 1578187"/>
              <a:gd name="connsiteY0" fmla="*/ 0 h 222250"/>
              <a:gd name="connsiteX1" fmla="*/ 1467062 w 1578187"/>
              <a:gd name="connsiteY1" fmla="*/ 0 h 222250"/>
              <a:gd name="connsiteX2" fmla="*/ 1578187 w 1578187"/>
              <a:gd name="connsiteY2" fmla="*/ 111125 h 222250"/>
              <a:gd name="connsiteX3" fmla="*/ 1467062 w 1578187"/>
              <a:gd name="connsiteY3" fmla="*/ 222250 h 222250"/>
              <a:gd name="connsiteX4" fmla="*/ 0 w 1578187"/>
              <a:gd name="connsiteY4" fmla="*/ 222250 h 222250"/>
              <a:gd name="connsiteX5" fmla="*/ 111125 w 1578187"/>
              <a:gd name="connsiteY5" fmla="*/ 111125 h 222250"/>
              <a:gd name="connsiteX6" fmla="*/ 0 w 1578187"/>
              <a:gd name="connsiteY6" fmla="*/ 0 h 222250"/>
              <a:gd name="connsiteX0" fmla="*/ 0 w 1578187"/>
              <a:gd name="connsiteY0" fmla="*/ 0 h 222250"/>
              <a:gd name="connsiteX1" fmla="*/ 1467062 w 1578187"/>
              <a:gd name="connsiteY1" fmla="*/ 0 h 222250"/>
              <a:gd name="connsiteX2" fmla="*/ 1578187 w 1578187"/>
              <a:gd name="connsiteY2" fmla="*/ 111125 h 222250"/>
              <a:gd name="connsiteX3" fmla="*/ 1467062 w 1578187"/>
              <a:gd name="connsiteY3" fmla="*/ 222250 h 222250"/>
              <a:gd name="connsiteX4" fmla="*/ 0 w 1578187"/>
              <a:gd name="connsiteY4" fmla="*/ 222250 h 222250"/>
              <a:gd name="connsiteX5" fmla="*/ 26818 w 1578187"/>
              <a:gd name="connsiteY5" fmla="*/ 98155 h 222250"/>
              <a:gd name="connsiteX6" fmla="*/ 0 w 1578187"/>
              <a:gd name="connsiteY6" fmla="*/ 0 h 222250"/>
              <a:gd name="connsiteX0" fmla="*/ 0 w 1506850"/>
              <a:gd name="connsiteY0" fmla="*/ 0 h 222250"/>
              <a:gd name="connsiteX1" fmla="*/ 1467062 w 1506850"/>
              <a:gd name="connsiteY1" fmla="*/ 0 h 222250"/>
              <a:gd name="connsiteX2" fmla="*/ 1506850 w 1506850"/>
              <a:gd name="connsiteY2" fmla="*/ 111125 h 222250"/>
              <a:gd name="connsiteX3" fmla="*/ 1467062 w 1506850"/>
              <a:gd name="connsiteY3" fmla="*/ 222250 h 222250"/>
              <a:gd name="connsiteX4" fmla="*/ 0 w 1506850"/>
              <a:gd name="connsiteY4" fmla="*/ 222250 h 222250"/>
              <a:gd name="connsiteX5" fmla="*/ 26818 w 1506850"/>
              <a:gd name="connsiteY5" fmla="*/ 98155 h 222250"/>
              <a:gd name="connsiteX6" fmla="*/ 0 w 1506850"/>
              <a:gd name="connsiteY6" fmla="*/ 0 h 222250"/>
              <a:gd name="connsiteX0" fmla="*/ 0 w 1625034"/>
              <a:gd name="connsiteY0" fmla="*/ 0 h 222250"/>
              <a:gd name="connsiteX1" fmla="*/ 1467062 w 1625034"/>
              <a:gd name="connsiteY1" fmla="*/ 0 h 222250"/>
              <a:gd name="connsiteX2" fmla="*/ 1625034 w 1625034"/>
              <a:gd name="connsiteY2" fmla="*/ 104677 h 222250"/>
              <a:gd name="connsiteX3" fmla="*/ 1467062 w 1625034"/>
              <a:gd name="connsiteY3" fmla="*/ 222250 h 222250"/>
              <a:gd name="connsiteX4" fmla="*/ 0 w 1625034"/>
              <a:gd name="connsiteY4" fmla="*/ 222250 h 222250"/>
              <a:gd name="connsiteX5" fmla="*/ 26818 w 1625034"/>
              <a:gd name="connsiteY5" fmla="*/ 98155 h 222250"/>
              <a:gd name="connsiteX6" fmla="*/ 0 w 1625034"/>
              <a:gd name="connsiteY6" fmla="*/ 0 h 22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25034" h="222250">
                <a:moveTo>
                  <a:pt x="0" y="0"/>
                </a:moveTo>
                <a:lnTo>
                  <a:pt x="1467062" y="0"/>
                </a:lnTo>
                <a:lnTo>
                  <a:pt x="1625034" y="104677"/>
                </a:lnTo>
                <a:lnTo>
                  <a:pt x="1467062" y="222250"/>
                </a:lnTo>
                <a:lnTo>
                  <a:pt x="0" y="222250"/>
                </a:lnTo>
                <a:lnTo>
                  <a:pt x="26818" y="9815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lin ang="10800000" scaled="1"/>
            <a:tileRect/>
          </a:gradFill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Stage 3 SID </a:t>
            </a:r>
            <a:r>
              <a:rPr kumimoji="0" lang="fr-FR" sz="1067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def</a:t>
            </a:r>
            <a:r>
              <a:rPr kumimoji="0" lang="fr-FR" sz="10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.</a:t>
            </a:r>
          </a:p>
        </p:txBody>
      </p:sp>
      <p:sp>
        <p:nvSpPr>
          <p:cNvPr id="35" name="Chevron 60">
            <a:extLst>
              <a:ext uri="{FF2B5EF4-FFF2-40B4-BE49-F238E27FC236}">
                <a16:creationId xmlns:a16="http://schemas.microsoft.com/office/drawing/2014/main" id="{B1715694-E0A5-7FC0-FF5A-093C8F24332F}"/>
              </a:ext>
            </a:extLst>
          </p:cNvPr>
          <p:cNvSpPr/>
          <p:nvPr/>
        </p:nvSpPr>
        <p:spPr bwMode="auto">
          <a:xfrm>
            <a:off x="3995651" y="2190866"/>
            <a:ext cx="1369401" cy="261334"/>
          </a:xfrm>
          <a:custGeom>
            <a:avLst/>
            <a:gdLst>
              <a:gd name="connsiteX0" fmla="*/ 0 w 1578187"/>
              <a:gd name="connsiteY0" fmla="*/ 0 h 222250"/>
              <a:gd name="connsiteX1" fmla="*/ 1467062 w 1578187"/>
              <a:gd name="connsiteY1" fmla="*/ 0 h 222250"/>
              <a:gd name="connsiteX2" fmla="*/ 1578187 w 1578187"/>
              <a:gd name="connsiteY2" fmla="*/ 111125 h 222250"/>
              <a:gd name="connsiteX3" fmla="*/ 1467062 w 1578187"/>
              <a:gd name="connsiteY3" fmla="*/ 222250 h 222250"/>
              <a:gd name="connsiteX4" fmla="*/ 0 w 1578187"/>
              <a:gd name="connsiteY4" fmla="*/ 222250 h 222250"/>
              <a:gd name="connsiteX5" fmla="*/ 111125 w 1578187"/>
              <a:gd name="connsiteY5" fmla="*/ 111125 h 222250"/>
              <a:gd name="connsiteX6" fmla="*/ 0 w 1578187"/>
              <a:gd name="connsiteY6" fmla="*/ 0 h 222250"/>
              <a:gd name="connsiteX0" fmla="*/ 0 w 1578187"/>
              <a:gd name="connsiteY0" fmla="*/ 0 h 222250"/>
              <a:gd name="connsiteX1" fmla="*/ 1467062 w 1578187"/>
              <a:gd name="connsiteY1" fmla="*/ 0 h 222250"/>
              <a:gd name="connsiteX2" fmla="*/ 1578187 w 1578187"/>
              <a:gd name="connsiteY2" fmla="*/ 111125 h 222250"/>
              <a:gd name="connsiteX3" fmla="*/ 1467062 w 1578187"/>
              <a:gd name="connsiteY3" fmla="*/ 222250 h 222250"/>
              <a:gd name="connsiteX4" fmla="*/ 0 w 1578187"/>
              <a:gd name="connsiteY4" fmla="*/ 222250 h 222250"/>
              <a:gd name="connsiteX5" fmla="*/ 26818 w 1578187"/>
              <a:gd name="connsiteY5" fmla="*/ 98155 h 222250"/>
              <a:gd name="connsiteX6" fmla="*/ 0 w 1578187"/>
              <a:gd name="connsiteY6" fmla="*/ 0 h 222250"/>
              <a:gd name="connsiteX0" fmla="*/ 0 w 1506850"/>
              <a:gd name="connsiteY0" fmla="*/ 0 h 222250"/>
              <a:gd name="connsiteX1" fmla="*/ 1467062 w 1506850"/>
              <a:gd name="connsiteY1" fmla="*/ 0 h 222250"/>
              <a:gd name="connsiteX2" fmla="*/ 1506850 w 1506850"/>
              <a:gd name="connsiteY2" fmla="*/ 111125 h 222250"/>
              <a:gd name="connsiteX3" fmla="*/ 1467062 w 1506850"/>
              <a:gd name="connsiteY3" fmla="*/ 222250 h 222250"/>
              <a:gd name="connsiteX4" fmla="*/ 0 w 1506850"/>
              <a:gd name="connsiteY4" fmla="*/ 222250 h 222250"/>
              <a:gd name="connsiteX5" fmla="*/ 26818 w 1506850"/>
              <a:gd name="connsiteY5" fmla="*/ 98155 h 222250"/>
              <a:gd name="connsiteX6" fmla="*/ 0 w 1506850"/>
              <a:gd name="connsiteY6" fmla="*/ 0 h 222250"/>
              <a:gd name="connsiteX0" fmla="*/ 0 w 1609167"/>
              <a:gd name="connsiteY0" fmla="*/ 0 h 222250"/>
              <a:gd name="connsiteX1" fmla="*/ 1467062 w 1609167"/>
              <a:gd name="connsiteY1" fmla="*/ 0 h 222250"/>
              <a:gd name="connsiteX2" fmla="*/ 1609167 w 1609167"/>
              <a:gd name="connsiteY2" fmla="*/ 118533 h 222250"/>
              <a:gd name="connsiteX3" fmla="*/ 1467062 w 1609167"/>
              <a:gd name="connsiteY3" fmla="*/ 222250 h 222250"/>
              <a:gd name="connsiteX4" fmla="*/ 0 w 1609167"/>
              <a:gd name="connsiteY4" fmla="*/ 222250 h 222250"/>
              <a:gd name="connsiteX5" fmla="*/ 26818 w 1609167"/>
              <a:gd name="connsiteY5" fmla="*/ 98155 h 222250"/>
              <a:gd name="connsiteX6" fmla="*/ 0 w 1609167"/>
              <a:gd name="connsiteY6" fmla="*/ 0 h 22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09167" h="222250">
                <a:moveTo>
                  <a:pt x="0" y="0"/>
                </a:moveTo>
                <a:lnTo>
                  <a:pt x="1467062" y="0"/>
                </a:lnTo>
                <a:lnTo>
                  <a:pt x="1609167" y="118533"/>
                </a:lnTo>
                <a:lnTo>
                  <a:pt x="1467062" y="222250"/>
                </a:lnTo>
                <a:lnTo>
                  <a:pt x="0" y="222250"/>
                </a:lnTo>
                <a:lnTo>
                  <a:pt x="26818" y="9815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lin ang="10800000" scaled="1"/>
            <a:tileRect/>
          </a:gradFill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/>
          <a:lstStyle/>
          <a:p>
            <a:pPr marL="0" marR="0" lvl="0" indent="0" algn="ctr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Stage 2 SID </a:t>
            </a:r>
            <a:r>
              <a:rPr kumimoji="0" lang="fr-FR" sz="1067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def</a:t>
            </a:r>
            <a:r>
              <a:rPr kumimoji="0" lang="fr-FR" sz="10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50" charset="0"/>
                <a:ea typeface="ＭＳ Ｐゴシック" charset="-128"/>
                <a:cs typeface="Arial" pitchFamily="34" charset="0"/>
                <a:sym typeface="Helvetica Neue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04272316"/>
      </p:ext>
    </p:extLst>
  </p:cSld>
  <p:clrMapOvr>
    <a:masterClrMapping/>
  </p:clrMapOvr>
  <p:transition>
    <p:wipe dir="r"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7ABE1F6-B84A-C4DA-EA00-62D19B89DB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370" y="571500"/>
            <a:ext cx="11010816" cy="952499"/>
          </a:xfrm>
        </p:spPr>
        <p:txBody>
          <a:bodyPr lIns="0" tIns="0" rIns="0" bIns="0">
            <a:normAutofit/>
          </a:bodyPr>
          <a:lstStyle/>
          <a:p>
            <a:pPr defTabSz="1219169" rtl="0" hangingPunct="0">
              <a:spcBef>
                <a:spcPts val="2250"/>
              </a:spcBef>
              <a:defRPr/>
            </a:pPr>
            <a:r>
              <a:rPr lang="en-US" sz="3200" b="1">
                <a:solidFill>
                  <a:srgbClr val="000000"/>
                </a:solidFill>
                <a:latin typeface="Montserrat" panose="00000500000000000000" pitchFamily="50" charset="0"/>
                <a:ea typeface="ＭＳ Ｐゴシック" charset="0"/>
              </a:rPr>
              <a:t>3GPP Stage 1 Workshop on IMT 2030 Use Cases</a:t>
            </a:r>
          </a:p>
        </p:txBody>
      </p:sp>
      <p:graphicFrame>
        <p:nvGraphicFramePr>
          <p:cNvPr id="20" name="Content Placeholder 5">
            <a:extLst>
              <a:ext uri="{FF2B5EF4-FFF2-40B4-BE49-F238E27FC236}">
                <a16:creationId xmlns:a16="http://schemas.microsoft.com/office/drawing/2014/main" id="{67740BD7-B3A3-EDF6-4677-EE23C138D0E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638497"/>
              </p:ext>
            </p:extLst>
          </p:nvPr>
        </p:nvGraphicFramePr>
        <p:xfrm>
          <a:off x="571370" y="1524000"/>
          <a:ext cx="11010900" cy="47244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8346907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49DE198-CFC7-F12C-9233-818B4DD7D21F}"/>
              </a:ext>
            </a:extLst>
          </p:cNvPr>
          <p:cNvSpPr txBox="1"/>
          <p:nvPr/>
        </p:nvSpPr>
        <p:spPr>
          <a:xfrm>
            <a:off x="1586842" y="6224035"/>
            <a:ext cx="8377614" cy="2955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67" b="1"/>
              <a:t>Note</a:t>
            </a:r>
            <a:r>
              <a:rPr lang="en-GB" sz="1467"/>
              <a:t>: the order of presentations within the Verticals and within the Research Alliances is subject to change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AA82519-79B7-4E86-C216-DFA1917B0E49}"/>
              </a:ext>
            </a:extLst>
          </p:cNvPr>
          <p:cNvGraphicFramePr>
            <a:graphicFrameLocks noGrp="1"/>
          </p:cNvGraphicFramePr>
          <p:nvPr/>
        </p:nvGraphicFramePr>
        <p:xfrm>
          <a:off x="387049" y="880870"/>
          <a:ext cx="11203391" cy="521703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15924">
                  <a:extLst>
                    <a:ext uri="{9D8B030D-6E8A-4147-A177-3AD203B41FA5}">
                      <a16:colId xmlns:a16="http://schemas.microsoft.com/office/drawing/2014/main" val="569205650"/>
                    </a:ext>
                  </a:extLst>
                </a:gridCol>
                <a:gridCol w="3154437">
                  <a:extLst>
                    <a:ext uri="{9D8B030D-6E8A-4147-A177-3AD203B41FA5}">
                      <a16:colId xmlns:a16="http://schemas.microsoft.com/office/drawing/2014/main" val="706758892"/>
                    </a:ext>
                  </a:extLst>
                </a:gridCol>
                <a:gridCol w="3402935">
                  <a:extLst>
                    <a:ext uri="{9D8B030D-6E8A-4147-A177-3AD203B41FA5}">
                      <a16:colId xmlns:a16="http://schemas.microsoft.com/office/drawing/2014/main" val="4026385077"/>
                    </a:ext>
                  </a:extLst>
                </a:gridCol>
                <a:gridCol w="3030095">
                  <a:extLst>
                    <a:ext uri="{9D8B030D-6E8A-4147-A177-3AD203B41FA5}">
                      <a16:colId xmlns:a16="http://schemas.microsoft.com/office/drawing/2014/main" val="1225463196"/>
                    </a:ext>
                  </a:extLst>
                </a:gridCol>
              </a:tblGrid>
              <a:tr h="55380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ime</a:t>
                      </a:r>
                    </a:p>
                  </a:txBody>
                  <a:tcPr marL="31383" marR="3138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ednesday May 8</a:t>
                      </a:r>
                      <a:r>
                        <a:rPr lang="en-GB" sz="1900" baseline="30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h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600" i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pening, Operators, Verticals</a:t>
                      </a:r>
                      <a:endParaRPr lang="en-GB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1383" marR="3138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hursday May 9</a:t>
                      </a:r>
                      <a:r>
                        <a:rPr lang="en-GB" sz="1900" baseline="30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h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600" i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search Alliances</a:t>
                      </a:r>
                    </a:p>
                  </a:txBody>
                  <a:tcPr marL="31383" marR="3138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riday May 10</a:t>
                      </a:r>
                      <a:r>
                        <a:rPr lang="en-GB" sz="1900" baseline="30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h</a:t>
                      </a:r>
                      <a:r>
                        <a:rPr lang="en-GB" sz="1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600" i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TU, 3GPP, Closing</a:t>
                      </a:r>
                    </a:p>
                  </a:txBody>
                  <a:tcPr marL="31383" marR="31383" marT="0" marB="0"/>
                </a:tc>
                <a:extLst>
                  <a:ext uri="{0D108BD9-81ED-4DB2-BD59-A6C34878D82A}">
                    <a16:rowId xmlns:a16="http://schemas.microsoft.com/office/drawing/2014/main" val="3816350020"/>
                  </a:ext>
                </a:extLst>
              </a:tr>
              <a:tr h="128066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1" i="0" u="none" strike="noStrike" cap="none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lang="en-US" sz="1300" b="1" i="0" u="none" strike="noStrike" cap="none" baseline="300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st</a:t>
                      </a:r>
                      <a:r>
                        <a:rPr lang="en-US" sz="1300" b="1" i="0" u="none" strike="noStrike" cap="none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session</a:t>
                      </a:r>
                    </a:p>
                  </a:txBody>
                  <a:tcPr marL="31383" marR="31383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08.45-09.15: Registration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09.15-09.30: Opening</a:t>
                      </a: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  <a:endParaRPr lang="en-US" sz="1300" b="0" i="0" u="none" strike="noStrike" cap="none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300" b="0" i="0" u="none" strike="noStrike" cap="none" noProof="0">
                          <a:solidFill>
                            <a:schemeClr val="dk1"/>
                          </a:solidFill>
                          <a:effectLst/>
                          <a:latin typeface="Calibri"/>
                        </a:rPr>
                        <a:t>----------------------------------------------</a:t>
                      </a:r>
                      <a:endParaRPr lang="en-US" sz="1300" b="0" i="0" u="none" strike="noStrike" cap="non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1" i="0" u="sng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Operators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09.30-10.00: GSMA</a:t>
                      </a: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  </a:t>
                      </a:r>
                      <a:endParaRPr lang="en-US" sz="1300" b="0" i="0" u="none" strike="noStrike" cap="none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  <a:p>
                      <a:pPr marL="0" marR="0" lvl="0" indent="0" algn="l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10.00-10.30: NGMN</a:t>
                      </a: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  <a:endParaRPr lang="en-US" sz="1300" b="0" i="0" u="none" strike="noStrike" cap="none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31383" marR="31383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09:00-09.45: Japan (B5GPC)</a:t>
                      </a:r>
                      <a:endParaRPr lang="en-GB" sz="1300" b="0" i="0" u="none" strike="noStrike" cap="none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09.45-10.30: South Korea (6G Forum)</a:t>
                      </a:r>
                      <a:endParaRPr lang="en-GB" sz="1300" b="0" i="0" u="none" strike="noStrike" cap="none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31383" marR="31383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09.00-09.30: ITU-R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09.30-10.00: 3GPP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10.00-10.30: </a:t>
                      </a:r>
                      <a:r>
                        <a:rPr lang="en-US" sz="1300" b="1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Panel#4:</a:t>
                      </a:r>
                      <a:r>
                        <a:rPr lang="en-US" sz="1300" b="1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  <a:endParaRPr lang="en-US" sz="1300" b="1" i="0" u="none" strike="noStrike" cap="none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“ITU &amp; 3GPP synergies for 6G”</a:t>
                      </a:r>
                    </a:p>
                  </a:txBody>
                  <a:tcPr marL="31383" marR="31383" marT="0" marB="0"/>
                </a:tc>
                <a:extLst>
                  <a:ext uri="{0D108BD9-81ED-4DB2-BD59-A6C34878D82A}">
                    <a16:rowId xmlns:a16="http://schemas.microsoft.com/office/drawing/2014/main" val="4280545556"/>
                  </a:ext>
                </a:extLst>
              </a:tr>
              <a:tr h="26614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1" i="0" u="none" strike="noStrike" cap="none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Morning break</a:t>
                      </a:r>
                    </a:p>
                  </a:txBody>
                  <a:tcPr marL="31383" marR="31383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300" b="0" i="1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Morning break (10.30-11.00)</a:t>
                      </a:r>
                    </a:p>
                  </a:txBody>
                  <a:tcPr marL="31383" marR="3138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0" i="1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Morning break (10.30-11.00)</a:t>
                      </a:r>
                      <a:endParaRPr lang="en-GB" sz="1300" b="0" i="1" u="none" strike="noStrike" cap="none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31383" marR="31383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300" b="0" i="1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Morning break (10.30-11.00)</a:t>
                      </a:r>
                      <a:endParaRPr lang="en-GB" sz="1300" b="0" i="1" u="none" strike="noStrike" cap="none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31383" marR="31383" marT="0" marB="0"/>
                </a:tc>
                <a:extLst>
                  <a:ext uri="{0D108BD9-81ED-4DB2-BD59-A6C34878D82A}">
                    <a16:rowId xmlns:a16="http://schemas.microsoft.com/office/drawing/2014/main" val="843991527"/>
                  </a:ext>
                </a:extLst>
              </a:tr>
              <a:tr h="12948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1" i="0" u="none" strike="noStrike" cap="none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r>
                        <a:rPr lang="en-US" sz="1300" b="1" i="0" u="none" strike="noStrike" cap="none" baseline="300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nd</a:t>
                      </a:r>
                      <a:r>
                        <a:rPr lang="en-US" sz="1300" b="1" i="0" u="none" strike="noStrike" cap="none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session</a:t>
                      </a:r>
                      <a:endParaRPr lang="en-GB" sz="1300" b="1" i="0" u="none" strike="noStrike" cap="none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31383" marR="31383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11.00-11.40: </a:t>
                      </a:r>
                      <a:r>
                        <a:rPr lang="en-US" sz="1300" b="1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Panel#1</a:t>
                      </a: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: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“6G Drivers for Operators”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----------------------------------------------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300" b="1" i="0" u="sng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Vertical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11.45-12.10: </a:t>
                      </a:r>
                      <a:r>
                        <a:rPr lang="en-GB" altLang="en-US" sz="1300">
                          <a:latin typeface="Calibri"/>
                        </a:rPr>
                        <a:t>Automotive (5GAA)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12.10-12.35: Industry (</a:t>
                      </a: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G-ACIA</a:t>
                      </a: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  <a:endParaRPr lang="en-US" sz="1300" b="0" i="0" u="none" strike="noStrike" cap="none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31383" marR="31383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11.00-11.45:</a:t>
                      </a: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China (IMT2030 </a:t>
                      </a: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motion </a:t>
                      </a: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Group)</a:t>
                      </a:r>
                      <a:endParaRPr lang="en-GB" sz="1300" b="0" i="0" u="none" strike="noStrike" cap="none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1.45-12.30:</a:t>
                      </a: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 India (</a:t>
                      </a: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Bharat 6G Alliance</a:t>
                      </a: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  <a:endParaRPr lang="en-US" sz="1300" b="0" i="0" u="none" strike="noStrike" cap="none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31383" marR="31383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11.00-11.40: Summary read-out of the Workshop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11.40-12.00: Next steps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12.00-12.30: Closing</a:t>
                      </a:r>
                      <a:endParaRPr lang="en-GB" sz="1300" b="0" i="0" u="none" strike="noStrike" cap="none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31383" marR="31383" marT="0" marB="0"/>
                </a:tc>
                <a:extLst>
                  <a:ext uri="{0D108BD9-81ED-4DB2-BD59-A6C34878D82A}">
                    <a16:rowId xmlns:a16="http://schemas.microsoft.com/office/drawing/2014/main" val="1016807827"/>
                  </a:ext>
                </a:extLst>
              </a:tr>
              <a:tr h="29077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 b="1" i="0" u="none" strike="noStrike" cap="none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Lunch break</a:t>
                      </a:r>
                    </a:p>
                  </a:txBody>
                  <a:tcPr marL="31383" marR="3138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 b="0" i="1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Complimentary lunch (12.35-14.00)</a:t>
                      </a:r>
                    </a:p>
                  </a:txBody>
                  <a:tcPr marL="31383" marR="3138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 b="0" i="1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Complimentary lunch (</a:t>
                      </a:r>
                      <a:r>
                        <a:rPr lang="en-GB" sz="1300" b="0" i="1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2.30-14.00</a:t>
                      </a:r>
                      <a:r>
                        <a:rPr lang="en-GB" sz="1300" b="0" i="1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)</a:t>
                      </a:r>
                    </a:p>
                  </a:txBody>
                  <a:tcPr marL="31383" marR="3138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 b="1" i="1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Workshop ends 12.30 latest</a:t>
                      </a:r>
                    </a:p>
                  </a:txBody>
                  <a:tcPr marL="31383" marR="31383" marT="0" marB="0"/>
                </a:tc>
                <a:extLst>
                  <a:ext uri="{0D108BD9-81ED-4DB2-BD59-A6C34878D82A}">
                    <a16:rowId xmlns:a16="http://schemas.microsoft.com/office/drawing/2014/main" val="105315827"/>
                  </a:ext>
                </a:extLst>
              </a:tr>
              <a:tr h="86004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1" i="0" u="none" strike="noStrike" cap="none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3</a:t>
                      </a:r>
                      <a:r>
                        <a:rPr lang="en-US" sz="1300" b="1" i="0" u="none" strike="noStrike" cap="none" baseline="300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rd</a:t>
                      </a:r>
                      <a:r>
                        <a:rPr lang="en-US" sz="1300" b="1" i="0" u="none" strike="noStrike" cap="none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session</a:t>
                      </a:r>
                    </a:p>
                  </a:txBody>
                  <a:tcPr marL="31383" marR="31383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14.00-14.25: </a:t>
                      </a:r>
                      <a:r>
                        <a:rPr lang="en-GB" altLang="en-US" sz="1300">
                          <a:latin typeface="Calibri"/>
                        </a:rPr>
                        <a:t>Multimedia (5GMAG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14.25-14.50: </a:t>
                      </a:r>
                      <a:r>
                        <a:rPr lang="en-GB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Satellite (GSOA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14.50-15.15: Public Safety (TCCA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15.15-15.40: WBA</a:t>
                      </a:r>
                      <a:endParaRPr lang="en-GB" sz="1300" b="1" i="0" u="none" strike="noStrike" cap="none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31383" marR="31383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14.00-14.45: </a:t>
                      </a:r>
                      <a:r>
                        <a:rPr lang="en-GB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America (ATIS Next G</a:t>
                      </a:r>
                      <a:r>
                        <a:rPr lang="en-GB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300" b="0" i="0" u="none" strike="noStrike" cap="none" noProof="0">
                          <a:solidFill>
                            <a:schemeClr val="dk1"/>
                          </a:solidFill>
                          <a:effectLst/>
                          <a:latin typeface="Calibri"/>
                        </a:rPr>
                        <a:t>Alliance</a:t>
                      </a:r>
                      <a:r>
                        <a:rPr lang="en-GB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it-IT" sz="1300" b="0" i="0" u="none" strike="noStrike" cap="none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14.45-15.30: Europe (</a:t>
                      </a: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G-SNS</a:t>
                      </a: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it-IT" sz="1300" b="0" i="0" u="none" strike="noStrike" cap="none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300" b="1" i="0" u="none" strike="noStrike" cap="none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31383" marR="31383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300" b="0" i="0" u="none" strike="noStrike" cap="none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31383" marR="31383" marT="0" marB="0"/>
                </a:tc>
                <a:extLst>
                  <a:ext uri="{0D108BD9-81ED-4DB2-BD59-A6C34878D82A}">
                    <a16:rowId xmlns:a16="http://schemas.microsoft.com/office/drawing/2014/main" val="2934308429"/>
                  </a:ext>
                </a:extLst>
              </a:tr>
              <a:tr h="24019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1" i="0" u="none" strike="noStrike" cap="none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Afternoon break</a:t>
                      </a:r>
                    </a:p>
                  </a:txBody>
                  <a:tcPr marL="31383" marR="31383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GB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Afternoon break (15.40-16.10)</a:t>
                      </a:r>
                    </a:p>
                  </a:txBody>
                  <a:tcPr marL="31383" marR="3138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Afternoon break (15.30-16.00)</a:t>
                      </a:r>
                    </a:p>
                  </a:txBody>
                  <a:tcPr marL="31383" marR="3138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300" b="0" i="0" u="none" strike="noStrike" cap="none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31383" marR="31383" marT="0" marB="0"/>
                </a:tc>
                <a:extLst>
                  <a:ext uri="{0D108BD9-81ED-4DB2-BD59-A6C34878D82A}">
                    <a16:rowId xmlns:a16="http://schemas.microsoft.com/office/drawing/2014/main" val="1734005661"/>
                  </a:ext>
                </a:extLst>
              </a:tr>
              <a:tr h="4251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b="1" i="0" u="none" strike="noStrike" cap="none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4</a:t>
                      </a:r>
                      <a:r>
                        <a:rPr lang="en-US" sz="1300" b="1" i="0" u="none" strike="noStrike" cap="none" baseline="3000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th</a:t>
                      </a:r>
                      <a:r>
                        <a:rPr lang="en-US" sz="1300" b="1" i="0" u="none" strike="noStrike" cap="none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session</a:t>
                      </a:r>
                    </a:p>
                  </a:txBody>
                  <a:tcPr marL="31383" marR="31383" marT="0" marB="0"/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16.10-17.00: </a:t>
                      </a:r>
                      <a:r>
                        <a:rPr lang="en-US" sz="1300" b="1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Panel#2</a:t>
                      </a: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 :</a:t>
                      </a: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  </a:t>
                      </a:r>
                      <a:endParaRPr lang="en-US" sz="1300" b="0" i="0" u="none" strike="noStrike" cap="none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“6G Drivers for Verticals”</a:t>
                      </a:r>
                      <a:endParaRPr lang="en-GB" sz="1300" b="0" i="0" u="none" strike="noStrike" cap="none">
                        <a:solidFill>
                          <a:srgbClr val="FFC000"/>
                        </a:solidFill>
                        <a:effectLst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31383" marR="31383" marT="0" marB="0"/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</a:pPr>
                      <a:r>
                        <a:rPr lang="en-U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16.00-17.00: </a:t>
                      </a:r>
                      <a:r>
                        <a:rPr lang="es-ES" sz="1300" b="1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Panel#3</a:t>
                      </a:r>
                      <a:r>
                        <a:rPr lang="es-E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:</a:t>
                      </a:r>
                      <a:r>
                        <a:rPr lang="es-E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  <a:endParaRPr lang="es-ES" sz="1300" b="0" i="0" u="none" strike="noStrike" cap="none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s-E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“</a:t>
                      </a:r>
                      <a:r>
                        <a:rPr lang="es-ES" sz="1300" b="0" i="0" u="none" strike="noStrike" cap="none" err="1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Building</a:t>
                      </a:r>
                      <a:r>
                        <a:rPr lang="es-ES" sz="1300" b="0" i="0" u="none" strike="noStrike" cap="none">
                          <a:solidFill>
                            <a:schemeClr val="dk1"/>
                          </a:solidFill>
                          <a:effectLst/>
                          <a:latin typeface="Calibri"/>
                          <a:ea typeface="+mn-ea"/>
                          <a:cs typeface="+mn-cs"/>
                          <a:sym typeface="Arial"/>
                        </a:rPr>
                        <a:t> a Global 6G View”</a:t>
                      </a:r>
                    </a:p>
                  </a:txBody>
                  <a:tcPr marL="31383" marR="31383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300" b="0" i="0" u="none" strike="noStrike" cap="none">
                        <a:solidFill>
                          <a:schemeClr val="dk1"/>
                        </a:solidFill>
                        <a:effectLst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31383" marR="31383" marT="0" marB="0"/>
                </a:tc>
                <a:extLst>
                  <a:ext uri="{0D108BD9-81ED-4DB2-BD59-A6C34878D82A}">
                    <a16:rowId xmlns:a16="http://schemas.microsoft.com/office/drawing/2014/main" val="84681407"/>
                  </a:ext>
                </a:extLst>
              </a:tr>
            </a:tbl>
          </a:graphicData>
        </a:graphic>
      </p:graphicFrame>
      <p:sp>
        <p:nvSpPr>
          <p:cNvPr id="3" name="Title 4">
            <a:extLst>
              <a:ext uri="{FF2B5EF4-FFF2-40B4-BE49-F238E27FC236}">
                <a16:creationId xmlns:a16="http://schemas.microsoft.com/office/drawing/2014/main" id="{FBB95AAD-C8CC-B33A-61AA-752C324D53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674" y="176864"/>
            <a:ext cx="11538652" cy="577879"/>
          </a:xfrm>
        </p:spPr>
        <p:txBody>
          <a:bodyPr lIns="0" tIns="0" rIns="0" bIns="0">
            <a:normAutofit/>
          </a:bodyPr>
          <a:lstStyle/>
          <a:p>
            <a:pPr defTabSz="1219169" rtl="0" hangingPunct="0">
              <a:spcBef>
                <a:spcPts val="2250"/>
              </a:spcBef>
              <a:defRPr/>
            </a:pPr>
            <a:r>
              <a:rPr lang="en-US" sz="2800" b="1">
                <a:solidFill>
                  <a:srgbClr val="000000"/>
                </a:solidFill>
                <a:latin typeface="Montserrat" panose="00000500000000000000" pitchFamily="50" charset="0"/>
                <a:ea typeface="ＭＳ Ｐゴシック" charset="0"/>
              </a:rPr>
              <a:t>Draft Agenda: 3GPP Stage 1 Workshop on IMT 2030 use cas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A350EE3-B36E-9E4B-7389-E383C93A2D07}"/>
              </a:ext>
            </a:extLst>
          </p:cNvPr>
          <p:cNvSpPr txBox="1"/>
          <p:nvPr/>
        </p:nvSpPr>
        <p:spPr>
          <a:xfrm>
            <a:off x="8505825" y="6491803"/>
            <a:ext cx="3257550" cy="3077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lvl="0" algn="ctr">
              <a:lnSpc>
                <a:spcPct val="100000"/>
              </a:lnSpc>
            </a:pPr>
            <a:r>
              <a:rPr lang="en-US" sz="1400"/>
              <a:t>(Source: </a:t>
            </a:r>
            <a:r>
              <a:rPr lang="en-US" sz="1400">
                <a:hlinkClick r:id="rId2"/>
              </a:rPr>
              <a:t>SP-240456</a:t>
            </a:r>
            <a:r>
              <a:rPr lang="en-US" sz="140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732880308"/>
      </p:ext>
    </p:extLst>
  </p:cSld>
  <p:clrMapOvr>
    <a:masterClrMapping/>
  </p:clrMapOvr>
  <p:transition>
    <p:wipe dir="r"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CAF449-51A3-437E-C76E-48D06A0C7A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Questions and Answer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E9C7A32-1332-77B7-50E2-B5EF96032C7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209" r="19209"/>
          <a:stretch/>
        </p:blipFill>
        <p:spPr>
          <a:xfrm>
            <a:off x="6218070" y="4351944"/>
            <a:ext cx="765407" cy="111831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520266-F5A6-364E-7588-62C61F302A1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40" r="15540"/>
          <a:stretch/>
        </p:blipFill>
        <p:spPr>
          <a:xfrm>
            <a:off x="6198328" y="3213210"/>
            <a:ext cx="804891" cy="103974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F2C5A29-9515-BCC3-D934-3287000550F1}"/>
              </a:ext>
            </a:extLst>
          </p:cNvPr>
          <p:cNvSpPr txBox="1"/>
          <p:nvPr/>
        </p:nvSpPr>
        <p:spPr>
          <a:xfrm>
            <a:off x="7323280" y="3214170"/>
            <a:ext cx="3372484" cy="101566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Wanshi Chen</a:t>
            </a:r>
            <a:br>
              <a:rPr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cs typeface="Arial" charset="0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Qualcomm</a:t>
            </a:r>
            <a:br>
              <a:rPr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cs typeface="Arial" charset="0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3GPP RAN </a:t>
            </a:r>
            <a:r>
              <a:rPr lang="en-US" sz="2000">
                <a:solidFill>
                  <a:prstClr val="black"/>
                </a:solidFill>
                <a:latin typeface="Arial"/>
                <a:cs typeface="Arial"/>
              </a:rPr>
              <a:t>Plenary Chair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C0E362-05D8-50CC-D3F3-D006D0AD714E}"/>
              </a:ext>
            </a:extLst>
          </p:cNvPr>
          <p:cNvSpPr txBox="1"/>
          <p:nvPr/>
        </p:nvSpPr>
        <p:spPr>
          <a:xfrm>
            <a:off x="7320385" y="2170003"/>
            <a:ext cx="287420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Iain Sharp</a:t>
            </a:r>
            <a:endParaRPr kumimoji="0" lang="de-DE" sz="20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ATIS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BF2A88-2BD8-3186-E48A-1DF161622DE4}"/>
              </a:ext>
            </a:extLst>
          </p:cNvPr>
          <p:cNvSpPr txBox="1"/>
          <p:nvPr/>
        </p:nvSpPr>
        <p:spPr>
          <a:xfrm>
            <a:off x="7314667" y="4403268"/>
            <a:ext cx="4771240" cy="101566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Puneet Jain</a:t>
            </a:r>
            <a:br>
              <a:rPr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cs typeface="Arial" charset="0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Intel Corporation</a:t>
            </a:r>
            <a:br>
              <a:rPr lang="en-US" sz="2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charset="0"/>
                <a:cs typeface="Arial" charset="0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3GPP </a:t>
            </a:r>
            <a:r>
              <a:rPr lang="en-US" sz="2000">
                <a:solidFill>
                  <a:prstClr val="black"/>
                </a:solidFill>
                <a:latin typeface="Arial"/>
                <a:cs typeface="Arial"/>
              </a:rPr>
              <a:t>SA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lang="en-US" sz="2000">
                <a:solidFill>
                  <a:prstClr val="black"/>
                </a:solidFill>
                <a:latin typeface="Arial"/>
                <a:cs typeface="Arial"/>
              </a:rPr>
              <a:t>Plenary Chair</a:t>
            </a:r>
            <a:endParaRPr kumimoji="0" lang="en-GB" sz="20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BFBA78B-4201-DA00-4C3B-2FFE1C8E90A2}"/>
              </a:ext>
            </a:extLst>
          </p:cNvPr>
          <p:cNvSpPr txBox="1"/>
          <p:nvPr/>
        </p:nvSpPr>
        <p:spPr>
          <a:xfrm>
            <a:off x="956630" y="2290732"/>
            <a:ext cx="44508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>
                <a:solidFill>
                  <a:srgbClr val="333333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derator</a:t>
            </a:r>
            <a:endParaRPr lang="en-GB" sz="20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C03FA8-21CA-5816-EF63-40C063E5B991}"/>
              </a:ext>
            </a:extLst>
          </p:cNvPr>
          <p:cNvSpPr txBox="1"/>
          <p:nvPr/>
        </p:nvSpPr>
        <p:spPr>
          <a:xfrm>
            <a:off x="3105437" y="5917511"/>
            <a:ext cx="5981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>
                <a:latin typeface="Arial" panose="020B0604020202020204" pitchFamily="34" charset="0"/>
                <a:cs typeface="Arial" panose="020B0604020202020204" pitchFamily="34" charset="0"/>
              </a:rPr>
              <a:t>Slides and recording will be provided after the event.</a:t>
            </a:r>
          </a:p>
        </p:txBody>
      </p:sp>
      <p:pic>
        <p:nvPicPr>
          <p:cNvPr id="10" name="Picture 9" descr="A person in a suit and glasses&#10;&#10;Description automatically generated">
            <a:extLst>
              <a:ext uri="{FF2B5EF4-FFF2-40B4-BE49-F238E27FC236}">
                <a16:creationId xmlns:a16="http://schemas.microsoft.com/office/drawing/2014/main" id="{41F9843A-4515-65B0-AD75-D96E0ABD4C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62675" y="1933575"/>
            <a:ext cx="866775" cy="111442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20BF425-1B8F-B26C-1EDA-1F3186CDF29F}"/>
              </a:ext>
            </a:extLst>
          </p:cNvPr>
          <p:cNvSpPr txBox="1"/>
          <p:nvPr/>
        </p:nvSpPr>
        <p:spPr>
          <a:xfrm>
            <a:off x="956630" y="3368058"/>
            <a:ext cx="44508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>
                <a:solidFill>
                  <a:srgbClr val="333333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GPP RAN: Current Status and Beyond</a:t>
            </a:r>
            <a:endParaRPr lang="en-GB" sz="20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F5A9382-23F9-C7BC-42CC-0AF13ECBBFAE}"/>
              </a:ext>
            </a:extLst>
          </p:cNvPr>
          <p:cNvSpPr txBox="1"/>
          <p:nvPr/>
        </p:nvSpPr>
        <p:spPr>
          <a:xfrm>
            <a:off x="956630" y="4557156"/>
            <a:ext cx="435451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>
                <a:solidFill>
                  <a:srgbClr val="333333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GPP SA Release 19 Status Update and 6G Planning</a:t>
            </a:r>
            <a:endParaRPr lang="en-GB" sz="20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688306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FB53EF6-C5FF-005E-6020-C680D42516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633668" y="2677098"/>
            <a:ext cx="8924664" cy="879354"/>
          </a:xfrm>
        </p:spPr>
        <p:txBody>
          <a:bodyPr/>
          <a:lstStyle/>
          <a:p>
            <a:pPr marL="0" indent="0" algn="ctr">
              <a:buNone/>
            </a:pPr>
            <a:r>
              <a:rPr lang="en-US" sz="4000" b="1"/>
              <a:t>Thanks to the speakers and participants</a:t>
            </a:r>
          </a:p>
          <a:p>
            <a:endParaRPr lang="en-US"/>
          </a:p>
        </p:txBody>
      </p:sp>
      <p:pic>
        <p:nvPicPr>
          <p:cNvPr id="2" name="Picture 1" descr="Logo&#10;&#10;Description automatically generated with low confidence">
            <a:extLst>
              <a:ext uri="{FF2B5EF4-FFF2-40B4-BE49-F238E27FC236}">
                <a16:creationId xmlns:a16="http://schemas.microsoft.com/office/drawing/2014/main" id="{2C2A8881-71A6-21A3-2EA9-7C0607295F3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6" t="13297" r="4202" b="9503"/>
          <a:stretch/>
        </p:blipFill>
        <p:spPr>
          <a:xfrm>
            <a:off x="5056193" y="3556452"/>
            <a:ext cx="2079614" cy="1323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14655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44473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F8CA0F-D8F1-4A1D-B054-9C9D5323BB3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38713" y="2641688"/>
            <a:ext cx="8314575" cy="1195193"/>
          </a:xfrm>
        </p:spPr>
        <p:txBody>
          <a:bodyPr/>
          <a:lstStyle/>
          <a:p>
            <a:r>
              <a:rPr lang="en-US" sz="600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1064337417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5" name="Group 154">
            <a:extLst>
              <a:ext uri="{FF2B5EF4-FFF2-40B4-BE49-F238E27FC236}">
                <a16:creationId xmlns:a16="http://schemas.microsoft.com/office/drawing/2014/main" id="{B5B5909A-92B2-41B5-83AD-91854F064570}"/>
              </a:ext>
            </a:extLst>
          </p:cNvPr>
          <p:cNvGrpSpPr/>
          <p:nvPr/>
        </p:nvGrpSpPr>
        <p:grpSpPr>
          <a:xfrm>
            <a:off x="609601" y="4801136"/>
            <a:ext cx="10796337" cy="1701695"/>
            <a:chOff x="-1855" y="5150656"/>
            <a:chExt cx="12195710" cy="1632728"/>
          </a:xfrm>
        </p:grpSpPr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9F424CA3-0330-4033-8BDF-AE774FF10440}"/>
                </a:ext>
              </a:extLst>
            </p:cNvPr>
            <p:cNvGrpSpPr/>
            <p:nvPr/>
          </p:nvGrpSpPr>
          <p:grpSpPr>
            <a:xfrm>
              <a:off x="-1855" y="5150656"/>
              <a:ext cx="12195710" cy="1632728"/>
              <a:chOff x="-1855" y="5306723"/>
              <a:chExt cx="12195710" cy="1483475"/>
            </a:xfrm>
          </p:grpSpPr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24473A26-314A-4ECC-99F4-E3C11405BD70}"/>
                  </a:ext>
                </a:extLst>
              </p:cNvPr>
              <p:cNvSpPr/>
              <p:nvPr userDrawn="1"/>
            </p:nvSpPr>
            <p:spPr bwMode="gray">
              <a:xfrm>
                <a:off x="-1855" y="5312733"/>
                <a:ext cx="12195710" cy="1477465"/>
              </a:xfrm>
              <a:prstGeom prst="rect">
                <a:avLst/>
              </a:prstGeom>
              <a:solidFill>
                <a:schemeClr val="tx2"/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71" name="Rectangle: Single Corner Rounded 6">
                <a:extLst>
                  <a:ext uri="{FF2B5EF4-FFF2-40B4-BE49-F238E27FC236}">
                    <a16:creationId xmlns:a16="http://schemas.microsoft.com/office/drawing/2014/main" id="{13170EB6-3200-4CCA-8CD7-14D4AAB48658}"/>
                  </a:ext>
                </a:extLst>
              </p:cNvPr>
              <p:cNvSpPr/>
              <p:nvPr userDrawn="1"/>
            </p:nvSpPr>
            <p:spPr bwMode="gray">
              <a:xfrm rot="5400000" flipH="1" flipV="1">
                <a:off x="5849112" y="-542385"/>
                <a:ext cx="493775" cy="12191992"/>
              </a:xfrm>
              <a:prstGeom prst="round1Rect">
                <a:avLst>
                  <a:gd name="adj" fmla="val 0"/>
                </a:avLst>
              </a:prstGeom>
              <a:gradFill flip="none" rotWithShape="1">
                <a:gsLst>
                  <a:gs pos="0">
                    <a:schemeClr val="tx2"/>
                  </a:gs>
                  <a:gs pos="100000">
                    <a:srgbClr val="061018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4345" tIns="37172" rIns="74345" bIns="3717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3407"/>
                <a:endParaRPr lang="en-US" sz="1463" b="1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49C64989-E106-42D0-8CB9-0A5711B0C32D}"/>
                </a:ext>
              </a:extLst>
            </p:cNvPr>
            <p:cNvSpPr/>
            <p:nvPr/>
          </p:nvSpPr>
          <p:spPr>
            <a:xfrm>
              <a:off x="2834167" y="5373914"/>
              <a:ext cx="2344261" cy="1860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spAutoFit/>
            </a:bodyPr>
            <a:lstStyle/>
            <a:p>
              <a:pPr defTabSz="743407">
                <a:lnSpc>
                  <a:spcPct val="90000"/>
                </a:lnSpc>
                <a:spcBef>
                  <a:spcPts val="325"/>
                </a:spcBef>
                <a:defRPr/>
              </a:pPr>
              <a:r>
                <a:rPr lang="en-US" sz="1400" b="1" kern="0">
                  <a:solidFill>
                    <a:prstClr val="white"/>
                  </a:solidFill>
                  <a:latin typeface="Calibri"/>
                  <a:cs typeface="Microsoft Sans Serif" panose="020B0604020202020204" pitchFamily="34" charset="0"/>
                </a:rPr>
                <a:t>Rel-16 Industry Expansion</a:t>
              </a: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541D5B71-83E0-4950-A755-977C9EC409E0}"/>
                </a:ext>
              </a:extLst>
            </p:cNvPr>
            <p:cNvSpPr/>
            <p:nvPr/>
          </p:nvSpPr>
          <p:spPr>
            <a:xfrm>
              <a:off x="6448743" y="5346596"/>
              <a:ext cx="2537476" cy="1860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spAutoFit/>
            </a:bodyPr>
            <a:lstStyle/>
            <a:p>
              <a:pPr defTabSz="743407">
                <a:lnSpc>
                  <a:spcPct val="90000"/>
                </a:lnSpc>
                <a:spcBef>
                  <a:spcPts val="325"/>
                </a:spcBef>
                <a:defRPr/>
              </a:pPr>
              <a:r>
                <a:rPr lang="en-US" sz="1400" b="1" kern="0">
                  <a:solidFill>
                    <a:prstClr val="white"/>
                  </a:solidFill>
                  <a:latin typeface="Calibri"/>
                  <a:cs typeface="Microsoft Sans Serif" panose="020B0604020202020204" pitchFamily="34" charset="0"/>
                </a:rPr>
                <a:t>Rel-17 Continued Expansion</a:t>
              </a:r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44315DED-A536-45E0-87E0-F9D493D054CB}"/>
                </a:ext>
              </a:extLst>
            </p:cNvPr>
            <p:cNvSpPr/>
            <p:nvPr/>
          </p:nvSpPr>
          <p:spPr>
            <a:xfrm>
              <a:off x="519822" y="5373913"/>
              <a:ext cx="1961626" cy="1860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spAutoFit/>
            </a:bodyPr>
            <a:lstStyle/>
            <a:p>
              <a:pPr defTabSz="743407">
                <a:lnSpc>
                  <a:spcPct val="90000"/>
                </a:lnSpc>
                <a:spcBef>
                  <a:spcPts val="325"/>
                </a:spcBef>
                <a:defRPr/>
              </a:pPr>
              <a:r>
                <a:rPr lang="en-US" sz="1400" b="1" kern="0">
                  <a:solidFill>
                    <a:prstClr val="white"/>
                  </a:solidFill>
                  <a:latin typeface="Calibri"/>
                  <a:cs typeface="Microsoft Sans Serif" panose="020B0604020202020204" pitchFamily="34" charset="0"/>
                </a:rPr>
                <a:t>Rel-15 </a:t>
              </a:r>
              <a:r>
                <a:rPr lang="en-US" sz="1400" b="1" kern="0" err="1">
                  <a:solidFill>
                    <a:prstClr val="white"/>
                  </a:solidFill>
                  <a:latin typeface="Calibri"/>
                  <a:cs typeface="Microsoft Sans Serif" panose="020B0604020202020204" pitchFamily="34" charset="0"/>
                </a:rPr>
                <a:t>eMBB</a:t>
              </a:r>
              <a:r>
                <a:rPr lang="en-US" sz="1400" b="1" kern="0">
                  <a:solidFill>
                    <a:prstClr val="white"/>
                  </a:solidFill>
                  <a:latin typeface="Calibri"/>
                  <a:cs typeface="Microsoft Sans Serif" panose="020B0604020202020204" pitchFamily="34" charset="0"/>
                </a:rPr>
                <a:t> Focus</a:t>
              </a:r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A066C6B8-CFEA-454A-9044-40E0C799E42A}"/>
                </a:ext>
              </a:extLst>
            </p:cNvPr>
            <p:cNvSpPr/>
            <p:nvPr/>
          </p:nvSpPr>
          <p:spPr>
            <a:xfrm>
              <a:off x="9624224" y="5354163"/>
              <a:ext cx="2343208" cy="1860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spAutoFit/>
            </a:bodyPr>
            <a:lstStyle/>
            <a:p>
              <a:pPr defTabSz="743407">
                <a:lnSpc>
                  <a:spcPct val="90000"/>
                </a:lnSpc>
                <a:spcBef>
                  <a:spcPts val="325"/>
                </a:spcBef>
                <a:defRPr/>
              </a:pPr>
              <a:r>
                <a:rPr lang="en-US" sz="1400" b="1" kern="0">
                  <a:solidFill>
                    <a:prstClr val="white"/>
                  </a:solidFill>
                  <a:latin typeface="Calibri"/>
                  <a:cs typeface="Microsoft Sans Serif" panose="020B0604020202020204" pitchFamily="34" charset="0"/>
                </a:rPr>
                <a:t>5G-Advanced: Rel-18, 19, …</a:t>
              </a:r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BECCA670-BD04-49FA-9D85-F62878B6C34D}"/>
                </a:ext>
              </a:extLst>
            </p:cNvPr>
            <p:cNvSpPr/>
            <p:nvPr/>
          </p:nvSpPr>
          <p:spPr>
            <a:xfrm>
              <a:off x="2837428" y="5604279"/>
              <a:ext cx="2344261" cy="84530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spAutoFit/>
            </a:bodyPr>
            <a:lstStyle/>
            <a:p>
              <a:pPr marL="92926" indent="-92926" defTabSz="743407">
                <a:lnSpc>
                  <a:spcPct val="90000"/>
                </a:lnSpc>
                <a:spcBef>
                  <a:spcPts val="3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50" kern="0" err="1">
                  <a:solidFill>
                    <a:prstClr val="white"/>
                  </a:solidFill>
                  <a:latin typeface="Calibri"/>
                  <a:cs typeface="Microsoft Sans Serif" panose="020B0604020202020204" pitchFamily="34" charset="0"/>
                </a:rPr>
                <a:t>eURLLC</a:t>
              </a:r>
              <a:r>
                <a:rPr lang="en-US" sz="1050" kern="0">
                  <a:solidFill>
                    <a:prstClr val="white"/>
                  </a:solidFill>
                  <a:latin typeface="Calibri"/>
                  <a:cs typeface="Microsoft Sans Serif" panose="020B0604020202020204" pitchFamily="34" charset="0"/>
                </a:rPr>
                <a:t> and TSN for </a:t>
              </a:r>
              <a:r>
                <a:rPr lang="en-US" sz="1050" kern="0" err="1">
                  <a:solidFill>
                    <a:prstClr val="white"/>
                  </a:solidFill>
                  <a:latin typeface="Calibri"/>
                  <a:cs typeface="Microsoft Sans Serif" panose="020B0604020202020204" pitchFamily="34" charset="0"/>
                </a:rPr>
                <a:t>IIoT</a:t>
              </a:r>
              <a:endParaRPr lang="en-US" sz="1050" kern="0">
                <a:solidFill>
                  <a:prstClr val="white"/>
                </a:solidFill>
                <a:latin typeface="Calibri"/>
                <a:cs typeface="Microsoft Sans Serif" panose="020B0604020202020204" pitchFamily="34" charset="0"/>
              </a:endParaRPr>
            </a:p>
            <a:p>
              <a:pPr marL="92926" indent="-92926" defTabSz="743407">
                <a:lnSpc>
                  <a:spcPct val="90000"/>
                </a:lnSpc>
                <a:spcBef>
                  <a:spcPts val="3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50" kern="0">
                  <a:solidFill>
                    <a:prstClr val="white"/>
                  </a:solidFill>
                  <a:latin typeface="Calibri"/>
                  <a:cs typeface="Microsoft Sans Serif" panose="020B0604020202020204" pitchFamily="34" charset="0"/>
                </a:rPr>
                <a:t>NR in unlicensed</a:t>
              </a:r>
            </a:p>
            <a:p>
              <a:pPr marL="92926" indent="-92926" defTabSz="743407">
                <a:lnSpc>
                  <a:spcPct val="90000"/>
                </a:lnSpc>
                <a:spcBef>
                  <a:spcPts val="3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50" kern="0">
                  <a:solidFill>
                    <a:prstClr val="white"/>
                  </a:solidFill>
                  <a:latin typeface="Calibri"/>
                  <a:cs typeface="Microsoft Sans Serif" panose="020B0604020202020204" pitchFamily="34" charset="0"/>
                </a:rPr>
                <a:t>5G V2X </a:t>
              </a:r>
              <a:r>
                <a:rPr lang="en-US" sz="1050" kern="0" err="1">
                  <a:solidFill>
                    <a:prstClr val="white"/>
                  </a:solidFill>
                  <a:latin typeface="Calibri"/>
                  <a:cs typeface="Microsoft Sans Serif" panose="020B0604020202020204" pitchFamily="34" charset="0"/>
                </a:rPr>
                <a:t>sidelink</a:t>
              </a:r>
              <a:r>
                <a:rPr lang="en-US" sz="1050" kern="0">
                  <a:solidFill>
                    <a:prstClr val="white"/>
                  </a:solidFill>
                  <a:latin typeface="Calibri"/>
                  <a:cs typeface="Microsoft Sans Serif" panose="020B0604020202020204" pitchFamily="34" charset="0"/>
                </a:rPr>
                <a:t> </a:t>
              </a:r>
            </a:p>
            <a:p>
              <a:pPr marL="92926" indent="-92926" defTabSz="743407">
                <a:lnSpc>
                  <a:spcPct val="90000"/>
                </a:lnSpc>
                <a:spcBef>
                  <a:spcPts val="3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50" kern="0">
                  <a:solidFill>
                    <a:prstClr val="white"/>
                  </a:solidFill>
                  <a:latin typeface="Calibri"/>
                  <a:cs typeface="Microsoft Sans Serif" panose="020B0604020202020204" pitchFamily="34" charset="0"/>
                </a:rPr>
                <a:t>Multicast</a:t>
              </a:r>
            </a:p>
            <a:p>
              <a:pPr defTabSz="743407">
                <a:lnSpc>
                  <a:spcPct val="90000"/>
                </a:lnSpc>
                <a:spcBef>
                  <a:spcPts val="325"/>
                </a:spcBef>
                <a:defRPr/>
              </a:pPr>
              <a:endParaRPr lang="en-US" sz="1050" kern="0">
                <a:solidFill>
                  <a:prstClr val="white"/>
                </a:solidFill>
                <a:latin typeface="Calibri"/>
                <a:cs typeface="Microsoft Sans Serif" panose="020B0604020202020204" pitchFamily="34" charset="0"/>
              </a:endParaRPr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9BBDD26D-B49A-4AC3-BE97-ED28142420A4}"/>
                </a:ext>
              </a:extLst>
            </p:cNvPr>
            <p:cNvSpPr/>
            <p:nvPr/>
          </p:nvSpPr>
          <p:spPr>
            <a:xfrm>
              <a:off x="6465393" y="5582126"/>
              <a:ext cx="2594807" cy="8083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spAutoFit/>
            </a:bodyPr>
            <a:lstStyle/>
            <a:p>
              <a:pPr marL="92926" indent="-92926" defTabSz="743407">
                <a:lnSpc>
                  <a:spcPct val="90000"/>
                </a:lnSpc>
                <a:spcBef>
                  <a:spcPts val="3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50" kern="0">
                  <a:solidFill>
                    <a:prstClr val="white"/>
                  </a:solidFill>
                  <a:latin typeface="Calibri"/>
                  <a:cs typeface="Microsoft Sans Serif"/>
                </a:rPr>
                <a:t>Lower complexity </a:t>
              </a:r>
              <a:r>
                <a:rPr lang="en-US" sz="1050" kern="0" err="1">
                  <a:solidFill>
                    <a:prstClr val="white"/>
                  </a:solidFill>
                  <a:latin typeface="Calibri"/>
                  <a:cs typeface="Microsoft Sans Serif"/>
                </a:rPr>
                <a:t>RedCap</a:t>
              </a:r>
              <a:endParaRPr lang="en-US" sz="1050" kern="0">
                <a:solidFill>
                  <a:prstClr val="white"/>
                </a:solidFill>
                <a:latin typeface="Calibri"/>
                <a:cs typeface="Microsoft Sans Serif"/>
              </a:endParaRPr>
            </a:p>
            <a:p>
              <a:pPr marL="92926" indent="-92926" defTabSz="743407">
                <a:lnSpc>
                  <a:spcPct val="90000"/>
                </a:lnSpc>
                <a:spcBef>
                  <a:spcPts val="3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50" kern="0">
                  <a:solidFill>
                    <a:prstClr val="white"/>
                  </a:solidFill>
                  <a:latin typeface="Calibri"/>
                  <a:cs typeface="Microsoft Sans Serif"/>
                </a:rPr>
                <a:t>Non-terrestrial communication (satellites)</a:t>
              </a:r>
              <a:endParaRPr lang="en-US" sz="1050" kern="0">
                <a:solidFill>
                  <a:prstClr val="white"/>
                </a:solidFill>
                <a:latin typeface="Calibri"/>
                <a:ea typeface="Microsoft Sans Serif"/>
                <a:cs typeface="Microsoft Sans Serif"/>
              </a:endParaRPr>
            </a:p>
            <a:p>
              <a:pPr marL="92926" indent="-92926" defTabSz="743407">
                <a:lnSpc>
                  <a:spcPct val="90000"/>
                </a:lnSpc>
                <a:spcBef>
                  <a:spcPts val="3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50" kern="0">
                  <a:solidFill>
                    <a:prstClr val="white"/>
                  </a:solidFill>
                  <a:latin typeface="Calibri"/>
                  <a:cs typeface="Microsoft Sans Serif"/>
                </a:rPr>
                <a:t>Unlicensed/licensed spectrum in 60 GHz</a:t>
              </a:r>
              <a:endParaRPr lang="en-US" sz="1050" kern="0">
                <a:solidFill>
                  <a:prstClr val="white"/>
                </a:solidFill>
                <a:latin typeface="Calibri"/>
                <a:ea typeface="Microsoft Sans Serif"/>
                <a:cs typeface="Microsoft Sans Serif"/>
              </a:endParaRPr>
            </a:p>
            <a:p>
              <a:pPr marL="92926" indent="-92926" defTabSz="743407">
                <a:lnSpc>
                  <a:spcPct val="90000"/>
                </a:lnSpc>
                <a:spcBef>
                  <a:spcPts val="3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50" kern="0">
                  <a:solidFill>
                    <a:prstClr val="white"/>
                  </a:solidFill>
                  <a:latin typeface="Calibri"/>
                  <a:cs typeface="Microsoft Sans Serif"/>
                </a:rPr>
                <a:t>Improved </a:t>
              </a:r>
              <a:r>
                <a:rPr lang="en-US" sz="1050" kern="0" err="1">
                  <a:solidFill>
                    <a:prstClr val="white"/>
                  </a:solidFill>
                  <a:latin typeface="Calibri"/>
                  <a:cs typeface="Microsoft Sans Serif"/>
                </a:rPr>
                <a:t>IIoT</a:t>
              </a:r>
              <a:r>
                <a:rPr lang="en-US" sz="1050" kern="0">
                  <a:solidFill>
                    <a:prstClr val="white"/>
                  </a:solidFill>
                  <a:latin typeface="Calibri"/>
                  <a:cs typeface="Microsoft Sans Serif"/>
                </a:rPr>
                <a:t>, positioning V2X, IAB, …</a:t>
              </a:r>
              <a:endParaRPr lang="en-US" sz="1050" kern="0">
                <a:solidFill>
                  <a:prstClr val="white"/>
                </a:solidFill>
                <a:latin typeface="Calibri"/>
                <a:ea typeface="Microsoft Sans Serif"/>
                <a:cs typeface="Microsoft Sans Serif"/>
              </a:endParaRPr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80DAC8B9-42CB-438E-BB49-45316684339D}"/>
                </a:ext>
              </a:extLst>
            </p:cNvPr>
            <p:cNvSpPr/>
            <p:nvPr/>
          </p:nvSpPr>
          <p:spPr>
            <a:xfrm>
              <a:off x="519823" y="5604279"/>
              <a:ext cx="1961626" cy="6319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spAutoFit/>
            </a:bodyPr>
            <a:lstStyle/>
            <a:p>
              <a:pPr marL="92926" indent="-92926" defTabSz="743407">
                <a:lnSpc>
                  <a:spcPct val="90000"/>
                </a:lnSpc>
                <a:spcBef>
                  <a:spcPts val="3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50" kern="0">
                  <a:solidFill>
                    <a:prstClr val="white"/>
                  </a:solidFill>
                  <a:latin typeface="Calibri"/>
                  <a:cs typeface="Microsoft Sans Serif" panose="020B0604020202020204" pitchFamily="34" charset="0"/>
                </a:rPr>
                <a:t>5G NR foundation</a:t>
              </a:r>
            </a:p>
            <a:p>
              <a:pPr marL="92926" indent="-92926" defTabSz="743407">
                <a:lnSpc>
                  <a:spcPct val="90000"/>
                </a:lnSpc>
                <a:spcBef>
                  <a:spcPts val="3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50" kern="0">
                  <a:solidFill>
                    <a:prstClr val="white"/>
                  </a:solidFill>
                  <a:latin typeface="Calibri"/>
                  <a:cs typeface="Microsoft Sans Serif" panose="020B0604020202020204" pitchFamily="34" charset="0"/>
                </a:rPr>
                <a:t>Smartphones, FWA, PC</a:t>
              </a:r>
            </a:p>
            <a:p>
              <a:pPr marL="92926" indent="-92926" defTabSz="743407">
                <a:lnSpc>
                  <a:spcPct val="90000"/>
                </a:lnSpc>
                <a:spcBef>
                  <a:spcPts val="3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50" kern="0">
                  <a:solidFill>
                    <a:prstClr val="white"/>
                  </a:solidFill>
                  <a:latin typeface="Calibri"/>
                  <a:cs typeface="Microsoft Sans Serif" panose="020B0604020202020204" pitchFamily="34" charset="0"/>
                </a:rPr>
                <a:t>Expanding to venues, </a:t>
              </a:r>
              <a:br>
                <a:rPr lang="en-US" sz="1050" kern="0">
                  <a:solidFill>
                    <a:prstClr val="white"/>
                  </a:solidFill>
                  <a:latin typeface="Calibri"/>
                  <a:cs typeface="Microsoft Sans Serif" panose="020B0604020202020204" pitchFamily="34" charset="0"/>
                </a:rPr>
              </a:br>
              <a:r>
                <a:rPr lang="en-US" sz="1050" kern="0">
                  <a:solidFill>
                    <a:prstClr val="white"/>
                  </a:solidFill>
                  <a:latin typeface="Calibri"/>
                  <a:cs typeface="Microsoft Sans Serif" panose="020B0604020202020204" pitchFamily="34" charset="0"/>
                </a:rPr>
                <a:t>enterprises</a:t>
              </a: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E1DF8BD8-0880-4689-8B95-BCE1D84A4515}"/>
                </a:ext>
              </a:extLst>
            </p:cNvPr>
            <p:cNvSpPr/>
            <p:nvPr/>
          </p:nvSpPr>
          <p:spPr>
            <a:xfrm>
              <a:off x="9624224" y="5604279"/>
              <a:ext cx="2343208" cy="6319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spAutoFit/>
            </a:bodyPr>
            <a:lstStyle/>
            <a:p>
              <a:pPr marL="92926" indent="-92926" defTabSz="743407">
                <a:lnSpc>
                  <a:spcPct val="90000"/>
                </a:lnSpc>
                <a:spcBef>
                  <a:spcPts val="3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50" kern="0">
                  <a:solidFill>
                    <a:prstClr val="white"/>
                  </a:solidFill>
                  <a:latin typeface="Calibri"/>
                  <a:cs typeface="Microsoft Sans Serif"/>
                </a:rPr>
                <a:t>Next set of 5G releases </a:t>
              </a:r>
              <a:br>
                <a:rPr lang="en-US" sz="1050" kern="0">
                  <a:solidFill>
                    <a:prstClr val="white"/>
                  </a:solidFill>
                  <a:latin typeface="Calibri"/>
                  <a:cs typeface="Microsoft Sans Serif" panose="020B0604020202020204" pitchFamily="34" charset="0"/>
                </a:rPr>
              </a:br>
              <a:r>
                <a:rPr lang="en-US" sz="1050" kern="0">
                  <a:solidFill>
                    <a:prstClr val="white"/>
                  </a:solidFill>
                  <a:latin typeface="Calibri"/>
                  <a:cs typeface="Microsoft Sans Serif"/>
                </a:rPr>
                <a:t>(i.e., 18, 19, 20, …)</a:t>
              </a:r>
            </a:p>
            <a:p>
              <a:pPr marL="92926" indent="-92926" defTabSz="743407">
                <a:lnSpc>
                  <a:spcPct val="90000"/>
                </a:lnSpc>
                <a:spcBef>
                  <a:spcPts val="3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50" kern="0">
                  <a:solidFill>
                    <a:prstClr val="white"/>
                  </a:solidFill>
                  <a:latin typeface="Calibri"/>
                  <a:cs typeface="Microsoft Sans Serif"/>
                </a:rPr>
                <a:t>Rel-18 work completed in Dec’2023</a:t>
              </a:r>
            </a:p>
            <a:p>
              <a:pPr marL="92926" indent="-92926" defTabSz="743407">
                <a:lnSpc>
                  <a:spcPct val="90000"/>
                </a:lnSpc>
                <a:spcBef>
                  <a:spcPts val="3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50" kern="0">
                  <a:solidFill>
                    <a:prstClr val="white"/>
                  </a:solidFill>
                  <a:latin typeface="Calibri"/>
                  <a:ea typeface="Microsoft Sans Serif"/>
                  <a:cs typeface="Microsoft Sans Serif"/>
                </a:rPr>
                <a:t>Rel-19 work started from 1Q’2024</a:t>
              </a:r>
              <a:endParaRPr lang="en-US" sz="1050" kern="0">
                <a:solidFill>
                  <a:prstClr val="white"/>
                </a:solidFill>
                <a:latin typeface="Calibri"/>
                <a:ea typeface="Microsoft Sans Serif"/>
                <a:cs typeface="Microsoft Sans Serif" panose="020B0604020202020204" pitchFamily="34" charset="0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2E9EA705-6A15-4F8C-8656-608C4F93AA33}"/>
                </a:ext>
              </a:extLst>
            </p:cNvPr>
            <p:cNvSpPr/>
            <p:nvPr/>
          </p:nvSpPr>
          <p:spPr>
            <a:xfrm>
              <a:off x="4613028" y="5602936"/>
              <a:ext cx="2344261" cy="31597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spAutoFit/>
            </a:bodyPr>
            <a:lstStyle/>
            <a:p>
              <a:pPr marL="92926" indent="-92926" defTabSz="743407">
                <a:lnSpc>
                  <a:spcPct val="90000"/>
                </a:lnSpc>
                <a:spcBef>
                  <a:spcPts val="3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50" kern="0">
                  <a:solidFill>
                    <a:prstClr val="white"/>
                  </a:solidFill>
                  <a:latin typeface="Calibri"/>
                  <a:cs typeface="Microsoft Sans Serif" panose="020B0604020202020204" pitchFamily="34" charset="0"/>
                </a:rPr>
                <a:t>In-band </a:t>
              </a:r>
              <a:r>
                <a:rPr lang="en-US" sz="1050" kern="0" err="1">
                  <a:solidFill>
                    <a:prstClr val="white"/>
                  </a:solidFill>
                  <a:latin typeface="Calibri"/>
                  <a:cs typeface="Microsoft Sans Serif" panose="020B0604020202020204" pitchFamily="34" charset="0"/>
                </a:rPr>
                <a:t>eMTC</a:t>
              </a:r>
              <a:r>
                <a:rPr lang="en-US" sz="1050" kern="0">
                  <a:solidFill>
                    <a:prstClr val="white"/>
                  </a:solidFill>
                  <a:latin typeface="Calibri"/>
                  <a:cs typeface="Microsoft Sans Serif" panose="020B0604020202020204" pitchFamily="34" charset="0"/>
                </a:rPr>
                <a:t>/NB-IoT</a:t>
              </a:r>
            </a:p>
            <a:p>
              <a:pPr marL="92926" indent="-92926" defTabSz="743407">
                <a:lnSpc>
                  <a:spcPct val="90000"/>
                </a:lnSpc>
                <a:spcBef>
                  <a:spcPts val="325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050" kern="0">
                  <a:solidFill>
                    <a:prstClr val="white"/>
                  </a:solidFill>
                  <a:latin typeface="Calibri"/>
                  <a:cs typeface="Microsoft Sans Serif" panose="020B0604020202020204" pitchFamily="34" charset="0"/>
                </a:rPr>
                <a:t>Positioning</a:t>
              </a:r>
            </a:p>
          </p:txBody>
        </p: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25EECF1A-27D8-4059-8691-BCC1CCDA9BE5}"/>
                </a:ext>
              </a:extLst>
            </p:cNvPr>
            <p:cNvCxnSpPr/>
            <p:nvPr/>
          </p:nvCxnSpPr>
          <p:spPr>
            <a:xfrm>
              <a:off x="9272440" y="5354163"/>
              <a:ext cx="0" cy="985702"/>
            </a:xfrm>
            <a:prstGeom prst="line">
              <a:avLst/>
            </a:prstGeom>
            <a:ln w="12700" cap="rnd">
              <a:solidFill>
                <a:schemeClr val="accent5"/>
              </a:solidFill>
              <a:round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0940C0F2-A168-4A62-A73E-271CD63061E4}"/>
                </a:ext>
              </a:extLst>
            </p:cNvPr>
            <p:cNvCxnSpPr/>
            <p:nvPr/>
          </p:nvCxnSpPr>
          <p:spPr>
            <a:xfrm>
              <a:off x="6138926" y="5354163"/>
              <a:ext cx="0" cy="985702"/>
            </a:xfrm>
            <a:prstGeom prst="line">
              <a:avLst/>
            </a:prstGeom>
            <a:ln w="12700" cap="rnd">
              <a:solidFill>
                <a:schemeClr val="accent5"/>
              </a:solidFill>
              <a:round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8B08341D-A606-4339-8A2A-45E9425316CC}"/>
                </a:ext>
              </a:extLst>
            </p:cNvPr>
            <p:cNvCxnSpPr/>
            <p:nvPr/>
          </p:nvCxnSpPr>
          <p:spPr>
            <a:xfrm>
              <a:off x="2480398" y="5354163"/>
              <a:ext cx="0" cy="985702"/>
            </a:xfrm>
            <a:prstGeom prst="line">
              <a:avLst/>
            </a:prstGeom>
            <a:ln w="12700" cap="rnd">
              <a:solidFill>
                <a:schemeClr val="accent5"/>
              </a:solidFill>
              <a:round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3998DC7D-5ABC-4A9C-A45C-E03D2985A9E9}"/>
                </a:ext>
              </a:extLst>
            </p:cNvPr>
            <p:cNvSpPr txBox="1"/>
            <p:nvPr/>
          </p:nvSpPr>
          <p:spPr>
            <a:xfrm>
              <a:off x="11696619" y="6508032"/>
              <a:ext cx="81" cy="144040"/>
            </a:xfrm>
            <a:prstGeom prst="rect">
              <a:avLst/>
            </a:prstGeom>
          </p:spPr>
          <p:txBody>
            <a:bodyPr vert="horz" wrap="none" lIns="0" tIns="0" rIns="0" bIns="0" rtlCol="0" anchor="b">
              <a:spAutoFit/>
            </a:bodyPr>
            <a:lstStyle>
              <a:defPPr>
                <a:defRPr lang="en-US"/>
              </a:defPPr>
              <a:lvl1pPr>
                <a:defRPr sz="800">
                  <a:solidFill>
                    <a:schemeClr val="tx1">
                      <a:tint val="75000"/>
                    </a:schemeClr>
                  </a:solidFill>
                </a:defRPr>
              </a:lvl1pPr>
            </a:lstStyle>
            <a:p>
              <a:pPr algn="r" defTabSz="743407">
                <a:lnSpc>
                  <a:spcPct val="125000"/>
                </a:lnSpc>
              </a:pPr>
              <a:endParaRPr lang="en-US" sz="650">
                <a:solidFill>
                  <a:srgbClr val="4BACC6">
                    <a:lumMod val="60000"/>
                    <a:lumOff val="40000"/>
                  </a:srgbClr>
                </a:solidFill>
                <a:latin typeface="Calibri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E8012BD-7C63-43CF-9A4E-8C639A2A58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0425" y="201954"/>
            <a:ext cx="9471151" cy="1077739"/>
          </a:xfrm>
        </p:spPr>
        <p:txBody>
          <a:bodyPr>
            <a:normAutofit/>
          </a:bodyPr>
          <a:lstStyle/>
          <a:p>
            <a:pPr algn="ctr"/>
            <a:r>
              <a:rPr lang="en-US" sz="4800">
                <a:latin typeface="+mj-lt"/>
              </a:rPr>
              <a:t>5G and 5G-Advanced in 3GPP</a:t>
            </a: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E438274F-13F8-4311-8070-E396F6304E22}"/>
              </a:ext>
            </a:extLst>
          </p:cNvPr>
          <p:cNvGrpSpPr/>
          <p:nvPr/>
        </p:nvGrpSpPr>
        <p:grpSpPr>
          <a:xfrm>
            <a:off x="4791603" y="1759951"/>
            <a:ext cx="5930024" cy="1445277"/>
            <a:chOff x="-2406759" y="1181112"/>
            <a:chExt cx="7293621" cy="1777616"/>
          </a:xfrm>
        </p:grpSpPr>
        <p:sp>
          <p:nvSpPr>
            <p:cNvPr id="93" name="Graphic 4">
              <a:extLst>
                <a:ext uri="{FF2B5EF4-FFF2-40B4-BE49-F238E27FC236}">
                  <a16:creationId xmlns:a16="http://schemas.microsoft.com/office/drawing/2014/main" id="{4884BF95-E625-418B-B5C6-038596564AE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2406759" y="1181112"/>
              <a:ext cx="7293621" cy="1773936"/>
            </a:xfrm>
            <a:custGeom>
              <a:avLst/>
              <a:gdLst>
                <a:gd name="connsiteX0" fmla="*/ 654073 w 5484314"/>
                <a:gd name="connsiteY0" fmla="*/ -209 h 1333881"/>
                <a:gd name="connsiteX1" fmla="*/ 5393141 w 5484314"/>
                <a:gd name="connsiteY1" fmla="*/ -209 h 1333881"/>
                <a:gd name="connsiteX2" fmla="*/ 5484134 w 5484314"/>
                <a:gd name="connsiteY2" fmla="*/ 90726 h 1333881"/>
                <a:gd name="connsiteX3" fmla="*/ 5474866 w 5484314"/>
                <a:gd name="connsiteY3" fmla="*/ 130760 h 1333881"/>
                <a:gd name="connsiteX4" fmla="*/ 4911462 w 5484314"/>
                <a:gd name="connsiteY4" fmla="*/ 1282713 h 1333881"/>
                <a:gd name="connsiteX5" fmla="*/ 4829738 w 5484314"/>
                <a:gd name="connsiteY5" fmla="*/ 1333672 h 1333881"/>
                <a:gd name="connsiteX6" fmla="*/ 90764 w 5484314"/>
                <a:gd name="connsiteY6" fmla="*/ 1333672 h 1333881"/>
                <a:gd name="connsiteX7" fmla="*/ -181 w 5484314"/>
                <a:gd name="connsiteY7" fmla="*/ 1242689 h 1333881"/>
                <a:gd name="connsiteX8" fmla="*/ 9040 w 5484314"/>
                <a:gd name="connsiteY8" fmla="*/ 1202799 h 1333881"/>
                <a:gd name="connsiteX9" fmla="*/ 572348 w 5484314"/>
                <a:gd name="connsiteY9" fmla="*/ 50845 h 1333881"/>
                <a:gd name="connsiteX10" fmla="*/ 654073 w 5484314"/>
                <a:gd name="connsiteY10" fmla="*/ -209 h 1333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84314" h="1333881">
                  <a:moveTo>
                    <a:pt x="654073" y="-209"/>
                  </a:moveTo>
                  <a:lnTo>
                    <a:pt x="5393141" y="-209"/>
                  </a:lnTo>
                  <a:cubicBezTo>
                    <a:pt x="5443377" y="-228"/>
                    <a:pt x="5484115" y="40492"/>
                    <a:pt x="5484134" y="90726"/>
                  </a:cubicBezTo>
                  <a:cubicBezTo>
                    <a:pt x="5484143" y="104604"/>
                    <a:pt x="5480971" y="118301"/>
                    <a:pt x="5474866" y="130760"/>
                  </a:cubicBezTo>
                  <a:lnTo>
                    <a:pt x="4911462" y="1282713"/>
                  </a:lnTo>
                  <a:cubicBezTo>
                    <a:pt x="4896184" y="1313908"/>
                    <a:pt x="4864475" y="1333682"/>
                    <a:pt x="4829738" y="1333672"/>
                  </a:cubicBezTo>
                  <a:lnTo>
                    <a:pt x="90764" y="1333672"/>
                  </a:lnTo>
                  <a:cubicBezTo>
                    <a:pt x="40529" y="1333663"/>
                    <a:pt x="-190" y="1292934"/>
                    <a:pt x="-181" y="1242689"/>
                  </a:cubicBezTo>
                  <a:cubicBezTo>
                    <a:pt x="-181" y="1228869"/>
                    <a:pt x="2972" y="1215219"/>
                    <a:pt x="9040" y="1202799"/>
                  </a:cubicBezTo>
                  <a:lnTo>
                    <a:pt x="572348" y="50845"/>
                  </a:lnTo>
                  <a:cubicBezTo>
                    <a:pt x="587617" y="19622"/>
                    <a:pt x="619326" y="-180"/>
                    <a:pt x="654073" y="-209"/>
                  </a:cubicBezTo>
                  <a:close/>
                </a:path>
              </a:pathLst>
            </a:custGeom>
            <a:gradFill>
              <a:gsLst>
                <a:gs pos="100000">
                  <a:srgbClr val="F2F2F4"/>
                </a:gs>
                <a:gs pos="37000">
                  <a:schemeClr val="bg1">
                    <a:lumMod val="0"/>
                    <a:lumOff val="100000"/>
                    <a:alpha val="90000"/>
                  </a:schemeClr>
                </a:gs>
              </a:gsLst>
              <a:lin ang="8100000" scaled="1"/>
            </a:gradFill>
            <a:ln>
              <a:noFill/>
            </a:ln>
            <a:effectLst>
              <a:outerShdw blurRad="533400" dist="203200" dir="7440000" sx="96000" sy="96000" algn="t" rotWithShape="0">
                <a:schemeClr val="accent5">
                  <a:lumMod val="50000"/>
                  <a:alpha val="55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4345" tIns="37172" rIns="74345" bIns="3717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3407"/>
              <a:endParaRPr lang="en-US" sz="1463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2F410AD4-EBFA-4EF3-AF49-14AF5A55742B}"/>
                </a:ext>
              </a:extLst>
            </p:cNvPr>
            <p:cNvSpPr txBox="1"/>
            <p:nvPr/>
          </p:nvSpPr>
          <p:spPr>
            <a:xfrm>
              <a:off x="864380" y="2629783"/>
              <a:ext cx="3188528" cy="32894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 defTabSz="743407"/>
              <a:r>
                <a:rPr lang="en-US" sz="1138" b="1">
                  <a:solidFill>
                    <a:srgbClr val="4BACC6"/>
                  </a:solidFill>
                  <a:latin typeface="Calibri"/>
                  <a:cs typeface="Microsoft Sans Serif" panose="020B0604020202020204" pitchFamily="34" charset="0"/>
                </a:rPr>
                <a:t>2</a:t>
              </a:r>
              <a:r>
                <a:rPr lang="en-US" sz="1138" b="1" baseline="30000">
                  <a:solidFill>
                    <a:srgbClr val="4BACC6"/>
                  </a:solidFill>
                  <a:latin typeface="Calibri"/>
                  <a:cs typeface="Microsoft Sans Serif" panose="020B0604020202020204" pitchFamily="34" charset="0"/>
                </a:rPr>
                <a:t>nd</a:t>
              </a:r>
              <a:r>
                <a:rPr lang="en-US" sz="1138" b="1">
                  <a:solidFill>
                    <a:srgbClr val="4BACC6"/>
                  </a:solidFill>
                  <a:latin typeface="Calibri"/>
                  <a:cs typeface="Microsoft Sans Serif" panose="020B0604020202020204" pitchFamily="34" charset="0"/>
                </a:rPr>
                <a:t> wave of 5G innovations</a:t>
              </a:r>
              <a:endParaRPr lang="en-US" sz="1138" b="1">
                <a:solidFill>
                  <a:srgbClr val="4BACC6"/>
                </a:solidFill>
                <a:latin typeface="Calibri"/>
              </a:endParaRPr>
            </a:p>
          </p:txBody>
        </p:sp>
      </p:grpSp>
      <p:sp>
        <p:nvSpPr>
          <p:cNvPr id="95" name="Footer Placeholder 1">
            <a:extLst>
              <a:ext uri="{FF2B5EF4-FFF2-40B4-BE49-F238E27FC236}">
                <a16:creationId xmlns:a16="http://schemas.microsoft.com/office/drawing/2014/main" id="{D6C7B044-EBB0-4994-95F7-728F02A33BEE}"/>
              </a:ext>
            </a:extLst>
          </p:cNvPr>
          <p:cNvSpPr txBox="1">
            <a:spLocks/>
          </p:cNvSpPr>
          <p:nvPr/>
        </p:nvSpPr>
        <p:spPr>
          <a:xfrm>
            <a:off x="1225652" y="6149711"/>
            <a:ext cx="8528565" cy="96080"/>
          </a:xfrm>
          <a:prstGeom prst="rect">
            <a:avLst/>
          </a:prstGeom>
        </p:spPr>
        <p:txBody>
          <a:bodyPr/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43407"/>
            <a:r>
              <a:rPr lang="en-US" sz="800">
                <a:solidFill>
                  <a:prstClr val="white"/>
                </a:solidFill>
                <a:latin typeface="Calibri"/>
              </a:rPr>
              <a:t>1. 3GPP start </a:t>
            </a:r>
            <a:r>
              <a:rPr lang="en-US" sz="900">
                <a:solidFill>
                  <a:prstClr val="white"/>
                </a:solidFill>
                <a:latin typeface="Calibri"/>
              </a:rPr>
              <a:t>date</a:t>
            </a:r>
            <a:r>
              <a:rPr lang="en-US" sz="800">
                <a:solidFill>
                  <a:prstClr val="white"/>
                </a:solidFill>
                <a:latin typeface="Calibri"/>
              </a:rPr>
              <a:t> indicates approval of study package (study item-&gt;work item-&gt;specifications), previous release continues beyond start of next release with functional freezes and ASN.1 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6A7078ED-2809-401D-8CDE-7A49570D9EA7}"/>
              </a:ext>
            </a:extLst>
          </p:cNvPr>
          <p:cNvSpPr/>
          <p:nvPr/>
        </p:nvSpPr>
        <p:spPr>
          <a:xfrm>
            <a:off x="2968716" y="3124612"/>
            <a:ext cx="1636143" cy="26173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defTabSz="743407">
              <a:lnSpc>
                <a:spcPct val="87000"/>
              </a:lnSpc>
              <a:defRPr/>
            </a:pPr>
            <a:r>
              <a:rPr lang="en-US" sz="976" kern="0">
                <a:solidFill>
                  <a:srgbClr val="0E283C"/>
                </a:solidFill>
                <a:latin typeface="Calibri"/>
              </a:rPr>
              <a:t>New verticals, deployments,</a:t>
            </a:r>
            <a:br>
              <a:rPr lang="en-US" sz="976" kern="0">
                <a:solidFill>
                  <a:srgbClr val="0E283C"/>
                </a:solidFill>
                <a:latin typeface="Calibri"/>
              </a:rPr>
            </a:br>
            <a:r>
              <a:rPr lang="en-US" sz="976" kern="0">
                <a:solidFill>
                  <a:srgbClr val="0E283C"/>
                </a:solidFill>
                <a:latin typeface="Calibri"/>
              </a:rPr>
              <a:t>use cases, and spectrum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05442DB3-0A02-4BEB-A5BF-49A824CDD067}"/>
              </a:ext>
            </a:extLst>
          </p:cNvPr>
          <p:cNvSpPr/>
          <p:nvPr/>
        </p:nvSpPr>
        <p:spPr>
          <a:xfrm>
            <a:off x="5489221" y="1900275"/>
            <a:ext cx="1473916" cy="26173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defTabSz="743407">
              <a:lnSpc>
                <a:spcPct val="87000"/>
              </a:lnSpc>
              <a:defRPr/>
            </a:pPr>
            <a:r>
              <a:rPr lang="en-US" sz="976">
                <a:solidFill>
                  <a:srgbClr val="0E283C"/>
                </a:solidFill>
                <a:latin typeface="Calibri"/>
              </a:rPr>
              <a:t>Longer-term evolution to deliver on the 5G vision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3506FCE5-9524-490C-964E-E029983786E1}"/>
              </a:ext>
            </a:extLst>
          </p:cNvPr>
          <p:cNvSpPr/>
          <p:nvPr/>
        </p:nvSpPr>
        <p:spPr>
          <a:xfrm>
            <a:off x="1497521" y="3541759"/>
            <a:ext cx="2071059" cy="13106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defTabSz="743407">
              <a:lnSpc>
                <a:spcPct val="87000"/>
              </a:lnSpc>
              <a:defRPr/>
            </a:pPr>
            <a:r>
              <a:rPr lang="en-US" sz="976">
                <a:solidFill>
                  <a:srgbClr val="0E283C"/>
                </a:solidFill>
                <a:latin typeface="Calibri"/>
              </a:rPr>
              <a:t>Unified, future-proof platform</a:t>
            </a: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A275905C-8007-49A1-96D9-28B6B45D85B8}"/>
              </a:ext>
            </a:extLst>
          </p:cNvPr>
          <p:cNvGrpSpPr/>
          <p:nvPr/>
        </p:nvGrpSpPr>
        <p:grpSpPr>
          <a:xfrm>
            <a:off x="842833" y="4083633"/>
            <a:ext cx="2198069" cy="183811"/>
            <a:chOff x="-365125" y="2742162"/>
            <a:chExt cx="3524911" cy="226078"/>
          </a:xfrm>
        </p:grpSpPr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id="{42EC50FB-C4DA-4E51-8F20-D5EE6C2C6801}"/>
                </a:ext>
              </a:extLst>
            </p:cNvPr>
            <p:cNvSpPr/>
            <p:nvPr/>
          </p:nvSpPr>
          <p:spPr>
            <a:xfrm>
              <a:off x="-365125" y="2742162"/>
              <a:ext cx="3524911" cy="226078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407">
                <a:lnSpc>
                  <a:spcPct val="96000"/>
                </a:lnSpc>
                <a:defRPr/>
              </a:pPr>
              <a:endParaRPr lang="en-US" sz="1463">
                <a:solidFill>
                  <a:srgbClr val="F7F8FA"/>
                </a:solidFill>
                <a:latin typeface="Calibri"/>
                <a:cs typeface="Microsoft Sans Serif" panose="020B0604020202020204" pitchFamily="34" charset="0"/>
              </a:endParaRP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55000E3A-0742-4B95-9086-DCD27717C51C}"/>
                </a:ext>
              </a:extLst>
            </p:cNvPr>
            <p:cNvSpPr/>
            <p:nvPr/>
          </p:nvSpPr>
          <p:spPr>
            <a:xfrm>
              <a:off x="1894684" y="2773324"/>
              <a:ext cx="583813" cy="173013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defTabSz="743407">
                <a:defRPr/>
              </a:pPr>
              <a:r>
                <a:rPr lang="en-US" sz="854">
                  <a:solidFill>
                    <a:srgbClr val="13171F"/>
                  </a:solidFill>
                  <a:latin typeface="Calibri"/>
                </a:rPr>
                <a:t>Rel-15</a:t>
              </a:r>
            </a:p>
          </p:txBody>
        </p:sp>
        <p:sp>
          <p:nvSpPr>
            <p:cNvPr id="102" name="Isosceles Triangle 101">
              <a:extLst>
                <a:ext uri="{FF2B5EF4-FFF2-40B4-BE49-F238E27FC236}">
                  <a16:creationId xmlns:a16="http://schemas.microsoft.com/office/drawing/2014/main" id="{44442096-47BB-4577-8233-CEC59BEC8A7C}"/>
                </a:ext>
              </a:extLst>
            </p:cNvPr>
            <p:cNvSpPr/>
            <p:nvPr/>
          </p:nvSpPr>
          <p:spPr>
            <a:xfrm rot="5400000">
              <a:off x="2987307" y="2821898"/>
              <a:ext cx="113439" cy="5961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407">
                <a:lnSpc>
                  <a:spcPct val="96000"/>
                </a:lnSpc>
                <a:defRPr/>
              </a:pPr>
              <a:endParaRPr lang="en-US" sz="1463" err="1">
                <a:solidFill>
                  <a:srgbClr val="F7F8FA"/>
                </a:solidFill>
                <a:latin typeface="Calibri"/>
                <a:cs typeface="Microsoft Sans Serif" panose="020B0604020202020204" pitchFamily="34" charset="0"/>
              </a:endParaRP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ED456346-B6C3-4B9B-B134-CC46DEDBA7FF}"/>
              </a:ext>
            </a:extLst>
          </p:cNvPr>
          <p:cNvGrpSpPr/>
          <p:nvPr/>
        </p:nvGrpSpPr>
        <p:grpSpPr>
          <a:xfrm>
            <a:off x="3609425" y="3463674"/>
            <a:ext cx="2043117" cy="185862"/>
            <a:chOff x="4665381" y="2050262"/>
            <a:chExt cx="2965304" cy="228600"/>
          </a:xfrm>
        </p:grpSpPr>
        <p:sp>
          <p:nvSpPr>
            <p:cNvPr id="104" name="Rectangle: Rounded Corners 103">
              <a:extLst>
                <a:ext uri="{FF2B5EF4-FFF2-40B4-BE49-F238E27FC236}">
                  <a16:creationId xmlns:a16="http://schemas.microsoft.com/office/drawing/2014/main" id="{E30B2782-7401-48E3-96FD-DE4BD4894EA5}"/>
                </a:ext>
              </a:extLst>
            </p:cNvPr>
            <p:cNvSpPr/>
            <p:nvPr/>
          </p:nvSpPr>
          <p:spPr>
            <a:xfrm>
              <a:off x="4665381" y="2050262"/>
              <a:ext cx="2965304" cy="228600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407">
                <a:lnSpc>
                  <a:spcPct val="96000"/>
                </a:lnSpc>
                <a:defRPr/>
              </a:pPr>
              <a:endParaRPr lang="en-US" sz="1463">
                <a:solidFill>
                  <a:srgbClr val="F7F8FA"/>
                </a:solidFill>
                <a:latin typeface="Calibri"/>
                <a:cs typeface="Microsoft Sans Serif" panose="020B0604020202020204" pitchFamily="34" charset="0"/>
              </a:endParaRP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67748039-381C-4844-84C9-83F899C68522}"/>
                </a:ext>
              </a:extLst>
            </p:cNvPr>
            <p:cNvSpPr/>
            <p:nvPr/>
          </p:nvSpPr>
          <p:spPr>
            <a:xfrm>
              <a:off x="5766076" y="2089650"/>
              <a:ext cx="765405" cy="161583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algn="ctr" defTabSz="743407">
                <a:defRPr/>
              </a:pPr>
              <a:r>
                <a:rPr lang="en-US" sz="854">
                  <a:solidFill>
                    <a:srgbClr val="13171F"/>
                  </a:solidFill>
                  <a:latin typeface="Calibri"/>
                </a:rPr>
                <a:t>Rel-17</a:t>
              </a:r>
              <a:r>
                <a:rPr lang="en-US" sz="854" baseline="30000">
                  <a:solidFill>
                    <a:srgbClr val="13171F"/>
                  </a:solidFill>
                  <a:latin typeface="Calibri"/>
                </a:rPr>
                <a:t>1</a:t>
              </a:r>
              <a:endParaRPr lang="en-US" sz="854">
                <a:solidFill>
                  <a:srgbClr val="13171F"/>
                </a:solidFill>
                <a:latin typeface="Calibri"/>
              </a:endParaRPr>
            </a:p>
          </p:txBody>
        </p:sp>
        <p:sp>
          <p:nvSpPr>
            <p:cNvPr id="106" name="Isosceles Triangle 105">
              <a:extLst>
                <a:ext uri="{FF2B5EF4-FFF2-40B4-BE49-F238E27FC236}">
                  <a16:creationId xmlns:a16="http://schemas.microsoft.com/office/drawing/2014/main" id="{74120026-3BD4-4B7F-BE54-240561DBFE7E}"/>
                </a:ext>
              </a:extLst>
            </p:cNvPr>
            <p:cNvSpPr/>
            <p:nvPr/>
          </p:nvSpPr>
          <p:spPr>
            <a:xfrm rot="5400000">
              <a:off x="7467670" y="2143466"/>
              <a:ext cx="113439" cy="53949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407">
                <a:lnSpc>
                  <a:spcPct val="96000"/>
                </a:lnSpc>
                <a:defRPr/>
              </a:pPr>
              <a:endParaRPr lang="en-US" sz="1463" err="1">
                <a:solidFill>
                  <a:srgbClr val="F7F8FA"/>
                </a:solidFill>
                <a:latin typeface="Calibri"/>
                <a:cs typeface="Microsoft Sans Serif" panose="020B0604020202020204" pitchFamily="34" charset="0"/>
              </a:endParaRP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A99422C4-2B68-4EF8-9D4D-D90EE538B430}"/>
              </a:ext>
            </a:extLst>
          </p:cNvPr>
          <p:cNvGrpSpPr/>
          <p:nvPr/>
        </p:nvGrpSpPr>
        <p:grpSpPr>
          <a:xfrm>
            <a:off x="2108400" y="3777036"/>
            <a:ext cx="1772751" cy="188658"/>
            <a:chOff x="2160754" y="2395349"/>
            <a:chExt cx="2890210" cy="232039"/>
          </a:xfrm>
        </p:grpSpPr>
        <p:sp>
          <p:nvSpPr>
            <p:cNvPr id="108" name="Rectangle: Rounded Corners 107">
              <a:extLst>
                <a:ext uri="{FF2B5EF4-FFF2-40B4-BE49-F238E27FC236}">
                  <a16:creationId xmlns:a16="http://schemas.microsoft.com/office/drawing/2014/main" id="{FAD6BB0E-BDD0-4AB1-8938-47F8F2BE12DC}"/>
                </a:ext>
              </a:extLst>
            </p:cNvPr>
            <p:cNvSpPr/>
            <p:nvPr/>
          </p:nvSpPr>
          <p:spPr>
            <a:xfrm>
              <a:off x="2160754" y="2395349"/>
              <a:ext cx="2890210" cy="232039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407">
                <a:lnSpc>
                  <a:spcPct val="96000"/>
                </a:lnSpc>
                <a:defRPr/>
              </a:pPr>
              <a:endParaRPr lang="en-US" sz="1463" err="1">
                <a:solidFill>
                  <a:srgbClr val="F7F8FA"/>
                </a:solidFill>
                <a:latin typeface="Calibri"/>
                <a:cs typeface="Microsoft Sans Serif" panose="020B0604020202020204" pitchFamily="34" charset="0"/>
              </a:endParaRP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0B9F325A-3DFB-4663-BA19-2F3840E4B75F}"/>
                </a:ext>
              </a:extLst>
            </p:cNvPr>
            <p:cNvSpPr/>
            <p:nvPr/>
          </p:nvSpPr>
          <p:spPr>
            <a:xfrm>
              <a:off x="3276920" y="2435340"/>
              <a:ext cx="633507" cy="161583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defTabSz="743407">
                <a:defRPr/>
              </a:pPr>
              <a:r>
                <a:rPr lang="en-US" sz="854">
                  <a:solidFill>
                    <a:srgbClr val="13171F"/>
                  </a:solidFill>
                  <a:latin typeface="Calibri"/>
                </a:rPr>
                <a:t>Rel-16</a:t>
              </a:r>
              <a:r>
                <a:rPr lang="en-US" sz="854" baseline="30000">
                  <a:solidFill>
                    <a:srgbClr val="13171F"/>
                  </a:solidFill>
                  <a:latin typeface="Calibri"/>
                </a:rPr>
                <a:t>1</a:t>
              </a:r>
            </a:p>
          </p:txBody>
        </p:sp>
        <p:sp>
          <p:nvSpPr>
            <p:cNvPr id="110" name="Isosceles Triangle 109">
              <a:extLst>
                <a:ext uri="{FF2B5EF4-FFF2-40B4-BE49-F238E27FC236}">
                  <a16:creationId xmlns:a16="http://schemas.microsoft.com/office/drawing/2014/main" id="{548EC5D5-F970-49AB-904A-BDDA399D65C1}"/>
                </a:ext>
              </a:extLst>
            </p:cNvPr>
            <p:cNvSpPr/>
            <p:nvPr/>
          </p:nvSpPr>
          <p:spPr>
            <a:xfrm rot="5400000">
              <a:off x="4873169" y="2481067"/>
              <a:ext cx="113439" cy="60603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407">
                <a:lnSpc>
                  <a:spcPct val="96000"/>
                </a:lnSpc>
                <a:defRPr/>
              </a:pPr>
              <a:endParaRPr lang="en-US" sz="1463" err="1">
                <a:solidFill>
                  <a:srgbClr val="F7F8FA"/>
                </a:solidFill>
                <a:latin typeface="Calibri"/>
                <a:cs typeface="Microsoft Sans Serif" panose="020B0604020202020204" pitchFamily="34" charset="0"/>
              </a:endParaRP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2539C36D-AD50-4821-A710-B8EA050CEB68}"/>
              </a:ext>
            </a:extLst>
          </p:cNvPr>
          <p:cNvGrpSpPr/>
          <p:nvPr/>
        </p:nvGrpSpPr>
        <p:grpSpPr>
          <a:xfrm>
            <a:off x="7014932" y="2492320"/>
            <a:ext cx="1663649" cy="186401"/>
            <a:chOff x="7800357" y="1709500"/>
            <a:chExt cx="3220698" cy="229264"/>
          </a:xfrm>
        </p:grpSpPr>
        <p:sp>
          <p:nvSpPr>
            <p:cNvPr id="112" name="Rectangle: Rounded Corners 111">
              <a:extLst>
                <a:ext uri="{FF2B5EF4-FFF2-40B4-BE49-F238E27FC236}">
                  <a16:creationId xmlns:a16="http://schemas.microsoft.com/office/drawing/2014/main" id="{E0356CE0-1E0B-4E10-8075-A4360E6481D7}"/>
                </a:ext>
              </a:extLst>
            </p:cNvPr>
            <p:cNvSpPr/>
            <p:nvPr/>
          </p:nvSpPr>
          <p:spPr>
            <a:xfrm>
              <a:off x="7800357" y="1709500"/>
              <a:ext cx="3220698" cy="229264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407">
                <a:lnSpc>
                  <a:spcPct val="96000"/>
                </a:lnSpc>
                <a:defRPr/>
              </a:pPr>
              <a:endParaRPr lang="en-US" sz="1463">
                <a:solidFill>
                  <a:srgbClr val="F7F8FA"/>
                </a:solidFill>
                <a:latin typeface="Calibri"/>
                <a:cs typeface="Microsoft Sans Serif" panose="020B0604020202020204" pitchFamily="34" charset="0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44BA04DB-C6EA-47EB-97A1-2573AD964EE7}"/>
                </a:ext>
              </a:extLst>
            </p:cNvPr>
            <p:cNvSpPr/>
            <p:nvPr/>
          </p:nvSpPr>
          <p:spPr>
            <a:xfrm>
              <a:off x="9188448" y="1743341"/>
              <a:ext cx="989814" cy="137511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defTabSz="743407">
                <a:defRPr/>
              </a:pPr>
              <a:r>
                <a:rPr lang="en-US" sz="854">
                  <a:solidFill>
                    <a:prstClr val="black"/>
                  </a:solidFill>
                  <a:latin typeface="Calibri"/>
                </a:rPr>
                <a:t>Rel-19</a:t>
              </a:r>
              <a:r>
                <a:rPr lang="en-US" sz="854" baseline="30000">
                  <a:solidFill>
                    <a:prstClr val="black"/>
                  </a:solidFill>
                  <a:latin typeface="Calibri"/>
                </a:rPr>
                <a:t>1</a:t>
              </a:r>
            </a:p>
          </p:txBody>
        </p:sp>
        <p:sp>
          <p:nvSpPr>
            <p:cNvPr id="114" name="Isosceles Triangle 113">
              <a:extLst>
                <a:ext uri="{FF2B5EF4-FFF2-40B4-BE49-F238E27FC236}">
                  <a16:creationId xmlns:a16="http://schemas.microsoft.com/office/drawing/2014/main" id="{8168AE09-AEB1-4B22-B06E-120DCCE9B27B}"/>
                </a:ext>
              </a:extLst>
            </p:cNvPr>
            <p:cNvSpPr/>
            <p:nvPr/>
          </p:nvSpPr>
          <p:spPr>
            <a:xfrm rot="5400000">
              <a:off x="10833387" y="1776912"/>
              <a:ext cx="113439" cy="94445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407">
                <a:lnSpc>
                  <a:spcPct val="96000"/>
                </a:lnSpc>
                <a:defRPr/>
              </a:pPr>
              <a:endParaRPr lang="en-US" sz="1463" err="1">
                <a:solidFill>
                  <a:srgbClr val="F7F8FA"/>
                </a:solidFill>
                <a:latin typeface="Calibri"/>
                <a:cs typeface="Microsoft Sans Serif" panose="020B0604020202020204" pitchFamily="34" charset="0"/>
              </a:endParaRPr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E532BE81-0FAD-4703-BAB2-5207C43598EC}"/>
              </a:ext>
            </a:extLst>
          </p:cNvPr>
          <p:cNvGrpSpPr/>
          <p:nvPr/>
        </p:nvGrpSpPr>
        <p:grpSpPr>
          <a:xfrm>
            <a:off x="8362209" y="2187979"/>
            <a:ext cx="2041214" cy="186401"/>
            <a:chOff x="7175102" y="1709500"/>
            <a:chExt cx="4966653" cy="229264"/>
          </a:xfrm>
        </p:grpSpPr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91EEEA91-27B6-4505-9BD4-1D1B0A13BF32}"/>
                </a:ext>
              </a:extLst>
            </p:cNvPr>
            <p:cNvSpPr/>
            <p:nvPr/>
          </p:nvSpPr>
          <p:spPr>
            <a:xfrm>
              <a:off x="7175102" y="1709500"/>
              <a:ext cx="4966653" cy="229264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407">
                <a:lnSpc>
                  <a:spcPct val="96000"/>
                </a:lnSpc>
                <a:defRPr/>
              </a:pPr>
              <a:endParaRPr lang="en-US" sz="1463">
                <a:solidFill>
                  <a:srgbClr val="F7F8FA"/>
                </a:solidFill>
                <a:latin typeface="Calibri"/>
                <a:cs typeface="Microsoft Sans Serif" panose="020B0604020202020204" pitchFamily="34" charset="0"/>
              </a:endParaRP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FC9E520E-58F2-4E43-BBEC-8399C9D28872}"/>
                </a:ext>
              </a:extLst>
            </p:cNvPr>
            <p:cNvSpPr/>
            <p:nvPr/>
          </p:nvSpPr>
          <p:spPr>
            <a:xfrm>
              <a:off x="8787145" y="1743341"/>
              <a:ext cx="2374981" cy="137511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defTabSz="743407">
                <a:defRPr/>
              </a:pPr>
              <a:r>
                <a:rPr lang="en-US" sz="854">
                  <a:solidFill>
                    <a:prstClr val="black"/>
                  </a:solidFill>
                  <a:latin typeface="Calibri"/>
                </a:rPr>
                <a:t>Rel-20+ evolution</a:t>
              </a:r>
            </a:p>
          </p:txBody>
        </p:sp>
        <p:sp>
          <p:nvSpPr>
            <p:cNvPr id="118" name="Isosceles Triangle 117">
              <a:extLst>
                <a:ext uri="{FF2B5EF4-FFF2-40B4-BE49-F238E27FC236}">
                  <a16:creationId xmlns:a16="http://schemas.microsoft.com/office/drawing/2014/main" id="{17D5338D-2464-4B01-8534-AF534A2D7415}"/>
                </a:ext>
              </a:extLst>
            </p:cNvPr>
            <p:cNvSpPr/>
            <p:nvPr/>
          </p:nvSpPr>
          <p:spPr>
            <a:xfrm rot="5400000">
              <a:off x="11943408" y="1776911"/>
              <a:ext cx="113439" cy="94445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407">
                <a:lnSpc>
                  <a:spcPct val="96000"/>
                </a:lnSpc>
                <a:defRPr/>
              </a:pPr>
              <a:endParaRPr lang="en-US" sz="1463" err="1">
                <a:solidFill>
                  <a:srgbClr val="F7F8FA"/>
                </a:solidFill>
                <a:latin typeface="Calibri"/>
                <a:cs typeface="Microsoft Sans Serif" panose="020B0604020202020204" pitchFamily="34" charset="0"/>
              </a:endParaRP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B3D1CF24-A3AA-4475-9136-676895A72465}"/>
              </a:ext>
            </a:extLst>
          </p:cNvPr>
          <p:cNvGrpSpPr/>
          <p:nvPr/>
        </p:nvGrpSpPr>
        <p:grpSpPr>
          <a:xfrm>
            <a:off x="5203236" y="2796661"/>
            <a:ext cx="2247942" cy="186401"/>
            <a:chOff x="7524348" y="1709500"/>
            <a:chExt cx="3561156" cy="229264"/>
          </a:xfrm>
        </p:grpSpPr>
        <p:sp>
          <p:nvSpPr>
            <p:cNvPr id="120" name="Rectangle: Rounded Corners 119">
              <a:extLst>
                <a:ext uri="{FF2B5EF4-FFF2-40B4-BE49-F238E27FC236}">
                  <a16:creationId xmlns:a16="http://schemas.microsoft.com/office/drawing/2014/main" id="{494DCB8E-E4C2-48D9-8ED5-16D29FDAC5C9}"/>
                </a:ext>
              </a:extLst>
            </p:cNvPr>
            <p:cNvSpPr/>
            <p:nvPr/>
          </p:nvSpPr>
          <p:spPr>
            <a:xfrm>
              <a:off x="7524348" y="1709500"/>
              <a:ext cx="3561156" cy="229264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407">
                <a:lnSpc>
                  <a:spcPct val="96000"/>
                </a:lnSpc>
                <a:defRPr/>
              </a:pPr>
              <a:endParaRPr lang="en-US" sz="1463">
                <a:solidFill>
                  <a:srgbClr val="F7F8FA"/>
                </a:solidFill>
                <a:latin typeface="Calibri"/>
                <a:cs typeface="Microsoft Sans Serif" panose="020B0604020202020204" pitchFamily="34" charset="0"/>
              </a:endParaRP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0AEEE7F7-BABE-4E0A-84AE-E014FE0B19D8}"/>
                </a:ext>
              </a:extLst>
            </p:cNvPr>
            <p:cNvSpPr/>
            <p:nvPr/>
          </p:nvSpPr>
          <p:spPr>
            <a:xfrm>
              <a:off x="9156488" y="1743341"/>
              <a:ext cx="1239441" cy="161583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defTabSz="743407">
                <a:defRPr/>
              </a:pPr>
              <a:r>
                <a:rPr lang="en-US" sz="854">
                  <a:solidFill>
                    <a:srgbClr val="13171F"/>
                  </a:solidFill>
                  <a:latin typeface="Calibri"/>
                </a:rPr>
                <a:t>Rel-18</a:t>
              </a:r>
              <a:r>
                <a:rPr lang="en-US" sz="854" baseline="30000">
                  <a:solidFill>
                    <a:srgbClr val="13171F"/>
                  </a:solidFill>
                  <a:latin typeface="Calibri"/>
                </a:rPr>
                <a:t>1</a:t>
              </a:r>
              <a:endParaRPr lang="en-US" sz="854">
                <a:solidFill>
                  <a:srgbClr val="13171F"/>
                </a:solidFill>
                <a:latin typeface="Calibri"/>
              </a:endParaRPr>
            </a:p>
          </p:txBody>
        </p:sp>
        <p:sp>
          <p:nvSpPr>
            <p:cNvPr id="122" name="Isosceles Triangle 121">
              <a:extLst>
                <a:ext uri="{FF2B5EF4-FFF2-40B4-BE49-F238E27FC236}">
                  <a16:creationId xmlns:a16="http://schemas.microsoft.com/office/drawing/2014/main" id="{2AC6D898-08AD-42BF-B04D-A02DC01E56BB}"/>
                </a:ext>
              </a:extLst>
            </p:cNvPr>
            <p:cNvSpPr/>
            <p:nvPr/>
          </p:nvSpPr>
          <p:spPr>
            <a:xfrm rot="5400000">
              <a:off x="10892712" y="1788415"/>
              <a:ext cx="113439" cy="71435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407">
                <a:lnSpc>
                  <a:spcPct val="96000"/>
                </a:lnSpc>
                <a:defRPr/>
              </a:pPr>
              <a:endParaRPr lang="en-US" sz="1463" err="1">
                <a:solidFill>
                  <a:srgbClr val="F7F8FA"/>
                </a:solidFill>
                <a:latin typeface="Calibri"/>
                <a:cs typeface="Microsoft Sans Serif" panose="020B0604020202020204" pitchFamily="34" charset="0"/>
              </a:endParaRP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BF288BFE-2CBD-471B-826F-E9233B40C0B6}"/>
              </a:ext>
            </a:extLst>
          </p:cNvPr>
          <p:cNvGrpSpPr/>
          <p:nvPr/>
        </p:nvGrpSpPr>
        <p:grpSpPr>
          <a:xfrm>
            <a:off x="771925" y="4562225"/>
            <a:ext cx="10963264" cy="222064"/>
            <a:chOff x="0" y="4415662"/>
            <a:chExt cx="12180888" cy="273127"/>
          </a:xfrm>
        </p:grpSpPr>
        <p:sp>
          <p:nvSpPr>
            <p:cNvPr id="124" name="TextBox 70">
              <a:extLst>
                <a:ext uri="{FF2B5EF4-FFF2-40B4-BE49-F238E27FC236}">
                  <a16:creationId xmlns:a16="http://schemas.microsoft.com/office/drawing/2014/main" id="{E4C90098-4C5A-4FA3-916D-C1D036F2CA3C}"/>
                </a:ext>
              </a:extLst>
            </p:cNvPr>
            <p:cNvSpPr txBox="1"/>
            <p:nvPr/>
          </p:nvSpPr>
          <p:spPr bwMode="gray">
            <a:xfrm>
              <a:off x="504120" y="4486298"/>
              <a:ext cx="1311737" cy="202491"/>
            </a:xfrm>
            <a:prstGeom prst="rect">
              <a:avLst/>
            </a:prstGeom>
            <a:noFill/>
            <a:effectLst/>
          </p:spPr>
          <p:txBody>
            <a:bodyPr wrap="none" lIns="0" tIns="0" rIns="0" bIns="0" rtlCol="0" anchor="t" anchorCtr="0">
              <a:noAutofit/>
            </a:bodyPr>
            <a:lstStyle>
              <a:defPPr>
                <a:defRPr lang="en-US"/>
              </a:defPPr>
              <a:lvl1pPr algn="ctr" fontAlgn="base">
                <a:lnSpc>
                  <a:spcPct val="94000"/>
                </a:lnSpc>
                <a:spcBef>
                  <a:spcPct val="0"/>
                </a:spcBef>
                <a:spcAft>
                  <a:spcPct val="0"/>
                </a:spcAft>
                <a:defRPr sz="1200">
                  <a:latin typeface="Century Gothic" panose="020B0502020202020204" pitchFamily="34" charset="0"/>
                  <a:cs typeface="Microsoft Sans Serif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3407">
                <a:defRPr/>
              </a:pPr>
              <a:r>
                <a:rPr lang="en-US" sz="976" b="1">
                  <a:solidFill>
                    <a:srgbClr val="13171F"/>
                  </a:solidFill>
                  <a:latin typeface="Calibri"/>
                </a:rPr>
                <a:t>2</a:t>
              </a:r>
              <a:r>
                <a:rPr lang="en-US" sz="976" b="1" spc="-81">
                  <a:solidFill>
                    <a:srgbClr val="13171F"/>
                  </a:solidFill>
                  <a:latin typeface="Calibri"/>
                </a:rPr>
                <a:t>0</a:t>
              </a:r>
              <a:r>
                <a:rPr lang="en-US" sz="976" b="1">
                  <a:solidFill>
                    <a:srgbClr val="13171F"/>
                  </a:solidFill>
                  <a:latin typeface="Calibri"/>
                </a:rPr>
                <a:t>18</a:t>
              </a:r>
            </a:p>
          </p:txBody>
        </p:sp>
        <p:sp>
          <p:nvSpPr>
            <p:cNvPr id="125" name="TextBox 70">
              <a:extLst>
                <a:ext uri="{FF2B5EF4-FFF2-40B4-BE49-F238E27FC236}">
                  <a16:creationId xmlns:a16="http://schemas.microsoft.com/office/drawing/2014/main" id="{69698D6A-DF6C-4DEE-A283-35904CEC43B0}"/>
                </a:ext>
              </a:extLst>
            </p:cNvPr>
            <p:cNvSpPr txBox="1"/>
            <p:nvPr/>
          </p:nvSpPr>
          <p:spPr bwMode="gray">
            <a:xfrm>
              <a:off x="2715106" y="4486298"/>
              <a:ext cx="1332586" cy="202491"/>
            </a:xfrm>
            <a:prstGeom prst="rect">
              <a:avLst/>
            </a:prstGeom>
            <a:noFill/>
            <a:effectLst/>
          </p:spPr>
          <p:txBody>
            <a:bodyPr wrap="none" lIns="0" tIns="0" rIns="0" bIns="0" rtlCol="0" anchor="t" anchorCtr="0">
              <a:noAutofit/>
            </a:bodyPr>
            <a:lstStyle>
              <a:defPPr>
                <a:defRPr lang="en-US"/>
              </a:defPPr>
              <a:lvl1pPr algn="ctr" fontAlgn="base">
                <a:lnSpc>
                  <a:spcPct val="94000"/>
                </a:lnSpc>
                <a:spcBef>
                  <a:spcPct val="0"/>
                </a:spcBef>
                <a:spcAft>
                  <a:spcPct val="0"/>
                </a:spcAft>
                <a:defRPr sz="1200">
                  <a:latin typeface="Century Gothic" panose="020B0502020202020204" pitchFamily="34" charset="0"/>
                  <a:cs typeface="Microsoft Sans Serif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3407">
                <a:defRPr/>
              </a:pPr>
              <a:r>
                <a:rPr lang="en-US" sz="976" b="1">
                  <a:solidFill>
                    <a:srgbClr val="13171F"/>
                  </a:solidFill>
                  <a:latin typeface="Calibri"/>
                </a:rPr>
                <a:t>2020</a:t>
              </a:r>
            </a:p>
          </p:txBody>
        </p:sp>
        <p:sp>
          <p:nvSpPr>
            <p:cNvPr id="126" name="TextBox 70">
              <a:extLst>
                <a:ext uri="{FF2B5EF4-FFF2-40B4-BE49-F238E27FC236}">
                  <a16:creationId xmlns:a16="http://schemas.microsoft.com/office/drawing/2014/main" id="{9A0C362B-1A72-4449-91E5-D47A2DC102D2}"/>
                </a:ext>
              </a:extLst>
            </p:cNvPr>
            <p:cNvSpPr txBox="1"/>
            <p:nvPr/>
          </p:nvSpPr>
          <p:spPr bwMode="gray">
            <a:xfrm>
              <a:off x="1607793" y="4486298"/>
              <a:ext cx="1315377" cy="202491"/>
            </a:xfrm>
            <a:prstGeom prst="rect">
              <a:avLst/>
            </a:prstGeom>
            <a:noFill/>
            <a:effectLst/>
          </p:spPr>
          <p:txBody>
            <a:bodyPr wrap="none" lIns="0" tIns="0" rIns="0" bIns="0" rtlCol="0" anchor="t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743407" fontAlgn="base">
                <a:lnSpc>
                  <a:spcPct val="94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76" b="1">
                  <a:solidFill>
                    <a:srgbClr val="13171F"/>
                  </a:solidFill>
                  <a:latin typeface="Calibri"/>
                  <a:cs typeface="Microsoft Sans Serif" panose="020B0604020202020204" pitchFamily="34" charset="0"/>
                </a:rPr>
                <a:t>2</a:t>
              </a:r>
              <a:r>
                <a:rPr lang="en-US" sz="976" b="1" spc="-81">
                  <a:solidFill>
                    <a:srgbClr val="13171F"/>
                  </a:solidFill>
                  <a:latin typeface="Calibri"/>
                  <a:cs typeface="Microsoft Sans Serif" panose="020B0604020202020204" pitchFamily="34" charset="0"/>
                </a:rPr>
                <a:t>0</a:t>
              </a:r>
              <a:r>
                <a:rPr lang="en-US" sz="976" b="1">
                  <a:solidFill>
                    <a:srgbClr val="13171F"/>
                  </a:solidFill>
                  <a:latin typeface="Calibri"/>
                  <a:cs typeface="Microsoft Sans Serif" panose="020B0604020202020204" pitchFamily="34" charset="0"/>
                </a:rPr>
                <a:t>19</a:t>
              </a:r>
            </a:p>
          </p:txBody>
        </p:sp>
        <p:sp>
          <p:nvSpPr>
            <p:cNvPr id="127" name="TextBox 70">
              <a:extLst>
                <a:ext uri="{FF2B5EF4-FFF2-40B4-BE49-F238E27FC236}">
                  <a16:creationId xmlns:a16="http://schemas.microsoft.com/office/drawing/2014/main" id="{79BE8464-5F57-43A6-A8EF-486810C4E0A6}"/>
                </a:ext>
              </a:extLst>
            </p:cNvPr>
            <p:cNvSpPr txBox="1"/>
            <p:nvPr/>
          </p:nvSpPr>
          <p:spPr bwMode="gray">
            <a:xfrm>
              <a:off x="4955194" y="4486298"/>
              <a:ext cx="1311734" cy="202491"/>
            </a:xfrm>
            <a:prstGeom prst="rect">
              <a:avLst/>
            </a:prstGeom>
            <a:noFill/>
            <a:effectLst/>
          </p:spPr>
          <p:txBody>
            <a:bodyPr wrap="none" lIns="0" tIns="0" rIns="0" bIns="0" rtlCol="0" anchor="t" anchorCtr="0">
              <a:noAutofit/>
            </a:bodyPr>
            <a:lstStyle>
              <a:defPPr>
                <a:defRPr lang="en-US"/>
              </a:defPPr>
              <a:lvl1pPr algn="ctr" fontAlgn="base">
                <a:lnSpc>
                  <a:spcPct val="94000"/>
                </a:lnSpc>
                <a:spcBef>
                  <a:spcPct val="0"/>
                </a:spcBef>
                <a:spcAft>
                  <a:spcPct val="0"/>
                </a:spcAft>
                <a:defRPr sz="1200">
                  <a:latin typeface="Century Gothic" panose="020B0502020202020204" pitchFamily="34" charset="0"/>
                  <a:cs typeface="Microsoft Sans Serif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3407">
                <a:defRPr/>
              </a:pPr>
              <a:r>
                <a:rPr lang="en-US" sz="976" b="1">
                  <a:solidFill>
                    <a:srgbClr val="13171F"/>
                  </a:solidFill>
                  <a:latin typeface="Calibri"/>
                </a:rPr>
                <a:t>2022</a:t>
              </a:r>
            </a:p>
          </p:txBody>
        </p:sp>
        <p:sp>
          <p:nvSpPr>
            <p:cNvPr id="128" name="TextBox 70">
              <a:extLst>
                <a:ext uri="{FF2B5EF4-FFF2-40B4-BE49-F238E27FC236}">
                  <a16:creationId xmlns:a16="http://schemas.microsoft.com/office/drawing/2014/main" id="{C540952B-8C85-4633-BD98-32183F4237C6}"/>
                </a:ext>
              </a:extLst>
            </p:cNvPr>
            <p:cNvSpPr txBox="1"/>
            <p:nvPr/>
          </p:nvSpPr>
          <p:spPr bwMode="gray">
            <a:xfrm>
              <a:off x="3839628" y="4486298"/>
              <a:ext cx="1323630" cy="202491"/>
            </a:xfrm>
            <a:prstGeom prst="rect">
              <a:avLst/>
            </a:prstGeom>
            <a:noFill/>
            <a:effectLst/>
          </p:spPr>
          <p:txBody>
            <a:bodyPr wrap="none" lIns="0" tIns="0" rIns="0" bIns="0" rtlCol="0" anchor="t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743407" fontAlgn="base">
                <a:lnSpc>
                  <a:spcPct val="94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76" b="1">
                  <a:solidFill>
                    <a:srgbClr val="13171F"/>
                  </a:solidFill>
                  <a:latin typeface="Calibri"/>
                  <a:cs typeface="Microsoft Sans Serif" panose="020B0604020202020204" pitchFamily="34" charset="0"/>
                </a:rPr>
                <a:t>2021</a:t>
              </a:r>
            </a:p>
          </p:txBody>
        </p:sp>
        <p:sp>
          <p:nvSpPr>
            <p:cNvPr id="129" name="TextBox 70">
              <a:extLst>
                <a:ext uri="{FF2B5EF4-FFF2-40B4-BE49-F238E27FC236}">
                  <a16:creationId xmlns:a16="http://schemas.microsoft.com/office/drawing/2014/main" id="{05797DD6-0EE5-424B-9523-F3BC4BC61B66}"/>
                </a:ext>
              </a:extLst>
            </p:cNvPr>
            <p:cNvSpPr txBox="1"/>
            <p:nvPr/>
          </p:nvSpPr>
          <p:spPr bwMode="gray">
            <a:xfrm>
              <a:off x="8266204" y="4486298"/>
              <a:ext cx="1311734" cy="202491"/>
            </a:xfrm>
            <a:prstGeom prst="rect">
              <a:avLst/>
            </a:prstGeom>
            <a:noFill/>
            <a:effectLst/>
          </p:spPr>
          <p:txBody>
            <a:bodyPr wrap="none" lIns="0" tIns="0" rIns="0" bIns="0" rtlCol="0" anchor="t" anchorCtr="0">
              <a:noAutofit/>
            </a:bodyPr>
            <a:lstStyle>
              <a:defPPr>
                <a:defRPr lang="en-US"/>
              </a:defPPr>
              <a:lvl1pPr algn="ctr" fontAlgn="base">
                <a:lnSpc>
                  <a:spcPct val="94000"/>
                </a:lnSpc>
                <a:spcBef>
                  <a:spcPct val="0"/>
                </a:spcBef>
                <a:spcAft>
                  <a:spcPct val="0"/>
                </a:spcAft>
                <a:defRPr sz="1200">
                  <a:latin typeface="Century Gothic" panose="020B0502020202020204" pitchFamily="34" charset="0"/>
                  <a:cs typeface="Microsoft Sans Serif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3407">
                <a:defRPr/>
              </a:pPr>
              <a:r>
                <a:rPr lang="en-US" sz="976" b="1">
                  <a:solidFill>
                    <a:srgbClr val="13171F"/>
                  </a:solidFill>
                  <a:latin typeface="Calibri"/>
                </a:rPr>
                <a:t>2025</a:t>
              </a:r>
            </a:p>
          </p:txBody>
        </p:sp>
        <p:sp>
          <p:nvSpPr>
            <p:cNvPr id="130" name="TextBox 70">
              <a:extLst>
                <a:ext uri="{FF2B5EF4-FFF2-40B4-BE49-F238E27FC236}">
                  <a16:creationId xmlns:a16="http://schemas.microsoft.com/office/drawing/2014/main" id="{6267EF47-885A-4BA8-8A13-5DD1900B5B66}"/>
                </a:ext>
              </a:extLst>
            </p:cNvPr>
            <p:cNvSpPr txBox="1"/>
            <p:nvPr/>
          </p:nvSpPr>
          <p:spPr bwMode="gray">
            <a:xfrm>
              <a:off x="6058864" y="4486298"/>
              <a:ext cx="1311734" cy="202491"/>
            </a:xfrm>
            <a:prstGeom prst="rect">
              <a:avLst/>
            </a:prstGeom>
            <a:noFill/>
            <a:effectLst/>
          </p:spPr>
          <p:txBody>
            <a:bodyPr wrap="none" lIns="0" tIns="0" rIns="0" bIns="0" rtlCol="0" anchor="t" anchorCtr="0">
              <a:noAutofit/>
            </a:bodyPr>
            <a:lstStyle>
              <a:defPPr>
                <a:defRPr lang="en-US"/>
              </a:defPPr>
              <a:lvl1pPr algn="ctr" fontAlgn="base">
                <a:lnSpc>
                  <a:spcPct val="94000"/>
                </a:lnSpc>
                <a:spcBef>
                  <a:spcPct val="0"/>
                </a:spcBef>
                <a:spcAft>
                  <a:spcPct val="0"/>
                </a:spcAft>
                <a:defRPr sz="1200">
                  <a:latin typeface="Century Gothic" panose="020B0502020202020204" pitchFamily="34" charset="0"/>
                  <a:cs typeface="Microsoft Sans Serif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3407">
                <a:defRPr/>
              </a:pPr>
              <a:r>
                <a:rPr lang="en-US" sz="976" b="1">
                  <a:solidFill>
                    <a:srgbClr val="13171F"/>
                  </a:solidFill>
                  <a:latin typeface="Calibri"/>
                </a:rPr>
                <a:t>2023</a:t>
              </a:r>
            </a:p>
          </p:txBody>
        </p:sp>
        <p:sp>
          <p:nvSpPr>
            <p:cNvPr id="131" name="TextBox 70">
              <a:extLst>
                <a:ext uri="{FF2B5EF4-FFF2-40B4-BE49-F238E27FC236}">
                  <a16:creationId xmlns:a16="http://schemas.microsoft.com/office/drawing/2014/main" id="{D2E569DA-81F2-401B-8FD5-6D9FAD7FF29A}"/>
                </a:ext>
              </a:extLst>
            </p:cNvPr>
            <p:cNvSpPr txBox="1"/>
            <p:nvPr/>
          </p:nvSpPr>
          <p:spPr bwMode="gray">
            <a:xfrm>
              <a:off x="7162534" y="4486298"/>
              <a:ext cx="1311734" cy="202491"/>
            </a:xfrm>
            <a:prstGeom prst="rect">
              <a:avLst/>
            </a:prstGeom>
            <a:noFill/>
            <a:effectLst/>
          </p:spPr>
          <p:txBody>
            <a:bodyPr wrap="none" lIns="0" tIns="0" rIns="0" bIns="0" rtlCol="0" anchor="t" anchorCtr="0">
              <a:noAutofit/>
            </a:bodyPr>
            <a:lstStyle>
              <a:defPPr>
                <a:defRPr lang="en-US"/>
              </a:defPPr>
              <a:lvl1pPr algn="ctr" fontAlgn="base">
                <a:lnSpc>
                  <a:spcPct val="94000"/>
                </a:lnSpc>
                <a:spcBef>
                  <a:spcPct val="0"/>
                </a:spcBef>
                <a:spcAft>
                  <a:spcPct val="0"/>
                </a:spcAft>
                <a:defRPr sz="1200">
                  <a:latin typeface="Century Gothic" panose="020B0502020202020204" pitchFamily="34" charset="0"/>
                  <a:cs typeface="Microsoft Sans Serif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3407">
                <a:defRPr/>
              </a:pPr>
              <a:r>
                <a:rPr lang="en-US" sz="976" b="1">
                  <a:solidFill>
                    <a:srgbClr val="13171F"/>
                  </a:solidFill>
                  <a:latin typeface="Calibri"/>
                </a:rPr>
                <a:t>2024</a:t>
              </a:r>
            </a:p>
          </p:txBody>
        </p:sp>
        <p:sp>
          <p:nvSpPr>
            <p:cNvPr id="132" name="TextBox 70">
              <a:extLst>
                <a:ext uri="{FF2B5EF4-FFF2-40B4-BE49-F238E27FC236}">
                  <a16:creationId xmlns:a16="http://schemas.microsoft.com/office/drawing/2014/main" id="{03E5C606-DC4B-4D84-A89E-635F562E99A5}"/>
                </a:ext>
              </a:extLst>
            </p:cNvPr>
            <p:cNvSpPr txBox="1"/>
            <p:nvPr/>
          </p:nvSpPr>
          <p:spPr bwMode="gray">
            <a:xfrm>
              <a:off x="9369874" y="4486298"/>
              <a:ext cx="1311734" cy="202491"/>
            </a:xfrm>
            <a:prstGeom prst="rect">
              <a:avLst/>
            </a:prstGeom>
            <a:noFill/>
            <a:effectLst/>
          </p:spPr>
          <p:txBody>
            <a:bodyPr wrap="none" lIns="0" tIns="0" rIns="0" bIns="0" rtlCol="0" anchor="t" anchorCtr="0">
              <a:noAutofit/>
            </a:bodyPr>
            <a:lstStyle>
              <a:defPPr>
                <a:defRPr lang="en-US"/>
              </a:defPPr>
              <a:lvl1pPr algn="ctr" fontAlgn="base">
                <a:lnSpc>
                  <a:spcPct val="94000"/>
                </a:lnSpc>
                <a:spcBef>
                  <a:spcPct val="0"/>
                </a:spcBef>
                <a:spcAft>
                  <a:spcPct val="0"/>
                </a:spcAft>
                <a:defRPr sz="1200">
                  <a:latin typeface="Century Gothic" panose="020B0502020202020204" pitchFamily="34" charset="0"/>
                  <a:cs typeface="Microsoft Sans Serif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3407">
                <a:defRPr/>
              </a:pPr>
              <a:r>
                <a:rPr lang="en-US" sz="976" b="1">
                  <a:solidFill>
                    <a:srgbClr val="13171F"/>
                  </a:solidFill>
                  <a:latin typeface="Calibri"/>
                </a:rPr>
                <a:t>2026</a:t>
              </a:r>
            </a:p>
          </p:txBody>
        </p:sp>
        <p:sp>
          <p:nvSpPr>
            <p:cNvPr id="133" name="TextBox 70">
              <a:extLst>
                <a:ext uri="{FF2B5EF4-FFF2-40B4-BE49-F238E27FC236}">
                  <a16:creationId xmlns:a16="http://schemas.microsoft.com/office/drawing/2014/main" id="{79E5D15E-EF24-438F-9D32-E01E8AE1CAC1}"/>
                </a:ext>
              </a:extLst>
            </p:cNvPr>
            <p:cNvSpPr txBox="1"/>
            <p:nvPr/>
          </p:nvSpPr>
          <p:spPr bwMode="gray">
            <a:xfrm>
              <a:off x="10473545" y="4486298"/>
              <a:ext cx="1311734" cy="202491"/>
            </a:xfrm>
            <a:prstGeom prst="rect">
              <a:avLst/>
            </a:prstGeom>
            <a:noFill/>
            <a:effectLst/>
          </p:spPr>
          <p:txBody>
            <a:bodyPr wrap="none" lIns="0" tIns="0" rIns="0" bIns="0" rtlCol="0" anchor="t" anchorCtr="0">
              <a:noAutofit/>
            </a:bodyPr>
            <a:lstStyle>
              <a:defPPr>
                <a:defRPr lang="en-US"/>
              </a:defPPr>
              <a:lvl1pPr algn="ctr" fontAlgn="base">
                <a:lnSpc>
                  <a:spcPct val="94000"/>
                </a:lnSpc>
                <a:spcBef>
                  <a:spcPct val="0"/>
                </a:spcBef>
                <a:spcAft>
                  <a:spcPct val="0"/>
                </a:spcAft>
                <a:defRPr sz="1200">
                  <a:latin typeface="Century Gothic" panose="020B0502020202020204" pitchFamily="34" charset="0"/>
                  <a:cs typeface="Microsoft Sans Serif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43407">
                <a:defRPr/>
              </a:pPr>
              <a:r>
                <a:rPr lang="en-US" sz="976" b="1">
                  <a:solidFill>
                    <a:srgbClr val="13171F"/>
                  </a:solidFill>
                  <a:latin typeface="Calibri"/>
                </a:rPr>
                <a:t>2027+</a:t>
              </a:r>
            </a:p>
          </p:txBody>
        </p: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533BEECB-8E3C-4780-A461-C45D499CEF19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441100"/>
              <a:ext cx="12180888" cy="0"/>
            </a:xfrm>
            <a:prstGeom prst="line">
              <a:avLst/>
            </a:prstGeom>
            <a:ln w="12700" cap="rnd">
              <a:solidFill>
                <a:schemeClr val="tx2"/>
              </a:solidFill>
              <a:round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6A52F035-4979-4C07-8F40-F7D8A1E7EFAC}"/>
                </a:ext>
              </a:extLst>
            </p:cNvPr>
            <p:cNvSpPr/>
            <p:nvPr/>
          </p:nvSpPr>
          <p:spPr>
            <a:xfrm>
              <a:off x="566706" y="4415662"/>
              <a:ext cx="50877" cy="5087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407">
                <a:lnSpc>
                  <a:spcPct val="96000"/>
                </a:lnSpc>
                <a:defRPr/>
              </a:pPr>
              <a:endParaRPr lang="en-US" sz="1463" err="1">
                <a:solidFill>
                  <a:srgbClr val="F7F8FA"/>
                </a:solidFill>
                <a:latin typeface="Calibri"/>
                <a:cs typeface="Microsoft Sans Serif" panose="020B0604020202020204" pitchFamily="34" charset="0"/>
              </a:endParaRPr>
            </a:p>
          </p:txBody>
        </p:sp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307A01DD-8472-44BC-BCBD-B00FCDFE2714}"/>
                </a:ext>
              </a:extLst>
            </p:cNvPr>
            <p:cNvSpPr/>
            <p:nvPr/>
          </p:nvSpPr>
          <p:spPr>
            <a:xfrm>
              <a:off x="1676628" y="4415662"/>
              <a:ext cx="50877" cy="5087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407">
                <a:lnSpc>
                  <a:spcPct val="96000"/>
                </a:lnSpc>
                <a:defRPr/>
              </a:pPr>
              <a:endParaRPr lang="en-US" sz="1463" err="1">
                <a:solidFill>
                  <a:srgbClr val="F7F8FA"/>
                </a:solidFill>
                <a:latin typeface="Calibri"/>
                <a:cs typeface="Microsoft Sans Serif" panose="020B0604020202020204" pitchFamily="34" charset="0"/>
              </a:endParaRPr>
            </a:p>
          </p:txBody>
        </p:sp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F25F85EA-F0A7-41FC-9D02-9E6FD967FEC1}"/>
                </a:ext>
              </a:extLst>
            </p:cNvPr>
            <p:cNvSpPr/>
            <p:nvPr/>
          </p:nvSpPr>
          <p:spPr>
            <a:xfrm>
              <a:off x="2786550" y="4415662"/>
              <a:ext cx="50877" cy="5087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407">
                <a:lnSpc>
                  <a:spcPct val="96000"/>
                </a:lnSpc>
                <a:defRPr/>
              </a:pPr>
              <a:endParaRPr lang="en-US" sz="1463" err="1">
                <a:solidFill>
                  <a:srgbClr val="F7F8FA"/>
                </a:solidFill>
                <a:latin typeface="Calibri"/>
                <a:cs typeface="Microsoft Sans Serif" panose="020B0604020202020204" pitchFamily="34" charset="0"/>
              </a:endParaRPr>
            </a:p>
          </p:txBody>
        </p:sp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1EB49B4B-3477-4850-A883-3A919600C1B6}"/>
                </a:ext>
              </a:extLst>
            </p:cNvPr>
            <p:cNvSpPr/>
            <p:nvPr/>
          </p:nvSpPr>
          <p:spPr>
            <a:xfrm>
              <a:off x="3896472" y="4415662"/>
              <a:ext cx="50877" cy="5087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407">
                <a:lnSpc>
                  <a:spcPct val="96000"/>
                </a:lnSpc>
                <a:defRPr/>
              </a:pPr>
              <a:endParaRPr lang="en-US" sz="1463" err="1">
                <a:solidFill>
                  <a:srgbClr val="F7F8FA"/>
                </a:solidFill>
                <a:latin typeface="Calibri"/>
                <a:cs typeface="Microsoft Sans Serif" panose="020B0604020202020204" pitchFamily="34" charset="0"/>
              </a:endParaRPr>
            </a:p>
          </p:txBody>
        </p:sp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B381488D-A151-40A1-A381-C6D14898A814}"/>
                </a:ext>
              </a:extLst>
            </p:cNvPr>
            <p:cNvSpPr/>
            <p:nvPr/>
          </p:nvSpPr>
          <p:spPr>
            <a:xfrm>
              <a:off x="5006394" y="4415662"/>
              <a:ext cx="50877" cy="5087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407">
                <a:lnSpc>
                  <a:spcPct val="96000"/>
                </a:lnSpc>
                <a:defRPr/>
              </a:pPr>
              <a:endParaRPr lang="en-US" sz="1463" err="1">
                <a:solidFill>
                  <a:srgbClr val="F7F8FA"/>
                </a:solidFill>
                <a:latin typeface="Calibri"/>
                <a:cs typeface="Microsoft Sans Serif" panose="020B0604020202020204" pitchFamily="34" charset="0"/>
              </a:endParaRPr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E42AA5CD-A25B-4541-9FC6-AB7993029DE4}"/>
                </a:ext>
              </a:extLst>
            </p:cNvPr>
            <p:cNvSpPr/>
            <p:nvPr/>
          </p:nvSpPr>
          <p:spPr>
            <a:xfrm>
              <a:off x="6116316" y="4415662"/>
              <a:ext cx="50877" cy="5087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407">
                <a:lnSpc>
                  <a:spcPct val="96000"/>
                </a:lnSpc>
                <a:defRPr/>
              </a:pPr>
              <a:endParaRPr lang="en-US" sz="1463" err="1">
                <a:solidFill>
                  <a:srgbClr val="F7F8FA"/>
                </a:solidFill>
                <a:latin typeface="Calibri"/>
                <a:cs typeface="Microsoft Sans Serif" panose="020B0604020202020204" pitchFamily="34" charset="0"/>
              </a:endParaRPr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FBC440B0-8354-486E-B745-5E3ABEAAC9EB}"/>
                </a:ext>
              </a:extLst>
            </p:cNvPr>
            <p:cNvSpPr/>
            <p:nvPr/>
          </p:nvSpPr>
          <p:spPr>
            <a:xfrm>
              <a:off x="7226238" y="4415662"/>
              <a:ext cx="50877" cy="5087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407">
                <a:lnSpc>
                  <a:spcPct val="96000"/>
                </a:lnSpc>
                <a:defRPr/>
              </a:pPr>
              <a:endParaRPr lang="en-US" sz="1463" err="1">
                <a:solidFill>
                  <a:srgbClr val="F7F8FA"/>
                </a:solidFill>
                <a:latin typeface="Calibri"/>
                <a:cs typeface="Microsoft Sans Serif" panose="020B0604020202020204" pitchFamily="34" charset="0"/>
              </a:endParaRPr>
            </a:p>
          </p:txBody>
        </p:sp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A872708B-D586-47E3-A871-CABA38AA37E1}"/>
                </a:ext>
              </a:extLst>
            </p:cNvPr>
            <p:cNvSpPr/>
            <p:nvPr/>
          </p:nvSpPr>
          <p:spPr>
            <a:xfrm>
              <a:off x="8336160" y="4415662"/>
              <a:ext cx="50877" cy="5087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407">
                <a:lnSpc>
                  <a:spcPct val="96000"/>
                </a:lnSpc>
                <a:defRPr/>
              </a:pPr>
              <a:endParaRPr lang="en-US" sz="1463" err="1">
                <a:solidFill>
                  <a:srgbClr val="F7F8FA"/>
                </a:solidFill>
                <a:latin typeface="Calibri"/>
                <a:cs typeface="Microsoft Sans Serif" panose="020B0604020202020204" pitchFamily="34" charset="0"/>
              </a:endParaRPr>
            </a:p>
          </p:txBody>
        </p:sp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671535A4-C4C3-4F3B-B467-81EFC0B00735}"/>
                </a:ext>
              </a:extLst>
            </p:cNvPr>
            <p:cNvSpPr/>
            <p:nvPr/>
          </p:nvSpPr>
          <p:spPr>
            <a:xfrm>
              <a:off x="9446082" y="4415662"/>
              <a:ext cx="50877" cy="5087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407">
                <a:lnSpc>
                  <a:spcPct val="96000"/>
                </a:lnSpc>
                <a:defRPr/>
              </a:pPr>
              <a:endParaRPr lang="en-US" sz="1463" err="1">
                <a:solidFill>
                  <a:srgbClr val="F7F8FA"/>
                </a:solidFill>
                <a:latin typeface="Calibri"/>
                <a:cs typeface="Microsoft Sans Serif" panose="020B0604020202020204" pitchFamily="34" charset="0"/>
              </a:endParaRPr>
            </a:p>
          </p:txBody>
        </p:sp>
        <p:sp>
          <p:nvSpPr>
            <p:cNvPr id="144" name="Oval 143">
              <a:extLst>
                <a:ext uri="{FF2B5EF4-FFF2-40B4-BE49-F238E27FC236}">
                  <a16:creationId xmlns:a16="http://schemas.microsoft.com/office/drawing/2014/main" id="{1DDD70EF-64D7-413A-801B-1936181090DA}"/>
                </a:ext>
              </a:extLst>
            </p:cNvPr>
            <p:cNvSpPr/>
            <p:nvPr/>
          </p:nvSpPr>
          <p:spPr>
            <a:xfrm>
              <a:off x="10556004" y="4415662"/>
              <a:ext cx="50877" cy="5087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3407">
                <a:lnSpc>
                  <a:spcPct val="96000"/>
                </a:lnSpc>
                <a:defRPr/>
              </a:pPr>
              <a:endParaRPr lang="en-US" sz="1463" err="1">
                <a:solidFill>
                  <a:srgbClr val="F7F8FA"/>
                </a:solidFill>
                <a:latin typeface="Calibri"/>
                <a:cs typeface="Microsoft Sans Serif" panose="020B0604020202020204" pitchFamily="34" charset="0"/>
              </a:endParaRP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F018C97A-FDAB-47B0-B947-C7335AB8EE73}"/>
              </a:ext>
            </a:extLst>
          </p:cNvPr>
          <p:cNvGrpSpPr/>
          <p:nvPr/>
        </p:nvGrpSpPr>
        <p:grpSpPr>
          <a:xfrm>
            <a:off x="1521743" y="3907191"/>
            <a:ext cx="422856" cy="457487"/>
            <a:chOff x="469900" y="3853669"/>
            <a:chExt cx="520091" cy="562685"/>
          </a:xfrm>
        </p:grpSpPr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8476220F-1930-43DE-A5DF-A27C63E4B0CC}"/>
                </a:ext>
              </a:extLst>
            </p:cNvPr>
            <p:cNvGrpSpPr/>
            <p:nvPr/>
          </p:nvGrpSpPr>
          <p:grpSpPr>
            <a:xfrm>
              <a:off x="469900" y="3853669"/>
              <a:ext cx="520091" cy="562685"/>
              <a:chOff x="-2576697" y="-685598"/>
              <a:chExt cx="2162174" cy="2339250"/>
            </a:xfrm>
          </p:grpSpPr>
          <p:sp>
            <p:nvSpPr>
              <p:cNvPr id="148" name="Oval 147">
                <a:extLst>
                  <a:ext uri="{FF2B5EF4-FFF2-40B4-BE49-F238E27FC236}">
                    <a16:creationId xmlns:a16="http://schemas.microsoft.com/office/drawing/2014/main" id="{84AF4193-5E7B-4A4B-8F40-94F0D602B62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2469073" y="-245540"/>
                <a:ext cx="1899192" cy="189919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127000" dist="12700" dir="7440000" sx="98000" sy="98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3407">
                  <a:lnSpc>
                    <a:spcPct val="96000"/>
                  </a:lnSpc>
                </a:pPr>
                <a:endParaRPr lang="en-US" sz="1463" err="1">
                  <a:solidFill>
                    <a:srgbClr val="F7F8FA"/>
                  </a:solidFill>
                  <a:latin typeface="Calibri"/>
                  <a:cs typeface="Microsoft Sans Serif" panose="020B0604020202020204" pitchFamily="34" charset="0"/>
                </a:endParaRPr>
              </a:p>
            </p:txBody>
          </p:sp>
          <p:sp>
            <p:nvSpPr>
              <p:cNvPr id="149" name="Oval 148">
                <a:extLst>
                  <a:ext uri="{FF2B5EF4-FFF2-40B4-BE49-F238E27FC236}">
                    <a16:creationId xmlns:a16="http://schemas.microsoft.com/office/drawing/2014/main" id="{A0B2ED7F-5265-4C30-BD3C-319ECF2C37BF}"/>
                  </a:ext>
                </a:extLst>
              </p:cNvPr>
              <p:cNvSpPr/>
              <p:nvPr/>
            </p:nvSpPr>
            <p:spPr bwMode="gray">
              <a:xfrm>
                <a:off x="-2576697" y="-685598"/>
                <a:ext cx="2162174" cy="2162162"/>
              </a:xfrm>
              <a:prstGeom prst="ellipse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3407">
                  <a:defRPr/>
                </a:pPr>
                <a:endParaRPr lang="en-US" sz="4878" b="1" spc="-103">
                  <a:solidFill>
                    <a:srgbClr val="3253DC"/>
                  </a:solidFill>
                  <a:effectLst>
                    <a:innerShdw blurRad="63500" dist="25400" dir="18900000">
                      <a:prstClr val="black">
                        <a:alpha val="35000"/>
                      </a:prstClr>
                    </a:innerShdw>
                  </a:effectLst>
                  <a:latin typeface="Calibri"/>
                </a:endParaRPr>
              </a:p>
            </p:txBody>
          </p:sp>
        </p:grpSp>
        <p:pic>
          <p:nvPicPr>
            <p:cNvPr id="147" name="Picture 146">
              <a:extLst>
                <a:ext uri="{FF2B5EF4-FFF2-40B4-BE49-F238E27FC236}">
                  <a16:creationId xmlns:a16="http://schemas.microsoft.com/office/drawing/2014/main" id="{4AF9B573-92B2-477D-BF3D-FC9D148204B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46041" y="4067215"/>
              <a:ext cx="367809" cy="221408"/>
            </a:xfrm>
            <a:prstGeom prst="rect">
              <a:avLst/>
            </a:prstGeom>
          </p:spPr>
        </p:pic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96262800-C921-4C63-AC64-568E32BBA1E4}"/>
              </a:ext>
            </a:extLst>
          </p:cNvPr>
          <p:cNvGrpSpPr/>
          <p:nvPr/>
        </p:nvGrpSpPr>
        <p:grpSpPr>
          <a:xfrm>
            <a:off x="5268169" y="2508889"/>
            <a:ext cx="658003" cy="690733"/>
            <a:chOff x="5077810" y="2133830"/>
            <a:chExt cx="809309" cy="849565"/>
          </a:xfrm>
        </p:grpSpPr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5A208086-9DC1-43D5-8E12-625E90BEABC1}"/>
                </a:ext>
              </a:extLst>
            </p:cNvPr>
            <p:cNvGrpSpPr/>
            <p:nvPr/>
          </p:nvGrpSpPr>
          <p:grpSpPr>
            <a:xfrm>
              <a:off x="5077810" y="2133830"/>
              <a:ext cx="809309" cy="849565"/>
              <a:chOff x="-2783389" y="-685598"/>
              <a:chExt cx="2527825" cy="2653566"/>
            </a:xfrm>
          </p:grpSpPr>
          <p:sp>
            <p:nvSpPr>
              <p:cNvPr id="153" name="Oval 152">
                <a:extLst>
                  <a:ext uri="{FF2B5EF4-FFF2-40B4-BE49-F238E27FC236}">
                    <a16:creationId xmlns:a16="http://schemas.microsoft.com/office/drawing/2014/main" id="{C100937B-AA26-45C9-AA61-CF9CFA5F9CA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2783389" y="-559856"/>
                <a:ext cx="2527825" cy="252782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203200" dist="25400" dir="7440000" sx="98000" sy="98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3407">
                  <a:lnSpc>
                    <a:spcPct val="96000"/>
                  </a:lnSpc>
                  <a:defRPr/>
                </a:pPr>
                <a:endParaRPr lang="en-US" sz="1463" err="1">
                  <a:solidFill>
                    <a:srgbClr val="F7F8FA"/>
                  </a:solidFill>
                  <a:latin typeface="Calibri"/>
                  <a:cs typeface="Microsoft Sans Serif" panose="020B0604020202020204" pitchFamily="34" charset="0"/>
                </a:endParaRPr>
              </a:p>
            </p:txBody>
          </p:sp>
          <p:sp>
            <p:nvSpPr>
              <p:cNvPr id="154" name="Oval 153">
                <a:extLst>
                  <a:ext uri="{FF2B5EF4-FFF2-40B4-BE49-F238E27FC236}">
                    <a16:creationId xmlns:a16="http://schemas.microsoft.com/office/drawing/2014/main" id="{5E098635-E645-47FD-B6BE-1D22B6778379}"/>
                  </a:ext>
                </a:extLst>
              </p:cNvPr>
              <p:cNvSpPr/>
              <p:nvPr/>
            </p:nvSpPr>
            <p:spPr bwMode="gray">
              <a:xfrm>
                <a:off x="-2576697" y="-685598"/>
                <a:ext cx="2162174" cy="2162162"/>
              </a:xfrm>
              <a:prstGeom prst="ellipse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3407">
                  <a:defRPr/>
                </a:pPr>
                <a:endParaRPr lang="en-US" sz="4878" b="1" spc="-103">
                  <a:solidFill>
                    <a:srgbClr val="3253DC"/>
                  </a:solidFill>
                  <a:effectLst>
                    <a:innerShdw blurRad="63500" dist="25400" dir="18900000">
                      <a:prstClr val="black">
                        <a:alpha val="35000"/>
                      </a:prstClr>
                    </a:innerShdw>
                  </a:effectLst>
                  <a:latin typeface="Calibri"/>
                </a:endParaRPr>
              </a:p>
            </p:txBody>
          </p:sp>
        </p:grpSp>
        <p:pic>
          <p:nvPicPr>
            <p:cNvPr id="152" name="Picture 151">
              <a:extLst>
                <a:ext uri="{FF2B5EF4-FFF2-40B4-BE49-F238E27FC236}">
                  <a16:creationId xmlns:a16="http://schemas.microsoft.com/office/drawing/2014/main" id="{D0EF36FD-4955-4E94-A5E2-15EEA5D54F9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154709" y="2375091"/>
              <a:ext cx="681517" cy="38238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75900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accel="13333" decel="86667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4216E-7 3.7037E-6 L -0.25005 3.7037E-6 " pathEditMode="relative" rAng="0" ptsTypes="AA">
                                      <p:cBhvr>
                                        <p:cTn id="9" dur="750" spd="-100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503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23" presetClass="entr" presetSubtype="28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5" presetClass="path" presetSubtype="0" accel="13333" decel="86667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3.39403E-6 1.85185E-6 L -0.10894 1.85185E-6 " pathEditMode="relative" rAng="0" ptsTypes="AA">
                                      <p:cBhvr>
                                        <p:cTn id="18" dur="750" spd="-1000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452" y="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5" presetClass="path" presetSubtype="0" accel="13333" decel="86667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2.54499E-6 3.33333E-6 L -0.04722 3.33333E-6 " pathEditMode="relative" rAng="0" ptsTypes="AA">
                                      <p:cBhvr>
                                        <p:cTn id="26" dur="750" spd="-100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361" y="0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5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5" presetClass="path" presetSubtype="0" accel="13333" decel="86667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2.28245E-6 -1.11111E-6 L -0.07061 -1.11111E-6 " pathEditMode="relative" rAng="0" ptsTypes="AA">
                                      <p:cBhvr>
                                        <p:cTn id="34" dur="750" spd="-100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36" y="0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5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accel="13333" decel="86667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7997E-7 -7.40741E-7 L -0.07061 -7.40741E-7 " pathEditMode="relative" rAng="0" ptsTypes="AA">
                                      <p:cBhvr>
                                        <p:cTn id="39" dur="750" spd="-1000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36" y="0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23" presetClass="entr" presetSubtype="288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75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35" presetClass="path" presetSubtype="0" accel="13333" decel="86667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animMotion origin="layout" path="M -2.82659E-6 -1.11111E-6 L -0.07061 -1.11111E-6 " pathEditMode="relative" rAng="0" ptsTypes="AA">
                                      <p:cBhvr>
                                        <p:cTn id="51" dur="750" spd="-1000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36" y="0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75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35" presetClass="path" presetSubtype="0" accel="13333" decel="86667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-2.07707E-6 -1.48148E-6 L -0.07061 -1.48148E-6 " pathEditMode="relative" rAng="0" ptsTypes="AA">
                                      <p:cBhvr>
                                        <p:cTn id="56" dur="750" spd="-1000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36" y="0"/>
                                    </p:animMotion>
                                  </p:childTnLst>
                                </p:cTn>
                              </p:par>
                              <p:par>
                                <p:cTn id="5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4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1" fill="hold" nodeType="withEffect">
                                  <p:stCondLst>
                                    <p:cond delay="37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2" dur="75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6" grpId="0"/>
      <p:bldP spid="97" grpId="0"/>
      <p:bldP spid="9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012BD-7C63-43CF-9A4E-8C639A2A58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5479" y="262449"/>
            <a:ext cx="9541042" cy="1077739"/>
          </a:xfrm>
        </p:spPr>
        <p:txBody>
          <a:bodyPr>
            <a:normAutofit/>
          </a:bodyPr>
          <a:lstStyle/>
          <a:p>
            <a:r>
              <a:rPr lang="en-US" sz="4800">
                <a:latin typeface="+mj-lt"/>
              </a:rPr>
              <a:t>3GPP RAN Rel-18 and Rel-19 Timelin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A3A609-C784-487B-B1C0-106949743FFB}"/>
              </a:ext>
            </a:extLst>
          </p:cNvPr>
          <p:cNvCxnSpPr>
            <a:cxnSpLocks/>
          </p:cNvCxnSpPr>
          <p:nvPr/>
        </p:nvCxnSpPr>
        <p:spPr bwMode="auto">
          <a:xfrm>
            <a:off x="5322839" y="2479093"/>
            <a:ext cx="13305" cy="972126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stealth" w="med" len="med"/>
            <a:tailEnd type="none" w="med" len="med"/>
          </a:ln>
          <a:effectLst/>
        </p:spPr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2C84FB3-49D4-4661-BE34-A8462B7C1D07}"/>
              </a:ext>
            </a:extLst>
          </p:cNvPr>
          <p:cNvCxnSpPr>
            <a:cxnSpLocks/>
          </p:cNvCxnSpPr>
          <p:nvPr/>
        </p:nvCxnSpPr>
        <p:spPr bwMode="auto">
          <a:xfrm>
            <a:off x="6992706" y="2479094"/>
            <a:ext cx="43403" cy="244631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" name="Star: 5 Points 6">
            <a:extLst>
              <a:ext uri="{FF2B5EF4-FFF2-40B4-BE49-F238E27FC236}">
                <a16:creationId xmlns:a16="http://schemas.microsoft.com/office/drawing/2014/main" id="{75DDFF2D-3C36-461B-B9FC-71DBC6335EB9}"/>
              </a:ext>
            </a:extLst>
          </p:cNvPr>
          <p:cNvSpPr/>
          <p:nvPr/>
        </p:nvSpPr>
        <p:spPr bwMode="auto">
          <a:xfrm>
            <a:off x="6770243" y="4925411"/>
            <a:ext cx="617928" cy="401412"/>
          </a:xfrm>
          <a:prstGeom prst="star5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345" tIns="37172" rIns="74345" bIns="37172" numCol="1" rtlCol="0" anchor="t" anchorCtr="0" compatLnSpc="1">
            <a:prstTxWarp prst="textNoShape">
              <a:avLst/>
            </a:prstTxWarp>
          </a:bodyPr>
          <a:lstStyle/>
          <a:p>
            <a:pPr defTabSz="74340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813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A45DE8E-063B-454C-9DDA-45F7C146B2DC}"/>
              </a:ext>
            </a:extLst>
          </p:cNvPr>
          <p:cNvSpPr txBox="1"/>
          <p:nvPr/>
        </p:nvSpPr>
        <p:spPr>
          <a:xfrm>
            <a:off x="6623413" y="5325772"/>
            <a:ext cx="1340107" cy="317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43407"/>
            <a:r>
              <a:rPr lang="en-US" sz="1463" b="1">
                <a:solidFill>
                  <a:prstClr val="black"/>
                </a:solidFill>
                <a:latin typeface="Calibri"/>
              </a:rPr>
              <a:t>We are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911C8C2-97BC-42C4-BAC3-48D2DAB10772}"/>
              </a:ext>
            </a:extLst>
          </p:cNvPr>
          <p:cNvSpPr/>
          <p:nvPr/>
        </p:nvSpPr>
        <p:spPr bwMode="auto">
          <a:xfrm>
            <a:off x="857449" y="2694743"/>
            <a:ext cx="4446183" cy="29982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345" tIns="37172" rIns="74345" bIns="37172" numCol="1" rtlCol="0" anchor="t" anchorCtr="0" compatLnSpc="1">
            <a:prstTxWarp prst="textNoShape">
              <a:avLst/>
            </a:prstTxWarp>
          </a:bodyPr>
          <a:lstStyle/>
          <a:p>
            <a:pPr algn="ctr" defTabSz="743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1" b="1">
                <a:solidFill>
                  <a:prstClr val="black"/>
                </a:solidFill>
                <a:latin typeface="Calibri"/>
              </a:rPr>
              <a:t>R18 RAN1</a:t>
            </a:r>
            <a:endParaRPr lang="en-US" sz="1463" b="1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39D275-EEED-4590-89B0-EB2574F4181C}"/>
              </a:ext>
            </a:extLst>
          </p:cNvPr>
          <p:cNvSpPr/>
          <p:nvPr/>
        </p:nvSpPr>
        <p:spPr bwMode="auto">
          <a:xfrm>
            <a:off x="1530999" y="3498929"/>
            <a:ext cx="4545594" cy="28762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345" tIns="37172" rIns="74345" bIns="37172" numCol="1" rtlCol="0" anchor="t" anchorCtr="0" compatLnSpc="1">
            <a:prstTxWarp prst="textNoShape">
              <a:avLst/>
            </a:prstTxWarp>
          </a:bodyPr>
          <a:lstStyle/>
          <a:p>
            <a:pPr algn="ctr" defTabSz="743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1" b="1">
                <a:solidFill>
                  <a:prstClr val="black"/>
                </a:solidFill>
                <a:latin typeface="Calibri"/>
              </a:rPr>
              <a:t>R18 RAN2/3/4</a:t>
            </a:r>
            <a:endParaRPr lang="en-US" sz="1463" b="1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D3D95F7-682B-41D2-9273-540E5854A95A}"/>
              </a:ext>
            </a:extLst>
          </p:cNvPr>
          <p:cNvCxnSpPr>
            <a:cxnSpLocks/>
          </p:cNvCxnSpPr>
          <p:nvPr/>
        </p:nvCxnSpPr>
        <p:spPr bwMode="auto">
          <a:xfrm>
            <a:off x="6074467" y="2464544"/>
            <a:ext cx="26242" cy="1483789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60742EC-D527-4130-B3F8-7FCE481D9ABD}"/>
              </a:ext>
            </a:extLst>
          </p:cNvPr>
          <p:cNvSpPr txBox="1"/>
          <p:nvPr/>
        </p:nvSpPr>
        <p:spPr>
          <a:xfrm>
            <a:off x="4896646" y="3036963"/>
            <a:ext cx="878995" cy="39267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743407"/>
            <a:r>
              <a:rPr lang="en-US" sz="976" b="1" i="1">
                <a:solidFill>
                  <a:prstClr val="black"/>
                </a:solidFill>
                <a:latin typeface="Calibri"/>
              </a:rPr>
              <a:t>R18 RAN1 </a:t>
            </a:r>
            <a:r>
              <a:rPr lang="en-US" sz="976" b="1" i="1" err="1">
                <a:solidFill>
                  <a:prstClr val="black"/>
                </a:solidFill>
                <a:latin typeface="Calibri"/>
              </a:rPr>
              <a:t>Func</a:t>
            </a:r>
            <a:r>
              <a:rPr lang="en-US" sz="976" b="1" i="1">
                <a:solidFill>
                  <a:prstClr val="black"/>
                </a:solidFill>
                <a:latin typeface="Calibri"/>
              </a:rPr>
              <a:t>. Freez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722467-7CA6-4716-99BA-DDA53874EDEA}"/>
              </a:ext>
            </a:extLst>
          </p:cNvPr>
          <p:cNvSpPr txBox="1"/>
          <p:nvPr/>
        </p:nvSpPr>
        <p:spPr>
          <a:xfrm>
            <a:off x="5658928" y="3933910"/>
            <a:ext cx="964485" cy="3926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defTabSz="743407"/>
            <a:r>
              <a:rPr lang="en-US" sz="976" b="1" i="1">
                <a:solidFill>
                  <a:prstClr val="black"/>
                </a:solidFill>
                <a:latin typeface="Calibri"/>
              </a:rPr>
              <a:t>R18 RAN2/3/4 </a:t>
            </a:r>
            <a:r>
              <a:rPr lang="en-US" sz="976" b="1" i="1" err="1">
                <a:solidFill>
                  <a:prstClr val="black"/>
                </a:solidFill>
                <a:latin typeface="Calibri"/>
              </a:rPr>
              <a:t>Func</a:t>
            </a:r>
            <a:r>
              <a:rPr lang="en-US" sz="976" b="1" i="1">
                <a:solidFill>
                  <a:prstClr val="black"/>
                </a:solidFill>
                <a:latin typeface="Calibri"/>
              </a:rPr>
              <a:t>. Freez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12FBD98-59E0-4867-8B4B-9AD30D5C294C}"/>
              </a:ext>
            </a:extLst>
          </p:cNvPr>
          <p:cNvSpPr/>
          <p:nvPr/>
        </p:nvSpPr>
        <p:spPr bwMode="auto">
          <a:xfrm>
            <a:off x="5349081" y="2694659"/>
            <a:ext cx="719276" cy="299913"/>
          </a:xfrm>
          <a:prstGeom prst="rect">
            <a:avLst/>
          </a:prstGeom>
          <a:pattFill prst="pct70">
            <a:fgClr>
              <a:srgbClr val="FFC000"/>
            </a:fgClr>
            <a:bgClr>
              <a:schemeClr val="bg1"/>
            </a:bgClr>
          </a:patt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345" tIns="37172" rIns="74345" bIns="37172" numCol="1" rtlCol="0" anchor="t" anchorCtr="0" compatLnSpc="1">
            <a:prstTxWarp prst="textNoShape">
              <a:avLst/>
            </a:prstTxWarp>
          </a:bodyPr>
          <a:lstStyle/>
          <a:p>
            <a:pPr defTabSz="743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76" b="1">
                <a:solidFill>
                  <a:srgbClr val="FF0000"/>
                </a:solidFill>
                <a:latin typeface="Calibri"/>
              </a:rPr>
              <a:t>R18 </a:t>
            </a:r>
            <a:r>
              <a:rPr lang="en-US" sz="976" b="1" err="1">
                <a:solidFill>
                  <a:srgbClr val="FF0000"/>
                </a:solidFill>
                <a:latin typeface="Calibri"/>
              </a:rPr>
              <a:t>Maint</a:t>
            </a:r>
            <a:endParaRPr lang="en-US" sz="976" b="1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8970E86-936C-47D6-96B5-869C1EC8EA47}"/>
              </a:ext>
            </a:extLst>
          </p:cNvPr>
          <p:cNvSpPr/>
          <p:nvPr/>
        </p:nvSpPr>
        <p:spPr bwMode="auto">
          <a:xfrm>
            <a:off x="6102724" y="3501384"/>
            <a:ext cx="744897" cy="287347"/>
          </a:xfrm>
          <a:prstGeom prst="rect">
            <a:avLst/>
          </a:prstGeom>
          <a:pattFill prst="pct70">
            <a:fgClr>
              <a:srgbClr val="FFC000"/>
            </a:fgClr>
            <a:bgClr>
              <a:schemeClr val="bg1"/>
            </a:bgClr>
          </a:patt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345" tIns="37172" rIns="74345" bIns="37172" numCol="1" rtlCol="0" anchor="t" anchorCtr="0" compatLnSpc="1">
            <a:prstTxWarp prst="textNoShape">
              <a:avLst/>
            </a:prstTxWarp>
          </a:bodyPr>
          <a:lstStyle/>
          <a:p>
            <a:pPr defTabSz="743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976" b="1">
                <a:solidFill>
                  <a:srgbClr val="FF0000"/>
                </a:solidFill>
                <a:latin typeface="Calibri"/>
              </a:rPr>
              <a:t>R18 </a:t>
            </a:r>
            <a:r>
              <a:rPr lang="en-US" sz="976" b="1" err="1">
                <a:solidFill>
                  <a:srgbClr val="FF0000"/>
                </a:solidFill>
                <a:latin typeface="Calibri"/>
              </a:rPr>
              <a:t>Maint</a:t>
            </a:r>
            <a:endParaRPr lang="en-US" sz="976" b="1">
              <a:solidFill>
                <a:srgbClr val="FF0000"/>
              </a:solidFill>
              <a:latin typeface="Calibri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64B9395-A8BF-4167-8BAE-B2925AE9A3D5}"/>
              </a:ext>
            </a:extLst>
          </p:cNvPr>
          <p:cNvGrpSpPr/>
          <p:nvPr/>
        </p:nvGrpSpPr>
        <p:grpSpPr>
          <a:xfrm>
            <a:off x="79235" y="1918061"/>
            <a:ext cx="3006129" cy="546613"/>
            <a:chOff x="1624841" y="1587114"/>
            <a:chExt cx="3896235" cy="701898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21DA3E3-6532-42C7-A78A-F84A6E772A3F}"/>
                </a:ext>
              </a:extLst>
            </p:cNvPr>
            <p:cNvSpPr/>
            <p:nvPr/>
          </p:nvSpPr>
          <p:spPr bwMode="auto">
            <a:xfrm>
              <a:off x="1624841" y="1587114"/>
              <a:ext cx="3896235" cy="363819"/>
            </a:xfrm>
            <a:prstGeom prst="rect">
              <a:avLst/>
            </a:prstGeom>
            <a:solidFill>
              <a:srgbClr val="CC00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4345" tIns="37172" rIns="74345" bIns="37172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74340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26" b="1">
                  <a:solidFill>
                    <a:prstClr val="white"/>
                  </a:solidFill>
                  <a:latin typeface="Calibri"/>
                </a:rPr>
                <a:t>2022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08240298-726A-4C0E-B825-6D14CF115374}"/>
                </a:ext>
              </a:extLst>
            </p:cNvPr>
            <p:cNvSpPr/>
            <p:nvPr/>
          </p:nvSpPr>
          <p:spPr bwMode="auto">
            <a:xfrm>
              <a:off x="1624841" y="1950933"/>
              <a:ext cx="1026513" cy="33807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4345" tIns="37172" rIns="74345" bIns="37172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74340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01">
                  <a:solidFill>
                    <a:prstClr val="black"/>
                  </a:solidFill>
                  <a:latin typeface="Calibri"/>
                </a:rPr>
                <a:t>Q1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A73AA060-147C-4F5E-A824-79D738DF3262}"/>
                </a:ext>
              </a:extLst>
            </p:cNvPr>
            <p:cNvSpPr/>
            <p:nvPr/>
          </p:nvSpPr>
          <p:spPr bwMode="auto">
            <a:xfrm>
              <a:off x="2651355" y="1946998"/>
              <a:ext cx="911521" cy="33807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4345" tIns="37172" rIns="74345" bIns="37172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74340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01">
                  <a:solidFill>
                    <a:prstClr val="black"/>
                  </a:solidFill>
                  <a:latin typeface="Calibri"/>
                </a:rPr>
                <a:t>Q2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4A88FF1-F008-4F19-ADB9-9C47506235FF}"/>
                </a:ext>
              </a:extLst>
            </p:cNvPr>
            <p:cNvSpPr/>
            <p:nvPr/>
          </p:nvSpPr>
          <p:spPr bwMode="auto">
            <a:xfrm>
              <a:off x="3559579" y="1950930"/>
              <a:ext cx="952930" cy="33807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4345" tIns="37172" rIns="74345" bIns="37172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74340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01">
                  <a:solidFill>
                    <a:prstClr val="black"/>
                  </a:solidFill>
                  <a:latin typeface="Calibri"/>
                </a:rPr>
                <a:t>Q3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B2E97F9E-3189-423A-A80C-C27FD44E7E39}"/>
                </a:ext>
              </a:extLst>
            </p:cNvPr>
            <p:cNvSpPr/>
            <p:nvPr/>
          </p:nvSpPr>
          <p:spPr bwMode="auto">
            <a:xfrm>
              <a:off x="4518544" y="1950932"/>
              <a:ext cx="1002517" cy="338077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4345" tIns="37172" rIns="74345" bIns="37172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74340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01">
                  <a:solidFill>
                    <a:prstClr val="black"/>
                  </a:solidFill>
                  <a:latin typeface="Calibri"/>
                </a:rPr>
                <a:t>Q4</a:t>
              </a:r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3FD1DFBC-B784-4FB9-921E-FB1683C2892B}"/>
              </a:ext>
            </a:extLst>
          </p:cNvPr>
          <p:cNvSpPr/>
          <p:nvPr/>
        </p:nvSpPr>
        <p:spPr bwMode="auto">
          <a:xfrm>
            <a:off x="3066730" y="1920995"/>
            <a:ext cx="3006129" cy="283330"/>
          </a:xfrm>
          <a:prstGeom prst="rect">
            <a:avLst/>
          </a:prstGeom>
          <a:solidFill>
            <a:srgbClr val="CC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345" tIns="37172" rIns="74345" bIns="37172" numCol="1" rtlCol="0" anchor="t" anchorCtr="0" compatLnSpc="1">
            <a:prstTxWarp prst="textNoShape">
              <a:avLst/>
            </a:prstTxWarp>
          </a:bodyPr>
          <a:lstStyle/>
          <a:p>
            <a:pPr algn="ctr" defTabSz="743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626" b="1">
                <a:solidFill>
                  <a:prstClr val="white"/>
                </a:solidFill>
                <a:latin typeface="Calibri"/>
              </a:rPr>
              <a:t>2023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F5F82CF-7EE8-4484-9242-E7FC59A33C79}"/>
              </a:ext>
            </a:extLst>
          </p:cNvPr>
          <p:cNvSpPr/>
          <p:nvPr/>
        </p:nvSpPr>
        <p:spPr bwMode="auto">
          <a:xfrm>
            <a:off x="3066731" y="2196585"/>
            <a:ext cx="792003" cy="26328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345" tIns="37172" rIns="74345" bIns="37172" numCol="1" rtlCol="0" anchor="t" anchorCtr="0" compatLnSpc="1">
            <a:prstTxWarp prst="textNoShape">
              <a:avLst/>
            </a:prstTxWarp>
          </a:bodyPr>
          <a:lstStyle/>
          <a:p>
            <a:pPr algn="ctr" defTabSz="743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1">
                <a:solidFill>
                  <a:prstClr val="black"/>
                </a:solidFill>
                <a:latin typeface="Calibri"/>
              </a:rPr>
              <a:t>Q1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4CD5473-E285-451C-B976-CABA36B7EE74}"/>
              </a:ext>
            </a:extLst>
          </p:cNvPr>
          <p:cNvSpPr/>
          <p:nvPr/>
        </p:nvSpPr>
        <p:spPr bwMode="auto">
          <a:xfrm>
            <a:off x="3858735" y="2201260"/>
            <a:ext cx="703281" cy="26328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345" tIns="37172" rIns="74345" bIns="37172" numCol="1" rtlCol="0" anchor="t" anchorCtr="0" compatLnSpc="1">
            <a:prstTxWarp prst="textNoShape">
              <a:avLst/>
            </a:prstTxWarp>
          </a:bodyPr>
          <a:lstStyle/>
          <a:p>
            <a:pPr algn="ctr" defTabSz="743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1">
                <a:solidFill>
                  <a:prstClr val="black"/>
                </a:solidFill>
                <a:latin typeface="Calibri"/>
              </a:rPr>
              <a:t>Q2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BC7E56D-3C64-43B8-8BD1-1F18601E3196}"/>
              </a:ext>
            </a:extLst>
          </p:cNvPr>
          <p:cNvSpPr/>
          <p:nvPr/>
        </p:nvSpPr>
        <p:spPr bwMode="auto">
          <a:xfrm>
            <a:off x="4559472" y="2196582"/>
            <a:ext cx="735230" cy="26328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345" tIns="37172" rIns="74345" bIns="37172" numCol="1" rtlCol="0" anchor="t" anchorCtr="0" compatLnSpc="1">
            <a:prstTxWarp prst="textNoShape">
              <a:avLst/>
            </a:prstTxWarp>
          </a:bodyPr>
          <a:lstStyle/>
          <a:p>
            <a:pPr algn="ctr" defTabSz="743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1">
                <a:solidFill>
                  <a:prstClr val="black"/>
                </a:solidFill>
                <a:latin typeface="Calibri"/>
              </a:rPr>
              <a:t>Q3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CC379C3-8E20-4241-A467-647D6C223B23}"/>
              </a:ext>
            </a:extLst>
          </p:cNvPr>
          <p:cNvSpPr/>
          <p:nvPr/>
        </p:nvSpPr>
        <p:spPr bwMode="auto">
          <a:xfrm>
            <a:off x="5299358" y="2196583"/>
            <a:ext cx="773489" cy="26328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345" tIns="37172" rIns="74345" bIns="37172" numCol="1" rtlCol="0" anchor="t" anchorCtr="0" compatLnSpc="1">
            <a:prstTxWarp prst="textNoShape">
              <a:avLst/>
            </a:prstTxWarp>
          </a:bodyPr>
          <a:lstStyle/>
          <a:p>
            <a:pPr algn="ctr" defTabSz="743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1">
                <a:solidFill>
                  <a:prstClr val="black"/>
                </a:solidFill>
                <a:latin typeface="Calibri"/>
              </a:rPr>
              <a:t>Q4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D24CC33-9E2D-437D-B824-252398D16F86}"/>
              </a:ext>
            </a:extLst>
          </p:cNvPr>
          <p:cNvSpPr/>
          <p:nvPr/>
        </p:nvSpPr>
        <p:spPr bwMode="auto">
          <a:xfrm>
            <a:off x="6072847" y="1921815"/>
            <a:ext cx="3006129" cy="283330"/>
          </a:xfrm>
          <a:prstGeom prst="rect">
            <a:avLst/>
          </a:prstGeom>
          <a:solidFill>
            <a:srgbClr val="CC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345" tIns="37172" rIns="74345" bIns="37172" numCol="1" rtlCol="0" anchor="t" anchorCtr="0" compatLnSpc="1">
            <a:prstTxWarp prst="textNoShape">
              <a:avLst/>
            </a:prstTxWarp>
          </a:bodyPr>
          <a:lstStyle/>
          <a:p>
            <a:pPr algn="ctr" defTabSz="743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626" b="1">
                <a:solidFill>
                  <a:prstClr val="white"/>
                </a:solidFill>
                <a:latin typeface="Calibri"/>
              </a:rPr>
              <a:t>2024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8DB1BB8-632F-416B-9BE4-96E1A18DB302}"/>
              </a:ext>
            </a:extLst>
          </p:cNvPr>
          <p:cNvSpPr/>
          <p:nvPr/>
        </p:nvSpPr>
        <p:spPr bwMode="auto">
          <a:xfrm>
            <a:off x="6072848" y="2197404"/>
            <a:ext cx="792003" cy="26328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345" tIns="37172" rIns="74345" bIns="37172" numCol="1" rtlCol="0" anchor="t" anchorCtr="0" compatLnSpc="1">
            <a:prstTxWarp prst="textNoShape">
              <a:avLst/>
            </a:prstTxWarp>
          </a:bodyPr>
          <a:lstStyle/>
          <a:p>
            <a:pPr algn="ctr" defTabSz="743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1">
                <a:solidFill>
                  <a:prstClr val="black"/>
                </a:solidFill>
                <a:latin typeface="Calibri"/>
              </a:rPr>
              <a:t>Q1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5456345-93CD-47B2-9E5E-1834C4B9157B}"/>
              </a:ext>
            </a:extLst>
          </p:cNvPr>
          <p:cNvSpPr/>
          <p:nvPr/>
        </p:nvSpPr>
        <p:spPr bwMode="auto">
          <a:xfrm>
            <a:off x="6864852" y="2202080"/>
            <a:ext cx="703281" cy="26328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345" tIns="37172" rIns="74345" bIns="37172" numCol="1" rtlCol="0" anchor="t" anchorCtr="0" compatLnSpc="1">
            <a:prstTxWarp prst="textNoShape">
              <a:avLst/>
            </a:prstTxWarp>
          </a:bodyPr>
          <a:lstStyle/>
          <a:p>
            <a:pPr algn="ctr" defTabSz="743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1">
                <a:solidFill>
                  <a:prstClr val="black"/>
                </a:solidFill>
                <a:latin typeface="Calibri"/>
              </a:rPr>
              <a:t>Q2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B623921-ECB5-4939-8933-3BBD7F0AD549}"/>
              </a:ext>
            </a:extLst>
          </p:cNvPr>
          <p:cNvSpPr/>
          <p:nvPr/>
        </p:nvSpPr>
        <p:spPr bwMode="auto">
          <a:xfrm>
            <a:off x="7565590" y="2197402"/>
            <a:ext cx="735230" cy="26328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345" tIns="37172" rIns="74345" bIns="37172" numCol="1" rtlCol="0" anchor="t" anchorCtr="0" compatLnSpc="1">
            <a:prstTxWarp prst="textNoShape">
              <a:avLst/>
            </a:prstTxWarp>
          </a:bodyPr>
          <a:lstStyle/>
          <a:p>
            <a:pPr algn="ctr" defTabSz="743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1">
                <a:solidFill>
                  <a:prstClr val="black"/>
                </a:solidFill>
                <a:latin typeface="Calibri"/>
              </a:rPr>
              <a:t>Q3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C7E225F-01EE-448B-A09D-A7FAD9F0B6D1}"/>
              </a:ext>
            </a:extLst>
          </p:cNvPr>
          <p:cNvSpPr/>
          <p:nvPr/>
        </p:nvSpPr>
        <p:spPr bwMode="auto">
          <a:xfrm>
            <a:off x="8305476" y="2197403"/>
            <a:ext cx="773489" cy="26328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345" tIns="37172" rIns="74345" bIns="37172" numCol="1" rtlCol="0" anchor="t" anchorCtr="0" compatLnSpc="1">
            <a:prstTxWarp prst="textNoShape">
              <a:avLst/>
            </a:prstTxWarp>
          </a:bodyPr>
          <a:lstStyle/>
          <a:p>
            <a:pPr algn="ctr" defTabSz="743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1">
                <a:solidFill>
                  <a:prstClr val="black"/>
                </a:solidFill>
                <a:latin typeface="Calibri"/>
              </a:rPr>
              <a:t>Q4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66939FE-01A6-4FFA-98AD-CE90A0E1ECB7}"/>
              </a:ext>
            </a:extLst>
          </p:cNvPr>
          <p:cNvSpPr txBox="1"/>
          <p:nvPr/>
        </p:nvSpPr>
        <p:spPr>
          <a:xfrm>
            <a:off x="7336162" y="4124665"/>
            <a:ext cx="643754" cy="617670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 defTabSz="743407"/>
            <a:r>
              <a:rPr lang="en-US" sz="1138" b="1" u="sng">
                <a:solidFill>
                  <a:prstClr val="black"/>
                </a:solidFill>
                <a:latin typeface="Calibri"/>
              </a:rPr>
              <a:t>R18 ASN.1 Freeze</a:t>
            </a:r>
            <a:endParaRPr lang="en-US" sz="1138" b="1" u="sng">
              <a:solidFill>
                <a:srgbClr val="FF0000"/>
              </a:solidFill>
              <a:latin typeface="Calibri"/>
            </a:endParaRP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46F1F09D-477C-4201-BD1E-55FAC5935B1A}"/>
              </a:ext>
            </a:extLst>
          </p:cNvPr>
          <p:cNvCxnSpPr>
            <a:cxnSpLocks/>
          </p:cNvCxnSpPr>
          <p:nvPr/>
        </p:nvCxnSpPr>
        <p:spPr bwMode="auto">
          <a:xfrm>
            <a:off x="7580724" y="2479063"/>
            <a:ext cx="14132" cy="162081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E20BA153-C29C-B230-C90A-101DBEC816BA}"/>
              </a:ext>
            </a:extLst>
          </p:cNvPr>
          <p:cNvSpPr/>
          <p:nvPr/>
        </p:nvSpPr>
        <p:spPr bwMode="auto">
          <a:xfrm>
            <a:off x="9086743" y="1922859"/>
            <a:ext cx="3006129" cy="283330"/>
          </a:xfrm>
          <a:prstGeom prst="rect">
            <a:avLst/>
          </a:prstGeom>
          <a:solidFill>
            <a:srgbClr val="CC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345" tIns="37172" rIns="74345" bIns="37172" numCol="1" rtlCol="0" anchor="t" anchorCtr="0" compatLnSpc="1">
            <a:prstTxWarp prst="textNoShape">
              <a:avLst/>
            </a:prstTxWarp>
          </a:bodyPr>
          <a:lstStyle/>
          <a:p>
            <a:pPr algn="ctr" defTabSz="743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626" b="1">
                <a:solidFill>
                  <a:prstClr val="white"/>
                </a:solidFill>
                <a:latin typeface="Calibri"/>
              </a:rPr>
              <a:t>2025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3B3F88A-10C5-AEAF-8909-80B8377558F5}"/>
              </a:ext>
            </a:extLst>
          </p:cNvPr>
          <p:cNvSpPr/>
          <p:nvPr/>
        </p:nvSpPr>
        <p:spPr bwMode="auto">
          <a:xfrm>
            <a:off x="9086744" y="2198448"/>
            <a:ext cx="792003" cy="26328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345" tIns="37172" rIns="74345" bIns="37172" numCol="1" rtlCol="0" anchor="t" anchorCtr="0" compatLnSpc="1">
            <a:prstTxWarp prst="textNoShape">
              <a:avLst/>
            </a:prstTxWarp>
          </a:bodyPr>
          <a:lstStyle/>
          <a:p>
            <a:pPr algn="ctr" defTabSz="743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1">
                <a:solidFill>
                  <a:prstClr val="black"/>
                </a:solidFill>
                <a:latin typeface="Calibri"/>
              </a:rPr>
              <a:t>Q1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0CDE9EF-504C-21F5-EF56-16D66B47DF83}"/>
              </a:ext>
            </a:extLst>
          </p:cNvPr>
          <p:cNvSpPr/>
          <p:nvPr/>
        </p:nvSpPr>
        <p:spPr bwMode="auto">
          <a:xfrm>
            <a:off x="9878748" y="2203124"/>
            <a:ext cx="703281" cy="26328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345" tIns="37172" rIns="74345" bIns="37172" numCol="1" rtlCol="0" anchor="t" anchorCtr="0" compatLnSpc="1">
            <a:prstTxWarp prst="textNoShape">
              <a:avLst/>
            </a:prstTxWarp>
          </a:bodyPr>
          <a:lstStyle/>
          <a:p>
            <a:pPr algn="ctr" defTabSz="743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1">
                <a:solidFill>
                  <a:prstClr val="black"/>
                </a:solidFill>
                <a:latin typeface="Calibri"/>
              </a:rPr>
              <a:t>Q2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C84878C-63E0-7609-825F-16EDE086E040}"/>
              </a:ext>
            </a:extLst>
          </p:cNvPr>
          <p:cNvSpPr/>
          <p:nvPr/>
        </p:nvSpPr>
        <p:spPr bwMode="auto">
          <a:xfrm>
            <a:off x="10579486" y="2198446"/>
            <a:ext cx="735230" cy="26328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345" tIns="37172" rIns="74345" bIns="37172" numCol="1" rtlCol="0" anchor="t" anchorCtr="0" compatLnSpc="1">
            <a:prstTxWarp prst="textNoShape">
              <a:avLst/>
            </a:prstTxWarp>
          </a:bodyPr>
          <a:lstStyle/>
          <a:p>
            <a:pPr algn="ctr" defTabSz="743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1">
                <a:solidFill>
                  <a:prstClr val="black"/>
                </a:solidFill>
                <a:latin typeface="Calibri"/>
              </a:rPr>
              <a:t>Q3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EED45A3-B678-331B-7874-2672B94A82A0}"/>
              </a:ext>
            </a:extLst>
          </p:cNvPr>
          <p:cNvSpPr/>
          <p:nvPr/>
        </p:nvSpPr>
        <p:spPr bwMode="auto">
          <a:xfrm>
            <a:off x="11319372" y="2198447"/>
            <a:ext cx="773489" cy="26328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345" tIns="37172" rIns="74345" bIns="37172" numCol="1" rtlCol="0" anchor="t" anchorCtr="0" compatLnSpc="1">
            <a:prstTxWarp prst="textNoShape">
              <a:avLst/>
            </a:prstTxWarp>
          </a:bodyPr>
          <a:lstStyle/>
          <a:p>
            <a:pPr algn="ctr" defTabSz="743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1">
                <a:solidFill>
                  <a:prstClr val="black"/>
                </a:solidFill>
                <a:latin typeface="Calibri"/>
              </a:rPr>
              <a:t>Q4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E73FFA7-C07E-325A-B63C-D3F844AC22D7}"/>
              </a:ext>
            </a:extLst>
          </p:cNvPr>
          <p:cNvSpPr/>
          <p:nvPr/>
        </p:nvSpPr>
        <p:spPr bwMode="auto">
          <a:xfrm>
            <a:off x="6100570" y="2688056"/>
            <a:ext cx="4446183" cy="29982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345" tIns="37172" rIns="74345" bIns="37172" numCol="1" rtlCol="0" anchor="t" anchorCtr="0" compatLnSpc="1">
            <a:prstTxWarp prst="textNoShape">
              <a:avLst/>
            </a:prstTxWarp>
          </a:bodyPr>
          <a:lstStyle/>
          <a:p>
            <a:pPr algn="ctr" defTabSz="743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1" b="1">
                <a:solidFill>
                  <a:prstClr val="black"/>
                </a:solidFill>
                <a:latin typeface="Calibri"/>
              </a:rPr>
              <a:t>R19 RAN1</a:t>
            </a:r>
            <a:endParaRPr lang="en-US" sz="1463" b="1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2465DCB-2A5E-9C08-49D2-D374A845A2E5}"/>
              </a:ext>
            </a:extLst>
          </p:cNvPr>
          <p:cNvSpPr/>
          <p:nvPr/>
        </p:nvSpPr>
        <p:spPr bwMode="auto">
          <a:xfrm>
            <a:off x="6889427" y="3498929"/>
            <a:ext cx="4545594" cy="28762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345" tIns="37172" rIns="74345" bIns="37172" numCol="1" rtlCol="0" anchor="t" anchorCtr="0" compatLnSpc="1">
            <a:prstTxWarp prst="textNoShape">
              <a:avLst/>
            </a:prstTxWarp>
          </a:bodyPr>
          <a:lstStyle/>
          <a:p>
            <a:pPr algn="ctr" defTabSz="743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1" b="1">
                <a:solidFill>
                  <a:prstClr val="black"/>
                </a:solidFill>
                <a:latin typeface="Calibri"/>
              </a:rPr>
              <a:t>R19 RAN2/3/4</a:t>
            </a:r>
            <a:endParaRPr lang="en-US" sz="1463" b="1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87E9220-186F-7F00-5FFF-8957946CAB7A}"/>
              </a:ext>
            </a:extLst>
          </p:cNvPr>
          <p:cNvSpPr txBox="1"/>
          <p:nvPr/>
        </p:nvSpPr>
        <p:spPr>
          <a:xfrm>
            <a:off x="10068105" y="3036962"/>
            <a:ext cx="878995" cy="39267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743407"/>
            <a:r>
              <a:rPr lang="en-US" sz="976" b="1" i="1">
                <a:solidFill>
                  <a:prstClr val="black"/>
                </a:solidFill>
                <a:latin typeface="Calibri"/>
              </a:rPr>
              <a:t>R19 RAN1 </a:t>
            </a:r>
            <a:r>
              <a:rPr lang="en-US" sz="976" b="1" i="1" err="1">
                <a:solidFill>
                  <a:prstClr val="black"/>
                </a:solidFill>
                <a:latin typeface="Calibri"/>
              </a:rPr>
              <a:t>Func</a:t>
            </a:r>
            <a:r>
              <a:rPr lang="en-US" sz="976" b="1" i="1">
                <a:solidFill>
                  <a:prstClr val="black"/>
                </a:solidFill>
                <a:latin typeface="Calibri"/>
              </a:rPr>
              <a:t>. Freez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E106C73-0038-EDC0-7D86-54C6A5CD7874}"/>
              </a:ext>
            </a:extLst>
          </p:cNvPr>
          <p:cNvSpPr txBox="1"/>
          <p:nvPr/>
        </p:nvSpPr>
        <p:spPr>
          <a:xfrm>
            <a:off x="10821695" y="3874173"/>
            <a:ext cx="964485" cy="3926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defTabSz="743407"/>
            <a:r>
              <a:rPr lang="en-US" sz="976" b="1" i="1">
                <a:solidFill>
                  <a:prstClr val="black"/>
                </a:solidFill>
                <a:latin typeface="Calibri"/>
              </a:rPr>
              <a:t>R19 RAN2/3/4 </a:t>
            </a:r>
            <a:r>
              <a:rPr lang="en-US" sz="976" b="1" i="1" err="1">
                <a:solidFill>
                  <a:prstClr val="black"/>
                </a:solidFill>
                <a:latin typeface="Calibri"/>
              </a:rPr>
              <a:t>Func</a:t>
            </a:r>
            <a:r>
              <a:rPr lang="en-US" sz="976" b="1" i="1">
                <a:solidFill>
                  <a:prstClr val="black"/>
                </a:solidFill>
                <a:latin typeface="Calibri"/>
              </a:rPr>
              <a:t>. Freez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EF27E99-F8B9-C3A8-A28F-595902F39918}"/>
              </a:ext>
            </a:extLst>
          </p:cNvPr>
          <p:cNvSpPr/>
          <p:nvPr/>
        </p:nvSpPr>
        <p:spPr bwMode="auto">
          <a:xfrm>
            <a:off x="11353049" y="3499205"/>
            <a:ext cx="723692" cy="287347"/>
          </a:xfrm>
          <a:prstGeom prst="rect">
            <a:avLst/>
          </a:prstGeom>
          <a:pattFill prst="pct70">
            <a:fgClr>
              <a:schemeClr val="accent1">
                <a:lumMod val="60000"/>
                <a:lumOff val="40000"/>
              </a:schemeClr>
            </a:fgClr>
            <a:bgClr>
              <a:schemeClr val="bg1"/>
            </a:bgClr>
          </a:patt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345" tIns="37172" rIns="74345" bIns="37172" numCol="1" rtlCol="0" anchor="t" anchorCtr="0" compatLnSpc="1">
            <a:prstTxWarp prst="textNoShape">
              <a:avLst/>
            </a:prstTxWarp>
          </a:bodyPr>
          <a:lstStyle/>
          <a:p>
            <a:pPr defTabSz="74340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976" b="1">
              <a:solidFill>
                <a:srgbClr val="FF0000"/>
              </a:solidFill>
              <a:latin typeface="Calibri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CEA0590-CF7D-B86E-9DD4-51564111A5FC}"/>
              </a:ext>
            </a:extLst>
          </p:cNvPr>
          <p:cNvCxnSpPr>
            <a:cxnSpLocks/>
          </p:cNvCxnSpPr>
          <p:nvPr/>
        </p:nvCxnSpPr>
        <p:spPr bwMode="auto">
          <a:xfrm>
            <a:off x="12078728" y="2479168"/>
            <a:ext cx="14132" cy="162081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22C8C8A2-B22D-259A-B575-03D58871E2EE}"/>
              </a:ext>
            </a:extLst>
          </p:cNvPr>
          <p:cNvSpPr txBox="1"/>
          <p:nvPr/>
        </p:nvSpPr>
        <p:spPr>
          <a:xfrm>
            <a:off x="11548246" y="4187601"/>
            <a:ext cx="643754" cy="617670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 defTabSz="743407"/>
            <a:r>
              <a:rPr lang="en-US" sz="1138" b="1" u="sng">
                <a:solidFill>
                  <a:prstClr val="black"/>
                </a:solidFill>
                <a:latin typeface="Calibri"/>
              </a:rPr>
              <a:t>R19 ASN.1 Freeze</a:t>
            </a:r>
            <a:endParaRPr lang="en-US" sz="1138" b="1" u="sng">
              <a:solidFill>
                <a:srgbClr val="FF0000"/>
              </a:solidFill>
              <a:latin typeface="Calibri"/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8046F7DB-B7C7-CAA9-CB26-61B6B09CD1DB}"/>
              </a:ext>
            </a:extLst>
          </p:cNvPr>
          <p:cNvCxnSpPr>
            <a:cxnSpLocks/>
          </p:cNvCxnSpPr>
          <p:nvPr/>
        </p:nvCxnSpPr>
        <p:spPr bwMode="auto">
          <a:xfrm flipH="1">
            <a:off x="10580245" y="2446740"/>
            <a:ext cx="10778" cy="541145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stealth" w="med" len="med"/>
            <a:tailEnd type="none" w="med" len="med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D1A2962F-15B8-5694-11F6-A567946C2719}"/>
              </a:ext>
            </a:extLst>
          </p:cNvPr>
          <p:cNvCxnSpPr>
            <a:cxnSpLocks/>
          </p:cNvCxnSpPr>
          <p:nvPr/>
        </p:nvCxnSpPr>
        <p:spPr bwMode="auto">
          <a:xfrm>
            <a:off x="11320761" y="2422307"/>
            <a:ext cx="26242" cy="1483789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4584200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D74E87-353B-7ED9-2DEF-9384C24E13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A01D2B-02A1-AFFA-5CA6-58EE07AA9D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75269" y="2641688"/>
            <a:ext cx="8302874" cy="1195193"/>
          </a:xfrm>
        </p:spPr>
        <p:txBody>
          <a:bodyPr/>
          <a:lstStyle/>
          <a:p>
            <a:r>
              <a:rPr lang="en-US" sz="6000"/>
              <a:t>RAN Rel-18</a:t>
            </a:r>
          </a:p>
        </p:txBody>
      </p:sp>
    </p:spTree>
    <p:extLst>
      <p:ext uri="{BB962C8B-B14F-4D97-AF65-F5344CB8AC3E}">
        <p14:creationId xmlns:p14="http://schemas.microsoft.com/office/powerpoint/2010/main" val="2853168682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5690A02-6D2B-4A74-8102-099247CC5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1625" y="361919"/>
            <a:ext cx="8549630" cy="1299182"/>
          </a:xfrm>
        </p:spPr>
        <p:txBody>
          <a:bodyPr>
            <a:normAutofit/>
          </a:bodyPr>
          <a:lstStyle/>
          <a:p>
            <a:pPr algn="ctr"/>
            <a:r>
              <a:rPr lang="en-US" sz="3600" u="sng"/>
              <a:t>RAN Rel-18</a:t>
            </a:r>
            <a:br>
              <a:rPr lang="en-US" sz="3600"/>
            </a:br>
            <a:r>
              <a:rPr lang="en-US" sz="3600" i="1"/>
              <a:t>Driving a balanced 5G evolution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81642CF-857A-4C37-8000-50537073BD8C}"/>
              </a:ext>
            </a:extLst>
          </p:cNvPr>
          <p:cNvGrpSpPr/>
          <p:nvPr/>
        </p:nvGrpSpPr>
        <p:grpSpPr>
          <a:xfrm>
            <a:off x="5917657" y="3478094"/>
            <a:ext cx="178343" cy="178342"/>
            <a:chOff x="3768725" y="1116013"/>
            <a:chExt cx="4654550" cy="4625975"/>
          </a:xfrm>
          <a:solidFill>
            <a:schemeClr val="accent5"/>
          </a:solidFill>
        </p:grpSpPr>
        <p:sp>
          <p:nvSpPr>
            <p:cNvPr id="24" name="Oval 5">
              <a:extLst>
                <a:ext uri="{FF2B5EF4-FFF2-40B4-BE49-F238E27FC236}">
                  <a16:creationId xmlns:a16="http://schemas.microsoft.com/office/drawing/2014/main" id="{0C118FB7-C80C-435B-B552-8B2B891472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3113" y="1925638"/>
              <a:ext cx="3013075" cy="2995613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74345" tIns="37172" rIns="74345" bIns="37172" numCol="1" anchor="t" anchorCtr="0" compatLnSpc="1">
              <a:prstTxWarp prst="textNoShape">
                <a:avLst/>
              </a:prstTxWarp>
            </a:bodyPr>
            <a:lstStyle/>
            <a:p>
              <a:pPr defTabSz="743407">
                <a:defRPr/>
              </a:pPr>
              <a:endParaRPr lang="en-US" sz="1463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C3FF49A4-37FD-4BA7-94D0-79B1E0C9B8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8725" y="1116013"/>
              <a:ext cx="4654550" cy="4625975"/>
            </a:xfrm>
            <a:custGeom>
              <a:avLst/>
              <a:gdLst>
                <a:gd name="T0" fmla="*/ 4000 w 8000"/>
                <a:gd name="T1" fmla="*/ 7974 h 7974"/>
                <a:gd name="T2" fmla="*/ 2443 w 8000"/>
                <a:gd name="T3" fmla="*/ 7661 h 7974"/>
                <a:gd name="T4" fmla="*/ 1172 w 8000"/>
                <a:gd name="T5" fmla="*/ 6807 h 7974"/>
                <a:gd name="T6" fmla="*/ 315 w 8000"/>
                <a:gd name="T7" fmla="*/ 5539 h 7974"/>
                <a:gd name="T8" fmla="*/ 0 w 8000"/>
                <a:gd name="T9" fmla="*/ 3987 h 7974"/>
                <a:gd name="T10" fmla="*/ 315 w 8000"/>
                <a:gd name="T11" fmla="*/ 2435 h 7974"/>
                <a:gd name="T12" fmla="*/ 1172 w 8000"/>
                <a:gd name="T13" fmla="*/ 1168 h 7974"/>
                <a:gd name="T14" fmla="*/ 2443 w 8000"/>
                <a:gd name="T15" fmla="*/ 313 h 7974"/>
                <a:gd name="T16" fmla="*/ 4000 w 8000"/>
                <a:gd name="T17" fmla="*/ 0 h 7974"/>
                <a:gd name="T18" fmla="*/ 5557 w 8000"/>
                <a:gd name="T19" fmla="*/ 313 h 7974"/>
                <a:gd name="T20" fmla="*/ 6829 w 8000"/>
                <a:gd name="T21" fmla="*/ 1168 h 7974"/>
                <a:gd name="T22" fmla="*/ 7686 w 8000"/>
                <a:gd name="T23" fmla="*/ 2435 h 7974"/>
                <a:gd name="T24" fmla="*/ 8000 w 8000"/>
                <a:gd name="T25" fmla="*/ 3987 h 7974"/>
                <a:gd name="T26" fmla="*/ 7686 w 8000"/>
                <a:gd name="T27" fmla="*/ 5539 h 7974"/>
                <a:gd name="T28" fmla="*/ 6829 w 8000"/>
                <a:gd name="T29" fmla="*/ 6807 h 7974"/>
                <a:gd name="T30" fmla="*/ 5557 w 8000"/>
                <a:gd name="T31" fmla="*/ 7661 h 7974"/>
                <a:gd name="T32" fmla="*/ 4000 w 8000"/>
                <a:gd name="T33" fmla="*/ 7974 h 7974"/>
                <a:gd name="T34" fmla="*/ 4000 w 8000"/>
                <a:gd name="T35" fmla="*/ 121 h 7974"/>
                <a:gd name="T36" fmla="*/ 122 w 8000"/>
                <a:gd name="T37" fmla="*/ 3987 h 7974"/>
                <a:gd name="T38" fmla="*/ 4000 w 8000"/>
                <a:gd name="T39" fmla="*/ 7853 h 7974"/>
                <a:gd name="T40" fmla="*/ 7879 w 8000"/>
                <a:gd name="T41" fmla="*/ 3987 h 7974"/>
                <a:gd name="T42" fmla="*/ 4000 w 8000"/>
                <a:gd name="T43" fmla="*/ 121 h 79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000" h="7974">
                  <a:moveTo>
                    <a:pt x="4000" y="7974"/>
                  </a:moveTo>
                  <a:cubicBezTo>
                    <a:pt x="3460" y="7974"/>
                    <a:pt x="2937" y="7869"/>
                    <a:pt x="2443" y="7661"/>
                  </a:cubicBezTo>
                  <a:cubicBezTo>
                    <a:pt x="1967" y="7460"/>
                    <a:pt x="1539" y="7173"/>
                    <a:pt x="1172" y="6807"/>
                  </a:cubicBezTo>
                  <a:cubicBezTo>
                    <a:pt x="805" y="6440"/>
                    <a:pt x="516" y="6014"/>
                    <a:pt x="315" y="5539"/>
                  </a:cubicBezTo>
                  <a:cubicBezTo>
                    <a:pt x="106" y="5048"/>
                    <a:pt x="0" y="4525"/>
                    <a:pt x="0" y="3987"/>
                  </a:cubicBezTo>
                  <a:cubicBezTo>
                    <a:pt x="0" y="3449"/>
                    <a:pt x="106" y="2927"/>
                    <a:pt x="315" y="2435"/>
                  </a:cubicBezTo>
                  <a:cubicBezTo>
                    <a:pt x="516" y="1960"/>
                    <a:pt x="805" y="1534"/>
                    <a:pt x="1172" y="1168"/>
                  </a:cubicBezTo>
                  <a:cubicBezTo>
                    <a:pt x="1539" y="802"/>
                    <a:pt x="1967" y="514"/>
                    <a:pt x="2443" y="313"/>
                  </a:cubicBezTo>
                  <a:cubicBezTo>
                    <a:pt x="2937" y="105"/>
                    <a:pt x="3460" y="0"/>
                    <a:pt x="4000" y="0"/>
                  </a:cubicBezTo>
                  <a:cubicBezTo>
                    <a:pt x="4540" y="0"/>
                    <a:pt x="5064" y="105"/>
                    <a:pt x="5557" y="313"/>
                  </a:cubicBezTo>
                  <a:cubicBezTo>
                    <a:pt x="6034" y="514"/>
                    <a:pt x="6461" y="802"/>
                    <a:pt x="6829" y="1168"/>
                  </a:cubicBezTo>
                  <a:cubicBezTo>
                    <a:pt x="7196" y="1534"/>
                    <a:pt x="7484" y="1960"/>
                    <a:pt x="7686" y="2435"/>
                  </a:cubicBezTo>
                  <a:cubicBezTo>
                    <a:pt x="7895" y="2927"/>
                    <a:pt x="8000" y="3449"/>
                    <a:pt x="8000" y="3987"/>
                  </a:cubicBezTo>
                  <a:cubicBezTo>
                    <a:pt x="8000" y="4525"/>
                    <a:pt x="7895" y="5048"/>
                    <a:pt x="7686" y="5539"/>
                  </a:cubicBezTo>
                  <a:cubicBezTo>
                    <a:pt x="7484" y="6014"/>
                    <a:pt x="7196" y="6440"/>
                    <a:pt x="6829" y="6807"/>
                  </a:cubicBezTo>
                  <a:cubicBezTo>
                    <a:pt x="6461" y="7173"/>
                    <a:pt x="6034" y="7460"/>
                    <a:pt x="5557" y="7661"/>
                  </a:cubicBezTo>
                  <a:cubicBezTo>
                    <a:pt x="5064" y="7869"/>
                    <a:pt x="4540" y="7974"/>
                    <a:pt x="4000" y="7974"/>
                  </a:cubicBezTo>
                  <a:close/>
                  <a:moveTo>
                    <a:pt x="4000" y="121"/>
                  </a:moveTo>
                  <a:cubicBezTo>
                    <a:pt x="1862" y="121"/>
                    <a:pt x="122" y="1856"/>
                    <a:pt x="122" y="3987"/>
                  </a:cubicBezTo>
                  <a:cubicBezTo>
                    <a:pt x="122" y="6119"/>
                    <a:pt x="1862" y="7853"/>
                    <a:pt x="4000" y="7853"/>
                  </a:cubicBezTo>
                  <a:cubicBezTo>
                    <a:pt x="6139" y="7853"/>
                    <a:pt x="7879" y="6119"/>
                    <a:pt x="7879" y="3987"/>
                  </a:cubicBezTo>
                  <a:cubicBezTo>
                    <a:pt x="7879" y="1856"/>
                    <a:pt x="6139" y="121"/>
                    <a:pt x="4000" y="121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74345" tIns="37172" rIns="74345" bIns="37172" numCol="1" anchor="t" anchorCtr="0" compatLnSpc="1">
              <a:prstTxWarp prst="textNoShape">
                <a:avLst/>
              </a:prstTxWarp>
            </a:bodyPr>
            <a:lstStyle/>
            <a:p>
              <a:pPr defTabSz="743407">
                <a:defRPr/>
              </a:pPr>
              <a:endParaRPr lang="en-US" sz="1463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26" name="Oval 7">
              <a:extLst>
                <a:ext uri="{FF2B5EF4-FFF2-40B4-BE49-F238E27FC236}">
                  <a16:creationId xmlns:a16="http://schemas.microsoft.com/office/drawing/2014/main" id="{778C6181-0CB4-4CFF-92C1-725A63A15A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6225" y="2667001"/>
              <a:ext cx="1466850" cy="1511300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74345" tIns="37172" rIns="74345" bIns="37172" numCol="1" anchor="t" anchorCtr="0" compatLnSpc="1">
              <a:prstTxWarp prst="textNoShape">
                <a:avLst/>
              </a:prstTxWarp>
            </a:bodyPr>
            <a:lstStyle/>
            <a:p>
              <a:pPr defTabSz="743407">
                <a:defRPr/>
              </a:pPr>
              <a:endParaRPr lang="en-US" sz="1463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DB63878-4FE9-4CAD-98A1-52CCB748295E}"/>
              </a:ext>
            </a:extLst>
          </p:cNvPr>
          <p:cNvGrpSpPr/>
          <p:nvPr/>
        </p:nvGrpSpPr>
        <p:grpSpPr>
          <a:xfrm>
            <a:off x="6819391" y="3493343"/>
            <a:ext cx="178343" cy="178342"/>
            <a:chOff x="3768725" y="1116013"/>
            <a:chExt cx="4654550" cy="4625975"/>
          </a:xfrm>
          <a:solidFill>
            <a:schemeClr val="accent5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ABE32877-E67B-4B9C-A008-83CDCF6EDB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3113" y="1925638"/>
              <a:ext cx="3013075" cy="2995613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74345" tIns="37172" rIns="74345" bIns="37172" numCol="1" anchor="t" anchorCtr="0" compatLnSpc="1">
              <a:prstTxWarp prst="textNoShape">
                <a:avLst/>
              </a:prstTxWarp>
            </a:bodyPr>
            <a:lstStyle/>
            <a:p>
              <a:pPr defTabSz="743407">
                <a:defRPr/>
              </a:pPr>
              <a:endParaRPr lang="en-US" sz="1463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9DC8B14F-2ED0-4124-A88A-FD6AA1568F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8725" y="1116013"/>
              <a:ext cx="4654550" cy="4625975"/>
            </a:xfrm>
            <a:custGeom>
              <a:avLst/>
              <a:gdLst>
                <a:gd name="T0" fmla="*/ 4000 w 8000"/>
                <a:gd name="T1" fmla="*/ 7974 h 7974"/>
                <a:gd name="T2" fmla="*/ 2443 w 8000"/>
                <a:gd name="T3" fmla="*/ 7661 h 7974"/>
                <a:gd name="T4" fmla="*/ 1172 w 8000"/>
                <a:gd name="T5" fmla="*/ 6807 h 7974"/>
                <a:gd name="T6" fmla="*/ 315 w 8000"/>
                <a:gd name="T7" fmla="*/ 5539 h 7974"/>
                <a:gd name="T8" fmla="*/ 0 w 8000"/>
                <a:gd name="T9" fmla="*/ 3987 h 7974"/>
                <a:gd name="T10" fmla="*/ 315 w 8000"/>
                <a:gd name="T11" fmla="*/ 2435 h 7974"/>
                <a:gd name="T12" fmla="*/ 1172 w 8000"/>
                <a:gd name="T13" fmla="*/ 1168 h 7974"/>
                <a:gd name="T14" fmla="*/ 2443 w 8000"/>
                <a:gd name="T15" fmla="*/ 313 h 7974"/>
                <a:gd name="T16" fmla="*/ 4000 w 8000"/>
                <a:gd name="T17" fmla="*/ 0 h 7974"/>
                <a:gd name="T18" fmla="*/ 5557 w 8000"/>
                <a:gd name="T19" fmla="*/ 313 h 7974"/>
                <a:gd name="T20" fmla="*/ 6829 w 8000"/>
                <a:gd name="T21" fmla="*/ 1168 h 7974"/>
                <a:gd name="T22" fmla="*/ 7686 w 8000"/>
                <a:gd name="T23" fmla="*/ 2435 h 7974"/>
                <a:gd name="T24" fmla="*/ 8000 w 8000"/>
                <a:gd name="T25" fmla="*/ 3987 h 7974"/>
                <a:gd name="T26" fmla="*/ 7686 w 8000"/>
                <a:gd name="T27" fmla="*/ 5539 h 7974"/>
                <a:gd name="T28" fmla="*/ 6829 w 8000"/>
                <a:gd name="T29" fmla="*/ 6807 h 7974"/>
                <a:gd name="T30" fmla="*/ 5557 w 8000"/>
                <a:gd name="T31" fmla="*/ 7661 h 7974"/>
                <a:gd name="T32" fmla="*/ 4000 w 8000"/>
                <a:gd name="T33" fmla="*/ 7974 h 7974"/>
                <a:gd name="T34" fmla="*/ 4000 w 8000"/>
                <a:gd name="T35" fmla="*/ 121 h 7974"/>
                <a:gd name="T36" fmla="*/ 122 w 8000"/>
                <a:gd name="T37" fmla="*/ 3987 h 7974"/>
                <a:gd name="T38" fmla="*/ 4000 w 8000"/>
                <a:gd name="T39" fmla="*/ 7853 h 7974"/>
                <a:gd name="T40" fmla="*/ 7879 w 8000"/>
                <a:gd name="T41" fmla="*/ 3987 h 7974"/>
                <a:gd name="T42" fmla="*/ 4000 w 8000"/>
                <a:gd name="T43" fmla="*/ 121 h 79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000" h="7974">
                  <a:moveTo>
                    <a:pt x="4000" y="7974"/>
                  </a:moveTo>
                  <a:cubicBezTo>
                    <a:pt x="3460" y="7974"/>
                    <a:pt x="2937" y="7869"/>
                    <a:pt x="2443" y="7661"/>
                  </a:cubicBezTo>
                  <a:cubicBezTo>
                    <a:pt x="1967" y="7460"/>
                    <a:pt x="1539" y="7173"/>
                    <a:pt x="1172" y="6807"/>
                  </a:cubicBezTo>
                  <a:cubicBezTo>
                    <a:pt x="805" y="6440"/>
                    <a:pt x="516" y="6014"/>
                    <a:pt x="315" y="5539"/>
                  </a:cubicBezTo>
                  <a:cubicBezTo>
                    <a:pt x="106" y="5048"/>
                    <a:pt x="0" y="4525"/>
                    <a:pt x="0" y="3987"/>
                  </a:cubicBezTo>
                  <a:cubicBezTo>
                    <a:pt x="0" y="3449"/>
                    <a:pt x="106" y="2927"/>
                    <a:pt x="315" y="2435"/>
                  </a:cubicBezTo>
                  <a:cubicBezTo>
                    <a:pt x="516" y="1960"/>
                    <a:pt x="805" y="1534"/>
                    <a:pt x="1172" y="1168"/>
                  </a:cubicBezTo>
                  <a:cubicBezTo>
                    <a:pt x="1539" y="802"/>
                    <a:pt x="1967" y="514"/>
                    <a:pt x="2443" y="313"/>
                  </a:cubicBezTo>
                  <a:cubicBezTo>
                    <a:pt x="2937" y="105"/>
                    <a:pt x="3460" y="0"/>
                    <a:pt x="4000" y="0"/>
                  </a:cubicBezTo>
                  <a:cubicBezTo>
                    <a:pt x="4540" y="0"/>
                    <a:pt x="5064" y="105"/>
                    <a:pt x="5557" y="313"/>
                  </a:cubicBezTo>
                  <a:cubicBezTo>
                    <a:pt x="6034" y="514"/>
                    <a:pt x="6461" y="802"/>
                    <a:pt x="6829" y="1168"/>
                  </a:cubicBezTo>
                  <a:cubicBezTo>
                    <a:pt x="7196" y="1534"/>
                    <a:pt x="7484" y="1960"/>
                    <a:pt x="7686" y="2435"/>
                  </a:cubicBezTo>
                  <a:cubicBezTo>
                    <a:pt x="7895" y="2927"/>
                    <a:pt x="8000" y="3449"/>
                    <a:pt x="8000" y="3987"/>
                  </a:cubicBezTo>
                  <a:cubicBezTo>
                    <a:pt x="8000" y="4525"/>
                    <a:pt x="7895" y="5048"/>
                    <a:pt x="7686" y="5539"/>
                  </a:cubicBezTo>
                  <a:cubicBezTo>
                    <a:pt x="7484" y="6014"/>
                    <a:pt x="7196" y="6440"/>
                    <a:pt x="6829" y="6807"/>
                  </a:cubicBezTo>
                  <a:cubicBezTo>
                    <a:pt x="6461" y="7173"/>
                    <a:pt x="6034" y="7460"/>
                    <a:pt x="5557" y="7661"/>
                  </a:cubicBezTo>
                  <a:cubicBezTo>
                    <a:pt x="5064" y="7869"/>
                    <a:pt x="4540" y="7974"/>
                    <a:pt x="4000" y="7974"/>
                  </a:cubicBezTo>
                  <a:close/>
                  <a:moveTo>
                    <a:pt x="4000" y="121"/>
                  </a:moveTo>
                  <a:cubicBezTo>
                    <a:pt x="1862" y="121"/>
                    <a:pt x="122" y="1856"/>
                    <a:pt x="122" y="3987"/>
                  </a:cubicBezTo>
                  <a:cubicBezTo>
                    <a:pt x="122" y="6119"/>
                    <a:pt x="1862" y="7853"/>
                    <a:pt x="4000" y="7853"/>
                  </a:cubicBezTo>
                  <a:cubicBezTo>
                    <a:pt x="6139" y="7853"/>
                    <a:pt x="7879" y="6119"/>
                    <a:pt x="7879" y="3987"/>
                  </a:cubicBezTo>
                  <a:cubicBezTo>
                    <a:pt x="7879" y="1856"/>
                    <a:pt x="6139" y="121"/>
                    <a:pt x="4000" y="121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74345" tIns="37172" rIns="74345" bIns="37172" numCol="1" anchor="t" anchorCtr="0" compatLnSpc="1">
              <a:prstTxWarp prst="textNoShape">
                <a:avLst/>
              </a:prstTxWarp>
            </a:bodyPr>
            <a:lstStyle/>
            <a:p>
              <a:pPr defTabSz="743407">
                <a:defRPr/>
              </a:pPr>
              <a:endParaRPr lang="en-US" sz="1463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30" name="Oval 7">
              <a:extLst>
                <a:ext uri="{FF2B5EF4-FFF2-40B4-BE49-F238E27FC236}">
                  <a16:creationId xmlns:a16="http://schemas.microsoft.com/office/drawing/2014/main" id="{549D964F-72F4-44D4-B048-F34AE4875A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6225" y="2667001"/>
              <a:ext cx="1466850" cy="1511300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74345" tIns="37172" rIns="74345" bIns="37172" numCol="1" anchor="t" anchorCtr="0" compatLnSpc="1">
              <a:prstTxWarp prst="textNoShape">
                <a:avLst/>
              </a:prstTxWarp>
            </a:bodyPr>
            <a:lstStyle/>
            <a:p>
              <a:pPr defTabSz="743407">
                <a:defRPr/>
              </a:pPr>
              <a:endParaRPr lang="en-US" sz="1463">
                <a:solidFill>
                  <a:srgbClr val="000000"/>
                </a:solidFill>
                <a:latin typeface="Calibri"/>
              </a:endParaRPr>
            </a:p>
          </p:txBody>
        </p:sp>
      </p:grp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BCE0528-B77E-4549-BED9-23AB8780704D}"/>
              </a:ext>
            </a:extLst>
          </p:cNvPr>
          <p:cNvCxnSpPr>
            <a:cxnSpLocks/>
          </p:cNvCxnSpPr>
          <p:nvPr/>
        </p:nvCxnSpPr>
        <p:spPr>
          <a:xfrm>
            <a:off x="4426831" y="1840464"/>
            <a:ext cx="0" cy="3090765"/>
          </a:xfrm>
          <a:prstGeom prst="line">
            <a:avLst/>
          </a:prstGeom>
          <a:ln w="12700" cap="rnd">
            <a:solidFill>
              <a:schemeClr val="tx1"/>
            </a:solidFill>
            <a:round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B2444B3-9918-4279-B32C-1462414808AD}"/>
              </a:ext>
            </a:extLst>
          </p:cNvPr>
          <p:cNvCxnSpPr>
            <a:cxnSpLocks/>
          </p:cNvCxnSpPr>
          <p:nvPr/>
        </p:nvCxnSpPr>
        <p:spPr>
          <a:xfrm>
            <a:off x="7773081" y="1840464"/>
            <a:ext cx="0" cy="3090765"/>
          </a:xfrm>
          <a:prstGeom prst="line">
            <a:avLst/>
          </a:prstGeom>
          <a:ln w="12700" cap="rnd">
            <a:solidFill>
              <a:schemeClr val="tx1"/>
            </a:solidFill>
            <a:round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E9EDD836-8A56-4B53-8A03-C813DD4AE25B}"/>
              </a:ext>
            </a:extLst>
          </p:cNvPr>
          <p:cNvSpPr txBox="1"/>
          <p:nvPr/>
        </p:nvSpPr>
        <p:spPr>
          <a:xfrm>
            <a:off x="1037668" y="2053225"/>
            <a:ext cx="2986395" cy="49859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defTabSz="743407">
              <a:lnSpc>
                <a:spcPct val="90000"/>
              </a:lnSpc>
              <a:defRPr/>
            </a:pPr>
            <a:r>
              <a:rPr lang="en-US">
                <a:solidFill>
                  <a:srgbClr val="2853DC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bile broadband evolution vs.</a:t>
            </a:r>
            <a:br>
              <a:rPr lang="en-US">
                <a:solidFill>
                  <a:srgbClr val="2853DC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solidFill>
                  <a:srgbClr val="2853DC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urther vertical expansio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5A5C4D3-1F7A-42E6-810A-D87BAFFFD54F}"/>
              </a:ext>
            </a:extLst>
          </p:cNvPr>
          <p:cNvSpPr txBox="1"/>
          <p:nvPr/>
        </p:nvSpPr>
        <p:spPr>
          <a:xfrm>
            <a:off x="4688824" y="2053396"/>
            <a:ext cx="2868904" cy="49859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90000"/>
              </a:lnSpc>
              <a:defRPr/>
            </a:pPr>
            <a:r>
              <a:rPr lang="en-US">
                <a:solidFill>
                  <a:srgbClr val="2853DC"/>
                </a:solidFill>
                <a:latin typeface="Calibri"/>
                <a:cs typeface="Microsoft Sans Serif" panose="020B0604020202020204" pitchFamily="34" charset="0"/>
              </a:rPr>
              <a:t>Immediate commercial needs vs. longer-term 5G vis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99F8E76-B101-47B0-B47C-9B3F2CA29DE0}"/>
              </a:ext>
            </a:extLst>
          </p:cNvPr>
          <p:cNvSpPr txBox="1"/>
          <p:nvPr/>
        </p:nvSpPr>
        <p:spPr>
          <a:xfrm>
            <a:off x="8058510" y="2053587"/>
            <a:ext cx="2858132" cy="49859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90000"/>
              </a:lnSpc>
              <a:defRPr/>
            </a:pPr>
            <a:r>
              <a:rPr lang="en-US">
                <a:solidFill>
                  <a:srgbClr val="2853DC"/>
                </a:solidFill>
                <a:latin typeface="Calibri"/>
                <a:cs typeface="Microsoft Sans Serif" panose="020B0604020202020204" pitchFamily="34" charset="0"/>
              </a:rPr>
              <a:t>New and enhanced devices</a:t>
            </a:r>
            <a:br>
              <a:rPr lang="en-US">
                <a:solidFill>
                  <a:srgbClr val="2853DC"/>
                </a:solidFill>
                <a:latin typeface="Calibri"/>
                <a:cs typeface="Microsoft Sans Serif" panose="020B0604020202020204" pitchFamily="34" charset="0"/>
              </a:rPr>
            </a:br>
            <a:r>
              <a:rPr lang="en-US">
                <a:solidFill>
                  <a:srgbClr val="2853DC"/>
                </a:solidFill>
                <a:latin typeface="Calibri"/>
                <a:cs typeface="Microsoft Sans Serif" panose="020B0604020202020204" pitchFamily="34" charset="0"/>
              </a:rPr>
              <a:t>vs. network evolution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11F4CF5-A0E6-4197-9409-4C869E850382}"/>
              </a:ext>
            </a:extLst>
          </p:cNvPr>
          <p:cNvSpPr txBox="1"/>
          <p:nvPr/>
        </p:nvSpPr>
        <p:spPr>
          <a:xfrm>
            <a:off x="1021454" y="4197150"/>
            <a:ext cx="3754723" cy="58169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90000"/>
              </a:lnSpc>
              <a:defRPr/>
            </a:pPr>
            <a:r>
              <a:rPr lang="en-US" sz="1400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Deliver enhanced mobile broadband</a:t>
            </a:r>
            <a:br>
              <a:rPr lang="en-US" sz="1400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</a:br>
            <a:r>
              <a:rPr lang="en-US" sz="1400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experiences and extend 5G’s reach</a:t>
            </a:r>
            <a:br>
              <a:rPr lang="en-US" sz="1400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</a:br>
            <a:r>
              <a:rPr lang="en-US" sz="1400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into new use cas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2B234A2-591B-4A9C-9CD3-B329A0869852}"/>
              </a:ext>
            </a:extLst>
          </p:cNvPr>
          <p:cNvSpPr txBox="1"/>
          <p:nvPr/>
        </p:nvSpPr>
        <p:spPr>
          <a:xfrm>
            <a:off x="4704084" y="4203396"/>
            <a:ext cx="3537073" cy="58169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90000"/>
              </a:lnSpc>
              <a:defRPr/>
            </a:pPr>
            <a:r>
              <a:rPr lang="en-US" sz="1400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Drive new value in commercialization</a:t>
            </a:r>
            <a:br>
              <a:rPr lang="en-US" sz="1400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</a:br>
            <a:r>
              <a:rPr lang="en-US" sz="1400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efforts and fully realize 5G’s potential</a:t>
            </a:r>
            <a:br>
              <a:rPr lang="en-US" sz="1400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</a:br>
            <a:r>
              <a:rPr lang="en-US" sz="1400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with future deployment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5687738-2BC9-4A69-99E4-1E20D23D7723}"/>
              </a:ext>
            </a:extLst>
          </p:cNvPr>
          <p:cNvSpPr txBox="1"/>
          <p:nvPr/>
        </p:nvSpPr>
        <p:spPr>
          <a:xfrm>
            <a:off x="8147657" y="4203396"/>
            <a:ext cx="2741126" cy="58169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43407">
              <a:lnSpc>
                <a:spcPct val="90000"/>
              </a:lnSpc>
              <a:defRPr/>
            </a:pPr>
            <a:r>
              <a:rPr lang="en-US" sz="1400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Focus on the end-to-end technology</a:t>
            </a:r>
            <a:br>
              <a:rPr lang="en-US" sz="1400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</a:br>
            <a:r>
              <a:rPr lang="en-US" sz="1400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evolution of the 5G system to bring</a:t>
            </a:r>
            <a:br>
              <a:rPr lang="en-US" sz="1400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</a:br>
            <a:r>
              <a:rPr lang="en-US" sz="1400">
                <a:solidFill>
                  <a:srgbClr val="0B2742"/>
                </a:solidFill>
                <a:latin typeface="Calibri"/>
                <a:cs typeface="Microsoft Sans Serif" panose="020B0604020202020204" pitchFamily="34" charset="0"/>
              </a:rPr>
              <a:t>new levels of performance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847C3B75-8568-4DAD-8871-BB4FF37C4030}"/>
              </a:ext>
            </a:extLst>
          </p:cNvPr>
          <p:cNvGrpSpPr/>
          <p:nvPr/>
        </p:nvGrpSpPr>
        <p:grpSpPr>
          <a:xfrm>
            <a:off x="6214877" y="3437722"/>
            <a:ext cx="178343" cy="178342"/>
            <a:chOff x="3768725" y="1116013"/>
            <a:chExt cx="4654550" cy="4625975"/>
          </a:xfrm>
          <a:solidFill>
            <a:schemeClr val="accent5"/>
          </a:solidFill>
        </p:grpSpPr>
        <p:sp>
          <p:nvSpPr>
            <p:cNvPr id="74" name="Oval 5">
              <a:extLst>
                <a:ext uri="{FF2B5EF4-FFF2-40B4-BE49-F238E27FC236}">
                  <a16:creationId xmlns:a16="http://schemas.microsoft.com/office/drawing/2014/main" id="{0B0D9ED3-98A4-40FA-B8AB-D3D488065E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3113" y="1925638"/>
              <a:ext cx="3013075" cy="2995613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74345" tIns="37172" rIns="74345" bIns="37172" numCol="1" anchor="t" anchorCtr="0" compatLnSpc="1">
              <a:prstTxWarp prst="textNoShape">
                <a:avLst/>
              </a:prstTxWarp>
            </a:bodyPr>
            <a:lstStyle/>
            <a:p>
              <a:pPr defTabSz="743407">
                <a:defRPr/>
              </a:pPr>
              <a:endParaRPr lang="en-US" sz="1463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5" name="Freeform 6">
              <a:extLst>
                <a:ext uri="{FF2B5EF4-FFF2-40B4-BE49-F238E27FC236}">
                  <a16:creationId xmlns:a16="http://schemas.microsoft.com/office/drawing/2014/main" id="{D365432F-52CB-4735-8241-87543FB275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8725" y="1116013"/>
              <a:ext cx="4654550" cy="4625975"/>
            </a:xfrm>
            <a:custGeom>
              <a:avLst/>
              <a:gdLst>
                <a:gd name="T0" fmla="*/ 4000 w 8000"/>
                <a:gd name="T1" fmla="*/ 7974 h 7974"/>
                <a:gd name="T2" fmla="*/ 2443 w 8000"/>
                <a:gd name="T3" fmla="*/ 7661 h 7974"/>
                <a:gd name="T4" fmla="*/ 1172 w 8000"/>
                <a:gd name="T5" fmla="*/ 6807 h 7974"/>
                <a:gd name="T6" fmla="*/ 315 w 8000"/>
                <a:gd name="T7" fmla="*/ 5539 h 7974"/>
                <a:gd name="T8" fmla="*/ 0 w 8000"/>
                <a:gd name="T9" fmla="*/ 3987 h 7974"/>
                <a:gd name="T10" fmla="*/ 315 w 8000"/>
                <a:gd name="T11" fmla="*/ 2435 h 7974"/>
                <a:gd name="T12" fmla="*/ 1172 w 8000"/>
                <a:gd name="T13" fmla="*/ 1168 h 7974"/>
                <a:gd name="T14" fmla="*/ 2443 w 8000"/>
                <a:gd name="T15" fmla="*/ 313 h 7974"/>
                <a:gd name="T16" fmla="*/ 4000 w 8000"/>
                <a:gd name="T17" fmla="*/ 0 h 7974"/>
                <a:gd name="T18" fmla="*/ 5557 w 8000"/>
                <a:gd name="T19" fmla="*/ 313 h 7974"/>
                <a:gd name="T20" fmla="*/ 6829 w 8000"/>
                <a:gd name="T21" fmla="*/ 1168 h 7974"/>
                <a:gd name="T22" fmla="*/ 7686 w 8000"/>
                <a:gd name="T23" fmla="*/ 2435 h 7974"/>
                <a:gd name="T24" fmla="*/ 8000 w 8000"/>
                <a:gd name="T25" fmla="*/ 3987 h 7974"/>
                <a:gd name="T26" fmla="*/ 7686 w 8000"/>
                <a:gd name="T27" fmla="*/ 5539 h 7974"/>
                <a:gd name="T28" fmla="*/ 6829 w 8000"/>
                <a:gd name="T29" fmla="*/ 6807 h 7974"/>
                <a:gd name="T30" fmla="*/ 5557 w 8000"/>
                <a:gd name="T31" fmla="*/ 7661 h 7974"/>
                <a:gd name="T32" fmla="*/ 4000 w 8000"/>
                <a:gd name="T33" fmla="*/ 7974 h 7974"/>
                <a:gd name="T34" fmla="*/ 4000 w 8000"/>
                <a:gd name="T35" fmla="*/ 121 h 7974"/>
                <a:gd name="T36" fmla="*/ 122 w 8000"/>
                <a:gd name="T37" fmla="*/ 3987 h 7974"/>
                <a:gd name="T38" fmla="*/ 4000 w 8000"/>
                <a:gd name="T39" fmla="*/ 7853 h 7974"/>
                <a:gd name="T40" fmla="*/ 7879 w 8000"/>
                <a:gd name="T41" fmla="*/ 3987 h 7974"/>
                <a:gd name="T42" fmla="*/ 4000 w 8000"/>
                <a:gd name="T43" fmla="*/ 121 h 79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000" h="7974">
                  <a:moveTo>
                    <a:pt x="4000" y="7974"/>
                  </a:moveTo>
                  <a:cubicBezTo>
                    <a:pt x="3460" y="7974"/>
                    <a:pt x="2937" y="7869"/>
                    <a:pt x="2443" y="7661"/>
                  </a:cubicBezTo>
                  <a:cubicBezTo>
                    <a:pt x="1967" y="7460"/>
                    <a:pt x="1539" y="7173"/>
                    <a:pt x="1172" y="6807"/>
                  </a:cubicBezTo>
                  <a:cubicBezTo>
                    <a:pt x="805" y="6440"/>
                    <a:pt x="516" y="6014"/>
                    <a:pt x="315" y="5539"/>
                  </a:cubicBezTo>
                  <a:cubicBezTo>
                    <a:pt x="106" y="5048"/>
                    <a:pt x="0" y="4525"/>
                    <a:pt x="0" y="3987"/>
                  </a:cubicBezTo>
                  <a:cubicBezTo>
                    <a:pt x="0" y="3449"/>
                    <a:pt x="106" y="2927"/>
                    <a:pt x="315" y="2435"/>
                  </a:cubicBezTo>
                  <a:cubicBezTo>
                    <a:pt x="516" y="1960"/>
                    <a:pt x="805" y="1534"/>
                    <a:pt x="1172" y="1168"/>
                  </a:cubicBezTo>
                  <a:cubicBezTo>
                    <a:pt x="1539" y="802"/>
                    <a:pt x="1967" y="514"/>
                    <a:pt x="2443" y="313"/>
                  </a:cubicBezTo>
                  <a:cubicBezTo>
                    <a:pt x="2937" y="105"/>
                    <a:pt x="3460" y="0"/>
                    <a:pt x="4000" y="0"/>
                  </a:cubicBezTo>
                  <a:cubicBezTo>
                    <a:pt x="4540" y="0"/>
                    <a:pt x="5064" y="105"/>
                    <a:pt x="5557" y="313"/>
                  </a:cubicBezTo>
                  <a:cubicBezTo>
                    <a:pt x="6034" y="514"/>
                    <a:pt x="6461" y="802"/>
                    <a:pt x="6829" y="1168"/>
                  </a:cubicBezTo>
                  <a:cubicBezTo>
                    <a:pt x="7196" y="1534"/>
                    <a:pt x="7484" y="1960"/>
                    <a:pt x="7686" y="2435"/>
                  </a:cubicBezTo>
                  <a:cubicBezTo>
                    <a:pt x="7895" y="2927"/>
                    <a:pt x="8000" y="3449"/>
                    <a:pt x="8000" y="3987"/>
                  </a:cubicBezTo>
                  <a:cubicBezTo>
                    <a:pt x="8000" y="4525"/>
                    <a:pt x="7895" y="5048"/>
                    <a:pt x="7686" y="5539"/>
                  </a:cubicBezTo>
                  <a:cubicBezTo>
                    <a:pt x="7484" y="6014"/>
                    <a:pt x="7196" y="6440"/>
                    <a:pt x="6829" y="6807"/>
                  </a:cubicBezTo>
                  <a:cubicBezTo>
                    <a:pt x="6461" y="7173"/>
                    <a:pt x="6034" y="7460"/>
                    <a:pt x="5557" y="7661"/>
                  </a:cubicBezTo>
                  <a:cubicBezTo>
                    <a:pt x="5064" y="7869"/>
                    <a:pt x="4540" y="7974"/>
                    <a:pt x="4000" y="7974"/>
                  </a:cubicBezTo>
                  <a:close/>
                  <a:moveTo>
                    <a:pt x="4000" y="121"/>
                  </a:moveTo>
                  <a:cubicBezTo>
                    <a:pt x="1862" y="121"/>
                    <a:pt x="122" y="1856"/>
                    <a:pt x="122" y="3987"/>
                  </a:cubicBezTo>
                  <a:cubicBezTo>
                    <a:pt x="122" y="6119"/>
                    <a:pt x="1862" y="7853"/>
                    <a:pt x="4000" y="7853"/>
                  </a:cubicBezTo>
                  <a:cubicBezTo>
                    <a:pt x="6139" y="7853"/>
                    <a:pt x="7879" y="6119"/>
                    <a:pt x="7879" y="3987"/>
                  </a:cubicBezTo>
                  <a:cubicBezTo>
                    <a:pt x="7879" y="1856"/>
                    <a:pt x="6139" y="121"/>
                    <a:pt x="4000" y="121"/>
                  </a:cubicBez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74345" tIns="37172" rIns="74345" bIns="37172" numCol="1" anchor="t" anchorCtr="0" compatLnSpc="1">
              <a:prstTxWarp prst="textNoShape">
                <a:avLst/>
              </a:prstTxWarp>
            </a:bodyPr>
            <a:lstStyle/>
            <a:p>
              <a:pPr defTabSz="743407">
                <a:defRPr/>
              </a:pPr>
              <a:endParaRPr lang="en-US" sz="1463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6" name="Oval 7">
              <a:extLst>
                <a:ext uri="{FF2B5EF4-FFF2-40B4-BE49-F238E27FC236}">
                  <a16:creationId xmlns:a16="http://schemas.microsoft.com/office/drawing/2014/main" id="{7F691882-8D8B-41C3-9432-4B2308F1E1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6225" y="2667001"/>
              <a:ext cx="1466850" cy="1511300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74345" tIns="37172" rIns="74345" bIns="37172" numCol="1" anchor="t" anchorCtr="0" compatLnSpc="1">
              <a:prstTxWarp prst="textNoShape">
                <a:avLst/>
              </a:prstTxWarp>
            </a:bodyPr>
            <a:lstStyle/>
            <a:p>
              <a:pPr defTabSz="743407">
                <a:defRPr/>
              </a:pPr>
              <a:endParaRPr lang="en-US" sz="1463">
                <a:solidFill>
                  <a:srgbClr val="000000"/>
                </a:solidFill>
                <a:latin typeface="Calibri"/>
              </a:endParaRPr>
            </a:p>
          </p:txBody>
        </p:sp>
      </p:grpSp>
      <p:sp>
        <p:nvSpPr>
          <p:cNvPr id="151" name="Text Placeholder 6">
            <a:extLst>
              <a:ext uri="{FF2B5EF4-FFF2-40B4-BE49-F238E27FC236}">
                <a16:creationId xmlns:a16="http://schemas.microsoft.com/office/drawing/2014/main" id="{628BBF5D-D78F-4F83-B85A-6F50E267FA2C}"/>
              </a:ext>
            </a:extLst>
          </p:cNvPr>
          <p:cNvSpPr txBox="1">
            <a:spLocks/>
          </p:cNvSpPr>
          <p:nvPr/>
        </p:nvSpPr>
        <p:spPr>
          <a:xfrm>
            <a:off x="1639840" y="5820563"/>
            <a:ext cx="8912319" cy="475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71450" indent="-171450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2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-152400" algn="l" defTabSz="914400" rtl="0" eaLnBrk="1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•"/>
              <a:tabLst>
                <a:tab pos="2003425" algn="l"/>
              </a:tabLst>
              <a:defRPr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57200" indent="-101600" algn="l" defTabSz="914400" rtl="0" eaLnBrk="1" latinLnBrk="0" hangingPunct="1">
              <a:lnSpc>
                <a:spcPct val="105000"/>
              </a:lnSpc>
              <a:spcBef>
                <a:spcPts val="150"/>
              </a:spcBef>
              <a:spcAft>
                <a:spcPts val="150"/>
              </a:spcAft>
              <a:buClrTx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71500" indent="-100584" algn="l" defTabSz="914400" rtl="0" eaLnBrk="1" latinLnBrk="0" hangingPunct="1">
              <a:lnSpc>
                <a:spcPct val="105000"/>
              </a:lnSpc>
              <a:spcBef>
                <a:spcPts val="75"/>
              </a:spcBef>
              <a:spcAft>
                <a:spcPts val="75"/>
              </a:spcAft>
              <a:buClrTx/>
              <a:buFont typeface="Arial" panose="020B0604020202020204" pitchFamily="34" charset="0"/>
              <a:buChar char="•"/>
              <a:tabLst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74625" indent="-174625" algn="l" defTabSz="914400" rtl="0" eaLnBrk="1" latinLnBrk="0" hangingPunct="1">
              <a:lnSpc>
                <a:spcPct val="95000"/>
              </a:lnSpc>
              <a:spcBef>
                <a:spcPts val="9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tabLst/>
              <a:defRPr sz="2000" b="1" kern="1200" spc="6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6000"/>
              </a:lnSpc>
              <a:spcBef>
                <a:spcPts val="0"/>
              </a:spcBef>
              <a:buFont typeface="Microsoft Sans Serif" panose="020B0604020202020204" pitchFamily="34" charset="0"/>
              <a:buChar char="​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7000"/>
              </a:lnSpc>
              <a:spcBef>
                <a:spcPts val="1200"/>
              </a:spcBef>
              <a:buFont typeface="Microsoft Sans Serif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87000"/>
              </a:lnSpc>
              <a:spcBef>
                <a:spcPts val="1800"/>
              </a:spcBef>
              <a:buSzPct val="100000"/>
              <a:buFont typeface="Microsoft Sans Serif" panose="020B0604020202020204" pitchFamily="34" charset="0"/>
              <a:buChar char="​"/>
              <a:defRPr lang="en-US" sz="55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7000"/>
              </a:lnSpc>
              <a:spcBef>
                <a:spcPts val="1800"/>
              </a:spcBef>
              <a:buFont typeface="Microsoft Sans Serif" panose="020B0604020202020204" pitchFamily="34" charset="0"/>
              <a:buChar char="​"/>
              <a:defRPr sz="6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743407">
              <a:spcBef>
                <a:spcPts val="732"/>
              </a:spcBef>
              <a:spcAft>
                <a:spcPts val="244"/>
              </a:spcAft>
              <a:buNone/>
              <a:defRPr/>
            </a:pPr>
            <a:r>
              <a:rPr lang="en-US" sz="1626">
                <a:solidFill>
                  <a:srgbClr val="F7F8FA"/>
                </a:solidFill>
                <a:latin typeface="Calibri"/>
              </a:rPr>
              <a:t>Release 18 takes into consideration of 5G Advanced evolution</a:t>
            </a:r>
            <a:br>
              <a:rPr lang="en-US" sz="1626">
                <a:solidFill>
                  <a:srgbClr val="F7F8FA"/>
                </a:solidFill>
                <a:latin typeface="Calibri"/>
              </a:rPr>
            </a:br>
            <a:r>
              <a:rPr lang="en-US" sz="1626">
                <a:solidFill>
                  <a:srgbClr val="F7F8FA"/>
                </a:solidFill>
                <a:latin typeface="Calibri"/>
              </a:rPr>
              <a:t>and beyond (i.e., many Study Items defined to set up for Work Items in later releases)</a:t>
            </a:r>
          </a:p>
        </p:txBody>
      </p: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94587C2A-2EC2-2EEA-EEDB-76687214A005}"/>
              </a:ext>
            </a:extLst>
          </p:cNvPr>
          <p:cNvGrpSpPr/>
          <p:nvPr/>
        </p:nvGrpSpPr>
        <p:grpSpPr>
          <a:xfrm>
            <a:off x="1851625" y="3001596"/>
            <a:ext cx="1012418" cy="927656"/>
            <a:chOff x="1237083" y="2350434"/>
            <a:chExt cx="1572152" cy="1440524"/>
          </a:xfrm>
        </p:grpSpPr>
        <p:grpSp>
          <p:nvGrpSpPr>
            <p:cNvPr id="185" name="Group 184">
              <a:extLst>
                <a:ext uri="{FF2B5EF4-FFF2-40B4-BE49-F238E27FC236}">
                  <a16:creationId xmlns:a16="http://schemas.microsoft.com/office/drawing/2014/main" id="{337D552E-A9F6-1F46-F7C6-6DE395E07F01}"/>
                </a:ext>
              </a:extLst>
            </p:cNvPr>
            <p:cNvGrpSpPr/>
            <p:nvPr/>
          </p:nvGrpSpPr>
          <p:grpSpPr>
            <a:xfrm>
              <a:off x="1237083" y="2350434"/>
              <a:ext cx="1572152" cy="1440524"/>
              <a:chOff x="1353924" y="2450270"/>
              <a:chExt cx="1292751" cy="1184515"/>
            </a:xfrm>
          </p:grpSpPr>
          <p:sp>
            <p:nvSpPr>
              <p:cNvPr id="204" name="Oval 7">
                <a:extLst>
                  <a:ext uri="{FF2B5EF4-FFF2-40B4-BE49-F238E27FC236}">
                    <a16:creationId xmlns:a16="http://schemas.microsoft.com/office/drawing/2014/main" id="{E8D44455-E961-A5E3-4223-6ACE280808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47951" y="3127252"/>
                <a:ext cx="507128" cy="507533"/>
              </a:xfrm>
              <a:prstGeom prst="ellipse">
                <a:avLst/>
              </a:prstGeom>
              <a:solidFill>
                <a:srgbClr val="445776"/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defRPr/>
                </a:pPr>
                <a:endParaRPr lang="en-US" sz="1463" kern="0">
                  <a:solidFill>
                    <a:srgbClr val="13171F"/>
                  </a:solidFill>
                  <a:latin typeface="Microsoft Sans Serif"/>
                </a:endParaRPr>
              </a:p>
            </p:txBody>
          </p:sp>
          <p:sp>
            <p:nvSpPr>
              <p:cNvPr id="205" name="Oval 10">
                <a:extLst>
                  <a:ext uri="{FF2B5EF4-FFF2-40B4-BE49-F238E27FC236}">
                    <a16:creationId xmlns:a16="http://schemas.microsoft.com/office/drawing/2014/main" id="{627B4E81-6083-DCF5-5A17-236831EFD0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39547" y="2451892"/>
                <a:ext cx="507128" cy="507128"/>
              </a:xfrm>
              <a:prstGeom prst="ellipse">
                <a:avLst/>
              </a:prstGeom>
              <a:solidFill>
                <a:srgbClr val="445776"/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defRPr/>
                </a:pPr>
                <a:endParaRPr lang="en-US" sz="1463" kern="0">
                  <a:solidFill>
                    <a:srgbClr val="13171F"/>
                  </a:solidFill>
                  <a:latin typeface="Microsoft Sans Serif"/>
                </a:endParaRPr>
              </a:p>
            </p:txBody>
          </p:sp>
          <p:sp>
            <p:nvSpPr>
              <p:cNvPr id="206" name="Oval 11">
                <a:extLst>
                  <a:ext uri="{FF2B5EF4-FFF2-40B4-BE49-F238E27FC236}">
                    <a16:creationId xmlns:a16="http://schemas.microsoft.com/office/drawing/2014/main" id="{1A93C6F5-10E4-7036-33FA-BC1FDCE203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3924" y="2451892"/>
                <a:ext cx="507128" cy="507128"/>
              </a:xfrm>
              <a:prstGeom prst="ellipse">
                <a:avLst/>
              </a:prstGeom>
              <a:solidFill>
                <a:srgbClr val="445776"/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defRPr/>
                </a:pPr>
                <a:endParaRPr lang="en-US" sz="1463" kern="0">
                  <a:solidFill>
                    <a:srgbClr val="13171F"/>
                  </a:solidFill>
                  <a:latin typeface="Microsoft Sans Serif"/>
                </a:endParaRPr>
              </a:p>
            </p:txBody>
          </p:sp>
          <p:sp>
            <p:nvSpPr>
              <p:cNvPr id="207" name="Freeform 19">
                <a:extLst>
                  <a:ext uri="{FF2B5EF4-FFF2-40B4-BE49-F238E27FC236}">
                    <a16:creationId xmlns:a16="http://schemas.microsoft.com/office/drawing/2014/main" id="{7255DF03-212A-469F-507F-CCEBA2EA45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6615" y="3009288"/>
                <a:ext cx="186879" cy="276874"/>
              </a:xfrm>
              <a:custGeom>
                <a:avLst/>
                <a:gdLst>
                  <a:gd name="T0" fmla="*/ 1681 w 1913"/>
                  <a:gd name="T1" fmla="*/ 2831 h 2832"/>
                  <a:gd name="T2" fmla="*/ 1543 w 1913"/>
                  <a:gd name="T3" fmla="*/ 2774 h 2832"/>
                  <a:gd name="T4" fmla="*/ 31 w 1913"/>
                  <a:gd name="T5" fmla="*/ 287 h 2832"/>
                  <a:gd name="T6" fmla="*/ 173 w 1913"/>
                  <a:gd name="T7" fmla="*/ 31 h 2832"/>
                  <a:gd name="T8" fmla="*/ 428 w 1913"/>
                  <a:gd name="T9" fmla="*/ 173 h 2832"/>
                  <a:gd name="T10" fmla="*/ 1827 w 1913"/>
                  <a:gd name="T11" fmla="*/ 2475 h 2832"/>
                  <a:gd name="T12" fmla="*/ 1835 w 1913"/>
                  <a:gd name="T13" fmla="*/ 2767 h 2832"/>
                  <a:gd name="T14" fmla="*/ 1681 w 1913"/>
                  <a:gd name="T15" fmla="*/ 2831 h 2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13" h="2832">
                    <a:moveTo>
                      <a:pt x="1681" y="2831"/>
                    </a:moveTo>
                    <a:cubicBezTo>
                      <a:pt x="1631" y="2830"/>
                      <a:pt x="1582" y="2811"/>
                      <a:pt x="1543" y="2774"/>
                    </a:cubicBezTo>
                    <a:cubicBezTo>
                      <a:pt x="825" y="2093"/>
                      <a:pt x="302" y="1233"/>
                      <a:pt x="31" y="287"/>
                    </a:cubicBezTo>
                    <a:cubicBezTo>
                      <a:pt x="0" y="177"/>
                      <a:pt x="63" y="63"/>
                      <a:pt x="173" y="31"/>
                    </a:cubicBezTo>
                    <a:cubicBezTo>
                      <a:pt x="283" y="0"/>
                      <a:pt x="397" y="63"/>
                      <a:pt x="428" y="173"/>
                    </a:cubicBezTo>
                    <a:cubicBezTo>
                      <a:pt x="679" y="1048"/>
                      <a:pt x="1162" y="1844"/>
                      <a:pt x="1827" y="2475"/>
                    </a:cubicBezTo>
                    <a:cubicBezTo>
                      <a:pt x="1910" y="2553"/>
                      <a:pt x="1913" y="2684"/>
                      <a:pt x="1835" y="2767"/>
                    </a:cubicBezTo>
                    <a:cubicBezTo>
                      <a:pt x="1793" y="2811"/>
                      <a:pt x="1737" y="2832"/>
                      <a:pt x="1681" y="2831"/>
                    </a:cubicBezTo>
                    <a:close/>
                  </a:path>
                </a:pathLst>
              </a:custGeom>
              <a:solidFill>
                <a:srgbClr val="ACBACF"/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defRPr/>
                </a:pPr>
                <a:endParaRPr lang="en-US" sz="1463" kern="0">
                  <a:solidFill>
                    <a:srgbClr val="13171F"/>
                  </a:solidFill>
                  <a:latin typeface="Microsoft Sans Serif"/>
                </a:endParaRPr>
              </a:p>
            </p:txBody>
          </p:sp>
          <p:sp>
            <p:nvSpPr>
              <p:cNvPr id="208" name="Freeform 20">
                <a:extLst>
                  <a:ext uri="{FF2B5EF4-FFF2-40B4-BE49-F238E27FC236}">
                    <a16:creationId xmlns:a16="http://schemas.microsoft.com/office/drawing/2014/main" id="{1635D40F-6DD7-B624-6F87-7F1BC60228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9132" y="3009288"/>
                <a:ext cx="186879" cy="276874"/>
              </a:xfrm>
              <a:custGeom>
                <a:avLst/>
                <a:gdLst>
                  <a:gd name="T0" fmla="*/ 233 w 1914"/>
                  <a:gd name="T1" fmla="*/ 2831 h 2832"/>
                  <a:gd name="T2" fmla="*/ 371 w 1914"/>
                  <a:gd name="T3" fmla="*/ 2774 h 2832"/>
                  <a:gd name="T4" fmla="*/ 1882 w 1914"/>
                  <a:gd name="T5" fmla="*/ 287 h 2832"/>
                  <a:gd name="T6" fmla="*/ 1741 w 1914"/>
                  <a:gd name="T7" fmla="*/ 31 h 2832"/>
                  <a:gd name="T8" fmla="*/ 1486 w 1914"/>
                  <a:gd name="T9" fmla="*/ 173 h 2832"/>
                  <a:gd name="T10" fmla="*/ 87 w 1914"/>
                  <a:gd name="T11" fmla="*/ 2475 h 2832"/>
                  <a:gd name="T12" fmla="*/ 79 w 1914"/>
                  <a:gd name="T13" fmla="*/ 2767 h 2832"/>
                  <a:gd name="T14" fmla="*/ 233 w 1914"/>
                  <a:gd name="T15" fmla="*/ 2831 h 2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14" h="2832">
                    <a:moveTo>
                      <a:pt x="233" y="2831"/>
                    </a:moveTo>
                    <a:cubicBezTo>
                      <a:pt x="283" y="2830"/>
                      <a:pt x="332" y="2811"/>
                      <a:pt x="371" y="2774"/>
                    </a:cubicBezTo>
                    <a:cubicBezTo>
                      <a:pt x="1089" y="2093"/>
                      <a:pt x="1612" y="1233"/>
                      <a:pt x="1882" y="287"/>
                    </a:cubicBezTo>
                    <a:cubicBezTo>
                      <a:pt x="1914" y="177"/>
                      <a:pt x="1850" y="63"/>
                      <a:pt x="1741" y="31"/>
                    </a:cubicBezTo>
                    <a:cubicBezTo>
                      <a:pt x="1631" y="0"/>
                      <a:pt x="1517" y="63"/>
                      <a:pt x="1486" y="173"/>
                    </a:cubicBezTo>
                    <a:cubicBezTo>
                      <a:pt x="1235" y="1048"/>
                      <a:pt x="751" y="1844"/>
                      <a:pt x="87" y="2475"/>
                    </a:cubicBezTo>
                    <a:cubicBezTo>
                      <a:pt x="4" y="2553"/>
                      <a:pt x="0" y="2684"/>
                      <a:pt x="79" y="2767"/>
                    </a:cubicBezTo>
                    <a:cubicBezTo>
                      <a:pt x="121" y="2811"/>
                      <a:pt x="177" y="2832"/>
                      <a:pt x="233" y="2831"/>
                    </a:cubicBezTo>
                    <a:close/>
                  </a:path>
                </a:pathLst>
              </a:custGeom>
              <a:solidFill>
                <a:srgbClr val="ACBACF"/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defRPr/>
                </a:pPr>
                <a:endParaRPr lang="en-US" sz="1463" kern="0">
                  <a:solidFill>
                    <a:srgbClr val="13171F"/>
                  </a:solidFill>
                  <a:latin typeface="Microsoft Sans Serif"/>
                </a:endParaRPr>
              </a:p>
            </p:txBody>
          </p:sp>
          <p:sp>
            <p:nvSpPr>
              <p:cNvPr id="209" name="Freeform 21">
                <a:extLst>
                  <a:ext uri="{FF2B5EF4-FFF2-40B4-BE49-F238E27FC236}">
                    <a16:creationId xmlns:a16="http://schemas.microsoft.com/office/drawing/2014/main" id="{44F56C71-B8CE-F0EB-F1C5-5021150A04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0783" y="2450270"/>
                <a:ext cx="317412" cy="67293"/>
              </a:xfrm>
              <a:custGeom>
                <a:avLst/>
                <a:gdLst>
                  <a:gd name="T0" fmla="*/ 3206 w 3247"/>
                  <a:gd name="T1" fmla="*/ 348 h 689"/>
                  <a:gd name="T2" fmla="*/ 3086 w 3247"/>
                  <a:gd name="T3" fmla="*/ 260 h 689"/>
                  <a:gd name="T4" fmla="*/ 175 w 3247"/>
                  <a:gd name="T5" fmla="*/ 260 h 689"/>
                  <a:gd name="T6" fmla="*/ 30 w 3247"/>
                  <a:gd name="T7" fmla="*/ 514 h 689"/>
                  <a:gd name="T8" fmla="*/ 284 w 3247"/>
                  <a:gd name="T9" fmla="*/ 658 h 689"/>
                  <a:gd name="T10" fmla="*/ 2978 w 3247"/>
                  <a:gd name="T11" fmla="*/ 658 h 689"/>
                  <a:gd name="T12" fmla="*/ 3231 w 3247"/>
                  <a:gd name="T13" fmla="*/ 513 h 689"/>
                  <a:gd name="T14" fmla="*/ 3206 w 3247"/>
                  <a:gd name="T15" fmla="*/ 348 h 6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47" h="689">
                    <a:moveTo>
                      <a:pt x="3206" y="348"/>
                    </a:moveTo>
                    <a:cubicBezTo>
                      <a:pt x="3179" y="306"/>
                      <a:pt x="3138" y="274"/>
                      <a:pt x="3086" y="260"/>
                    </a:cubicBezTo>
                    <a:cubicBezTo>
                      <a:pt x="2131" y="0"/>
                      <a:pt x="1124" y="0"/>
                      <a:pt x="175" y="260"/>
                    </a:cubicBezTo>
                    <a:cubicBezTo>
                      <a:pt x="65" y="290"/>
                      <a:pt x="0" y="404"/>
                      <a:pt x="30" y="514"/>
                    </a:cubicBezTo>
                    <a:cubicBezTo>
                      <a:pt x="60" y="624"/>
                      <a:pt x="174" y="689"/>
                      <a:pt x="284" y="658"/>
                    </a:cubicBezTo>
                    <a:cubicBezTo>
                      <a:pt x="1162" y="418"/>
                      <a:pt x="2094" y="418"/>
                      <a:pt x="2978" y="658"/>
                    </a:cubicBezTo>
                    <a:cubicBezTo>
                      <a:pt x="3088" y="688"/>
                      <a:pt x="3201" y="624"/>
                      <a:pt x="3231" y="513"/>
                    </a:cubicBezTo>
                    <a:cubicBezTo>
                      <a:pt x="3247" y="455"/>
                      <a:pt x="3236" y="396"/>
                      <a:pt x="3206" y="348"/>
                    </a:cubicBezTo>
                    <a:close/>
                  </a:path>
                </a:pathLst>
              </a:custGeom>
              <a:solidFill>
                <a:srgbClr val="ACBACF"/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defRPr/>
                </a:pPr>
                <a:endParaRPr lang="en-US" sz="1463" kern="0">
                  <a:solidFill>
                    <a:srgbClr val="13171F"/>
                  </a:solidFill>
                  <a:latin typeface="Microsoft Sans Serif"/>
                </a:endParaRPr>
              </a:p>
            </p:txBody>
          </p:sp>
        </p:grpSp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FB637D11-E59B-EBD5-230D-E78FF2B1C75A}"/>
                </a:ext>
              </a:extLst>
            </p:cNvPr>
            <p:cNvGrpSpPr/>
            <p:nvPr/>
          </p:nvGrpSpPr>
          <p:grpSpPr>
            <a:xfrm>
              <a:off x="1426141" y="2411639"/>
              <a:ext cx="290136" cy="459851"/>
              <a:chOff x="2597306" y="4308048"/>
              <a:chExt cx="634616" cy="1005840"/>
            </a:xfrm>
          </p:grpSpPr>
          <p:grpSp>
            <p:nvGrpSpPr>
              <p:cNvPr id="197" name="Group 196">
                <a:extLst>
                  <a:ext uri="{FF2B5EF4-FFF2-40B4-BE49-F238E27FC236}">
                    <a16:creationId xmlns:a16="http://schemas.microsoft.com/office/drawing/2014/main" id="{8E1FF556-37AC-C81C-1A6C-3AF2C7AC0EBC}"/>
                  </a:ext>
                </a:extLst>
              </p:cNvPr>
              <p:cNvGrpSpPr/>
              <p:nvPr/>
            </p:nvGrpSpPr>
            <p:grpSpPr>
              <a:xfrm>
                <a:off x="2828112" y="4308048"/>
                <a:ext cx="403810" cy="403809"/>
                <a:chOff x="3768725" y="1116013"/>
                <a:chExt cx="4654550" cy="4625975"/>
              </a:xfrm>
              <a:solidFill>
                <a:srgbClr val="ACBACF">
                  <a:lumMod val="40000"/>
                  <a:lumOff val="60000"/>
                </a:srgbClr>
              </a:solidFill>
            </p:grpSpPr>
            <p:sp>
              <p:nvSpPr>
                <p:cNvPr id="201" name="Oval 5">
                  <a:extLst>
                    <a:ext uri="{FF2B5EF4-FFF2-40B4-BE49-F238E27FC236}">
                      <a16:creationId xmlns:a16="http://schemas.microsoft.com/office/drawing/2014/main" id="{9CA2AC6F-66EB-A715-4462-B3ADD407C8E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83113" y="1925638"/>
                  <a:ext cx="3013075" cy="2995613"/>
                </a:xfrm>
                <a:prstGeom prst="ellipse">
                  <a:avLst/>
                </a:prstGeom>
                <a:solidFill>
                  <a:srgbClr val="ACBACF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  <p:sp>
              <p:nvSpPr>
                <p:cNvPr id="202" name="Freeform 6">
                  <a:extLst>
                    <a:ext uri="{FF2B5EF4-FFF2-40B4-BE49-F238E27FC236}">
                      <a16:creationId xmlns:a16="http://schemas.microsoft.com/office/drawing/2014/main" id="{0C0EB5F2-CED5-B236-6FCE-9450F84C543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768725" y="1116013"/>
                  <a:ext cx="4654550" cy="4625975"/>
                </a:xfrm>
                <a:custGeom>
                  <a:avLst/>
                  <a:gdLst>
                    <a:gd name="T0" fmla="*/ 4000 w 8000"/>
                    <a:gd name="T1" fmla="*/ 7974 h 7974"/>
                    <a:gd name="T2" fmla="*/ 2443 w 8000"/>
                    <a:gd name="T3" fmla="*/ 7661 h 7974"/>
                    <a:gd name="T4" fmla="*/ 1172 w 8000"/>
                    <a:gd name="T5" fmla="*/ 6807 h 7974"/>
                    <a:gd name="T6" fmla="*/ 315 w 8000"/>
                    <a:gd name="T7" fmla="*/ 5539 h 7974"/>
                    <a:gd name="T8" fmla="*/ 0 w 8000"/>
                    <a:gd name="T9" fmla="*/ 3987 h 7974"/>
                    <a:gd name="T10" fmla="*/ 315 w 8000"/>
                    <a:gd name="T11" fmla="*/ 2435 h 7974"/>
                    <a:gd name="T12" fmla="*/ 1172 w 8000"/>
                    <a:gd name="T13" fmla="*/ 1168 h 7974"/>
                    <a:gd name="T14" fmla="*/ 2443 w 8000"/>
                    <a:gd name="T15" fmla="*/ 313 h 7974"/>
                    <a:gd name="T16" fmla="*/ 4000 w 8000"/>
                    <a:gd name="T17" fmla="*/ 0 h 7974"/>
                    <a:gd name="T18" fmla="*/ 5557 w 8000"/>
                    <a:gd name="T19" fmla="*/ 313 h 7974"/>
                    <a:gd name="T20" fmla="*/ 6829 w 8000"/>
                    <a:gd name="T21" fmla="*/ 1168 h 7974"/>
                    <a:gd name="T22" fmla="*/ 7686 w 8000"/>
                    <a:gd name="T23" fmla="*/ 2435 h 7974"/>
                    <a:gd name="T24" fmla="*/ 8000 w 8000"/>
                    <a:gd name="T25" fmla="*/ 3987 h 7974"/>
                    <a:gd name="T26" fmla="*/ 7686 w 8000"/>
                    <a:gd name="T27" fmla="*/ 5539 h 7974"/>
                    <a:gd name="T28" fmla="*/ 6829 w 8000"/>
                    <a:gd name="T29" fmla="*/ 6807 h 7974"/>
                    <a:gd name="T30" fmla="*/ 5557 w 8000"/>
                    <a:gd name="T31" fmla="*/ 7661 h 7974"/>
                    <a:gd name="T32" fmla="*/ 4000 w 8000"/>
                    <a:gd name="T33" fmla="*/ 7974 h 7974"/>
                    <a:gd name="T34" fmla="*/ 4000 w 8000"/>
                    <a:gd name="T35" fmla="*/ 121 h 7974"/>
                    <a:gd name="T36" fmla="*/ 122 w 8000"/>
                    <a:gd name="T37" fmla="*/ 3987 h 7974"/>
                    <a:gd name="T38" fmla="*/ 4000 w 8000"/>
                    <a:gd name="T39" fmla="*/ 7853 h 7974"/>
                    <a:gd name="T40" fmla="*/ 7879 w 8000"/>
                    <a:gd name="T41" fmla="*/ 3987 h 7974"/>
                    <a:gd name="T42" fmla="*/ 4000 w 8000"/>
                    <a:gd name="T43" fmla="*/ 121 h 79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8000" h="7974">
                      <a:moveTo>
                        <a:pt x="4000" y="7974"/>
                      </a:moveTo>
                      <a:cubicBezTo>
                        <a:pt x="3460" y="7974"/>
                        <a:pt x="2937" y="7869"/>
                        <a:pt x="2443" y="7661"/>
                      </a:cubicBezTo>
                      <a:cubicBezTo>
                        <a:pt x="1967" y="7460"/>
                        <a:pt x="1539" y="7173"/>
                        <a:pt x="1172" y="6807"/>
                      </a:cubicBezTo>
                      <a:cubicBezTo>
                        <a:pt x="805" y="6440"/>
                        <a:pt x="516" y="6014"/>
                        <a:pt x="315" y="5539"/>
                      </a:cubicBezTo>
                      <a:cubicBezTo>
                        <a:pt x="106" y="5048"/>
                        <a:pt x="0" y="4525"/>
                        <a:pt x="0" y="3987"/>
                      </a:cubicBezTo>
                      <a:cubicBezTo>
                        <a:pt x="0" y="3449"/>
                        <a:pt x="106" y="2927"/>
                        <a:pt x="315" y="2435"/>
                      </a:cubicBezTo>
                      <a:cubicBezTo>
                        <a:pt x="516" y="1960"/>
                        <a:pt x="805" y="1534"/>
                        <a:pt x="1172" y="1168"/>
                      </a:cubicBezTo>
                      <a:cubicBezTo>
                        <a:pt x="1539" y="802"/>
                        <a:pt x="1967" y="514"/>
                        <a:pt x="2443" y="313"/>
                      </a:cubicBezTo>
                      <a:cubicBezTo>
                        <a:pt x="2937" y="105"/>
                        <a:pt x="3460" y="0"/>
                        <a:pt x="4000" y="0"/>
                      </a:cubicBezTo>
                      <a:cubicBezTo>
                        <a:pt x="4540" y="0"/>
                        <a:pt x="5064" y="105"/>
                        <a:pt x="5557" y="313"/>
                      </a:cubicBezTo>
                      <a:cubicBezTo>
                        <a:pt x="6034" y="514"/>
                        <a:pt x="6461" y="802"/>
                        <a:pt x="6829" y="1168"/>
                      </a:cubicBezTo>
                      <a:cubicBezTo>
                        <a:pt x="7196" y="1534"/>
                        <a:pt x="7484" y="1960"/>
                        <a:pt x="7686" y="2435"/>
                      </a:cubicBezTo>
                      <a:cubicBezTo>
                        <a:pt x="7895" y="2927"/>
                        <a:pt x="8000" y="3449"/>
                        <a:pt x="8000" y="3987"/>
                      </a:cubicBezTo>
                      <a:cubicBezTo>
                        <a:pt x="8000" y="4525"/>
                        <a:pt x="7895" y="5048"/>
                        <a:pt x="7686" y="5539"/>
                      </a:cubicBezTo>
                      <a:cubicBezTo>
                        <a:pt x="7484" y="6014"/>
                        <a:pt x="7196" y="6440"/>
                        <a:pt x="6829" y="6807"/>
                      </a:cubicBezTo>
                      <a:cubicBezTo>
                        <a:pt x="6461" y="7173"/>
                        <a:pt x="6034" y="7460"/>
                        <a:pt x="5557" y="7661"/>
                      </a:cubicBezTo>
                      <a:cubicBezTo>
                        <a:pt x="5064" y="7869"/>
                        <a:pt x="4540" y="7974"/>
                        <a:pt x="4000" y="7974"/>
                      </a:cubicBezTo>
                      <a:close/>
                      <a:moveTo>
                        <a:pt x="4000" y="121"/>
                      </a:moveTo>
                      <a:cubicBezTo>
                        <a:pt x="1862" y="121"/>
                        <a:pt x="122" y="1856"/>
                        <a:pt x="122" y="3987"/>
                      </a:cubicBezTo>
                      <a:cubicBezTo>
                        <a:pt x="122" y="6119"/>
                        <a:pt x="1862" y="7853"/>
                        <a:pt x="4000" y="7853"/>
                      </a:cubicBezTo>
                      <a:cubicBezTo>
                        <a:pt x="6139" y="7853"/>
                        <a:pt x="7879" y="6119"/>
                        <a:pt x="7879" y="3987"/>
                      </a:cubicBezTo>
                      <a:cubicBezTo>
                        <a:pt x="7879" y="1856"/>
                        <a:pt x="6139" y="121"/>
                        <a:pt x="4000" y="121"/>
                      </a:cubicBezTo>
                      <a:close/>
                    </a:path>
                  </a:pathLst>
                </a:custGeom>
                <a:solidFill>
                  <a:srgbClr val="ACBACF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  <p:sp>
              <p:nvSpPr>
                <p:cNvPr id="203" name="Oval 7">
                  <a:extLst>
                    <a:ext uri="{FF2B5EF4-FFF2-40B4-BE49-F238E27FC236}">
                      <a16:creationId xmlns:a16="http://schemas.microsoft.com/office/drawing/2014/main" id="{F85092D4-48F8-B2C5-FADA-5DF48C45B86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6225" y="2667001"/>
                  <a:ext cx="1466850" cy="1511300"/>
                </a:xfrm>
                <a:prstGeom prst="ellipse">
                  <a:avLst/>
                </a:prstGeom>
                <a:solidFill>
                  <a:srgbClr val="ACBACF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</p:grpSp>
          <p:grpSp>
            <p:nvGrpSpPr>
              <p:cNvPr id="198" name="Group 197">
                <a:extLst>
                  <a:ext uri="{FF2B5EF4-FFF2-40B4-BE49-F238E27FC236}">
                    <a16:creationId xmlns:a16="http://schemas.microsoft.com/office/drawing/2014/main" id="{FFD1F018-D19A-374B-7D21-941A5B6BC89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597306" y="4486270"/>
                <a:ext cx="446464" cy="827618"/>
                <a:chOff x="5434013" y="2201863"/>
                <a:chExt cx="1323975" cy="2454275"/>
              </a:xfrm>
            </p:grpSpPr>
            <p:sp>
              <p:nvSpPr>
                <p:cNvPr id="199" name="Freeform 5">
                  <a:extLst>
                    <a:ext uri="{FF2B5EF4-FFF2-40B4-BE49-F238E27FC236}">
                      <a16:creationId xmlns:a16="http://schemas.microsoft.com/office/drawing/2014/main" id="{D6C358B5-9433-FCDA-2928-FBF243FD6B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34013" y="2201863"/>
                  <a:ext cx="1323975" cy="2454275"/>
                </a:xfrm>
                <a:custGeom>
                  <a:avLst/>
                  <a:gdLst>
                    <a:gd name="T0" fmla="*/ 7527 w 8000"/>
                    <a:gd name="T1" fmla="*/ 14889 h 14889"/>
                    <a:gd name="T2" fmla="*/ 485 w 8000"/>
                    <a:gd name="T3" fmla="*/ 14889 h 14889"/>
                    <a:gd name="T4" fmla="*/ 0 w 8000"/>
                    <a:gd name="T5" fmla="*/ 14419 h 14889"/>
                    <a:gd name="T6" fmla="*/ 0 w 8000"/>
                    <a:gd name="T7" fmla="*/ 470 h 14889"/>
                    <a:gd name="T8" fmla="*/ 485 w 8000"/>
                    <a:gd name="T9" fmla="*/ 0 h 14889"/>
                    <a:gd name="T10" fmla="*/ 7527 w 8000"/>
                    <a:gd name="T11" fmla="*/ 0 h 14889"/>
                    <a:gd name="T12" fmla="*/ 8000 w 8000"/>
                    <a:gd name="T13" fmla="*/ 470 h 14889"/>
                    <a:gd name="T14" fmla="*/ 8000 w 8000"/>
                    <a:gd name="T15" fmla="*/ 14419 h 14889"/>
                    <a:gd name="T16" fmla="*/ 7527 w 8000"/>
                    <a:gd name="T17" fmla="*/ 14889 h 148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000" h="14889">
                      <a:moveTo>
                        <a:pt x="7527" y="14889"/>
                      </a:moveTo>
                      <a:cubicBezTo>
                        <a:pt x="485" y="14889"/>
                        <a:pt x="485" y="14889"/>
                        <a:pt x="485" y="14889"/>
                      </a:cubicBezTo>
                      <a:cubicBezTo>
                        <a:pt x="224" y="14889"/>
                        <a:pt x="0" y="14679"/>
                        <a:pt x="0" y="14419"/>
                      </a:cubicBezTo>
                      <a:cubicBezTo>
                        <a:pt x="0" y="470"/>
                        <a:pt x="0" y="470"/>
                        <a:pt x="0" y="470"/>
                      </a:cubicBezTo>
                      <a:cubicBezTo>
                        <a:pt x="0" y="210"/>
                        <a:pt x="224" y="0"/>
                        <a:pt x="485" y="0"/>
                      </a:cubicBezTo>
                      <a:cubicBezTo>
                        <a:pt x="7527" y="0"/>
                        <a:pt x="7527" y="0"/>
                        <a:pt x="7527" y="0"/>
                      </a:cubicBezTo>
                      <a:cubicBezTo>
                        <a:pt x="7788" y="0"/>
                        <a:pt x="8000" y="210"/>
                        <a:pt x="8000" y="470"/>
                      </a:cubicBezTo>
                      <a:cubicBezTo>
                        <a:pt x="8000" y="14419"/>
                        <a:pt x="8000" y="14419"/>
                        <a:pt x="8000" y="14419"/>
                      </a:cubicBezTo>
                      <a:cubicBezTo>
                        <a:pt x="8000" y="14679"/>
                        <a:pt x="7788" y="14889"/>
                        <a:pt x="7527" y="14889"/>
                      </a:cubicBezTo>
                      <a:close/>
                    </a:path>
                  </a:pathLst>
                </a:custGeom>
                <a:solidFill>
                  <a:srgbClr val="ACBACF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  <p:sp>
              <p:nvSpPr>
                <p:cNvPr id="200" name="Freeform: Shape 35">
                  <a:extLst>
                    <a:ext uri="{FF2B5EF4-FFF2-40B4-BE49-F238E27FC236}">
                      <a16:creationId xmlns:a16="http://schemas.microsoft.com/office/drawing/2014/main" id="{79F5774D-F461-50AC-CD25-835DA623E1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18151" y="2286001"/>
                  <a:ext cx="1155700" cy="2239963"/>
                </a:xfrm>
                <a:custGeom>
                  <a:avLst/>
                  <a:gdLst>
                    <a:gd name="connsiteX0" fmla="*/ 453942 w 1155700"/>
                    <a:gd name="connsiteY0" fmla="*/ 2159000 h 2239963"/>
                    <a:gd name="connsiteX1" fmla="*/ 701592 w 1155700"/>
                    <a:gd name="connsiteY1" fmla="*/ 2159000 h 2239963"/>
                    <a:gd name="connsiteX2" fmla="*/ 742950 w 1155700"/>
                    <a:gd name="connsiteY2" fmla="*/ 2199482 h 2239963"/>
                    <a:gd name="connsiteX3" fmla="*/ 701592 w 1155700"/>
                    <a:gd name="connsiteY3" fmla="*/ 2239963 h 2239963"/>
                    <a:gd name="connsiteX4" fmla="*/ 453942 w 1155700"/>
                    <a:gd name="connsiteY4" fmla="*/ 2239963 h 2239963"/>
                    <a:gd name="connsiteX5" fmla="*/ 412750 w 1155700"/>
                    <a:gd name="connsiteY5" fmla="*/ 2199482 h 2239963"/>
                    <a:gd name="connsiteX6" fmla="*/ 453942 w 1155700"/>
                    <a:gd name="connsiteY6" fmla="*/ 2159000 h 2239963"/>
                    <a:gd name="connsiteX7" fmla="*/ 39059 w 1155700"/>
                    <a:gd name="connsiteY7" fmla="*/ 0 h 2239963"/>
                    <a:gd name="connsiteX8" fmla="*/ 1116642 w 1155700"/>
                    <a:gd name="connsiteY8" fmla="*/ 0 h 2239963"/>
                    <a:gd name="connsiteX9" fmla="*/ 1155700 w 1155700"/>
                    <a:gd name="connsiteY9" fmla="*/ 38549 h 2239963"/>
                    <a:gd name="connsiteX10" fmla="*/ 1155700 w 1155700"/>
                    <a:gd name="connsiteY10" fmla="*/ 1996626 h 2239963"/>
                    <a:gd name="connsiteX11" fmla="*/ 1116642 w 1155700"/>
                    <a:gd name="connsiteY11" fmla="*/ 2035175 h 2239963"/>
                    <a:gd name="connsiteX12" fmla="*/ 39059 w 1155700"/>
                    <a:gd name="connsiteY12" fmla="*/ 2035175 h 2239963"/>
                    <a:gd name="connsiteX13" fmla="*/ 0 w 1155700"/>
                    <a:gd name="connsiteY13" fmla="*/ 1996626 h 2239963"/>
                    <a:gd name="connsiteX14" fmla="*/ 0 w 1155700"/>
                    <a:gd name="connsiteY14" fmla="*/ 38549 h 2239963"/>
                    <a:gd name="connsiteX15" fmla="*/ 39059 w 1155700"/>
                    <a:gd name="connsiteY15" fmla="*/ 0 h 2239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155700" h="2239963">
                      <a:moveTo>
                        <a:pt x="453942" y="2159000"/>
                      </a:moveTo>
                      <a:cubicBezTo>
                        <a:pt x="701592" y="2159000"/>
                        <a:pt x="701592" y="2159000"/>
                        <a:pt x="701592" y="2159000"/>
                      </a:cubicBezTo>
                      <a:cubicBezTo>
                        <a:pt x="724347" y="2159000"/>
                        <a:pt x="742950" y="2177102"/>
                        <a:pt x="742950" y="2199482"/>
                      </a:cubicBezTo>
                      <a:cubicBezTo>
                        <a:pt x="742950" y="2221697"/>
                        <a:pt x="724347" y="2239963"/>
                        <a:pt x="701592" y="2239963"/>
                      </a:cubicBezTo>
                      <a:cubicBezTo>
                        <a:pt x="453942" y="2239963"/>
                        <a:pt x="453942" y="2239963"/>
                        <a:pt x="453942" y="2239963"/>
                      </a:cubicBezTo>
                      <a:cubicBezTo>
                        <a:pt x="431187" y="2239963"/>
                        <a:pt x="412750" y="2221697"/>
                        <a:pt x="412750" y="2199482"/>
                      </a:cubicBezTo>
                      <a:cubicBezTo>
                        <a:pt x="412750" y="2177102"/>
                        <a:pt x="431187" y="2159000"/>
                        <a:pt x="453942" y="2159000"/>
                      </a:cubicBezTo>
                      <a:close/>
                      <a:moveTo>
                        <a:pt x="39059" y="0"/>
                      </a:moveTo>
                      <a:cubicBezTo>
                        <a:pt x="39059" y="0"/>
                        <a:pt x="39059" y="0"/>
                        <a:pt x="1116642" y="0"/>
                      </a:cubicBezTo>
                      <a:cubicBezTo>
                        <a:pt x="1139315" y="0"/>
                        <a:pt x="1155700" y="18286"/>
                        <a:pt x="1155700" y="38549"/>
                      </a:cubicBezTo>
                      <a:cubicBezTo>
                        <a:pt x="1155700" y="38549"/>
                        <a:pt x="1155700" y="38549"/>
                        <a:pt x="1155700" y="1996626"/>
                      </a:cubicBezTo>
                      <a:cubicBezTo>
                        <a:pt x="1155700" y="2016889"/>
                        <a:pt x="1139315" y="2035175"/>
                        <a:pt x="1116642" y="2035175"/>
                      </a:cubicBezTo>
                      <a:cubicBezTo>
                        <a:pt x="1116642" y="2035175"/>
                        <a:pt x="1116642" y="2035175"/>
                        <a:pt x="39059" y="2035175"/>
                      </a:cubicBezTo>
                      <a:cubicBezTo>
                        <a:pt x="16550" y="2035175"/>
                        <a:pt x="0" y="2016889"/>
                        <a:pt x="0" y="1996626"/>
                      </a:cubicBezTo>
                      <a:cubicBezTo>
                        <a:pt x="0" y="1996626"/>
                        <a:pt x="0" y="1996626"/>
                        <a:pt x="0" y="38549"/>
                      </a:cubicBezTo>
                      <a:cubicBezTo>
                        <a:pt x="0" y="18286"/>
                        <a:pt x="16550" y="0"/>
                        <a:pt x="39059" y="0"/>
                      </a:cubicBezTo>
                      <a:close/>
                    </a:path>
                  </a:pathLst>
                </a:custGeom>
                <a:solidFill>
                  <a:srgbClr val="445776"/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</p:grpSp>
        </p:grpSp>
        <p:grpSp>
          <p:nvGrpSpPr>
            <p:cNvPr id="187" name="Group 186">
              <a:extLst>
                <a:ext uri="{FF2B5EF4-FFF2-40B4-BE49-F238E27FC236}">
                  <a16:creationId xmlns:a16="http://schemas.microsoft.com/office/drawing/2014/main" id="{294127C8-9D33-48AE-3FE9-78E8343CAC0B}"/>
                </a:ext>
              </a:extLst>
            </p:cNvPr>
            <p:cNvGrpSpPr/>
            <p:nvPr/>
          </p:nvGrpSpPr>
          <p:grpSpPr>
            <a:xfrm>
              <a:off x="1762111" y="3367835"/>
              <a:ext cx="539785" cy="231640"/>
              <a:chOff x="2411694" y="4595148"/>
              <a:chExt cx="1005840" cy="431641"/>
            </a:xfrm>
          </p:grpSpPr>
          <p:grpSp>
            <p:nvGrpSpPr>
              <p:cNvPr id="192" name="Group 191">
                <a:extLst>
                  <a:ext uri="{FF2B5EF4-FFF2-40B4-BE49-F238E27FC236}">
                    <a16:creationId xmlns:a16="http://schemas.microsoft.com/office/drawing/2014/main" id="{9BD77BA1-2454-81C2-1AEA-574483C1D7F8}"/>
                  </a:ext>
                </a:extLst>
              </p:cNvPr>
              <p:cNvGrpSpPr/>
              <p:nvPr/>
            </p:nvGrpSpPr>
            <p:grpSpPr>
              <a:xfrm>
                <a:off x="3113187" y="4621049"/>
                <a:ext cx="304347" cy="304347"/>
                <a:chOff x="3768725" y="1116013"/>
                <a:chExt cx="4654550" cy="4625975"/>
              </a:xfrm>
              <a:solidFill>
                <a:srgbClr val="445776"/>
              </a:solidFill>
            </p:grpSpPr>
            <p:sp>
              <p:nvSpPr>
                <p:cNvPr id="194" name="Oval 5">
                  <a:extLst>
                    <a:ext uri="{FF2B5EF4-FFF2-40B4-BE49-F238E27FC236}">
                      <a16:creationId xmlns:a16="http://schemas.microsoft.com/office/drawing/2014/main" id="{850E11EC-A36B-93C6-F8E2-21258B674CE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83113" y="1925638"/>
                  <a:ext cx="3013075" cy="2995613"/>
                </a:xfrm>
                <a:prstGeom prst="ellipse">
                  <a:avLst/>
                </a:prstGeom>
                <a:solidFill>
                  <a:srgbClr val="ACBACF">
                    <a:lumMod val="60000"/>
                    <a:lumOff val="40000"/>
                  </a:srgbClr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  <p:sp>
              <p:nvSpPr>
                <p:cNvPr id="195" name="Freeform 6">
                  <a:extLst>
                    <a:ext uri="{FF2B5EF4-FFF2-40B4-BE49-F238E27FC236}">
                      <a16:creationId xmlns:a16="http://schemas.microsoft.com/office/drawing/2014/main" id="{CD637E63-DCFF-6131-A931-020D743A8BE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768725" y="1116013"/>
                  <a:ext cx="4654550" cy="4625975"/>
                </a:xfrm>
                <a:custGeom>
                  <a:avLst/>
                  <a:gdLst>
                    <a:gd name="T0" fmla="*/ 4000 w 8000"/>
                    <a:gd name="T1" fmla="*/ 7974 h 7974"/>
                    <a:gd name="T2" fmla="*/ 2443 w 8000"/>
                    <a:gd name="T3" fmla="*/ 7661 h 7974"/>
                    <a:gd name="T4" fmla="*/ 1172 w 8000"/>
                    <a:gd name="T5" fmla="*/ 6807 h 7974"/>
                    <a:gd name="T6" fmla="*/ 315 w 8000"/>
                    <a:gd name="T7" fmla="*/ 5539 h 7974"/>
                    <a:gd name="T8" fmla="*/ 0 w 8000"/>
                    <a:gd name="T9" fmla="*/ 3987 h 7974"/>
                    <a:gd name="T10" fmla="*/ 315 w 8000"/>
                    <a:gd name="T11" fmla="*/ 2435 h 7974"/>
                    <a:gd name="T12" fmla="*/ 1172 w 8000"/>
                    <a:gd name="T13" fmla="*/ 1168 h 7974"/>
                    <a:gd name="T14" fmla="*/ 2443 w 8000"/>
                    <a:gd name="T15" fmla="*/ 313 h 7974"/>
                    <a:gd name="T16" fmla="*/ 4000 w 8000"/>
                    <a:gd name="T17" fmla="*/ 0 h 7974"/>
                    <a:gd name="T18" fmla="*/ 5557 w 8000"/>
                    <a:gd name="T19" fmla="*/ 313 h 7974"/>
                    <a:gd name="T20" fmla="*/ 6829 w 8000"/>
                    <a:gd name="T21" fmla="*/ 1168 h 7974"/>
                    <a:gd name="T22" fmla="*/ 7686 w 8000"/>
                    <a:gd name="T23" fmla="*/ 2435 h 7974"/>
                    <a:gd name="T24" fmla="*/ 8000 w 8000"/>
                    <a:gd name="T25" fmla="*/ 3987 h 7974"/>
                    <a:gd name="T26" fmla="*/ 7686 w 8000"/>
                    <a:gd name="T27" fmla="*/ 5539 h 7974"/>
                    <a:gd name="T28" fmla="*/ 6829 w 8000"/>
                    <a:gd name="T29" fmla="*/ 6807 h 7974"/>
                    <a:gd name="T30" fmla="*/ 5557 w 8000"/>
                    <a:gd name="T31" fmla="*/ 7661 h 7974"/>
                    <a:gd name="T32" fmla="*/ 4000 w 8000"/>
                    <a:gd name="T33" fmla="*/ 7974 h 7974"/>
                    <a:gd name="T34" fmla="*/ 4000 w 8000"/>
                    <a:gd name="T35" fmla="*/ 121 h 7974"/>
                    <a:gd name="T36" fmla="*/ 122 w 8000"/>
                    <a:gd name="T37" fmla="*/ 3987 h 7974"/>
                    <a:gd name="T38" fmla="*/ 4000 w 8000"/>
                    <a:gd name="T39" fmla="*/ 7853 h 7974"/>
                    <a:gd name="T40" fmla="*/ 7879 w 8000"/>
                    <a:gd name="T41" fmla="*/ 3987 h 7974"/>
                    <a:gd name="T42" fmla="*/ 4000 w 8000"/>
                    <a:gd name="T43" fmla="*/ 121 h 79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8000" h="7974">
                      <a:moveTo>
                        <a:pt x="4000" y="7974"/>
                      </a:moveTo>
                      <a:cubicBezTo>
                        <a:pt x="3460" y="7974"/>
                        <a:pt x="2937" y="7869"/>
                        <a:pt x="2443" y="7661"/>
                      </a:cubicBezTo>
                      <a:cubicBezTo>
                        <a:pt x="1967" y="7460"/>
                        <a:pt x="1539" y="7173"/>
                        <a:pt x="1172" y="6807"/>
                      </a:cubicBezTo>
                      <a:cubicBezTo>
                        <a:pt x="805" y="6440"/>
                        <a:pt x="516" y="6014"/>
                        <a:pt x="315" y="5539"/>
                      </a:cubicBezTo>
                      <a:cubicBezTo>
                        <a:pt x="106" y="5048"/>
                        <a:pt x="0" y="4525"/>
                        <a:pt x="0" y="3987"/>
                      </a:cubicBezTo>
                      <a:cubicBezTo>
                        <a:pt x="0" y="3449"/>
                        <a:pt x="106" y="2927"/>
                        <a:pt x="315" y="2435"/>
                      </a:cubicBezTo>
                      <a:cubicBezTo>
                        <a:pt x="516" y="1960"/>
                        <a:pt x="805" y="1534"/>
                        <a:pt x="1172" y="1168"/>
                      </a:cubicBezTo>
                      <a:cubicBezTo>
                        <a:pt x="1539" y="802"/>
                        <a:pt x="1967" y="514"/>
                        <a:pt x="2443" y="313"/>
                      </a:cubicBezTo>
                      <a:cubicBezTo>
                        <a:pt x="2937" y="105"/>
                        <a:pt x="3460" y="0"/>
                        <a:pt x="4000" y="0"/>
                      </a:cubicBezTo>
                      <a:cubicBezTo>
                        <a:pt x="4540" y="0"/>
                        <a:pt x="5064" y="105"/>
                        <a:pt x="5557" y="313"/>
                      </a:cubicBezTo>
                      <a:cubicBezTo>
                        <a:pt x="6034" y="514"/>
                        <a:pt x="6461" y="802"/>
                        <a:pt x="6829" y="1168"/>
                      </a:cubicBezTo>
                      <a:cubicBezTo>
                        <a:pt x="7196" y="1534"/>
                        <a:pt x="7484" y="1960"/>
                        <a:pt x="7686" y="2435"/>
                      </a:cubicBezTo>
                      <a:cubicBezTo>
                        <a:pt x="7895" y="2927"/>
                        <a:pt x="8000" y="3449"/>
                        <a:pt x="8000" y="3987"/>
                      </a:cubicBezTo>
                      <a:cubicBezTo>
                        <a:pt x="8000" y="4525"/>
                        <a:pt x="7895" y="5048"/>
                        <a:pt x="7686" y="5539"/>
                      </a:cubicBezTo>
                      <a:cubicBezTo>
                        <a:pt x="7484" y="6014"/>
                        <a:pt x="7196" y="6440"/>
                        <a:pt x="6829" y="6807"/>
                      </a:cubicBezTo>
                      <a:cubicBezTo>
                        <a:pt x="6461" y="7173"/>
                        <a:pt x="6034" y="7460"/>
                        <a:pt x="5557" y="7661"/>
                      </a:cubicBezTo>
                      <a:cubicBezTo>
                        <a:pt x="5064" y="7869"/>
                        <a:pt x="4540" y="7974"/>
                        <a:pt x="4000" y="7974"/>
                      </a:cubicBezTo>
                      <a:close/>
                      <a:moveTo>
                        <a:pt x="4000" y="121"/>
                      </a:moveTo>
                      <a:cubicBezTo>
                        <a:pt x="1862" y="121"/>
                        <a:pt x="122" y="1856"/>
                        <a:pt x="122" y="3987"/>
                      </a:cubicBezTo>
                      <a:cubicBezTo>
                        <a:pt x="122" y="6119"/>
                        <a:pt x="1862" y="7853"/>
                        <a:pt x="4000" y="7853"/>
                      </a:cubicBezTo>
                      <a:cubicBezTo>
                        <a:pt x="6139" y="7853"/>
                        <a:pt x="7879" y="6119"/>
                        <a:pt x="7879" y="3987"/>
                      </a:cubicBezTo>
                      <a:cubicBezTo>
                        <a:pt x="7879" y="1856"/>
                        <a:pt x="6139" y="121"/>
                        <a:pt x="4000" y="121"/>
                      </a:cubicBezTo>
                      <a:close/>
                    </a:path>
                  </a:pathLst>
                </a:custGeom>
                <a:solidFill>
                  <a:srgbClr val="ACBACF">
                    <a:lumMod val="20000"/>
                    <a:lumOff val="80000"/>
                  </a:srgbClr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  <p:sp>
              <p:nvSpPr>
                <p:cNvPr id="196" name="Oval 7">
                  <a:extLst>
                    <a:ext uri="{FF2B5EF4-FFF2-40B4-BE49-F238E27FC236}">
                      <a16:creationId xmlns:a16="http://schemas.microsoft.com/office/drawing/2014/main" id="{0D25E904-8972-1639-422A-AEF39FE1F7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6225" y="2667001"/>
                  <a:ext cx="1466850" cy="1511300"/>
                </a:xfrm>
                <a:prstGeom prst="ellipse">
                  <a:avLst/>
                </a:prstGeom>
                <a:solidFill>
                  <a:srgbClr val="ACBACF">
                    <a:lumMod val="20000"/>
                    <a:lumOff val="80000"/>
                  </a:srgbClr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</p:grpSp>
          <p:sp>
            <p:nvSpPr>
              <p:cNvPr id="193" name="Freeform 9">
                <a:extLst>
                  <a:ext uri="{FF2B5EF4-FFF2-40B4-BE49-F238E27FC236}">
                    <a16:creationId xmlns:a16="http://schemas.microsoft.com/office/drawing/2014/main" id="{8E84F8DF-6E89-723C-1A1E-25AAC7E30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1694" y="4595148"/>
                <a:ext cx="853514" cy="431641"/>
              </a:xfrm>
              <a:custGeom>
                <a:avLst/>
                <a:gdLst>
                  <a:gd name="T0" fmla="*/ 979 w 1046"/>
                  <a:gd name="T1" fmla="*/ 179 h 528"/>
                  <a:gd name="T2" fmla="*/ 719 w 1046"/>
                  <a:gd name="T3" fmla="*/ 25 h 528"/>
                  <a:gd name="T4" fmla="*/ 648 w 1046"/>
                  <a:gd name="T5" fmla="*/ 13 h 528"/>
                  <a:gd name="T6" fmla="*/ 609 w 1046"/>
                  <a:gd name="T7" fmla="*/ 61 h 528"/>
                  <a:gd name="T8" fmla="*/ 641 w 1046"/>
                  <a:gd name="T9" fmla="*/ 73 h 528"/>
                  <a:gd name="T10" fmla="*/ 679 w 1046"/>
                  <a:gd name="T11" fmla="*/ 39 h 528"/>
                  <a:gd name="T12" fmla="*/ 847 w 1046"/>
                  <a:gd name="T13" fmla="*/ 175 h 528"/>
                  <a:gd name="T14" fmla="*/ 641 w 1046"/>
                  <a:gd name="T15" fmla="*/ 175 h 528"/>
                  <a:gd name="T16" fmla="*/ 568 w 1046"/>
                  <a:gd name="T17" fmla="*/ 217 h 528"/>
                  <a:gd name="T18" fmla="*/ 524 w 1046"/>
                  <a:gd name="T19" fmla="*/ 211 h 528"/>
                  <a:gd name="T20" fmla="*/ 479 w 1046"/>
                  <a:gd name="T21" fmla="*/ 217 h 528"/>
                  <a:gd name="T22" fmla="*/ 405 w 1046"/>
                  <a:gd name="T23" fmla="*/ 175 h 528"/>
                  <a:gd name="T24" fmla="*/ 201 w 1046"/>
                  <a:gd name="T25" fmla="*/ 175 h 528"/>
                  <a:gd name="T26" fmla="*/ 369 w 1046"/>
                  <a:gd name="T27" fmla="*/ 39 h 528"/>
                  <a:gd name="T28" fmla="*/ 406 w 1046"/>
                  <a:gd name="T29" fmla="*/ 73 h 528"/>
                  <a:gd name="T30" fmla="*/ 438 w 1046"/>
                  <a:gd name="T31" fmla="*/ 61 h 528"/>
                  <a:gd name="T32" fmla="*/ 400 w 1046"/>
                  <a:gd name="T33" fmla="*/ 13 h 528"/>
                  <a:gd name="T34" fmla="*/ 329 w 1046"/>
                  <a:gd name="T35" fmla="*/ 25 h 528"/>
                  <a:gd name="T36" fmla="*/ 70 w 1046"/>
                  <a:gd name="T37" fmla="*/ 178 h 528"/>
                  <a:gd name="T38" fmla="*/ 11 w 1046"/>
                  <a:gd name="T39" fmla="*/ 281 h 528"/>
                  <a:gd name="T40" fmla="*/ 51 w 1046"/>
                  <a:gd name="T41" fmla="*/ 463 h 528"/>
                  <a:gd name="T42" fmla="*/ 134 w 1046"/>
                  <a:gd name="T43" fmla="*/ 528 h 528"/>
                  <a:gd name="T44" fmla="*/ 318 w 1046"/>
                  <a:gd name="T45" fmla="*/ 528 h 528"/>
                  <a:gd name="T46" fmla="*/ 401 w 1046"/>
                  <a:gd name="T47" fmla="*/ 463 h 528"/>
                  <a:gd name="T48" fmla="*/ 463 w 1046"/>
                  <a:gd name="T49" fmla="*/ 335 h 528"/>
                  <a:gd name="T50" fmla="*/ 524 w 1046"/>
                  <a:gd name="T51" fmla="*/ 307 h 528"/>
                  <a:gd name="T52" fmla="*/ 582 w 1046"/>
                  <a:gd name="T53" fmla="*/ 332 h 528"/>
                  <a:gd name="T54" fmla="*/ 645 w 1046"/>
                  <a:gd name="T55" fmla="*/ 463 h 528"/>
                  <a:gd name="T56" fmla="*/ 728 w 1046"/>
                  <a:gd name="T57" fmla="*/ 528 h 528"/>
                  <a:gd name="T58" fmla="*/ 912 w 1046"/>
                  <a:gd name="T59" fmla="*/ 528 h 528"/>
                  <a:gd name="T60" fmla="*/ 995 w 1046"/>
                  <a:gd name="T61" fmla="*/ 463 h 528"/>
                  <a:gd name="T62" fmla="*/ 1036 w 1046"/>
                  <a:gd name="T63" fmla="*/ 281 h 528"/>
                  <a:gd name="T64" fmla="*/ 979 w 1046"/>
                  <a:gd name="T65" fmla="*/ 179 h 5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46" h="528">
                    <a:moveTo>
                      <a:pt x="979" y="179"/>
                    </a:moveTo>
                    <a:cubicBezTo>
                      <a:pt x="719" y="25"/>
                      <a:pt x="719" y="25"/>
                      <a:pt x="719" y="25"/>
                    </a:cubicBezTo>
                    <a:cubicBezTo>
                      <a:pt x="719" y="25"/>
                      <a:pt x="679" y="0"/>
                      <a:pt x="648" y="13"/>
                    </a:cubicBezTo>
                    <a:cubicBezTo>
                      <a:pt x="619" y="26"/>
                      <a:pt x="605" y="48"/>
                      <a:pt x="609" y="61"/>
                    </a:cubicBezTo>
                    <a:cubicBezTo>
                      <a:pt x="613" y="72"/>
                      <a:pt x="626" y="81"/>
                      <a:pt x="641" y="73"/>
                    </a:cubicBezTo>
                    <a:cubicBezTo>
                      <a:pt x="657" y="65"/>
                      <a:pt x="651" y="32"/>
                      <a:pt x="679" y="39"/>
                    </a:cubicBezTo>
                    <a:cubicBezTo>
                      <a:pt x="710" y="46"/>
                      <a:pt x="805" y="134"/>
                      <a:pt x="847" y="175"/>
                    </a:cubicBezTo>
                    <a:cubicBezTo>
                      <a:pt x="641" y="175"/>
                      <a:pt x="641" y="175"/>
                      <a:pt x="641" y="175"/>
                    </a:cubicBezTo>
                    <a:cubicBezTo>
                      <a:pt x="609" y="175"/>
                      <a:pt x="583" y="192"/>
                      <a:pt x="568" y="217"/>
                    </a:cubicBezTo>
                    <a:cubicBezTo>
                      <a:pt x="554" y="213"/>
                      <a:pt x="539" y="211"/>
                      <a:pt x="524" y="211"/>
                    </a:cubicBezTo>
                    <a:cubicBezTo>
                      <a:pt x="508" y="211"/>
                      <a:pt x="493" y="213"/>
                      <a:pt x="479" y="217"/>
                    </a:cubicBezTo>
                    <a:cubicBezTo>
                      <a:pt x="464" y="192"/>
                      <a:pt x="437" y="175"/>
                      <a:pt x="405" y="175"/>
                    </a:cubicBezTo>
                    <a:cubicBezTo>
                      <a:pt x="201" y="175"/>
                      <a:pt x="201" y="175"/>
                      <a:pt x="201" y="175"/>
                    </a:cubicBezTo>
                    <a:cubicBezTo>
                      <a:pt x="243" y="134"/>
                      <a:pt x="338" y="46"/>
                      <a:pt x="369" y="39"/>
                    </a:cubicBezTo>
                    <a:cubicBezTo>
                      <a:pt x="396" y="32"/>
                      <a:pt x="391" y="65"/>
                      <a:pt x="406" y="73"/>
                    </a:cubicBezTo>
                    <a:cubicBezTo>
                      <a:pt x="422" y="81"/>
                      <a:pt x="434" y="72"/>
                      <a:pt x="438" y="61"/>
                    </a:cubicBezTo>
                    <a:cubicBezTo>
                      <a:pt x="443" y="48"/>
                      <a:pt x="429" y="26"/>
                      <a:pt x="400" y="13"/>
                    </a:cubicBezTo>
                    <a:cubicBezTo>
                      <a:pt x="369" y="0"/>
                      <a:pt x="329" y="25"/>
                      <a:pt x="329" y="25"/>
                    </a:cubicBezTo>
                    <a:cubicBezTo>
                      <a:pt x="70" y="178"/>
                      <a:pt x="70" y="178"/>
                      <a:pt x="70" y="178"/>
                    </a:cubicBezTo>
                    <a:cubicBezTo>
                      <a:pt x="27" y="191"/>
                      <a:pt x="0" y="235"/>
                      <a:pt x="11" y="281"/>
                    </a:cubicBezTo>
                    <a:cubicBezTo>
                      <a:pt x="51" y="463"/>
                      <a:pt x="51" y="463"/>
                      <a:pt x="51" y="463"/>
                    </a:cubicBezTo>
                    <a:cubicBezTo>
                      <a:pt x="60" y="501"/>
                      <a:pt x="95" y="528"/>
                      <a:pt x="134" y="528"/>
                    </a:cubicBezTo>
                    <a:cubicBezTo>
                      <a:pt x="318" y="528"/>
                      <a:pt x="318" y="528"/>
                      <a:pt x="318" y="528"/>
                    </a:cubicBezTo>
                    <a:cubicBezTo>
                      <a:pt x="358" y="528"/>
                      <a:pt x="384" y="500"/>
                      <a:pt x="401" y="463"/>
                    </a:cubicBezTo>
                    <a:cubicBezTo>
                      <a:pt x="463" y="335"/>
                      <a:pt x="463" y="335"/>
                      <a:pt x="463" y="335"/>
                    </a:cubicBezTo>
                    <a:cubicBezTo>
                      <a:pt x="471" y="314"/>
                      <a:pt x="500" y="307"/>
                      <a:pt x="524" y="307"/>
                    </a:cubicBezTo>
                    <a:cubicBezTo>
                      <a:pt x="546" y="307"/>
                      <a:pt x="572" y="313"/>
                      <a:pt x="582" y="332"/>
                    </a:cubicBezTo>
                    <a:cubicBezTo>
                      <a:pt x="645" y="463"/>
                      <a:pt x="645" y="463"/>
                      <a:pt x="645" y="463"/>
                    </a:cubicBezTo>
                    <a:cubicBezTo>
                      <a:pt x="665" y="501"/>
                      <a:pt x="689" y="528"/>
                      <a:pt x="728" y="528"/>
                    </a:cubicBezTo>
                    <a:cubicBezTo>
                      <a:pt x="912" y="528"/>
                      <a:pt x="912" y="528"/>
                      <a:pt x="912" y="528"/>
                    </a:cubicBezTo>
                    <a:cubicBezTo>
                      <a:pt x="951" y="528"/>
                      <a:pt x="986" y="501"/>
                      <a:pt x="995" y="463"/>
                    </a:cubicBezTo>
                    <a:cubicBezTo>
                      <a:pt x="1036" y="281"/>
                      <a:pt x="1036" y="281"/>
                      <a:pt x="1036" y="281"/>
                    </a:cubicBezTo>
                    <a:cubicBezTo>
                      <a:pt x="1046" y="236"/>
                      <a:pt x="1020" y="193"/>
                      <a:pt x="979" y="179"/>
                    </a:cubicBezTo>
                    <a:close/>
                  </a:path>
                </a:pathLst>
              </a:custGeom>
              <a:solidFill>
                <a:srgbClr val="ACBACF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defRPr/>
                </a:pPr>
                <a:endParaRPr lang="en-US" sz="1463" kern="0">
                  <a:solidFill>
                    <a:prstClr val="black"/>
                  </a:solidFill>
                  <a:latin typeface="Microsoft Sans Serif"/>
                </a:endParaRPr>
              </a:p>
            </p:txBody>
          </p:sp>
        </p:grpSp>
        <p:grpSp>
          <p:nvGrpSpPr>
            <p:cNvPr id="188" name="Group 187">
              <a:extLst>
                <a:ext uri="{FF2B5EF4-FFF2-40B4-BE49-F238E27FC236}">
                  <a16:creationId xmlns:a16="http://schemas.microsoft.com/office/drawing/2014/main" id="{7637EB4E-C5EE-0F38-3D43-560AD952C25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324967" y="2487201"/>
              <a:ext cx="351806" cy="341670"/>
              <a:chOff x="1693545" y="2837181"/>
              <a:chExt cx="2719962" cy="2641600"/>
            </a:xfrm>
          </p:grpSpPr>
          <p:sp>
            <p:nvSpPr>
              <p:cNvPr id="189" name="Freeform 5">
                <a:extLst>
                  <a:ext uri="{FF2B5EF4-FFF2-40B4-BE49-F238E27FC236}">
                    <a16:creationId xmlns:a16="http://schemas.microsoft.com/office/drawing/2014/main" id="{4F49F4E0-6C9C-1DE2-2990-30B6CA920C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3545" y="3297249"/>
                <a:ext cx="2708588" cy="2181532"/>
              </a:xfrm>
              <a:custGeom>
                <a:avLst/>
                <a:gdLst>
                  <a:gd name="T0" fmla="*/ 851 w 1213"/>
                  <a:gd name="T1" fmla="*/ 569 h 976"/>
                  <a:gd name="T2" fmla="*/ 851 w 1213"/>
                  <a:gd name="T3" fmla="*/ 458 h 976"/>
                  <a:gd name="T4" fmla="*/ 806 w 1213"/>
                  <a:gd name="T5" fmla="*/ 430 h 976"/>
                  <a:gd name="T6" fmla="*/ 524 w 1213"/>
                  <a:gd name="T7" fmla="*/ 572 h 976"/>
                  <a:gd name="T8" fmla="*/ 524 w 1213"/>
                  <a:gd name="T9" fmla="*/ 438 h 976"/>
                  <a:gd name="T10" fmla="*/ 493 w 1213"/>
                  <a:gd name="T11" fmla="*/ 407 h 976"/>
                  <a:gd name="T12" fmla="*/ 443 w 1213"/>
                  <a:gd name="T13" fmla="*/ 407 h 976"/>
                  <a:gd name="T14" fmla="*/ 443 w 1213"/>
                  <a:gd name="T15" fmla="*/ 56 h 976"/>
                  <a:gd name="T16" fmla="*/ 429 w 1213"/>
                  <a:gd name="T17" fmla="*/ 42 h 976"/>
                  <a:gd name="T18" fmla="*/ 334 w 1213"/>
                  <a:gd name="T19" fmla="*/ 42 h 976"/>
                  <a:gd name="T20" fmla="*/ 320 w 1213"/>
                  <a:gd name="T21" fmla="*/ 56 h 976"/>
                  <a:gd name="T22" fmla="*/ 320 w 1213"/>
                  <a:gd name="T23" fmla="*/ 407 h 976"/>
                  <a:gd name="T24" fmla="*/ 204 w 1213"/>
                  <a:gd name="T25" fmla="*/ 407 h 976"/>
                  <a:gd name="T26" fmla="*/ 204 w 1213"/>
                  <a:gd name="T27" fmla="*/ 14 h 976"/>
                  <a:gd name="T28" fmla="*/ 190 w 1213"/>
                  <a:gd name="T29" fmla="*/ 0 h 976"/>
                  <a:gd name="T30" fmla="*/ 95 w 1213"/>
                  <a:gd name="T31" fmla="*/ 0 h 976"/>
                  <a:gd name="T32" fmla="*/ 81 w 1213"/>
                  <a:gd name="T33" fmla="*/ 14 h 976"/>
                  <a:gd name="T34" fmla="*/ 81 w 1213"/>
                  <a:gd name="T35" fmla="*/ 407 h 976"/>
                  <a:gd name="T36" fmla="*/ 31 w 1213"/>
                  <a:gd name="T37" fmla="*/ 407 h 976"/>
                  <a:gd name="T38" fmla="*/ 0 w 1213"/>
                  <a:gd name="T39" fmla="*/ 438 h 976"/>
                  <a:gd name="T40" fmla="*/ 0 w 1213"/>
                  <a:gd name="T41" fmla="*/ 945 h 976"/>
                  <a:gd name="T42" fmla="*/ 31 w 1213"/>
                  <a:gd name="T43" fmla="*/ 976 h 976"/>
                  <a:gd name="T44" fmla="*/ 1182 w 1213"/>
                  <a:gd name="T45" fmla="*/ 976 h 976"/>
                  <a:gd name="T46" fmla="*/ 1213 w 1213"/>
                  <a:gd name="T47" fmla="*/ 945 h 976"/>
                  <a:gd name="T48" fmla="*/ 1213 w 1213"/>
                  <a:gd name="T49" fmla="*/ 455 h 976"/>
                  <a:gd name="T50" fmla="*/ 1169 w 1213"/>
                  <a:gd name="T51" fmla="*/ 427 h 976"/>
                  <a:gd name="T52" fmla="*/ 851 w 1213"/>
                  <a:gd name="T53" fmla="*/ 569 h 9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213" h="976">
                    <a:moveTo>
                      <a:pt x="851" y="569"/>
                    </a:moveTo>
                    <a:cubicBezTo>
                      <a:pt x="851" y="517"/>
                      <a:pt x="851" y="481"/>
                      <a:pt x="851" y="458"/>
                    </a:cubicBezTo>
                    <a:cubicBezTo>
                      <a:pt x="851" y="434"/>
                      <a:pt x="826" y="419"/>
                      <a:pt x="806" y="430"/>
                    </a:cubicBezTo>
                    <a:cubicBezTo>
                      <a:pt x="524" y="572"/>
                      <a:pt x="524" y="572"/>
                      <a:pt x="524" y="572"/>
                    </a:cubicBezTo>
                    <a:cubicBezTo>
                      <a:pt x="524" y="502"/>
                      <a:pt x="524" y="461"/>
                      <a:pt x="524" y="438"/>
                    </a:cubicBezTo>
                    <a:cubicBezTo>
                      <a:pt x="524" y="421"/>
                      <a:pt x="510" y="407"/>
                      <a:pt x="493" y="407"/>
                    </a:cubicBezTo>
                    <a:cubicBezTo>
                      <a:pt x="443" y="407"/>
                      <a:pt x="443" y="407"/>
                      <a:pt x="443" y="407"/>
                    </a:cubicBezTo>
                    <a:cubicBezTo>
                      <a:pt x="443" y="56"/>
                      <a:pt x="443" y="56"/>
                      <a:pt x="443" y="56"/>
                    </a:cubicBezTo>
                    <a:cubicBezTo>
                      <a:pt x="443" y="48"/>
                      <a:pt x="436" y="42"/>
                      <a:pt x="429" y="42"/>
                    </a:cubicBezTo>
                    <a:cubicBezTo>
                      <a:pt x="334" y="42"/>
                      <a:pt x="334" y="42"/>
                      <a:pt x="334" y="42"/>
                    </a:cubicBezTo>
                    <a:cubicBezTo>
                      <a:pt x="326" y="42"/>
                      <a:pt x="320" y="48"/>
                      <a:pt x="320" y="56"/>
                    </a:cubicBezTo>
                    <a:cubicBezTo>
                      <a:pt x="320" y="407"/>
                      <a:pt x="320" y="407"/>
                      <a:pt x="320" y="407"/>
                    </a:cubicBezTo>
                    <a:cubicBezTo>
                      <a:pt x="204" y="407"/>
                      <a:pt x="204" y="407"/>
                      <a:pt x="204" y="407"/>
                    </a:cubicBezTo>
                    <a:cubicBezTo>
                      <a:pt x="204" y="14"/>
                      <a:pt x="204" y="14"/>
                      <a:pt x="204" y="14"/>
                    </a:cubicBezTo>
                    <a:cubicBezTo>
                      <a:pt x="204" y="6"/>
                      <a:pt x="197" y="0"/>
                      <a:pt x="190" y="0"/>
                    </a:cubicBezTo>
                    <a:cubicBezTo>
                      <a:pt x="95" y="0"/>
                      <a:pt x="95" y="0"/>
                      <a:pt x="95" y="0"/>
                    </a:cubicBezTo>
                    <a:cubicBezTo>
                      <a:pt x="87" y="0"/>
                      <a:pt x="81" y="6"/>
                      <a:pt x="81" y="14"/>
                    </a:cubicBezTo>
                    <a:cubicBezTo>
                      <a:pt x="81" y="407"/>
                      <a:pt x="81" y="407"/>
                      <a:pt x="81" y="407"/>
                    </a:cubicBezTo>
                    <a:cubicBezTo>
                      <a:pt x="59" y="407"/>
                      <a:pt x="43" y="407"/>
                      <a:pt x="31" y="407"/>
                    </a:cubicBezTo>
                    <a:cubicBezTo>
                      <a:pt x="14" y="407"/>
                      <a:pt x="0" y="421"/>
                      <a:pt x="0" y="438"/>
                    </a:cubicBezTo>
                    <a:cubicBezTo>
                      <a:pt x="0" y="768"/>
                      <a:pt x="0" y="896"/>
                      <a:pt x="0" y="945"/>
                    </a:cubicBezTo>
                    <a:cubicBezTo>
                      <a:pt x="0" y="962"/>
                      <a:pt x="14" y="976"/>
                      <a:pt x="31" y="976"/>
                    </a:cubicBezTo>
                    <a:cubicBezTo>
                      <a:pt x="862" y="976"/>
                      <a:pt x="1109" y="976"/>
                      <a:pt x="1182" y="976"/>
                    </a:cubicBezTo>
                    <a:cubicBezTo>
                      <a:pt x="1199" y="976"/>
                      <a:pt x="1213" y="962"/>
                      <a:pt x="1213" y="945"/>
                    </a:cubicBezTo>
                    <a:cubicBezTo>
                      <a:pt x="1213" y="647"/>
                      <a:pt x="1213" y="514"/>
                      <a:pt x="1213" y="455"/>
                    </a:cubicBezTo>
                    <a:cubicBezTo>
                      <a:pt x="1213" y="432"/>
                      <a:pt x="1190" y="417"/>
                      <a:pt x="1169" y="427"/>
                    </a:cubicBezTo>
                    <a:lnTo>
                      <a:pt x="851" y="569"/>
                    </a:lnTo>
                    <a:close/>
                  </a:path>
                </a:pathLst>
              </a:custGeom>
              <a:solidFill>
                <a:srgbClr val="ACBACF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defRPr/>
                </a:pPr>
                <a:endParaRPr lang="en-US" sz="1463" kern="0">
                  <a:solidFill>
                    <a:prstClr val="black"/>
                  </a:solidFill>
                  <a:latin typeface="Microsoft Sans Serif"/>
                </a:endParaRPr>
              </a:p>
            </p:txBody>
          </p:sp>
          <p:sp>
            <p:nvSpPr>
              <p:cNvPr id="190" name="Freeform: Shape 28">
                <a:extLst>
                  <a:ext uri="{FF2B5EF4-FFF2-40B4-BE49-F238E27FC236}">
                    <a16:creationId xmlns:a16="http://schemas.microsoft.com/office/drawing/2014/main" id="{00E6DC1C-7D1D-6A29-AB26-C5FA516A48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0641" y="2837181"/>
                <a:ext cx="2452866" cy="529584"/>
              </a:xfrm>
              <a:custGeom>
                <a:avLst/>
                <a:gdLst>
                  <a:gd name="connsiteX0" fmla="*/ 2408206 w 2452866"/>
                  <a:gd name="connsiteY0" fmla="*/ 169366 h 529584"/>
                  <a:gd name="connsiteX1" fmla="*/ 2452866 w 2452866"/>
                  <a:gd name="connsiteY1" fmla="*/ 214114 h 529584"/>
                  <a:gd name="connsiteX2" fmla="*/ 2403740 w 2452866"/>
                  <a:gd name="connsiteY2" fmla="*/ 339407 h 529584"/>
                  <a:gd name="connsiteX3" fmla="*/ 2283156 w 2452866"/>
                  <a:gd name="connsiteY3" fmla="*/ 381917 h 529584"/>
                  <a:gd name="connsiteX4" fmla="*/ 720036 w 2452866"/>
                  <a:gd name="connsiteY4" fmla="*/ 381917 h 529584"/>
                  <a:gd name="connsiteX5" fmla="*/ 635181 w 2452866"/>
                  <a:gd name="connsiteY5" fmla="*/ 411003 h 529584"/>
                  <a:gd name="connsiteX6" fmla="*/ 610617 w 2452866"/>
                  <a:gd name="connsiteY6" fmla="*/ 475887 h 529584"/>
                  <a:gd name="connsiteX7" fmla="*/ 610617 w 2452866"/>
                  <a:gd name="connsiteY7" fmla="*/ 478124 h 529584"/>
                  <a:gd name="connsiteX8" fmla="*/ 610617 w 2452866"/>
                  <a:gd name="connsiteY8" fmla="*/ 484837 h 529584"/>
                  <a:gd name="connsiteX9" fmla="*/ 565957 w 2452866"/>
                  <a:gd name="connsiteY9" fmla="*/ 529584 h 529584"/>
                  <a:gd name="connsiteX10" fmla="*/ 521296 w 2452866"/>
                  <a:gd name="connsiteY10" fmla="*/ 484837 h 529584"/>
                  <a:gd name="connsiteX11" fmla="*/ 521296 w 2452866"/>
                  <a:gd name="connsiteY11" fmla="*/ 480362 h 529584"/>
                  <a:gd name="connsiteX12" fmla="*/ 570423 w 2452866"/>
                  <a:gd name="connsiteY12" fmla="*/ 348356 h 529584"/>
                  <a:gd name="connsiteX13" fmla="*/ 720036 w 2452866"/>
                  <a:gd name="connsiteY13" fmla="*/ 294659 h 529584"/>
                  <a:gd name="connsiteX14" fmla="*/ 2285389 w 2452866"/>
                  <a:gd name="connsiteY14" fmla="*/ 294659 h 529584"/>
                  <a:gd name="connsiteX15" fmla="*/ 2287622 w 2452866"/>
                  <a:gd name="connsiteY15" fmla="*/ 294659 h 529584"/>
                  <a:gd name="connsiteX16" fmla="*/ 2343448 w 2452866"/>
                  <a:gd name="connsiteY16" fmla="*/ 276760 h 529584"/>
                  <a:gd name="connsiteX17" fmla="*/ 2363545 w 2452866"/>
                  <a:gd name="connsiteY17" fmla="*/ 214114 h 529584"/>
                  <a:gd name="connsiteX18" fmla="*/ 2408206 w 2452866"/>
                  <a:gd name="connsiteY18" fmla="*/ 169366 h 529584"/>
                  <a:gd name="connsiteX19" fmla="*/ 1771193 w 2452866"/>
                  <a:gd name="connsiteY19" fmla="*/ 0 h 529584"/>
                  <a:gd name="connsiteX20" fmla="*/ 1815849 w 2452866"/>
                  <a:gd name="connsiteY20" fmla="*/ 44714 h 529584"/>
                  <a:gd name="connsiteX21" fmla="*/ 1766727 w 2452866"/>
                  <a:gd name="connsiteY21" fmla="*/ 165440 h 529584"/>
                  <a:gd name="connsiteX22" fmla="*/ 1634990 w 2452866"/>
                  <a:gd name="connsiteY22" fmla="*/ 203447 h 529584"/>
                  <a:gd name="connsiteX23" fmla="*/ 197049 w 2452866"/>
                  <a:gd name="connsiteY23" fmla="*/ 203447 h 529584"/>
                  <a:gd name="connsiteX24" fmla="*/ 114434 w 2452866"/>
                  <a:gd name="connsiteY24" fmla="*/ 232511 h 529584"/>
                  <a:gd name="connsiteX25" fmla="*/ 89873 w 2452866"/>
                  <a:gd name="connsiteY25" fmla="*/ 297346 h 529584"/>
                  <a:gd name="connsiteX26" fmla="*/ 89873 w 2452866"/>
                  <a:gd name="connsiteY26" fmla="*/ 299582 h 529584"/>
                  <a:gd name="connsiteX27" fmla="*/ 89873 w 2452866"/>
                  <a:gd name="connsiteY27" fmla="*/ 400187 h 529584"/>
                  <a:gd name="connsiteX28" fmla="*/ 45216 w 2452866"/>
                  <a:gd name="connsiteY28" fmla="*/ 444901 h 529584"/>
                  <a:gd name="connsiteX29" fmla="*/ 560 w 2452866"/>
                  <a:gd name="connsiteY29" fmla="*/ 400187 h 529584"/>
                  <a:gd name="connsiteX30" fmla="*/ 560 w 2452866"/>
                  <a:gd name="connsiteY30" fmla="*/ 301817 h 529584"/>
                  <a:gd name="connsiteX31" fmla="*/ 49682 w 2452866"/>
                  <a:gd name="connsiteY31" fmla="*/ 169912 h 529584"/>
                  <a:gd name="connsiteX32" fmla="*/ 197049 w 2452866"/>
                  <a:gd name="connsiteY32" fmla="*/ 114020 h 529584"/>
                  <a:gd name="connsiteX33" fmla="*/ 1637223 w 2452866"/>
                  <a:gd name="connsiteY33" fmla="*/ 114020 h 529584"/>
                  <a:gd name="connsiteX34" fmla="*/ 1641689 w 2452866"/>
                  <a:gd name="connsiteY34" fmla="*/ 116255 h 529584"/>
                  <a:gd name="connsiteX35" fmla="*/ 1708673 w 2452866"/>
                  <a:gd name="connsiteY35" fmla="*/ 98370 h 529584"/>
                  <a:gd name="connsiteX36" fmla="*/ 1726536 w 2452866"/>
                  <a:gd name="connsiteY36" fmla="*/ 44714 h 529584"/>
                  <a:gd name="connsiteX37" fmla="*/ 1771193 w 2452866"/>
                  <a:gd name="connsiteY37" fmla="*/ 0 h 529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452866" h="529584">
                    <a:moveTo>
                      <a:pt x="2408206" y="169366"/>
                    </a:moveTo>
                    <a:cubicBezTo>
                      <a:pt x="2432769" y="169366"/>
                      <a:pt x="2452866" y="189503"/>
                      <a:pt x="2452866" y="214114"/>
                    </a:cubicBezTo>
                    <a:cubicBezTo>
                      <a:pt x="2452866" y="267811"/>
                      <a:pt x="2437235" y="312558"/>
                      <a:pt x="2403740" y="339407"/>
                    </a:cubicBezTo>
                    <a:cubicBezTo>
                      <a:pt x="2359079" y="384155"/>
                      <a:pt x="2296554" y="384155"/>
                      <a:pt x="2283156" y="381917"/>
                    </a:cubicBezTo>
                    <a:cubicBezTo>
                      <a:pt x="720036" y="381917"/>
                      <a:pt x="720036" y="381917"/>
                      <a:pt x="720036" y="381917"/>
                    </a:cubicBezTo>
                    <a:cubicBezTo>
                      <a:pt x="682074" y="381917"/>
                      <a:pt x="653045" y="390867"/>
                      <a:pt x="635181" y="411003"/>
                    </a:cubicBezTo>
                    <a:cubicBezTo>
                      <a:pt x="610617" y="435614"/>
                      <a:pt x="610617" y="473650"/>
                      <a:pt x="610617" y="475887"/>
                    </a:cubicBezTo>
                    <a:cubicBezTo>
                      <a:pt x="610617" y="478124"/>
                      <a:pt x="610617" y="478124"/>
                      <a:pt x="610617" y="478124"/>
                    </a:cubicBezTo>
                    <a:cubicBezTo>
                      <a:pt x="610617" y="484837"/>
                      <a:pt x="610617" y="484837"/>
                      <a:pt x="610617" y="484837"/>
                    </a:cubicBezTo>
                    <a:cubicBezTo>
                      <a:pt x="610617" y="509448"/>
                      <a:pt x="590520" y="529584"/>
                      <a:pt x="565957" y="529584"/>
                    </a:cubicBezTo>
                    <a:cubicBezTo>
                      <a:pt x="541393" y="529584"/>
                      <a:pt x="521296" y="509448"/>
                      <a:pt x="521296" y="484837"/>
                    </a:cubicBezTo>
                    <a:cubicBezTo>
                      <a:pt x="521296" y="480362"/>
                      <a:pt x="521296" y="480362"/>
                      <a:pt x="521296" y="480362"/>
                    </a:cubicBezTo>
                    <a:cubicBezTo>
                      <a:pt x="519063" y="466938"/>
                      <a:pt x="521296" y="399816"/>
                      <a:pt x="570423" y="348356"/>
                    </a:cubicBezTo>
                    <a:cubicBezTo>
                      <a:pt x="603918" y="314796"/>
                      <a:pt x="655278" y="294659"/>
                      <a:pt x="720036" y="294659"/>
                    </a:cubicBezTo>
                    <a:cubicBezTo>
                      <a:pt x="2285389" y="294659"/>
                      <a:pt x="2285389" y="294659"/>
                      <a:pt x="2285389" y="294659"/>
                    </a:cubicBezTo>
                    <a:cubicBezTo>
                      <a:pt x="2285389" y="294659"/>
                      <a:pt x="2285389" y="294659"/>
                      <a:pt x="2287622" y="294659"/>
                    </a:cubicBezTo>
                    <a:cubicBezTo>
                      <a:pt x="2289855" y="294659"/>
                      <a:pt x="2323351" y="296897"/>
                      <a:pt x="2343448" y="276760"/>
                    </a:cubicBezTo>
                    <a:cubicBezTo>
                      <a:pt x="2356846" y="263336"/>
                      <a:pt x="2363545" y="243200"/>
                      <a:pt x="2363545" y="214114"/>
                    </a:cubicBezTo>
                    <a:cubicBezTo>
                      <a:pt x="2363545" y="189503"/>
                      <a:pt x="2383642" y="169366"/>
                      <a:pt x="2408206" y="169366"/>
                    </a:cubicBezTo>
                    <a:close/>
                    <a:moveTo>
                      <a:pt x="1771193" y="0"/>
                    </a:moveTo>
                    <a:cubicBezTo>
                      <a:pt x="1795754" y="0"/>
                      <a:pt x="1815849" y="20121"/>
                      <a:pt x="1815849" y="44714"/>
                    </a:cubicBezTo>
                    <a:cubicBezTo>
                      <a:pt x="1815849" y="107313"/>
                      <a:pt x="1789055" y="145319"/>
                      <a:pt x="1766727" y="165440"/>
                    </a:cubicBezTo>
                    <a:cubicBezTo>
                      <a:pt x="1717605" y="210154"/>
                      <a:pt x="1650620" y="205683"/>
                      <a:pt x="1634990" y="203447"/>
                    </a:cubicBezTo>
                    <a:cubicBezTo>
                      <a:pt x="197049" y="203447"/>
                      <a:pt x="197049" y="203447"/>
                      <a:pt x="197049" y="203447"/>
                    </a:cubicBezTo>
                    <a:cubicBezTo>
                      <a:pt x="159090" y="203447"/>
                      <a:pt x="132297" y="214626"/>
                      <a:pt x="114434" y="232511"/>
                    </a:cubicBezTo>
                    <a:cubicBezTo>
                      <a:pt x="87640" y="259339"/>
                      <a:pt x="89873" y="297346"/>
                      <a:pt x="89873" y="297346"/>
                    </a:cubicBezTo>
                    <a:cubicBezTo>
                      <a:pt x="89873" y="299582"/>
                      <a:pt x="89873" y="299582"/>
                      <a:pt x="89873" y="299582"/>
                    </a:cubicBezTo>
                    <a:cubicBezTo>
                      <a:pt x="89873" y="400187"/>
                      <a:pt x="89873" y="400187"/>
                      <a:pt x="89873" y="400187"/>
                    </a:cubicBezTo>
                    <a:cubicBezTo>
                      <a:pt x="89873" y="424780"/>
                      <a:pt x="69777" y="444901"/>
                      <a:pt x="45216" y="444901"/>
                    </a:cubicBezTo>
                    <a:cubicBezTo>
                      <a:pt x="20655" y="444901"/>
                      <a:pt x="560" y="424780"/>
                      <a:pt x="560" y="400187"/>
                    </a:cubicBezTo>
                    <a:cubicBezTo>
                      <a:pt x="560" y="301817"/>
                      <a:pt x="560" y="301817"/>
                      <a:pt x="560" y="301817"/>
                    </a:cubicBezTo>
                    <a:cubicBezTo>
                      <a:pt x="-1673" y="288403"/>
                      <a:pt x="560" y="223568"/>
                      <a:pt x="49682" y="169912"/>
                    </a:cubicBezTo>
                    <a:cubicBezTo>
                      <a:pt x="83174" y="134141"/>
                      <a:pt x="134529" y="114020"/>
                      <a:pt x="197049" y="114020"/>
                    </a:cubicBezTo>
                    <a:cubicBezTo>
                      <a:pt x="1637223" y="114020"/>
                      <a:pt x="1637223" y="114020"/>
                      <a:pt x="1637223" y="114020"/>
                    </a:cubicBezTo>
                    <a:cubicBezTo>
                      <a:pt x="1637223" y="114020"/>
                      <a:pt x="1639456" y="114020"/>
                      <a:pt x="1641689" y="116255"/>
                    </a:cubicBezTo>
                    <a:cubicBezTo>
                      <a:pt x="1655086" y="116255"/>
                      <a:pt x="1688578" y="116255"/>
                      <a:pt x="1708673" y="98370"/>
                    </a:cubicBezTo>
                    <a:cubicBezTo>
                      <a:pt x="1719838" y="87192"/>
                      <a:pt x="1726536" y="69306"/>
                      <a:pt x="1726536" y="44714"/>
                    </a:cubicBezTo>
                    <a:cubicBezTo>
                      <a:pt x="1726536" y="20121"/>
                      <a:pt x="1746632" y="0"/>
                      <a:pt x="1771193" y="0"/>
                    </a:cubicBezTo>
                    <a:close/>
                  </a:path>
                </a:pathLst>
              </a:custGeom>
              <a:solidFill>
                <a:srgbClr val="ACBACF">
                  <a:lumMod val="60000"/>
                  <a:lumOff val="4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743407">
                  <a:defRPr/>
                </a:pPr>
                <a:endParaRPr lang="en-US" sz="1463" kern="0">
                  <a:solidFill>
                    <a:prstClr val="black"/>
                  </a:solidFill>
                  <a:latin typeface="Microsoft Sans Serif"/>
                </a:endParaRPr>
              </a:p>
            </p:txBody>
          </p:sp>
          <p:sp>
            <p:nvSpPr>
              <p:cNvPr id="191" name="Freeform: Shape 30">
                <a:extLst>
                  <a:ext uri="{FF2B5EF4-FFF2-40B4-BE49-F238E27FC236}">
                    <a16:creationId xmlns:a16="http://schemas.microsoft.com/office/drawing/2014/main" id="{1B26D15F-D09C-BE9D-A42E-E98530DD82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4939" y="4844291"/>
                <a:ext cx="1255076" cy="457540"/>
              </a:xfrm>
              <a:custGeom>
                <a:avLst/>
                <a:gdLst>
                  <a:gd name="connsiteX0" fmla="*/ 1116507 w 1255076"/>
                  <a:gd name="connsiteY0" fmla="*/ 0 h 457540"/>
                  <a:gd name="connsiteX1" fmla="*/ 1210376 w 1255076"/>
                  <a:gd name="connsiteY1" fmla="*/ 0 h 457540"/>
                  <a:gd name="connsiteX2" fmla="*/ 1255076 w 1255076"/>
                  <a:gd name="connsiteY2" fmla="*/ 44638 h 457540"/>
                  <a:gd name="connsiteX3" fmla="*/ 1255076 w 1255076"/>
                  <a:gd name="connsiteY3" fmla="*/ 412902 h 457540"/>
                  <a:gd name="connsiteX4" fmla="*/ 1210376 w 1255076"/>
                  <a:gd name="connsiteY4" fmla="*/ 457540 h 457540"/>
                  <a:gd name="connsiteX5" fmla="*/ 1116507 w 1255076"/>
                  <a:gd name="connsiteY5" fmla="*/ 457540 h 457540"/>
                  <a:gd name="connsiteX6" fmla="*/ 1071807 w 1255076"/>
                  <a:gd name="connsiteY6" fmla="*/ 412902 h 457540"/>
                  <a:gd name="connsiteX7" fmla="*/ 1071807 w 1255076"/>
                  <a:gd name="connsiteY7" fmla="*/ 44638 h 457540"/>
                  <a:gd name="connsiteX8" fmla="*/ 1116507 w 1255076"/>
                  <a:gd name="connsiteY8" fmla="*/ 0 h 457540"/>
                  <a:gd name="connsiteX9" fmla="*/ 758817 w 1255076"/>
                  <a:gd name="connsiteY9" fmla="*/ 0 h 457540"/>
                  <a:gd name="connsiteX10" fmla="*/ 852686 w 1255076"/>
                  <a:gd name="connsiteY10" fmla="*/ 0 h 457540"/>
                  <a:gd name="connsiteX11" fmla="*/ 897386 w 1255076"/>
                  <a:gd name="connsiteY11" fmla="*/ 44638 h 457540"/>
                  <a:gd name="connsiteX12" fmla="*/ 897386 w 1255076"/>
                  <a:gd name="connsiteY12" fmla="*/ 412902 h 457540"/>
                  <a:gd name="connsiteX13" fmla="*/ 852686 w 1255076"/>
                  <a:gd name="connsiteY13" fmla="*/ 457540 h 457540"/>
                  <a:gd name="connsiteX14" fmla="*/ 758817 w 1255076"/>
                  <a:gd name="connsiteY14" fmla="*/ 457540 h 457540"/>
                  <a:gd name="connsiteX15" fmla="*/ 714117 w 1255076"/>
                  <a:gd name="connsiteY15" fmla="*/ 412902 h 457540"/>
                  <a:gd name="connsiteX16" fmla="*/ 714117 w 1255076"/>
                  <a:gd name="connsiteY16" fmla="*/ 44638 h 457540"/>
                  <a:gd name="connsiteX17" fmla="*/ 758817 w 1255076"/>
                  <a:gd name="connsiteY17" fmla="*/ 0 h 457540"/>
                  <a:gd name="connsiteX18" fmla="*/ 402391 w 1255076"/>
                  <a:gd name="connsiteY18" fmla="*/ 0 h 457540"/>
                  <a:gd name="connsiteX19" fmla="*/ 496260 w 1255076"/>
                  <a:gd name="connsiteY19" fmla="*/ 0 h 457540"/>
                  <a:gd name="connsiteX20" fmla="*/ 540960 w 1255076"/>
                  <a:gd name="connsiteY20" fmla="*/ 44638 h 457540"/>
                  <a:gd name="connsiteX21" fmla="*/ 540960 w 1255076"/>
                  <a:gd name="connsiteY21" fmla="*/ 412902 h 457540"/>
                  <a:gd name="connsiteX22" fmla="*/ 496260 w 1255076"/>
                  <a:gd name="connsiteY22" fmla="*/ 457540 h 457540"/>
                  <a:gd name="connsiteX23" fmla="*/ 402391 w 1255076"/>
                  <a:gd name="connsiteY23" fmla="*/ 457540 h 457540"/>
                  <a:gd name="connsiteX24" fmla="*/ 357691 w 1255076"/>
                  <a:gd name="connsiteY24" fmla="*/ 412902 h 457540"/>
                  <a:gd name="connsiteX25" fmla="*/ 357691 w 1255076"/>
                  <a:gd name="connsiteY25" fmla="*/ 44638 h 457540"/>
                  <a:gd name="connsiteX26" fmla="*/ 402391 w 1255076"/>
                  <a:gd name="connsiteY26" fmla="*/ 0 h 457540"/>
                  <a:gd name="connsiteX27" fmla="*/ 44700 w 1255076"/>
                  <a:gd name="connsiteY27" fmla="*/ 0 h 457540"/>
                  <a:gd name="connsiteX28" fmla="*/ 138569 w 1255076"/>
                  <a:gd name="connsiteY28" fmla="*/ 0 h 457540"/>
                  <a:gd name="connsiteX29" fmla="*/ 183269 w 1255076"/>
                  <a:gd name="connsiteY29" fmla="*/ 44638 h 457540"/>
                  <a:gd name="connsiteX30" fmla="*/ 183269 w 1255076"/>
                  <a:gd name="connsiteY30" fmla="*/ 412902 h 457540"/>
                  <a:gd name="connsiteX31" fmla="*/ 138569 w 1255076"/>
                  <a:gd name="connsiteY31" fmla="*/ 457540 h 457540"/>
                  <a:gd name="connsiteX32" fmla="*/ 44700 w 1255076"/>
                  <a:gd name="connsiteY32" fmla="*/ 457540 h 457540"/>
                  <a:gd name="connsiteX33" fmla="*/ 0 w 1255076"/>
                  <a:gd name="connsiteY33" fmla="*/ 412902 h 457540"/>
                  <a:gd name="connsiteX34" fmla="*/ 0 w 1255076"/>
                  <a:gd name="connsiteY34" fmla="*/ 44638 h 457540"/>
                  <a:gd name="connsiteX35" fmla="*/ 44700 w 1255076"/>
                  <a:gd name="connsiteY35" fmla="*/ 0 h 457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255076" h="457540">
                    <a:moveTo>
                      <a:pt x="1116507" y="0"/>
                    </a:moveTo>
                    <a:cubicBezTo>
                      <a:pt x="1210376" y="0"/>
                      <a:pt x="1210376" y="0"/>
                      <a:pt x="1210376" y="0"/>
                    </a:cubicBezTo>
                    <a:cubicBezTo>
                      <a:pt x="1234961" y="0"/>
                      <a:pt x="1255076" y="20087"/>
                      <a:pt x="1255076" y="44638"/>
                    </a:cubicBezTo>
                    <a:lnTo>
                      <a:pt x="1255076" y="412902"/>
                    </a:lnTo>
                    <a:cubicBezTo>
                      <a:pt x="1255076" y="437453"/>
                      <a:pt x="1234961" y="457540"/>
                      <a:pt x="1210376" y="457540"/>
                    </a:cubicBezTo>
                    <a:cubicBezTo>
                      <a:pt x="1116507" y="457540"/>
                      <a:pt x="1116507" y="457540"/>
                      <a:pt x="1116507" y="457540"/>
                    </a:cubicBezTo>
                    <a:cubicBezTo>
                      <a:pt x="1091922" y="457540"/>
                      <a:pt x="1071807" y="437453"/>
                      <a:pt x="1071807" y="412902"/>
                    </a:cubicBezTo>
                    <a:cubicBezTo>
                      <a:pt x="1071807" y="44638"/>
                      <a:pt x="1071807" y="44638"/>
                      <a:pt x="1071807" y="44638"/>
                    </a:cubicBezTo>
                    <a:cubicBezTo>
                      <a:pt x="1071807" y="20087"/>
                      <a:pt x="1091922" y="0"/>
                      <a:pt x="1116507" y="0"/>
                    </a:cubicBezTo>
                    <a:close/>
                    <a:moveTo>
                      <a:pt x="758817" y="0"/>
                    </a:moveTo>
                    <a:cubicBezTo>
                      <a:pt x="852686" y="0"/>
                      <a:pt x="852686" y="0"/>
                      <a:pt x="852686" y="0"/>
                    </a:cubicBezTo>
                    <a:cubicBezTo>
                      <a:pt x="877271" y="0"/>
                      <a:pt x="897386" y="20087"/>
                      <a:pt x="897386" y="44638"/>
                    </a:cubicBezTo>
                    <a:lnTo>
                      <a:pt x="897386" y="412902"/>
                    </a:lnTo>
                    <a:cubicBezTo>
                      <a:pt x="897386" y="437453"/>
                      <a:pt x="877271" y="457540"/>
                      <a:pt x="852686" y="457540"/>
                    </a:cubicBezTo>
                    <a:cubicBezTo>
                      <a:pt x="758817" y="457540"/>
                      <a:pt x="758817" y="457540"/>
                      <a:pt x="758817" y="457540"/>
                    </a:cubicBezTo>
                    <a:cubicBezTo>
                      <a:pt x="734232" y="457540"/>
                      <a:pt x="714117" y="437453"/>
                      <a:pt x="714117" y="412902"/>
                    </a:cubicBezTo>
                    <a:cubicBezTo>
                      <a:pt x="714117" y="44638"/>
                      <a:pt x="714117" y="44638"/>
                      <a:pt x="714117" y="44638"/>
                    </a:cubicBezTo>
                    <a:cubicBezTo>
                      <a:pt x="714117" y="20087"/>
                      <a:pt x="734232" y="0"/>
                      <a:pt x="758817" y="0"/>
                    </a:cubicBezTo>
                    <a:close/>
                    <a:moveTo>
                      <a:pt x="402391" y="0"/>
                    </a:moveTo>
                    <a:cubicBezTo>
                      <a:pt x="496260" y="0"/>
                      <a:pt x="496260" y="0"/>
                      <a:pt x="496260" y="0"/>
                    </a:cubicBezTo>
                    <a:cubicBezTo>
                      <a:pt x="520845" y="0"/>
                      <a:pt x="540960" y="20087"/>
                      <a:pt x="540960" y="44638"/>
                    </a:cubicBezTo>
                    <a:lnTo>
                      <a:pt x="540960" y="412902"/>
                    </a:lnTo>
                    <a:cubicBezTo>
                      <a:pt x="540960" y="437453"/>
                      <a:pt x="520845" y="457540"/>
                      <a:pt x="496260" y="457540"/>
                    </a:cubicBezTo>
                    <a:cubicBezTo>
                      <a:pt x="402391" y="457540"/>
                      <a:pt x="402391" y="457540"/>
                      <a:pt x="402391" y="457540"/>
                    </a:cubicBezTo>
                    <a:cubicBezTo>
                      <a:pt x="377806" y="457540"/>
                      <a:pt x="357691" y="437453"/>
                      <a:pt x="357691" y="412902"/>
                    </a:cubicBezTo>
                    <a:cubicBezTo>
                      <a:pt x="357691" y="44638"/>
                      <a:pt x="357691" y="44638"/>
                      <a:pt x="357691" y="44638"/>
                    </a:cubicBezTo>
                    <a:cubicBezTo>
                      <a:pt x="357691" y="20087"/>
                      <a:pt x="377806" y="0"/>
                      <a:pt x="402391" y="0"/>
                    </a:cubicBezTo>
                    <a:close/>
                    <a:moveTo>
                      <a:pt x="44700" y="0"/>
                    </a:moveTo>
                    <a:cubicBezTo>
                      <a:pt x="138569" y="0"/>
                      <a:pt x="138569" y="0"/>
                      <a:pt x="138569" y="0"/>
                    </a:cubicBezTo>
                    <a:cubicBezTo>
                      <a:pt x="163154" y="0"/>
                      <a:pt x="183269" y="20087"/>
                      <a:pt x="183269" y="44638"/>
                    </a:cubicBezTo>
                    <a:lnTo>
                      <a:pt x="183269" y="412902"/>
                    </a:lnTo>
                    <a:cubicBezTo>
                      <a:pt x="183269" y="437453"/>
                      <a:pt x="163154" y="457540"/>
                      <a:pt x="138569" y="457540"/>
                    </a:cubicBezTo>
                    <a:cubicBezTo>
                      <a:pt x="44700" y="457540"/>
                      <a:pt x="44700" y="457540"/>
                      <a:pt x="44700" y="457540"/>
                    </a:cubicBezTo>
                    <a:cubicBezTo>
                      <a:pt x="20115" y="457540"/>
                      <a:pt x="0" y="437453"/>
                      <a:pt x="0" y="412902"/>
                    </a:cubicBezTo>
                    <a:cubicBezTo>
                      <a:pt x="0" y="44638"/>
                      <a:pt x="0" y="44638"/>
                      <a:pt x="0" y="44638"/>
                    </a:cubicBezTo>
                    <a:cubicBezTo>
                      <a:pt x="0" y="20087"/>
                      <a:pt x="20115" y="0"/>
                      <a:pt x="44700" y="0"/>
                    </a:cubicBezTo>
                    <a:close/>
                  </a:path>
                </a:pathLst>
              </a:custGeom>
              <a:solidFill>
                <a:srgbClr val="4457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743407">
                  <a:defRPr/>
                </a:pPr>
                <a:endParaRPr lang="en-US" sz="1463" kern="0">
                  <a:solidFill>
                    <a:prstClr val="black"/>
                  </a:solidFill>
                  <a:latin typeface="Microsoft Sans Serif"/>
                </a:endParaRPr>
              </a:p>
            </p:txBody>
          </p:sp>
        </p:grpSp>
      </p:grpSp>
      <p:grpSp>
        <p:nvGrpSpPr>
          <p:cNvPr id="456" name="Group 455">
            <a:extLst>
              <a:ext uri="{FF2B5EF4-FFF2-40B4-BE49-F238E27FC236}">
                <a16:creationId xmlns:a16="http://schemas.microsoft.com/office/drawing/2014/main" id="{0FD4C9F4-7355-58B9-0BF2-8CFB8653ECC4}"/>
              </a:ext>
            </a:extLst>
          </p:cNvPr>
          <p:cNvGrpSpPr/>
          <p:nvPr/>
        </p:nvGrpSpPr>
        <p:grpSpPr>
          <a:xfrm>
            <a:off x="4807135" y="2733480"/>
            <a:ext cx="2507376" cy="1155708"/>
            <a:chOff x="4694974" y="2683700"/>
            <a:chExt cx="3083942" cy="1421461"/>
          </a:xfrm>
        </p:grpSpPr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D212B7E9-D4A7-D4D9-1681-9DBC65AB4E01}"/>
                </a:ext>
              </a:extLst>
            </p:cNvPr>
            <p:cNvGrpSpPr/>
            <p:nvPr/>
          </p:nvGrpSpPr>
          <p:grpSpPr>
            <a:xfrm>
              <a:off x="4694974" y="2683700"/>
              <a:ext cx="2844561" cy="1421461"/>
              <a:chOff x="4471796" y="2572174"/>
              <a:chExt cx="3067738" cy="1532985"/>
            </a:xfrm>
          </p:grpSpPr>
          <p:grpSp>
            <p:nvGrpSpPr>
              <p:cNvPr id="472" name="Group 471">
                <a:extLst>
                  <a:ext uri="{FF2B5EF4-FFF2-40B4-BE49-F238E27FC236}">
                    <a16:creationId xmlns:a16="http://schemas.microsoft.com/office/drawing/2014/main" id="{13295E84-BD8B-8123-AC72-954E3F7F702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flipH="1">
                <a:off x="6958570" y="2572174"/>
                <a:ext cx="580964" cy="554340"/>
                <a:chOff x="1959352" y="3192359"/>
                <a:chExt cx="2213516" cy="2112076"/>
              </a:xfrm>
            </p:grpSpPr>
            <p:sp>
              <p:nvSpPr>
                <p:cNvPr id="505" name="Freeform 9">
                  <a:extLst>
                    <a:ext uri="{FF2B5EF4-FFF2-40B4-BE49-F238E27FC236}">
                      <a16:creationId xmlns:a16="http://schemas.microsoft.com/office/drawing/2014/main" id="{873837E7-02A5-E4A0-9B10-E674F6F921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27740" y="3717362"/>
                  <a:ext cx="1313686" cy="1238414"/>
                </a:xfrm>
                <a:custGeom>
                  <a:avLst/>
                  <a:gdLst>
                    <a:gd name="T0" fmla="*/ 606 w 622"/>
                    <a:gd name="T1" fmla="*/ 340 h 586"/>
                    <a:gd name="T2" fmla="*/ 450 w 622"/>
                    <a:gd name="T3" fmla="*/ 314 h 586"/>
                    <a:gd name="T4" fmla="*/ 488 w 622"/>
                    <a:gd name="T5" fmla="*/ 277 h 586"/>
                    <a:gd name="T6" fmla="*/ 488 w 622"/>
                    <a:gd name="T7" fmla="*/ 245 h 586"/>
                    <a:gd name="T8" fmla="*/ 390 w 622"/>
                    <a:gd name="T9" fmla="*/ 151 h 586"/>
                    <a:gd name="T10" fmla="*/ 360 w 622"/>
                    <a:gd name="T11" fmla="*/ 123 h 586"/>
                    <a:gd name="T12" fmla="*/ 287 w 622"/>
                    <a:gd name="T13" fmla="*/ 53 h 586"/>
                    <a:gd name="T14" fmla="*/ 163 w 622"/>
                    <a:gd name="T15" fmla="*/ 0 h 586"/>
                    <a:gd name="T16" fmla="*/ 0 w 622"/>
                    <a:gd name="T17" fmla="*/ 156 h 586"/>
                    <a:gd name="T18" fmla="*/ 62 w 622"/>
                    <a:gd name="T19" fmla="*/ 279 h 586"/>
                    <a:gd name="T20" fmla="*/ 130 w 622"/>
                    <a:gd name="T21" fmla="*/ 342 h 586"/>
                    <a:gd name="T22" fmla="*/ 159 w 622"/>
                    <a:gd name="T23" fmla="*/ 371 h 586"/>
                    <a:gd name="T24" fmla="*/ 258 w 622"/>
                    <a:gd name="T25" fmla="*/ 464 h 586"/>
                    <a:gd name="T26" fmla="*/ 292 w 622"/>
                    <a:gd name="T27" fmla="*/ 464 h 586"/>
                    <a:gd name="T28" fmla="*/ 336 w 622"/>
                    <a:gd name="T29" fmla="*/ 422 h 586"/>
                    <a:gd name="T30" fmla="*/ 364 w 622"/>
                    <a:gd name="T31" fmla="*/ 569 h 586"/>
                    <a:gd name="T32" fmla="*/ 407 w 622"/>
                    <a:gd name="T33" fmla="*/ 574 h 586"/>
                    <a:gd name="T34" fmla="*/ 611 w 622"/>
                    <a:gd name="T35" fmla="*/ 381 h 586"/>
                    <a:gd name="T36" fmla="*/ 606 w 622"/>
                    <a:gd name="T37" fmla="*/ 340 h 5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622" h="586">
                      <a:moveTo>
                        <a:pt x="606" y="340"/>
                      </a:moveTo>
                      <a:cubicBezTo>
                        <a:pt x="558" y="309"/>
                        <a:pt x="501" y="300"/>
                        <a:pt x="450" y="314"/>
                      </a:cubicBezTo>
                      <a:cubicBezTo>
                        <a:pt x="450" y="314"/>
                        <a:pt x="450" y="314"/>
                        <a:pt x="488" y="277"/>
                      </a:cubicBezTo>
                      <a:cubicBezTo>
                        <a:pt x="498" y="268"/>
                        <a:pt x="498" y="254"/>
                        <a:pt x="488" y="245"/>
                      </a:cubicBezTo>
                      <a:cubicBezTo>
                        <a:pt x="488" y="245"/>
                        <a:pt x="390" y="151"/>
                        <a:pt x="390" y="151"/>
                      </a:cubicBezTo>
                      <a:cubicBezTo>
                        <a:pt x="389" y="150"/>
                        <a:pt x="360" y="123"/>
                        <a:pt x="360" y="123"/>
                      </a:cubicBezTo>
                      <a:cubicBezTo>
                        <a:pt x="360" y="123"/>
                        <a:pt x="360" y="123"/>
                        <a:pt x="287" y="53"/>
                      </a:cubicBezTo>
                      <a:cubicBezTo>
                        <a:pt x="257" y="20"/>
                        <a:pt x="213" y="0"/>
                        <a:pt x="163" y="0"/>
                      </a:cubicBezTo>
                      <a:cubicBezTo>
                        <a:pt x="73" y="0"/>
                        <a:pt x="0" y="70"/>
                        <a:pt x="0" y="156"/>
                      </a:cubicBezTo>
                      <a:cubicBezTo>
                        <a:pt x="0" y="206"/>
                        <a:pt x="24" y="250"/>
                        <a:pt x="62" y="279"/>
                      </a:cubicBezTo>
                      <a:cubicBezTo>
                        <a:pt x="62" y="279"/>
                        <a:pt x="62" y="279"/>
                        <a:pt x="130" y="342"/>
                      </a:cubicBezTo>
                      <a:cubicBezTo>
                        <a:pt x="159" y="371"/>
                        <a:pt x="159" y="371"/>
                        <a:pt x="159" y="371"/>
                      </a:cubicBezTo>
                      <a:cubicBezTo>
                        <a:pt x="159" y="371"/>
                        <a:pt x="159" y="371"/>
                        <a:pt x="258" y="464"/>
                      </a:cubicBezTo>
                      <a:cubicBezTo>
                        <a:pt x="267" y="473"/>
                        <a:pt x="282" y="473"/>
                        <a:pt x="292" y="464"/>
                      </a:cubicBezTo>
                      <a:cubicBezTo>
                        <a:pt x="292" y="464"/>
                        <a:pt x="292" y="464"/>
                        <a:pt x="336" y="422"/>
                      </a:cubicBezTo>
                      <a:cubicBezTo>
                        <a:pt x="322" y="470"/>
                        <a:pt x="331" y="525"/>
                        <a:pt x="364" y="569"/>
                      </a:cubicBezTo>
                      <a:cubicBezTo>
                        <a:pt x="374" y="583"/>
                        <a:pt x="395" y="586"/>
                        <a:pt x="407" y="574"/>
                      </a:cubicBezTo>
                      <a:cubicBezTo>
                        <a:pt x="407" y="574"/>
                        <a:pt x="407" y="574"/>
                        <a:pt x="611" y="381"/>
                      </a:cubicBezTo>
                      <a:cubicBezTo>
                        <a:pt x="622" y="370"/>
                        <a:pt x="620" y="350"/>
                        <a:pt x="606" y="340"/>
                      </a:cubicBezTo>
                      <a:close/>
                    </a:path>
                  </a:pathLst>
                </a:custGeom>
                <a:solidFill>
                  <a:srgbClr val="445776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prstClr val="black"/>
                    </a:solidFill>
                    <a:latin typeface="Microsoft Sans Serif"/>
                  </a:endParaRPr>
                </a:p>
              </p:txBody>
            </p:sp>
            <p:sp>
              <p:nvSpPr>
                <p:cNvPr id="506" name="Freeform 8">
                  <a:extLst>
                    <a:ext uri="{FF2B5EF4-FFF2-40B4-BE49-F238E27FC236}">
                      <a16:creationId xmlns:a16="http://schemas.microsoft.com/office/drawing/2014/main" id="{9D7AC457-E962-F720-4B2C-14675BE970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9352" y="3192359"/>
                  <a:ext cx="2165132" cy="2048633"/>
                </a:xfrm>
                <a:custGeom>
                  <a:avLst/>
                  <a:gdLst>
                    <a:gd name="connsiteX0" fmla="*/ 534360 w 2165132"/>
                    <a:gd name="connsiteY0" fmla="*/ 1211530 h 2048633"/>
                    <a:gd name="connsiteX1" fmla="*/ 563651 w 2165132"/>
                    <a:gd name="connsiteY1" fmla="*/ 1222621 h 2048633"/>
                    <a:gd name="connsiteX2" fmla="*/ 715647 w 2165132"/>
                    <a:gd name="connsiteY2" fmla="*/ 1366275 h 2048633"/>
                    <a:gd name="connsiteX3" fmla="*/ 842310 w 2165132"/>
                    <a:gd name="connsiteY3" fmla="*/ 1247972 h 2048633"/>
                    <a:gd name="connsiteX4" fmla="*/ 903530 w 2165132"/>
                    <a:gd name="connsiteY4" fmla="*/ 1309236 h 2048633"/>
                    <a:gd name="connsiteX5" fmla="*/ 778978 w 2165132"/>
                    <a:gd name="connsiteY5" fmla="*/ 1427540 h 2048633"/>
                    <a:gd name="connsiteX6" fmla="*/ 871864 w 2165132"/>
                    <a:gd name="connsiteY6" fmla="*/ 1514155 h 2048633"/>
                    <a:gd name="connsiteX7" fmla="*/ 871864 w 2165132"/>
                    <a:gd name="connsiteY7" fmla="*/ 1566969 h 2048633"/>
                    <a:gd name="connsiteX8" fmla="*/ 377878 w 2165132"/>
                    <a:gd name="connsiteY8" fmla="*/ 2035958 h 2048633"/>
                    <a:gd name="connsiteX9" fmla="*/ 318769 w 2165132"/>
                    <a:gd name="connsiteY9" fmla="*/ 2035958 h 2048633"/>
                    <a:gd name="connsiteX10" fmla="*/ 12666 w 2165132"/>
                    <a:gd name="connsiteY10" fmla="*/ 1746537 h 2048633"/>
                    <a:gd name="connsiteX11" fmla="*/ 12666 w 2165132"/>
                    <a:gd name="connsiteY11" fmla="*/ 1691610 h 2048633"/>
                    <a:gd name="connsiteX12" fmla="*/ 506653 w 2165132"/>
                    <a:gd name="connsiteY12" fmla="*/ 1222621 h 2048633"/>
                    <a:gd name="connsiteX13" fmla="*/ 534360 w 2165132"/>
                    <a:gd name="connsiteY13" fmla="*/ 1211530 h 2048633"/>
                    <a:gd name="connsiteX14" fmla="*/ 1818585 w 2165132"/>
                    <a:gd name="connsiteY14" fmla="*/ 0 h 2048633"/>
                    <a:gd name="connsiteX15" fmla="*/ 1847882 w 2165132"/>
                    <a:gd name="connsiteY15" fmla="*/ 11093 h 2048633"/>
                    <a:gd name="connsiteX16" fmla="*/ 2154047 w 2165132"/>
                    <a:gd name="connsiteY16" fmla="*/ 302692 h 2048633"/>
                    <a:gd name="connsiteX17" fmla="*/ 2154047 w 2165132"/>
                    <a:gd name="connsiteY17" fmla="*/ 357630 h 2048633"/>
                    <a:gd name="connsiteX18" fmla="*/ 1659960 w 2165132"/>
                    <a:gd name="connsiteY18" fmla="*/ 826723 h 2048633"/>
                    <a:gd name="connsiteX19" fmla="*/ 1602950 w 2165132"/>
                    <a:gd name="connsiteY19" fmla="*/ 826723 h 2048633"/>
                    <a:gd name="connsiteX20" fmla="*/ 1512156 w 2165132"/>
                    <a:gd name="connsiteY20" fmla="*/ 740089 h 2048633"/>
                    <a:gd name="connsiteX21" fmla="*/ 1391802 w 2165132"/>
                    <a:gd name="connsiteY21" fmla="*/ 852080 h 2048633"/>
                    <a:gd name="connsiteX22" fmla="*/ 1328457 w 2165132"/>
                    <a:gd name="connsiteY22" fmla="*/ 792915 h 2048633"/>
                    <a:gd name="connsiteX23" fmla="*/ 1448812 w 2165132"/>
                    <a:gd name="connsiteY23" fmla="*/ 678811 h 2048633"/>
                    <a:gd name="connsiteX24" fmla="*/ 1296785 w 2165132"/>
                    <a:gd name="connsiteY24" fmla="*/ 535125 h 2048633"/>
                    <a:gd name="connsiteX25" fmla="*/ 1296785 w 2165132"/>
                    <a:gd name="connsiteY25" fmla="*/ 480186 h 2048633"/>
                    <a:gd name="connsiteX26" fmla="*/ 1790872 w 2165132"/>
                    <a:gd name="connsiteY26" fmla="*/ 11093 h 2048633"/>
                    <a:gd name="connsiteX27" fmla="*/ 1818585 w 2165132"/>
                    <a:gd name="connsiteY27" fmla="*/ 0 h 20486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2165132" h="2048633">
                      <a:moveTo>
                        <a:pt x="534360" y="1211530"/>
                      </a:moveTo>
                      <a:cubicBezTo>
                        <a:pt x="544652" y="1211530"/>
                        <a:pt x="555207" y="1215227"/>
                        <a:pt x="563651" y="1222621"/>
                      </a:cubicBezTo>
                      <a:cubicBezTo>
                        <a:pt x="715647" y="1366275"/>
                        <a:pt x="715647" y="1366275"/>
                        <a:pt x="715647" y="1366275"/>
                      </a:cubicBezTo>
                      <a:cubicBezTo>
                        <a:pt x="842310" y="1247972"/>
                        <a:pt x="842310" y="1247972"/>
                        <a:pt x="842310" y="1247972"/>
                      </a:cubicBezTo>
                      <a:lnTo>
                        <a:pt x="903530" y="1309236"/>
                      </a:lnTo>
                      <a:cubicBezTo>
                        <a:pt x="778978" y="1427540"/>
                        <a:pt x="778978" y="1427540"/>
                        <a:pt x="778978" y="1427540"/>
                      </a:cubicBezTo>
                      <a:cubicBezTo>
                        <a:pt x="871864" y="1514155"/>
                        <a:pt x="871864" y="1514155"/>
                        <a:pt x="871864" y="1514155"/>
                      </a:cubicBezTo>
                      <a:cubicBezTo>
                        <a:pt x="886642" y="1528943"/>
                        <a:pt x="886642" y="1552181"/>
                        <a:pt x="871864" y="1566969"/>
                      </a:cubicBezTo>
                      <a:cubicBezTo>
                        <a:pt x="377878" y="2035958"/>
                        <a:pt x="377878" y="2035958"/>
                        <a:pt x="377878" y="2035958"/>
                      </a:cubicBezTo>
                      <a:cubicBezTo>
                        <a:pt x="360990" y="2052858"/>
                        <a:pt x="335657" y="2052858"/>
                        <a:pt x="318769" y="2035958"/>
                      </a:cubicBezTo>
                      <a:cubicBezTo>
                        <a:pt x="12666" y="1746537"/>
                        <a:pt x="12666" y="1746537"/>
                        <a:pt x="12666" y="1746537"/>
                      </a:cubicBezTo>
                      <a:cubicBezTo>
                        <a:pt x="-4222" y="1729636"/>
                        <a:pt x="-4222" y="1706398"/>
                        <a:pt x="12666" y="1691610"/>
                      </a:cubicBezTo>
                      <a:cubicBezTo>
                        <a:pt x="506653" y="1222621"/>
                        <a:pt x="506653" y="1222621"/>
                        <a:pt x="506653" y="1222621"/>
                      </a:cubicBezTo>
                      <a:cubicBezTo>
                        <a:pt x="514041" y="1215227"/>
                        <a:pt x="524069" y="1211530"/>
                        <a:pt x="534360" y="1211530"/>
                      </a:cubicBezTo>
                      <a:close/>
                      <a:moveTo>
                        <a:pt x="1818585" y="0"/>
                      </a:moveTo>
                      <a:cubicBezTo>
                        <a:pt x="1828879" y="0"/>
                        <a:pt x="1839436" y="3698"/>
                        <a:pt x="1847882" y="11093"/>
                      </a:cubicBezTo>
                      <a:cubicBezTo>
                        <a:pt x="2154047" y="302692"/>
                        <a:pt x="2154047" y="302692"/>
                        <a:pt x="2154047" y="302692"/>
                      </a:cubicBezTo>
                      <a:cubicBezTo>
                        <a:pt x="2168827" y="317483"/>
                        <a:pt x="2168827" y="342839"/>
                        <a:pt x="2154047" y="357630"/>
                      </a:cubicBezTo>
                      <a:cubicBezTo>
                        <a:pt x="1659960" y="826723"/>
                        <a:pt x="1659960" y="826723"/>
                        <a:pt x="1659960" y="826723"/>
                      </a:cubicBezTo>
                      <a:cubicBezTo>
                        <a:pt x="1645180" y="841515"/>
                        <a:pt x="1619842" y="841515"/>
                        <a:pt x="1602950" y="826723"/>
                      </a:cubicBezTo>
                      <a:cubicBezTo>
                        <a:pt x="1512156" y="740089"/>
                        <a:pt x="1512156" y="740089"/>
                        <a:pt x="1512156" y="740089"/>
                      </a:cubicBezTo>
                      <a:cubicBezTo>
                        <a:pt x="1391802" y="852080"/>
                        <a:pt x="1391802" y="852080"/>
                        <a:pt x="1391802" y="852080"/>
                      </a:cubicBezTo>
                      <a:lnTo>
                        <a:pt x="1328457" y="792915"/>
                      </a:lnTo>
                      <a:cubicBezTo>
                        <a:pt x="1448812" y="678811"/>
                        <a:pt x="1448812" y="678811"/>
                        <a:pt x="1448812" y="678811"/>
                      </a:cubicBezTo>
                      <a:cubicBezTo>
                        <a:pt x="1296785" y="535125"/>
                        <a:pt x="1296785" y="535125"/>
                        <a:pt x="1296785" y="535125"/>
                      </a:cubicBezTo>
                      <a:cubicBezTo>
                        <a:pt x="1279893" y="518221"/>
                        <a:pt x="1279893" y="494977"/>
                        <a:pt x="1296785" y="480186"/>
                      </a:cubicBezTo>
                      <a:cubicBezTo>
                        <a:pt x="1790872" y="11093"/>
                        <a:pt x="1790872" y="11093"/>
                        <a:pt x="1790872" y="11093"/>
                      </a:cubicBezTo>
                      <a:cubicBezTo>
                        <a:pt x="1798262" y="3698"/>
                        <a:pt x="1808292" y="0"/>
                        <a:pt x="1818585" y="0"/>
                      </a:cubicBezTo>
                      <a:close/>
                    </a:path>
                  </a:pathLst>
                </a:custGeom>
                <a:solidFill>
                  <a:srgbClr val="ACBACF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prstClr val="black"/>
                    </a:solidFill>
                    <a:latin typeface="Microsoft Sans Serif"/>
                  </a:endParaRPr>
                </a:p>
              </p:txBody>
            </p:sp>
            <p:sp>
              <p:nvSpPr>
                <p:cNvPr id="507" name="Freeform 5">
                  <a:extLst>
                    <a:ext uri="{FF2B5EF4-FFF2-40B4-BE49-F238E27FC236}">
                      <a16:creationId xmlns:a16="http://schemas.microsoft.com/office/drawing/2014/main" id="{DBA21D8C-A0B2-1893-029F-5FF9A0218DF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rot="10800000">
                  <a:off x="3528642" y="4665393"/>
                  <a:ext cx="644226" cy="639042"/>
                </a:xfrm>
                <a:custGeom>
                  <a:avLst/>
                  <a:gdLst>
                    <a:gd name="T0" fmla="*/ 2292 w 3465"/>
                    <a:gd name="T1" fmla="*/ 2273 h 3454"/>
                    <a:gd name="T2" fmla="*/ 3195 w 3465"/>
                    <a:gd name="T3" fmla="*/ 1752 h 3454"/>
                    <a:gd name="T4" fmla="*/ 3451 w 3465"/>
                    <a:gd name="T5" fmla="*/ 1896 h 3454"/>
                    <a:gd name="T6" fmla="*/ 3393 w 3465"/>
                    <a:gd name="T7" fmla="*/ 2095 h 3454"/>
                    <a:gd name="T8" fmla="*/ 3307 w 3465"/>
                    <a:gd name="T9" fmla="*/ 2137 h 3454"/>
                    <a:gd name="T10" fmla="*/ 2576 w 3465"/>
                    <a:gd name="T11" fmla="*/ 2560 h 3454"/>
                    <a:gd name="T12" fmla="*/ 2144 w 3465"/>
                    <a:gd name="T13" fmla="*/ 3284 h 3454"/>
                    <a:gd name="T14" fmla="*/ 1901 w 3465"/>
                    <a:gd name="T15" fmla="*/ 3425 h 3454"/>
                    <a:gd name="T16" fmla="*/ 1752 w 3465"/>
                    <a:gd name="T17" fmla="*/ 3175 h 3454"/>
                    <a:gd name="T18" fmla="*/ 2292 w 3465"/>
                    <a:gd name="T19" fmla="*/ 2273 h 3454"/>
                    <a:gd name="T20" fmla="*/ 1636 w 3465"/>
                    <a:gd name="T21" fmla="*/ 1615 h 3454"/>
                    <a:gd name="T22" fmla="*/ 2963 w 3465"/>
                    <a:gd name="T23" fmla="*/ 859 h 3454"/>
                    <a:gd name="T24" fmla="*/ 3205 w 3465"/>
                    <a:gd name="T25" fmla="*/ 1002 h 3454"/>
                    <a:gd name="T26" fmla="*/ 3154 w 3465"/>
                    <a:gd name="T27" fmla="*/ 1195 h 3454"/>
                    <a:gd name="T28" fmla="*/ 3061 w 3465"/>
                    <a:gd name="T29" fmla="*/ 1244 h 3454"/>
                    <a:gd name="T30" fmla="*/ 1920 w 3465"/>
                    <a:gd name="T31" fmla="*/ 1901 h 3454"/>
                    <a:gd name="T32" fmla="*/ 1249 w 3465"/>
                    <a:gd name="T33" fmla="*/ 3031 h 3454"/>
                    <a:gd name="T34" fmla="*/ 998 w 3465"/>
                    <a:gd name="T35" fmla="*/ 3179 h 3454"/>
                    <a:gd name="T36" fmla="*/ 864 w 3465"/>
                    <a:gd name="T37" fmla="*/ 2929 h 3454"/>
                    <a:gd name="T38" fmla="*/ 1636 w 3465"/>
                    <a:gd name="T39" fmla="*/ 1615 h 3454"/>
                    <a:gd name="T40" fmla="*/ 1033 w 3465"/>
                    <a:gd name="T41" fmla="*/ 1004 h 3454"/>
                    <a:gd name="T42" fmla="*/ 2740 w 3465"/>
                    <a:gd name="T43" fmla="*/ 28 h 3454"/>
                    <a:gd name="T44" fmla="*/ 2982 w 3465"/>
                    <a:gd name="T45" fmla="*/ 172 h 3454"/>
                    <a:gd name="T46" fmla="*/ 2930 w 3465"/>
                    <a:gd name="T47" fmla="*/ 364 h 3454"/>
                    <a:gd name="T48" fmla="*/ 2844 w 3465"/>
                    <a:gd name="T49" fmla="*/ 421 h 3454"/>
                    <a:gd name="T50" fmla="*/ 1317 w 3465"/>
                    <a:gd name="T51" fmla="*/ 1291 h 3454"/>
                    <a:gd name="T52" fmla="*/ 428 w 3465"/>
                    <a:gd name="T53" fmla="*/ 2804 h 3454"/>
                    <a:gd name="T54" fmla="*/ 170 w 3465"/>
                    <a:gd name="T55" fmla="*/ 2946 h 3454"/>
                    <a:gd name="T56" fmla="*/ 36 w 3465"/>
                    <a:gd name="T57" fmla="*/ 2696 h 3454"/>
                    <a:gd name="T58" fmla="*/ 1033 w 3465"/>
                    <a:gd name="T59" fmla="*/ 1004 h 34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3465" h="3454">
                      <a:moveTo>
                        <a:pt x="2292" y="2273"/>
                      </a:moveTo>
                      <a:cubicBezTo>
                        <a:pt x="2543" y="2026"/>
                        <a:pt x="2858" y="1842"/>
                        <a:pt x="3195" y="1752"/>
                      </a:cubicBezTo>
                      <a:cubicBezTo>
                        <a:pt x="3309" y="1724"/>
                        <a:pt x="3416" y="1788"/>
                        <a:pt x="3451" y="1896"/>
                      </a:cubicBezTo>
                      <a:cubicBezTo>
                        <a:pt x="3465" y="1967"/>
                        <a:pt x="3443" y="2045"/>
                        <a:pt x="3393" y="2095"/>
                      </a:cubicBezTo>
                      <a:cubicBezTo>
                        <a:pt x="3372" y="2116"/>
                        <a:pt x="3343" y="2130"/>
                        <a:pt x="3307" y="2137"/>
                      </a:cubicBezTo>
                      <a:cubicBezTo>
                        <a:pt x="3028" y="2214"/>
                        <a:pt x="2777" y="2362"/>
                        <a:pt x="2576" y="2560"/>
                      </a:cubicBezTo>
                      <a:cubicBezTo>
                        <a:pt x="2368" y="2765"/>
                        <a:pt x="2224" y="3007"/>
                        <a:pt x="2144" y="3284"/>
                      </a:cubicBezTo>
                      <a:cubicBezTo>
                        <a:pt x="2115" y="3398"/>
                        <a:pt x="2001" y="3454"/>
                        <a:pt x="1901" y="3425"/>
                      </a:cubicBezTo>
                      <a:cubicBezTo>
                        <a:pt x="1786" y="3396"/>
                        <a:pt x="1730" y="3282"/>
                        <a:pt x="1752" y="3175"/>
                      </a:cubicBezTo>
                      <a:cubicBezTo>
                        <a:pt x="1853" y="2834"/>
                        <a:pt x="2041" y="2521"/>
                        <a:pt x="2292" y="2273"/>
                      </a:cubicBezTo>
                      <a:close/>
                      <a:moveTo>
                        <a:pt x="1636" y="1615"/>
                      </a:moveTo>
                      <a:cubicBezTo>
                        <a:pt x="2002" y="1253"/>
                        <a:pt x="2461" y="984"/>
                        <a:pt x="2963" y="859"/>
                      </a:cubicBezTo>
                      <a:cubicBezTo>
                        <a:pt x="3063" y="831"/>
                        <a:pt x="3177" y="888"/>
                        <a:pt x="3205" y="1002"/>
                      </a:cubicBezTo>
                      <a:cubicBezTo>
                        <a:pt x="3226" y="1067"/>
                        <a:pt x="3204" y="1145"/>
                        <a:pt x="3154" y="1195"/>
                      </a:cubicBezTo>
                      <a:cubicBezTo>
                        <a:pt x="3125" y="1223"/>
                        <a:pt x="3096" y="1237"/>
                        <a:pt x="3061" y="1244"/>
                      </a:cubicBezTo>
                      <a:cubicBezTo>
                        <a:pt x="2638" y="1363"/>
                        <a:pt x="2237" y="1589"/>
                        <a:pt x="1920" y="1901"/>
                      </a:cubicBezTo>
                      <a:cubicBezTo>
                        <a:pt x="1604" y="2213"/>
                        <a:pt x="1373" y="2611"/>
                        <a:pt x="1249" y="3031"/>
                      </a:cubicBezTo>
                      <a:cubicBezTo>
                        <a:pt x="1220" y="3145"/>
                        <a:pt x="1113" y="3208"/>
                        <a:pt x="998" y="3179"/>
                      </a:cubicBezTo>
                      <a:cubicBezTo>
                        <a:pt x="891" y="3143"/>
                        <a:pt x="827" y="3036"/>
                        <a:pt x="864" y="2929"/>
                      </a:cubicBezTo>
                      <a:cubicBezTo>
                        <a:pt x="995" y="2431"/>
                        <a:pt x="1269" y="1976"/>
                        <a:pt x="1636" y="1615"/>
                      </a:cubicBezTo>
                      <a:close/>
                      <a:moveTo>
                        <a:pt x="1033" y="1004"/>
                      </a:moveTo>
                      <a:cubicBezTo>
                        <a:pt x="1507" y="536"/>
                        <a:pt x="2095" y="197"/>
                        <a:pt x="2740" y="28"/>
                      </a:cubicBezTo>
                      <a:cubicBezTo>
                        <a:pt x="2840" y="0"/>
                        <a:pt x="2954" y="58"/>
                        <a:pt x="2982" y="172"/>
                      </a:cubicBezTo>
                      <a:cubicBezTo>
                        <a:pt x="3010" y="243"/>
                        <a:pt x="2981" y="314"/>
                        <a:pt x="2930" y="364"/>
                      </a:cubicBezTo>
                      <a:cubicBezTo>
                        <a:pt x="2909" y="385"/>
                        <a:pt x="2873" y="406"/>
                        <a:pt x="2844" y="421"/>
                      </a:cubicBezTo>
                      <a:cubicBezTo>
                        <a:pt x="2265" y="568"/>
                        <a:pt x="1741" y="872"/>
                        <a:pt x="1317" y="1291"/>
                      </a:cubicBezTo>
                      <a:cubicBezTo>
                        <a:pt x="892" y="1709"/>
                        <a:pt x="582" y="2228"/>
                        <a:pt x="428" y="2804"/>
                      </a:cubicBezTo>
                      <a:cubicBezTo>
                        <a:pt x="392" y="2911"/>
                        <a:pt x="284" y="2975"/>
                        <a:pt x="170" y="2946"/>
                      </a:cubicBezTo>
                      <a:cubicBezTo>
                        <a:pt x="63" y="2910"/>
                        <a:pt x="0" y="2802"/>
                        <a:pt x="36" y="2696"/>
                      </a:cubicBezTo>
                      <a:cubicBezTo>
                        <a:pt x="211" y="2055"/>
                        <a:pt x="558" y="1473"/>
                        <a:pt x="1033" y="1004"/>
                      </a:cubicBezTo>
                      <a:close/>
                    </a:path>
                  </a:pathLst>
                </a:custGeom>
                <a:solidFill>
                  <a:srgbClr val="ACBACF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13171F"/>
                    </a:solidFill>
                    <a:latin typeface="Microsoft Sans Serif"/>
                  </a:endParaRPr>
                </a:p>
              </p:txBody>
            </p:sp>
          </p:grpSp>
          <p:grpSp>
            <p:nvGrpSpPr>
              <p:cNvPr id="473" name="Group 472">
                <a:extLst>
                  <a:ext uri="{FF2B5EF4-FFF2-40B4-BE49-F238E27FC236}">
                    <a16:creationId xmlns:a16="http://schemas.microsoft.com/office/drawing/2014/main" id="{4B11A09F-B3C3-EB87-E7C7-A5F564EC929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545708" y="3700934"/>
                <a:ext cx="550291" cy="404225"/>
                <a:chOff x="3516417" y="3025989"/>
                <a:chExt cx="1097280" cy="806023"/>
              </a:xfrm>
            </p:grpSpPr>
            <p:sp>
              <p:nvSpPr>
                <p:cNvPr id="502" name="Freeform 106">
                  <a:extLst>
                    <a:ext uri="{FF2B5EF4-FFF2-40B4-BE49-F238E27FC236}">
                      <a16:creationId xmlns:a16="http://schemas.microsoft.com/office/drawing/2014/main" id="{8C542050-952F-CBCA-412D-D66D0F94A3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16417" y="3025989"/>
                  <a:ext cx="1097280" cy="806023"/>
                </a:xfrm>
                <a:custGeom>
                  <a:avLst/>
                  <a:gdLst>
                    <a:gd name="T0" fmla="*/ 1221 w 1236"/>
                    <a:gd name="T1" fmla="*/ 850 h 907"/>
                    <a:gd name="T2" fmla="*/ 1144 w 1236"/>
                    <a:gd name="T3" fmla="*/ 731 h 907"/>
                    <a:gd name="T4" fmla="*/ 1074 w 1236"/>
                    <a:gd name="T5" fmla="*/ 698 h 907"/>
                    <a:gd name="T6" fmla="*/ 1108 w 1236"/>
                    <a:gd name="T7" fmla="*/ 658 h 907"/>
                    <a:gd name="T8" fmla="*/ 1108 w 1236"/>
                    <a:gd name="T9" fmla="*/ 40 h 907"/>
                    <a:gd name="T10" fmla="*/ 1067 w 1236"/>
                    <a:gd name="T11" fmla="*/ 0 h 907"/>
                    <a:gd name="T12" fmla="*/ 163 w 1236"/>
                    <a:gd name="T13" fmla="*/ 0 h 907"/>
                    <a:gd name="T14" fmla="*/ 123 w 1236"/>
                    <a:gd name="T15" fmla="*/ 40 h 907"/>
                    <a:gd name="T16" fmla="*/ 123 w 1236"/>
                    <a:gd name="T17" fmla="*/ 658 h 907"/>
                    <a:gd name="T18" fmla="*/ 156 w 1236"/>
                    <a:gd name="T19" fmla="*/ 698 h 907"/>
                    <a:gd name="T20" fmla="*/ 87 w 1236"/>
                    <a:gd name="T21" fmla="*/ 730 h 907"/>
                    <a:gd name="T22" fmla="*/ 13 w 1236"/>
                    <a:gd name="T23" fmla="*/ 851 h 907"/>
                    <a:gd name="T24" fmla="*/ 38 w 1236"/>
                    <a:gd name="T25" fmla="*/ 906 h 907"/>
                    <a:gd name="T26" fmla="*/ 44 w 1236"/>
                    <a:gd name="T27" fmla="*/ 907 h 907"/>
                    <a:gd name="T28" fmla="*/ 1190 w 1236"/>
                    <a:gd name="T29" fmla="*/ 907 h 907"/>
                    <a:gd name="T30" fmla="*/ 1192 w 1236"/>
                    <a:gd name="T31" fmla="*/ 907 h 907"/>
                    <a:gd name="T32" fmla="*/ 1221 w 1236"/>
                    <a:gd name="T33" fmla="*/ 850 h 9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236" h="907">
                      <a:moveTo>
                        <a:pt x="1221" y="850"/>
                      </a:moveTo>
                      <a:cubicBezTo>
                        <a:pt x="1144" y="731"/>
                        <a:pt x="1144" y="731"/>
                        <a:pt x="1144" y="731"/>
                      </a:cubicBezTo>
                      <a:cubicBezTo>
                        <a:pt x="1126" y="711"/>
                        <a:pt x="1101" y="699"/>
                        <a:pt x="1074" y="698"/>
                      </a:cubicBezTo>
                      <a:cubicBezTo>
                        <a:pt x="1093" y="694"/>
                        <a:pt x="1108" y="678"/>
                        <a:pt x="1108" y="658"/>
                      </a:cubicBezTo>
                      <a:cubicBezTo>
                        <a:pt x="1108" y="40"/>
                        <a:pt x="1108" y="40"/>
                        <a:pt x="1108" y="40"/>
                      </a:cubicBezTo>
                      <a:cubicBezTo>
                        <a:pt x="1108" y="18"/>
                        <a:pt x="1089" y="0"/>
                        <a:pt x="1067" y="0"/>
                      </a:cubicBezTo>
                      <a:cubicBezTo>
                        <a:pt x="163" y="0"/>
                        <a:pt x="163" y="0"/>
                        <a:pt x="163" y="0"/>
                      </a:cubicBezTo>
                      <a:cubicBezTo>
                        <a:pt x="141" y="0"/>
                        <a:pt x="123" y="18"/>
                        <a:pt x="123" y="40"/>
                      </a:cubicBezTo>
                      <a:cubicBezTo>
                        <a:pt x="123" y="658"/>
                        <a:pt x="123" y="658"/>
                        <a:pt x="123" y="658"/>
                      </a:cubicBezTo>
                      <a:cubicBezTo>
                        <a:pt x="123" y="678"/>
                        <a:pt x="137" y="694"/>
                        <a:pt x="156" y="698"/>
                      </a:cubicBezTo>
                      <a:cubicBezTo>
                        <a:pt x="130" y="700"/>
                        <a:pt x="106" y="711"/>
                        <a:pt x="87" y="730"/>
                      </a:cubicBezTo>
                      <a:cubicBezTo>
                        <a:pt x="13" y="851"/>
                        <a:pt x="13" y="851"/>
                        <a:pt x="13" y="851"/>
                      </a:cubicBezTo>
                      <a:cubicBezTo>
                        <a:pt x="0" y="873"/>
                        <a:pt x="12" y="902"/>
                        <a:pt x="38" y="906"/>
                      </a:cubicBezTo>
                      <a:cubicBezTo>
                        <a:pt x="40" y="906"/>
                        <a:pt x="42" y="907"/>
                        <a:pt x="44" y="907"/>
                      </a:cubicBezTo>
                      <a:cubicBezTo>
                        <a:pt x="1190" y="907"/>
                        <a:pt x="1190" y="907"/>
                        <a:pt x="1190" y="907"/>
                      </a:cubicBezTo>
                      <a:cubicBezTo>
                        <a:pt x="1191" y="907"/>
                        <a:pt x="1192" y="907"/>
                        <a:pt x="1192" y="907"/>
                      </a:cubicBezTo>
                      <a:cubicBezTo>
                        <a:pt x="1220" y="905"/>
                        <a:pt x="1236" y="874"/>
                        <a:pt x="1221" y="850"/>
                      </a:cubicBezTo>
                    </a:path>
                  </a:pathLst>
                </a:custGeom>
                <a:solidFill>
                  <a:srgbClr val="445776">
                    <a:lumMod val="100000"/>
                  </a:srgbClr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743407">
                    <a:defRPr/>
                  </a:pPr>
                  <a:endParaRPr lang="en-US" sz="1463" kern="0">
                    <a:solidFill>
                      <a:prstClr val="white"/>
                    </a:solidFill>
                    <a:latin typeface="Microsoft Sans Serif"/>
                  </a:endParaRPr>
                </a:p>
              </p:txBody>
            </p:sp>
            <p:sp>
              <p:nvSpPr>
                <p:cNvPr id="503" name="Rectangle 502">
                  <a:extLst>
                    <a:ext uri="{FF2B5EF4-FFF2-40B4-BE49-F238E27FC236}">
                      <a16:creationId xmlns:a16="http://schemas.microsoft.com/office/drawing/2014/main" id="{71CA184F-BC43-33F2-D2EE-A1D7315EF20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0883" y="3062521"/>
                  <a:ext cx="802702" cy="548308"/>
                </a:xfrm>
                <a:prstGeom prst="rect">
                  <a:avLst/>
                </a:prstGeom>
                <a:solidFill>
                  <a:srgbClr val="ACBACF">
                    <a:lumMod val="100000"/>
                  </a:srgbClr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743407">
                    <a:defRPr/>
                  </a:pPr>
                  <a:endParaRPr lang="en-US" sz="1463" kern="0">
                    <a:solidFill>
                      <a:prstClr val="white"/>
                    </a:solidFill>
                    <a:latin typeface="Microsoft Sans Serif"/>
                  </a:endParaRPr>
                </a:p>
              </p:txBody>
            </p:sp>
            <p:sp>
              <p:nvSpPr>
                <p:cNvPr id="504" name="Rectangle 503">
                  <a:extLst>
                    <a:ext uri="{FF2B5EF4-FFF2-40B4-BE49-F238E27FC236}">
                      <a16:creationId xmlns:a16="http://schemas.microsoft.com/office/drawing/2014/main" id="{EC0B0A5B-C320-5B76-D503-D2676307BF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60883" y="3062521"/>
                  <a:ext cx="802702" cy="54830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prstClr val="black"/>
                    </a:solidFill>
                    <a:latin typeface="Microsoft Sans Serif"/>
                  </a:endParaRPr>
                </a:p>
              </p:txBody>
            </p:sp>
          </p:grpSp>
          <p:grpSp>
            <p:nvGrpSpPr>
              <p:cNvPr id="474" name="Group 473">
                <a:extLst>
                  <a:ext uri="{FF2B5EF4-FFF2-40B4-BE49-F238E27FC236}">
                    <a16:creationId xmlns:a16="http://schemas.microsoft.com/office/drawing/2014/main" id="{D2686404-259B-4C7C-1C3A-44D4F329A16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169877" y="3651527"/>
                <a:ext cx="242521" cy="449567"/>
                <a:chOff x="5434013" y="2201863"/>
                <a:chExt cx="1323975" cy="2454275"/>
              </a:xfrm>
            </p:grpSpPr>
            <p:sp>
              <p:nvSpPr>
                <p:cNvPr id="500" name="Freeform 5">
                  <a:extLst>
                    <a:ext uri="{FF2B5EF4-FFF2-40B4-BE49-F238E27FC236}">
                      <a16:creationId xmlns:a16="http://schemas.microsoft.com/office/drawing/2014/main" id="{2763D032-B610-A15B-DD16-267EE6C420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34013" y="2201863"/>
                  <a:ext cx="1323975" cy="2454275"/>
                </a:xfrm>
                <a:custGeom>
                  <a:avLst/>
                  <a:gdLst>
                    <a:gd name="T0" fmla="*/ 7527 w 8000"/>
                    <a:gd name="T1" fmla="*/ 14889 h 14889"/>
                    <a:gd name="T2" fmla="*/ 485 w 8000"/>
                    <a:gd name="T3" fmla="*/ 14889 h 14889"/>
                    <a:gd name="T4" fmla="*/ 0 w 8000"/>
                    <a:gd name="T5" fmla="*/ 14419 h 14889"/>
                    <a:gd name="T6" fmla="*/ 0 w 8000"/>
                    <a:gd name="T7" fmla="*/ 470 h 14889"/>
                    <a:gd name="T8" fmla="*/ 485 w 8000"/>
                    <a:gd name="T9" fmla="*/ 0 h 14889"/>
                    <a:gd name="T10" fmla="*/ 7527 w 8000"/>
                    <a:gd name="T11" fmla="*/ 0 h 14889"/>
                    <a:gd name="T12" fmla="*/ 8000 w 8000"/>
                    <a:gd name="T13" fmla="*/ 470 h 14889"/>
                    <a:gd name="T14" fmla="*/ 8000 w 8000"/>
                    <a:gd name="T15" fmla="*/ 14419 h 14889"/>
                    <a:gd name="T16" fmla="*/ 7527 w 8000"/>
                    <a:gd name="T17" fmla="*/ 14889 h 148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000" h="14889">
                      <a:moveTo>
                        <a:pt x="7527" y="14889"/>
                      </a:moveTo>
                      <a:cubicBezTo>
                        <a:pt x="485" y="14889"/>
                        <a:pt x="485" y="14889"/>
                        <a:pt x="485" y="14889"/>
                      </a:cubicBezTo>
                      <a:cubicBezTo>
                        <a:pt x="224" y="14889"/>
                        <a:pt x="0" y="14679"/>
                        <a:pt x="0" y="14419"/>
                      </a:cubicBezTo>
                      <a:cubicBezTo>
                        <a:pt x="0" y="470"/>
                        <a:pt x="0" y="470"/>
                        <a:pt x="0" y="470"/>
                      </a:cubicBezTo>
                      <a:cubicBezTo>
                        <a:pt x="0" y="210"/>
                        <a:pt x="224" y="0"/>
                        <a:pt x="485" y="0"/>
                      </a:cubicBezTo>
                      <a:cubicBezTo>
                        <a:pt x="7527" y="0"/>
                        <a:pt x="7527" y="0"/>
                        <a:pt x="7527" y="0"/>
                      </a:cubicBezTo>
                      <a:cubicBezTo>
                        <a:pt x="7788" y="0"/>
                        <a:pt x="8000" y="210"/>
                        <a:pt x="8000" y="470"/>
                      </a:cubicBezTo>
                      <a:cubicBezTo>
                        <a:pt x="8000" y="14419"/>
                        <a:pt x="8000" y="14419"/>
                        <a:pt x="8000" y="14419"/>
                      </a:cubicBezTo>
                      <a:cubicBezTo>
                        <a:pt x="8000" y="14679"/>
                        <a:pt x="7788" y="14889"/>
                        <a:pt x="7527" y="14889"/>
                      </a:cubicBezTo>
                      <a:close/>
                    </a:path>
                  </a:pathLst>
                </a:custGeom>
                <a:solidFill>
                  <a:srgbClr val="445776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  <p:sp>
              <p:nvSpPr>
                <p:cNvPr id="501" name="Freeform: Shape 35">
                  <a:extLst>
                    <a:ext uri="{FF2B5EF4-FFF2-40B4-BE49-F238E27FC236}">
                      <a16:creationId xmlns:a16="http://schemas.microsoft.com/office/drawing/2014/main" id="{A5BD1FEB-70D3-30A2-4618-757E0E4D39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18151" y="2286001"/>
                  <a:ext cx="1155700" cy="2239963"/>
                </a:xfrm>
                <a:custGeom>
                  <a:avLst/>
                  <a:gdLst>
                    <a:gd name="connsiteX0" fmla="*/ 453942 w 1155700"/>
                    <a:gd name="connsiteY0" fmla="*/ 2159000 h 2239963"/>
                    <a:gd name="connsiteX1" fmla="*/ 701592 w 1155700"/>
                    <a:gd name="connsiteY1" fmla="*/ 2159000 h 2239963"/>
                    <a:gd name="connsiteX2" fmla="*/ 742950 w 1155700"/>
                    <a:gd name="connsiteY2" fmla="*/ 2199482 h 2239963"/>
                    <a:gd name="connsiteX3" fmla="*/ 701592 w 1155700"/>
                    <a:gd name="connsiteY3" fmla="*/ 2239963 h 2239963"/>
                    <a:gd name="connsiteX4" fmla="*/ 453942 w 1155700"/>
                    <a:gd name="connsiteY4" fmla="*/ 2239963 h 2239963"/>
                    <a:gd name="connsiteX5" fmla="*/ 412750 w 1155700"/>
                    <a:gd name="connsiteY5" fmla="*/ 2199482 h 2239963"/>
                    <a:gd name="connsiteX6" fmla="*/ 453942 w 1155700"/>
                    <a:gd name="connsiteY6" fmla="*/ 2159000 h 2239963"/>
                    <a:gd name="connsiteX7" fmla="*/ 39059 w 1155700"/>
                    <a:gd name="connsiteY7" fmla="*/ 0 h 2239963"/>
                    <a:gd name="connsiteX8" fmla="*/ 1116642 w 1155700"/>
                    <a:gd name="connsiteY8" fmla="*/ 0 h 2239963"/>
                    <a:gd name="connsiteX9" fmla="*/ 1155700 w 1155700"/>
                    <a:gd name="connsiteY9" fmla="*/ 38549 h 2239963"/>
                    <a:gd name="connsiteX10" fmla="*/ 1155700 w 1155700"/>
                    <a:gd name="connsiteY10" fmla="*/ 1996626 h 2239963"/>
                    <a:gd name="connsiteX11" fmla="*/ 1116642 w 1155700"/>
                    <a:gd name="connsiteY11" fmla="*/ 2035175 h 2239963"/>
                    <a:gd name="connsiteX12" fmla="*/ 39059 w 1155700"/>
                    <a:gd name="connsiteY12" fmla="*/ 2035175 h 2239963"/>
                    <a:gd name="connsiteX13" fmla="*/ 0 w 1155700"/>
                    <a:gd name="connsiteY13" fmla="*/ 1996626 h 2239963"/>
                    <a:gd name="connsiteX14" fmla="*/ 0 w 1155700"/>
                    <a:gd name="connsiteY14" fmla="*/ 38549 h 2239963"/>
                    <a:gd name="connsiteX15" fmla="*/ 39059 w 1155700"/>
                    <a:gd name="connsiteY15" fmla="*/ 0 h 2239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155700" h="2239963">
                      <a:moveTo>
                        <a:pt x="453942" y="2159000"/>
                      </a:moveTo>
                      <a:cubicBezTo>
                        <a:pt x="701592" y="2159000"/>
                        <a:pt x="701592" y="2159000"/>
                        <a:pt x="701592" y="2159000"/>
                      </a:cubicBezTo>
                      <a:cubicBezTo>
                        <a:pt x="724347" y="2159000"/>
                        <a:pt x="742950" y="2177102"/>
                        <a:pt x="742950" y="2199482"/>
                      </a:cubicBezTo>
                      <a:cubicBezTo>
                        <a:pt x="742950" y="2221697"/>
                        <a:pt x="724347" y="2239963"/>
                        <a:pt x="701592" y="2239963"/>
                      </a:cubicBezTo>
                      <a:cubicBezTo>
                        <a:pt x="453942" y="2239963"/>
                        <a:pt x="453942" y="2239963"/>
                        <a:pt x="453942" y="2239963"/>
                      </a:cubicBezTo>
                      <a:cubicBezTo>
                        <a:pt x="431187" y="2239963"/>
                        <a:pt x="412750" y="2221697"/>
                        <a:pt x="412750" y="2199482"/>
                      </a:cubicBezTo>
                      <a:cubicBezTo>
                        <a:pt x="412750" y="2177102"/>
                        <a:pt x="431187" y="2159000"/>
                        <a:pt x="453942" y="2159000"/>
                      </a:cubicBezTo>
                      <a:close/>
                      <a:moveTo>
                        <a:pt x="39059" y="0"/>
                      </a:moveTo>
                      <a:cubicBezTo>
                        <a:pt x="39059" y="0"/>
                        <a:pt x="39059" y="0"/>
                        <a:pt x="1116642" y="0"/>
                      </a:cubicBezTo>
                      <a:cubicBezTo>
                        <a:pt x="1139315" y="0"/>
                        <a:pt x="1155700" y="18286"/>
                        <a:pt x="1155700" y="38549"/>
                      </a:cubicBezTo>
                      <a:cubicBezTo>
                        <a:pt x="1155700" y="38549"/>
                        <a:pt x="1155700" y="38549"/>
                        <a:pt x="1155700" y="1996626"/>
                      </a:cubicBezTo>
                      <a:cubicBezTo>
                        <a:pt x="1155700" y="2016889"/>
                        <a:pt x="1139315" y="2035175"/>
                        <a:pt x="1116642" y="2035175"/>
                      </a:cubicBezTo>
                      <a:cubicBezTo>
                        <a:pt x="1116642" y="2035175"/>
                        <a:pt x="1116642" y="2035175"/>
                        <a:pt x="39059" y="2035175"/>
                      </a:cubicBezTo>
                      <a:cubicBezTo>
                        <a:pt x="16550" y="2035175"/>
                        <a:pt x="0" y="2016889"/>
                        <a:pt x="0" y="1996626"/>
                      </a:cubicBezTo>
                      <a:cubicBezTo>
                        <a:pt x="0" y="1996626"/>
                        <a:pt x="0" y="1996626"/>
                        <a:pt x="0" y="38549"/>
                      </a:cubicBezTo>
                      <a:cubicBezTo>
                        <a:pt x="0" y="18286"/>
                        <a:pt x="16550" y="0"/>
                        <a:pt x="39059" y="0"/>
                      </a:cubicBezTo>
                      <a:close/>
                    </a:path>
                  </a:pathLst>
                </a:custGeom>
                <a:solidFill>
                  <a:srgbClr val="ACBACF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</p:grpSp>
          <p:grpSp>
            <p:nvGrpSpPr>
              <p:cNvPr id="475" name="Group 474">
                <a:extLst>
                  <a:ext uri="{FF2B5EF4-FFF2-40B4-BE49-F238E27FC236}">
                    <a16:creationId xmlns:a16="http://schemas.microsoft.com/office/drawing/2014/main" id="{E4D56BCD-A65A-8657-379B-4C81EDA4EEE0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563241" y="3719255"/>
                <a:ext cx="598958" cy="381839"/>
                <a:chOff x="942" y="1778"/>
                <a:chExt cx="2149" cy="1370"/>
              </a:xfrm>
              <a:solidFill>
                <a:srgbClr val="3253DC"/>
              </a:solidFill>
            </p:grpSpPr>
            <p:sp>
              <p:nvSpPr>
                <p:cNvPr id="498" name="Freeform 101">
                  <a:extLst>
                    <a:ext uri="{FF2B5EF4-FFF2-40B4-BE49-F238E27FC236}">
                      <a16:creationId xmlns:a16="http://schemas.microsoft.com/office/drawing/2014/main" id="{CEA2A294-1F1C-DD10-7024-EFF9D39A3B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2" y="1778"/>
                  <a:ext cx="2149" cy="1370"/>
                </a:xfrm>
                <a:custGeom>
                  <a:avLst/>
                  <a:gdLst>
                    <a:gd name="T0" fmla="*/ 1216 w 1216"/>
                    <a:gd name="T1" fmla="*/ 54 h 774"/>
                    <a:gd name="T2" fmla="*/ 1216 w 1216"/>
                    <a:gd name="T3" fmla="*/ 636 h 774"/>
                    <a:gd name="T4" fmla="*/ 1163 w 1216"/>
                    <a:gd name="T5" fmla="*/ 689 h 774"/>
                    <a:gd name="T6" fmla="*/ 649 w 1216"/>
                    <a:gd name="T7" fmla="*/ 689 h 774"/>
                    <a:gd name="T8" fmla="*/ 649 w 1216"/>
                    <a:gd name="T9" fmla="*/ 729 h 774"/>
                    <a:gd name="T10" fmla="*/ 1114 w 1216"/>
                    <a:gd name="T11" fmla="*/ 729 h 774"/>
                    <a:gd name="T12" fmla="*/ 1137 w 1216"/>
                    <a:gd name="T13" fmla="*/ 751 h 774"/>
                    <a:gd name="T14" fmla="*/ 1130 w 1216"/>
                    <a:gd name="T15" fmla="*/ 767 h 774"/>
                    <a:gd name="T16" fmla="*/ 1114 w 1216"/>
                    <a:gd name="T17" fmla="*/ 774 h 774"/>
                    <a:gd name="T18" fmla="*/ 104 w 1216"/>
                    <a:gd name="T19" fmla="*/ 774 h 774"/>
                    <a:gd name="T20" fmla="*/ 81 w 1216"/>
                    <a:gd name="T21" fmla="*/ 751 h 774"/>
                    <a:gd name="T22" fmla="*/ 88 w 1216"/>
                    <a:gd name="T23" fmla="*/ 735 h 774"/>
                    <a:gd name="T24" fmla="*/ 104 w 1216"/>
                    <a:gd name="T25" fmla="*/ 729 h 774"/>
                    <a:gd name="T26" fmla="*/ 565 w 1216"/>
                    <a:gd name="T27" fmla="*/ 729 h 774"/>
                    <a:gd name="T28" fmla="*/ 565 w 1216"/>
                    <a:gd name="T29" fmla="*/ 689 h 774"/>
                    <a:gd name="T30" fmla="*/ 52 w 1216"/>
                    <a:gd name="T31" fmla="*/ 689 h 774"/>
                    <a:gd name="T32" fmla="*/ 0 w 1216"/>
                    <a:gd name="T33" fmla="*/ 636 h 774"/>
                    <a:gd name="T34" fmla="*/ 0 w 1216"/>
                    <a:gd name="T35" fmla="*/ 54 h 774"/>
                    <a:gd name="T36" fmla="*/ 52 w 1216"/>
                    <a:gd name="T37" fmla="*/ 0 h 774"/>
                    <a:gd name="T38" fmla="*/ 1163 w 1216"/>
                    <a:gd name="T39" fmla="*/ 0 h 774"/>
                    <a:gd name="T40" fmla="*/ 1216 w 1216"/>
                    <a:gd name="T41" fmla="*/ 54 h 7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216" h="774">
                      <a:moveTo>
                        <a:pt x="1216" y="54"/>
                      </a:moveTo>
                      <a:cubicBezTo>
                        <a:pt x="1216" y="636"/>
                        <a:pt x="1216" y="636"/>
                        <a:pt x="1216" y="636"/>
                      </a:cubicBezTo>
                      <a:cubicBezTo>
                        <a:pt x="1216" y="665"/>
                        <a:pt x="1192" y="689"/>
                        <a:pt x="1163" y="689"/>
                      </a:cubicBezTo>
                      <a:cubicBezTo>
                        <a:pt x="649" y="689"/>
                        <a:pt x="649" y="689"/>
                        <a:pt x="649" y="689"/>
                      </a:cubicBezTo>
                      <a:cubicBezTo>
                        <a:pt x="649" y="729"/>
                        <a:pt x="649" y="729"/>
                        <a:pt x="649" y="729"/>
                      </a:cubicBezTo>
                      <a:cubicBezTo>
                        <a:pt x="1114" y="729"/>
                        <a:pt x="1114" y="729"/>
                        <a:pt x="1114" y="729"/>
                      </a:cubicBezTo>
                      <a:cubicBezTo>
                        <a:pt x="1127" y="729"/>
                        <a:pt x="1137" y="739"/>
                        <a:pt x="1137" y="751"/>
                      </a:cubicBezTo>
                      <a:cubicBezTo>
                        <a:pt x="1137" y="757"/>
                        <a:pt x="1134" y="763"/>
                        <a:pt x="1130" y="767"/>
                      </a:cubicBezTo>
                      <a:cubicBezTo>
                        <a:pt x="1126" y="771"/>
                        <a:pt x="1121" y="774"/>
                        <a:pt x="1114" y="774"/>
                      </a:cubicBezTo>
                      <a:cubicBezTo>
                        <a:pt x="104" y="774"/>
                        <a:pt x="104" y="774"/>
                        <a:pt x="104" y="774"/>
                      </a:cubicBezTo>
                      <a:cubicBezTo>
                        <a:pt x="91" y="774"/>
                        <a:pt x="81" y="764"/>
                        <a:pt x="81" y="751"/>
                      </a:cubicBezTo>
                      <a:cubicBezTo>
                        <a:pt x="81" y="745"/>
                        <a:pt x="84" y="739"/>
                        <a:pt x="88" y="735"/>
                      </a:cubicBezTo>
                      <a:cubicBezTo>
                        <a:pt x="92" y="731"/>
                        <a:pt x="97" y="729"/>
                        <a:pt x="104" y="729"/>
                      </a:cubicBezTo>
                      <a:cubicBezTo>
                        <a:pt x="565" y="729"/>
                        <a:pt x="565" y="729"/>
                        <a:pt x="565" y="729"/>
                      </a:cubicBezTo>
                      <a:cubicBezTo>
                        <a:pt x="565" y="689"/>
                        <a:pt x="565" y="689"/>
                        <a:pt x="565" y="689"/>
                      </a:cubicBezTo>
                      <a:cubicBezTo>
                        <a:pt x="52" y="689"/>
                        <a:pt x="52" y="689"/>
                        <a:pt x="52" y="689"/>
                      </a:cubicBezTo>
                      <a:cubicBezTo>
                        <a:pt x="23" y="689"/>
                        <a:pt x="0" y="665"/>
                        <a:pt x="0" y="636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0" y="24"/>
                        <a:pt x="23" y="0"/>
                        <a:pt x="52" y="0"/>
                      </a:cubicBezTo>
                      <a:cubicBezTo>
                        <a:pt x="1163" y="0"/>
                        <a:pt x="1163" y="0"/>
                        <a:pt x="1163" y="0"/>
                      </a:cubicBezTo>
                      <a:cubicBezTo>
                        <a:pt x="1192" y="0"/>
                        <a:pt x="1216" y="24"/>
                        <a:pt x="1216" y="54"/>
                      </a:cubicBezTo>
                      <a:close/>
                    </a:path>
                  </a:pathLst>
                </a:custGeom>
                <a:solidFill>
                  <a:srgbClr val="445776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prstClr val="black"/>
                    </a:solidFill>
                    <a:latin typeface="Microsoft Sans Serif"/>
                  </a:endParaRPr>
                </a:p>
              </p:txBody>
            </p:sp>
            <p:sp>
              <p:nvSpPr>
                <p:cNvPr id="499" name="Freeform 102">
                  <a:extLst>
                    <a:ext uri="{FF2B5EF4-FFF2-40B4-BE49-F238E27FC236}">
                      <a16:creationId xmlns:a16="http://schemas.microsoft.com/office/drawing/2014/main" id="{4E452A9C-EEDE-D77A-D9B3-4F93E44D3C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16" y="1861"/>
                  <a:ext cx="1999" cy="1058"/>
                </a:xfrm>
                <a:custGeom>
                  <a:avLst/>
                  <a:gdLst>
                    <a:gd name="T0" fmla="*/ 1131 w 1131"/>
                    <a:gd name="T1" fmla="*/ 18 h 598"/>
                    <a:gd name="T2" fmla="*/ 1131 w 1131"/>
                    <a:gd name="T3" fmla="*/ 580 h 598"/>
                    <a:gd name="T4" fmla="*/ 1113 w 1131"/>
                    <a:gd name="T5" fmla="*/ 598 h 598"/>
                    <a:gd name="T6" fmla="*/ 18 w 1131"/>
                    <a:gd name="T7" fmla="*/ 598 h 598"/>
                    <a:gd name="T8" fmla="*/ 0 w 1131"/>
                    <a:gd name="T9" fmla="*/ 580 h 598"/>
                    <a:gd name="T10" fmla="*/ 0 w 1131"/>
                    <a:gd name="T11" fmla="*/ 18 h 598"/>
                    <a:gd name="T12" fmla="*/ 18 w 1131"/>
                    <a:gd name="T13" fmla="*/ 0 h 598"/>
                    <a:gd name="T14" fmla="*/ 1113 w 1131"/>
                    <a:gd name="T15" fmla="*/ 0 h 598"/>
                    <a:gd name="T16" fmla="*/ 1131 w 1131"/>
                    <a:gd name="T17" fmla="*/ 18 h 5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31" h="598">
                      <a:moveTo>
                        <a:pt x="1131" y="18"/>
                      </a:moveTo>
                      <a:cubicBezTo>
                        <a:pt x="1131" y="580"/>
                        <a:pt x="1131" y="580"/>
                        <a:pt x="1131" y="580"/>
                      </a:cubicBezTo>
                      <a:cubicBezTo>
                        <a:pt x="1131" y="590"/>
                        <a:pt x="1123" y="598"/>
                        <a:pt x="1113" y="598"/>
                      </a:cubicBezTo>
                      <a:cubicBezTo>
                        <a:pt x="18" y="598"/>
                        <a:pt x="18" y="598"/>
                        <a:pt x="18" y="598"/>
                      </a:cubicBezTo>
                      <a:cubicBezTo>
                        <a:pt x="8" y="598"/>
                        <a:pt x="0" y="590"/>
                        <a:pt x="0" y="580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0" y="8"/>
                        <a:pt x="8" y="0"/>
                        <a:pt x="18" y="0"/>
                      </a:cubicBezTo>
                      <a:cubicBezTo>
                        <a:pt x="1113" y="0"/>
                        <a:pt x="1113" y="0"/>
                        <a:pt x="1113" y="0"/>
                      </a:cubicBezTo>
                      <a:cubicBezTo>
                        <a:pt x="1123" y="0"/>
                        <a:pt x="1131" y="8"/>
                        <a:pt x="1131" y="18"/>
                      </a:cubicBezTo>
                      <a:close/>
                    </a:path>
                  </a:pathLst>
                </a:custGeom>
                <a:solidFill>
                  <a:srgbClr val="ACBA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prstClr val="black"/>
                    </a:solidFill>
                    <a:latin typeface="Microsoft Sans Serif"/>
                  </a:endParaRPr>
                </a:p>
              </p:txBody>
            </p:sp>
          </p:grpSp>
          <p:grpSp>
            <p:nvGrpSpPr>
              <p:cNvPr id="476" name="Group 475">
                <a:extLst>
                  <a:ext uri="{FF2B5EF4-FFF2-40B4-BE49-F238E27FC236}">
                    <a16:creationId xmlns:a16="http://schemas.microsoft.com/office/drawing/2014/main" id="{A31D785B-9FF6-C8B0-9225-5ED41D718D54}"/>
                  </a:ext>
                </a:extLst>
              </p:cNvPr>
              <p:cNvGrpSpPr/>
              <p:nvPr/>
            </p:nvGrpSpPr>
            <p:grpSpPr>
              <a:xfrm>
                <a:off x="4471796" y="3467430"/>
                <a:ext cx="436426" cy="633665"/>
                <a:chOff x="1076012" y="4433276"/>
                <a:chExt cx="600483" cy="871866"/>
              </a:xfrm>
            </p:grpSpPr>
            <p:sp>
              <p:nvSpPr>
                <p:cNvPr id="494" name="Freeform: Shape 431">
                  <a:extLst>
                    <a:ext uri="{FF2B5EF4-FFF2-40B4-BE49-F238E27FC236}">
                      <a16:creationId xmlns:a16="http://schemas.microsoft.com/office/drawing/2014/main" id="{F5D24E23-1668-710A-8837-3F871560CEBC}"/>
                    </a:ext>
                  </a:extLst>
                </p:cNvPr>
                <p:cNvSpPr/>
                <p:nvPr/>
              </p:nvSpPr>
              <p:spPr>
                <a:xfrm>
                  <a:off x="1076012" y="4433276"/>
                  <a:ext cx="600482" cy="871866"/>
                </a:xfrm>
                <a:custGeom>
                  <a:avLst/>
                  <a:gdLst>
                    <a:gd name="connsiteX0" fmla="*/ 195096 w 3278506"/>
                    <a:gd name="connsiteY0" fmla="*/ 0 h 4760204"/>
                    <a:gd name="connsiteX1" fmla="*/ 3066829 w 3278506"/>
                    <a:gd name="connsiteY1" fmla="*/ 550 h 4760204"/>
                    <a:gd name="connsiteX2" fmla="*/ 3095016 w 3278506"/>
                    <a:gd name="connsiteY2" fmla="*/ 550 h 4760204"/>
                    <a:gd name="connsiteX3" fmla="*/ 3278506 w 3278506"/>
                    <a:gd name="connsiteY3" fmla="*/ 197050 h 4760204"/>
                    <a:gd name="connsiteX4" fmla="*/ 3278506 w 3278506"/>
                    <a:gd name="connsiteY4" fmla="*/ 1860969 h 4760204"/>
                    <a:gd name="connsiteX5" fmla="*/ 2994980 w 3278506"/>
                    <a:gd name="connsiteY5" fmla="*/ 2296902 h 4760204"/>
                    <a:gd name="connsiteX6" fmla="*/ 1905093 w 3278506"/>
                    <a:gd name="connsiteY6" fmla="*/ 2780720 h 4760204"/>
                    <a:gd name="connsiteX7" fmla="*/ 1905093 w 3278506"/>
                    <a:gd name="connsiteY7" fmla="*/ 3111143 h 4760204"/>
                    <a:gd name="connsiteX8" fmla="*/ 1905093 w 3278506"/>
                    <a:gd name="connsiteY8" fmla="*/ 3133079 h 4760204"/>
                    <a:gd name="connsiteX9" fmla="*/ 1905093 w 3278506"/>
                    <a:gd name="connsiteY9" fmla="*/ 3209700 h 4760204"/>
                    <a:gd name="connsiteX10" fmla="*/ 1905093 w 3278506"/>
                    <a:gd name="connsiteY10" fmla="*/ 3234479 h 4760204"/>
                    <a:gd name="connsiteX11" fmla="*/ 1905093 w 3278506"/>
                    <a:gd name="connsiteY11" fmla="*/ 3326130 h 4760204"/>
                    <a:gd name="connsiteX12" fmla="*/ 1905093 w 3278506"/>
                    <a:gd name="connsiteY12" fmla="*/ 3461923 h 4760204"/>
                    <a:gd name="connsiteX13" fmla="*/ 1905093 w 3278506"/>
                    <a:gd name="connsiteY13" fmla="*/ 3493124 h 4760204"/>
                    <a:gd name="connsiteX14" fmla="*/ 1905093 w 3278506"/>
                    <a:gd name="connsiteY14" fmla="*/ 3618570 h 4760204"/>
                    <a:gd name="connsiteX15" fmla="*/ 1905093 w 3278506"/>
                    <a:gd name="connsiteY15" fmla="*/ 3787925 h 4760204"/>
                    <a:gd name="connsiteX16" fmla="*/ 1905093 w 3278506"/>
                    <a:gd name="connsiteY16" fmla="*/ 3797560 h 4760204"/>
                    <a:gd name="connsiteX17" fmla="*/ 1905093 w 3278506"/>
                    <a:gd name="connsiteY17" fmla="*/ 3828635 h 4760204"/>
                    <a:gd name="connsiteX18" fmla="*/ 1905093 w 3278506"/>
                    <a:gd name="connsiteY18" fmla="*/ 4121246 h 4760204"/>
                    <a:gd name="connsiteX19" fmla="*/ 1905093 w 3278506"/>
                    <a:gd name="connsiteY19" fmla="*/ 4495452 h 4760204"/>
                    <a:gd name="connsiteX20" fmla="*/ 1639253 w 3278506"/>
                    <a:gd name="connsiteY20" fmla="*/ 4760204 h 4760204"/>
                    <a:gd name="connsiteX21" fmla="*/ 1373413 w 3278506"/>
                    <a:gd name="connsiteY21" fmla="*/ 4495452 h 4760204"/>
                    <a:gd name="connsiteX22" fmla="*/ 1373413 w 3278506"/>
                    <a:gd name="connsiteY22" fmla="*/ 3950042 h 4760204"/>
                    <a:gd name="connsiteX23" fmla="*/ 1373413 w 3278506"/>
                    <a:gd name="connsiteY23" fmla="*/ 3828635 h 4760204"/>
                    <a:gd name="connsiteX24" fmla="*/ 1373413 w 3278506"/>
                    <a:gd name="connsiteY24" fmla="*/ 3802012 h 4760204"/>
                    <a:gd name="connsiteX25" fmla="*/ 1373413 w 3278506"/>
                    <a:gd name="connsiteY25" fmla="*/ 3743202 h 4760204"/>
                    <a:gd name="connsiteX26" fmla="*/ 1373413 w 3278506"/>
                    <a:gd name="connsiteY26" fmla="*/ 3629362 h 4760204"/>
                    <a:gd name="connsiteX27" fmla="*/ 1373413 w 3278506"/>
                    <a:gd name="connsiteY27" fmla="*/ 3532665 h 4760204"/>
                    <a:gd name="connsiteX28" fmla="*/ 1373413 w 3278506"/>
                    <a:gd name="connsiteY28" fmla="*/ 3430199 h 4760204"/>
                    <a:gd name="connsiteX29" fmla="*/ 1373413 w 3278506"/>
                    <a:gd name="connsiteY29" fmla="*/ 3302647 h 4760204"/>
                    <a:gd name="connsiteX30" fmla="*/ 1373413 w 3278506"/>
                    <a:gd name="connsiteY30" fmla="*/ 3202629 h 4760204"/>
                    <a:gd name="connsiteX31" fmla="*/ 1373413 w 3278506"/>
                    <a:gd name="connsiteY31" fmla="*/ 3133079 h 4760204"/>
                    <a:gd name="connsiteX32" fmla="*/ 1373413 w 3278506"/>
                    <a:gd name="connsiteY32" fmla="*/ 3052286 h 4760204"/>
                    <a:gd name="connsiteX33" fmla="*/ 1373413 w 3278506"/>
                    <a:gd name="connsiteY33" fmla="*/ 2780720 h 4760204"/>
                    <a:gd name="connsiteX34" fmla="*/ 283525 w 3278506"/>
                    <a:gd name="connsiteY34" fmla="*/ 2296902 h 4760204"/>
                    <a:gd name="connsiteX35" fmla="*/ 0 w 3278506"/>
                    <a:gd name="connsiteY35" fmla="*/ 1860969 h 4760204"/>
                    <a:gd name="connsiteX36" fmla="*/ 0 w 3278506"/>
                    <a:gd name="connsiteY36" fmla="*/ 197050 h 4760204"/>
                    <a:gd name="connsiteX37" fmla="*/ 195096 w 3278506"/>
                    <a:gd name="connsiteY37" fmla="*/ 0 h 47602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3278506" h="4760204">
                      <a:moveTo>
                        <a:pt x="195096" y="0"/>
                      </a:moveTo>
                      <a:cubicBezTo>
                        <a:pt x="195096" y="0"/>
                        <a:pt x="195096" y="0"/>
                        <a:pt x="3066829" y="550"/>
                      </a:cubicBezTo>
                      <a:cubicBezTo>
                        <a:pt x="3076224" y="0"/>
                        <a:pt x="3085620" y="0"/>
                        <a:pt x="3095016" y="550"/>
                      </a:cubicBezTo>
                      <a:cubicBezTo>
                        <a:pt x="3193393" y="7706"/>
                        <a:pt x="3278506" y="88618"/>
                        <a:pt x="3278506" y="197050"/>
                      </a:cubicBezTo>
                      <a:cubicBezTo>
                        <a:pt x="3278506" y="197050"/>
                        <a:pt x="3278506" y="197050"/>
                        <a:pt x="3278506" y="1860969"/>
                      </a:cubicBezTo>
                      <a:cubicBezTo>
                        <a:pt x="3278506" y="2049213"/>
                        <a:pt x="3167417" y="2219843"/>
                        <a:pt x="2994980" y="2296902"/>
                      </a:cubicBezTo>
                      <a:cubicBezTo>
                        <a:pt x="2994980" y="2296902"/>
                        <a:pt x="2994980" y="2296902"/>
                        <a:pt x="1905093" y="2780720"/>
                      </a:cubicBezTo>
                      <a:cubicBezTo>
                        <a:pt x="1905093" y="2780720"/>
                        <a:pt x="1905093" y="2780720"/>
                        <a:pt x="1905093" y="3111143"/>
                      </a:cubicBezTo>
                      <a:lnTo>
                        <a:pt x="1905093" y="3133079"/>
                      </a:lnTo>
                      <a:lnTo>
                        <a:pt x="1905093" y="3209700"/>
                      </a:lnTo>
                      <a:lnTo>
                        <a:pt x="1905093" y="3234479"/>
                      </a:lnTo>
                      <a:lnTo>
                        <a:pt x="1905093" y="3326130"/>
                      </a:lnTo>
                      <a:lnTo>
                        <a:pt x="1905093" y="3461923"/>
                      </a:lnTo>
                      <a:lnTo>
                        <a:pt x="1905093" y="3493124"/>
                      </a:lnTo>
                      <a:lnTo>
                        <a:pt x="1905093" y="3618570"/>
                      </a:lnTo>
                      <a:lnTo>
                        <a:pt x="1905093" y="3787925"/>
                      </a:lnTo>
                      <a:lnTo>
                        <a:pt x="1905093" y="3797560"/>
                      </a:lnTo>
                      <a:lnTo>
                        <a:pt x="1905093" y="3828635"/>
                      </a:lnTo>
                      <a:lnTo>
                        <a:pt x="1905093" y="4121246"/>
                      </a:lnTo>
                      <a:cubicBezTo>
                        <a:pt x="1905093" y="4239036"/>
                        <a:pt x="1905093" y="4363640"/>
                        <a:pt x="1905093" y="4495452"/>
                      </a:cubicBezTo>
                      <a:cubicBezTo>
                        <a:pt x="1905093" y="4641864"/>
                        <a:pt x="1786266" y="4760204"/>
                        <a:pt x="1639253" y="4760204"/>
                      </a:cubicBezTo>
                      <a:cubicBezTo>
                        <a:pt x="1492240" y="4760204"/>
                        <a:pt x="1373413" y="4641864"/>
                        <a:pt x="1373413" y="4495452"/>
                      </a:cubicBezTo>
                      <a:cubicBezTo>
                        <a:pt x="1373413" y="4495452"/>
                        <a:pt x="1373413" y="4495452"/>
                        <a:pt x="1373413" y="3950042"/>
                      </a:cubicBezTo>
                      <a:lnTo>
                        <a:pt x="1373413" y="3828635"/>
                      </a:lnTo>
                      <a:lnTo>
                        <a:pt x="1373413" y="3802012"/>
                      </a:lnTo>
                      <a:lnTo>
                        <a:pt x="1373413" y="3743202"/>
                      </a:lnTo>
                      <a:lnTo>
                        <a:pt x="1373413" y="3629362"/>
                      </a:lnTo>
                      <a:lnTo>
                        <a:pt x="1373413" y="3532665"/>
                      </a:lnTo>
                      <a:lnTo>
                        <a:pt x="1373413" y="3430199"/>
                      </a:lnTo>
                      <a:lnTo>
                        <a:pt x="1373413" y="3302647"/>
                      </a:lnTo>
                      <a:lnTo>
                        <a:pt x="1373413" y="3202629"/>
                      </a:lnTo>
                      <a:lnTo>
                        <a:pt x="1373413" y="3133079"/>
                      </a:lnTo>
                      <a:lnTo>
                        <a:pt x="1373413" y="3052286"/>
                      </a:lnTo>
                      <a:cubicBezTo>
                        <a:pt x="1373413" y="2965346"/>
                        <a:pt x="1373413" y="2874872"/>
                        <a:pt x="1373413" y="2780720"/>
                      </a:cubicBezTo>
                      <a:cubicBezTo>
                        <a:pt x="1373413" y="2780720"/>
                        <a:pt x="1373413" y="2780720"/>
                        <a:pt x="283525" y="2296902"/>
                      </a:cubicBezTo>
                      <a:cubicBezTo>
                        <a:pt x="111089" y="2219843"/>
                        <a:pt x="0" y="2049213"/>
                        <a:pt x="0" y="1860969"/>
                      </a:cubicBezTo>
                      <a:cubicBezTo>
                        <a:pt x="0" y="1860969"/>
                        <a:pt x="0" y="1860969"/>
                        <a:pt x="0" y="197050"/>
                      </a:cubicBezTo>
                      <a:cubicBezTo>
                        <a:pt x="0" y="84765"/>
                        <a:pt x="91745" y="1651"/>
                        <a:pt x="195096" y="0"/>
                      </a:cubicBezTo>
                      <a:close/>
                    </a:path>
                  </a:pathLst>
                </a:custGeom>
                <a:solidFill>
                  <a:srgbClr val="445776"/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743407">
                    <a:defRPr/>
                  </a:pPr>
                  <a:endParaRPr lang="de-DE" sz="1463" kern="0" err="1">
                    <a:solidFill>
                      <a:srgbClr val="F7F8FA"/>
                    </a:solidFill>
                    <a:latin typeface="Microsoft Sans Serif"/>
                  </a:endParaRPr>
                </a:p>
              </p:txBody>
            </p:sp>
            <p:sp>
              <p:nvSpPr>
                <p:cNvPr id="495" name="Freeform 6">
                  <a:extLst>
                    <a:ext uri="{FF2B5EF4-FFF2-40B4-BE49-F238E27FC236}">
                      <a16:creationId xmlns:a16="http://schemas.microsoft.com/office/drawing/2014/main" id="{C655D78F-16F0-FDDA-3157-E622A14DF3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6254" y="4433276"/>
                  <a:ext cx="300241" cy="521606"/>
                </a:xfrm>
                <a:custGeom>
                  <a:avLst/>
                  <a:gdLst>
                    <a:gd name="T0" fmla="*/ 2634 w 2966"/>
                    <a:gd name="T1" fmla="*/ 1 h 5174"/>
                    <a:gd name="T2" fmla="*/ 2634 w 2966"/>
                    <a:gd name="T3" fmla="*/ 1 h 5174"/>
                    <a:gd name="T4" fmla="*/ 2583 w 2966"/>
                    <a:gd name="T5" fmla="*/ 1 h 5174"/>
                    <a:gd name="T6" fmla="*/ 2463 w 2966"/>
                    <a:gd name="T7" fmla="*/ 31 h 5174"/>
                    <a:gd name="T8" fmla="*/ 442 w 2966"/>
                    <a:gd name="T9" fmla="*/ 933 h 5174"/>
                    <a:gd name="T10" fmla="*/ 0 w 2966"/>
                    <a:gd name="T11" fmla="*/ 1614 h 5174"/>
                    <a:gd name="T12" fmla="*/ 0 w 2966"/>
                    <a:gd name="T13" fmla="*/ 4836 h 5174"/>
                    <a:gd name="T14" fmla="*/ 393 w 2966"/>
                    <a:gd name="T15" fmla="*/ 5091 h 5174"/>
                    <a:gd name="T16" fmla="*/ 481 w 2966"/>
                    <a:gd name="T17" fmla="*/ 5052 h 5174"/>
                    <a:gd name="T18" fmla="*/ 2453 w 2966"/>
                    <a:gd name="T19" fmla="*/ 4173 h 5174"/>
                    <a:gd name="T20" fmla="*/ 2966 w 2966"/>
                    <a:gd name="T21" fmla="*/ 3381 h 5174"/>
                    <a:gd name="T22" fmla="*/ 2966 w 2966"/>
                    <a:gd name="T23" fmla="*/ 358 h 5174"/>
                    <a:gd name="T24" fmla="*/ 2634 w 2966"/>
                    <a:gd name="T25" fmla="*/ 1 h 51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966" h="5174">
                      <a:moveTo>
                        <a:pt x="2634" y="1"/>
                      </a:moveTo>
                      <a:cubicBezTo>
                        <a:pt x="2634" y="1"/>
                        <a:pt x="2634" y="1"/>
                        <a:pt x="2634" y="1"/>
                      </a:cubicBezTo>
                      <a:cubicBezTo>
                        <a:pt x="2617" y="0"/>
                        <a:pt x="2600" y="0"/>
                        <a:pt x="2583" y="1"/>
                      </a:cubicBezTo>
                      <a:cubicBezTo>
                        <a:pt x="2543" y="4"/>
                        <a:pt x="2502" y="14"/>
                        <a:pt x="2463" y="31"/>
                      </a:cubicBezTo>
                      <a:cubicBezTo>
                        <a:pt x="442" y="933"/>
                        <a:pt x="442" y="933"/>
                        <a:pt x="442" y="933"/>
                      </a:cubicBezTo>
                      <a:cubicBezTo>
                        <a:pt x="173" y="1052"/>
                        <a:pt x="0" y="1319"/>
                        <a:pt x="0" y="1614"/>
                      </a:cubicBezTo>
                      <a:cubicBezTo>
                        <a:pt x="0" y="4836"/>
                        <a:pt x="0" y="4836"/>
                        <a:pt x="0" y="4836"/>
                      </a:cubicBezTo>
                      <a:cubicBezTo>
                        <a:pt x="0" y="5039"/>
                        <a:pt x="208" y="5174"/>
                        <a:pt x="393" y="5091"/>
                      </a:cubicBezTo>
                      <a:cubicBezTo>
                        <a:pt x="481" y="5052"/>
                        <a:pt x="481" y="5052"/>
                        <a:pt x="481" y="5052"/>
                      </a:cubicBezTo>
                      <a:cubicBezTo>
                        <a:pt x="2453" y="4173"/>
                        <a:pt x="2453" y="4173"/>
                        <a:pt x="2453" y="4173"/>
                      </a:cubicBezTo>
                      <a:cubicBezTo>
                        <a:pt x="2765" y="4033"/>
                        <a:pt x="2966" y="3723"/>
                        <a:pt x="2966" y="3381"/>
                      </a:cubicBezTo>
                      <a:cubicBezTo>
                        <a:pt x="2966" y="358"/>
                        <a:pt x="2966" y="358"/>
                        <a:pt x="2966" y="358"/>
                      </a:cubicBezTo>
                      <a:cubicBezTo>
                        <a:pt x="2966" y="161"/>
                        <a:pt x="2812" y="14"/>
                        <a:pt x="2634" y="1"/>
                      </a:cubicBezTo>
                      <a:close/>
                    </a:path>
                  </a:pathLst>
                </a:custGeom>
                <a:solidFill>
                  <a:srgbClr val="445776">
                    <a:lumMod val="60000"/>
                    <a:lumOff val="40000"/>
                  </a:srgbClr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  <p:sp>
              <p:nvSpPr>
                <p:cNvPr id="496" name="Freeform: Shape 433">
                  <a:extLst>
                    <a:ext uri="{FF2B5EF4-FFF2-40B4-BE49-F238E27FC236}">
                      <a16:creationId xmlns:a16="http://schemas.microsoft.com/office/drawing/2014/main" id="{0D2EA08A-8E77-EF33-3D7B-AB40594735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04011" y="4471173"/>
                  <a:ext cx="245883" cy="435173"/>
                </a:xfrm>
                <a:custGeom>
                  <a:avLst/>
                  <a:gdLst>
                    <a:gd name="connsiteX0" fmla="*/ 211574 w 1687513"/>
                    <a:gd name="connsiteY0" fmla="*/ 2542497 h 2986617"/>
                    <a:gd name="connsiteX1" fmla="*/ 249196 w 1687513"/>
                    <a:gd name="connsiteY1" fmla="*/ 2557503 h 2986617"/>
                    <a:gd name="connsiteX2" fmla="*/ 255159 w 1687513"/>
                    <a:gd name="connsiteY2" fmla="*/ 2563970 h 2986617"/>
                    <a:gd name="connsiteX3" fmla="*/ 260032 w 1687513"/>
                    <a:gd name="connsiteY3" fmla="*/ 2566371 h 2986617"/>
                    <a:gd name="connsiteX4" fmla="*/ 265460 w 1687513"/>
                    <a:gd name="connsiteY4" fmla="*/ 2575142 h 2986617"/>
                    <a:gd name="connsiteX5" fmla="*/ 278681 w 1687513"/>
                    <a:gd name="connsiteY5" fmla="*/ 2589480 h 2986617"/>
                    <a:gd name="connsiteX6" fmla="*/ 287157 w 1687513"/>
                    <a:gd name="connsiteY6" fmla="*/ 2610204 h 2986617"/>
                    <a:gd name="connsiteX7" fmla="*/ 292774 w 1687513"/>
                    <a:gd name="connsiteY7" fmla="*/ 2619282 h 2986617"/>
                    <a:gd name="connsiteX8" fmla="*/ 293941 w 1687513"/>
                    <a:gd name="connsiteY8" fmla="*/ 2626790 h 2986617"/>
                    <a:gd name="connsiteX9" fmla="*/ 297918 w 1687513"/>
                    <a:gd name="connsiteY9" fmla="*/ 2636515 h 2986617"/>
                    <a:gd name="connsiteX10" fmla="*/ 304800 w 1687513"/>
                    <a:gd name="connsiteY10" fmla="*/ 2696693 h 2986617"/>
                    <a:gd name="connsiteX11" fmla="*/ 152400 w 1687513"/>
                    <a:gd name="connsiteY11" fmla="*/ 2976005 h 2986617"/>
                    <a:gd name="connsiteX12" fmla="*/ 0 w 1687513"/>
                    <a:gd name="connsiteY12" fmla="*/ 2832201 h 2986617"/>
                    <a:gd name="connsiteX13" fmla="*/ 152400 w 1687513"/>
                    <a:gd name="connsiteY13" fmla="*/ 2552198 h 2986617"/>
                    <a:gd name="connsiteX14" fmla="*/ 211574 w 1687513"/>
                    <a:gd name="connsiteY14" fmla="*/ 2542497 h 2986617"/>
                    <a:gd name="connsiteX15" fmla="*/ 672241 w 1687513"/>
                    <a:gd name="connsiteY15" fmla="*/ 2337769 h 2986617"/>
                    <a:gd name="connsiteX16" fmla="*/ 709859 w 1687513"/>
                    <a:gd name="connsiteY16" fmla="*/ 2352880 h 2986617"/>
                    <a:gd name="connsiteX17" fmla="*/ 715809 w 1687513"/>
                    <a:gd name="connsiteY17" fmla="*/ 2359363 h 2986617"/>
                    <a:gd name="connsiteX18" fmla="*/ 720667 w 1687513"/>
                    <a:gd name="connsiteY18" fmla="*/ 2361772 h 2986617"/>
                    <a:gd name="connsiteX19" fmla="*/ 726081 w 1687513"/>
                    <a:gd name="connsiteY19" fmla="*/ 2370556 h 2986617"/>
                    <a:gd name="connsiteX20" fmla="*/ 739239 w 1687513"/>
                    <a:gd name="connsiteY20" fmla="*/ 2384893 h 2986617"/>
                    <a:gd name="connsiteX21" fmla="*/ 747670 w 1687513"/>
                    <a:gd name="connsiteY21" fmla="*/ 2405591 h 2986617"/>
                    <a:gd name="connsiteX22" fmla="*/ 753247 w 1687513"/>
                    <a:gd name="connsiteY22" fmla="*/ 2414642 h 2986617"/>
                    <a:gd name="connsiteX23" fmla="*/ 754407 w 1687513"/>
                    <a:gd name="connsiteY23" fmla="*/ 2422129 h 2986617"/>
                    <a:gd name="connsiteX24" fmla="*/ 758353 w 1687513"/>
                    <a:gd name="connsiteY24" fmla="*/ 2431816 h 2986617"/>
                    <a:gd name="connsiteX25" fmla="*/ 765175 w 1687513"/>
                    <a:gd name="connsiteY25" fmla="*/ 2491655 h 2986617"/>
                    <a:gd name="connsiteX26" fmla="*/ 612775 w 1687513"/>
                    <a:gd name="connsiteY26" fmla="*/ 2771270 h 2986617"/>
                    <a:gd name="connsiteX27" fmla="*/ 460375 w 1687513"/>
                    <a:gd name="connsiteY27" fmla="*/ 2626975 h 2986617"/>
                    <a:gd name="connsiteX28" fmla="*/ 612775 w 1687513"/>
                    <a:gd name="connsiteY28" fmla="*/ 2347359 h 2986617"/>
                    <a:gd name="connsiteX29" fmla="*/ 672241 w 1687513"/>
                    <a:gd name="connsiteY29" fmla="*/ 2337769 h 2986617"/>
                    <a:gd name="connsiteX30" fmla="*/ 1133802 w 1687513"/>
                    <a:gd name="connsiteY30" fmla="*/ 2133272 h 2986617"/>
                    <a:gd name="connsiteX31" fmla="*/ 1133804 w 1687513"/>
                    <a:gd name="connsiteY31" fmla="*/ 2133273 h 2986617"/>
                    <a:gd name="connsiteX32" fmla="*/ 1171531 w 1687513"/>
                    <a:gd name="connsiteY32" fmla="*/ 2148215 h 2986617"/>
                    <a:gd name="connsiteX33" fmla="*/ 1177509 w 1687513"/>
                    <a:gd name="connsiteY33" fmla="*/ 2154682 h 2986617"/>
                    <a:gd name="connsiteX34" fmla="*/ 1182384 w 1687513"/>
                    <a:gd name="connsiteY34" fmla="*/ 2157070 h 2986617"/>
                    <a:gd name="connsiteX35" fmla="*/ 1187825 w 1687513"/>
                    <a:gd name="connsiteY35" fmla="*/ 2165842 h 2986617"/>
                    <a:gd name="connsiteX36" fmla="*/ 1201044 w 1687513"/>
                    <a:gd name="connsiteY36" fmla="*/ 2180142 h 2986617"/>
                    <a:gd name="connsiteX37" fmla="*/ 1209523 w 1687513"/>
                    <a:gd name="connsiteY37" fmla="*/ 2200822 h 2986617"/>
                    <a:gd name="connsiteX38" fmla="*/ 1215132 w 1687513"/>
                    <a:gd name="connsiteY38" fmla="*/ 2209864 h 2986617"/>
                    <a:gd name="connsiteX39" fmla="*/ 1216299 w 1687513"/>
                    <a:gd name="connsiteY39" fmla="*/ 2217347 h 2986617"/>
                    <a:gd name="connsiteX40" fmla="*/ 1220270 w 1687513"/>
                    <a:gd name="connsiteY40" fmla="*/ 2227032 h 2986617"/>
                    <a:gd name="connsiteX41" fmla="*/ 1227138 w 1687513"/>
                    <a:gd name="connsiteY41" fmla="*/ 2286866 h 2986617"/>
                    <a:gd name="connsiteX42" fmla="*/ 1074293 w 1687513"/>
                    <a:gd name="connsiteY42" fmla="*/ 2566482 h 2986617"/>
                    <a:gd name="connsiteX43" fmla="*/ 920750 w 1687513"/>
                    <a:gd name="connsiteY43" fmla="*/ 2422187 h 2986617"/>
                    <a:gd name="connsiteX44" fmla="*/ 1074293 w 1687513"/>
                    <a:gd name="connsiteY44" fmla="*/ 2143261 h 2986617"/>
                    <a:gd name="connsiteX45" fmla="*/ 1133802 w 1687513"/>
                    <a:gd name="connsiteY45" fmla="*/ 2133272 h 2986617"/>
                    <a:gd name="connsiteX46" fmla="*/ 1594287 w 1687513"/>
                    <a:gd name="connsiteY46" fmla="*/ 1928124 h 2986617"/>
                    <a:gd name="connsiteX47" fmla="*/ 1594288 w 1687513"/>
                    <a:gd name="connsiteY47" fmla="*/ 1928124 h 2986617"/>
                    <a:gd name="connsiteX48" fmla="*/ 1631909 w 1687513"/>
                    <a:gd name="connsiteY48" fmla="*/ 1943083 h 2986617"/>
                    <a:gd name="connsiteX49" fmla="*/ 1637874 w 1687513"/>
                    <a:gd name="connsiteY49" fmla="*/ 1949530 h 2986617"/>
                    <a:gd name="connsiteX50" fmla="*/ 1642746 w 1687513"/>
                    <a:gd name="connsiteY50" fmla="*/ 1951922 h 2986617"/>
                    <a:gd name="connsiteX51" fmla="*/ 1648176 w 1687513"/>
                    <a:gd name="connsiteY51" fmla="*/ 1960664 h 2986617"/>
                    <a:gd name="connsiteX52" fmla="*/ 1661394 w 1687513"/>
                    <a:gd name="connsiteY52" fmla="*/ 1974949 h 2986617"/>
                    <a:gd name="connsiteX53" fmla="*/ 1669872 w 1687513"/>
                    <a:gd name="connsiteY53" fmla="*/ 1995587 h 2986617"/>
                    <a:gd name="connsiteX54" fmla="*/ 1675488 w 1687513"/>
                    <a:gd name="connsiteY54" fmla="*/ 2004628 h 2986617"/>
                    <a:gd name="connsiteX55" fmla="*/ 1676655 w 1687513"/>
                    <a:gd name="connsiteY55" fmla="*/ 2012100 h 2986617"/>
                    <a:gd name="connsiteX56" fmla="*/ 1680632 w 1687513"/>
                    <a:gd name="connsiteY56" fmla="*/ 2021782 h 2986617"/>
                    <a:gd name="connsiteX57" fmla="*/ 1687513 w 1687513"/>
                    <a:gd name="connsiteY57" fmla="*/ 2081640 h 2986617"/>
                    <a:gd name="connsiteX58" fmla="*/ 1535113 w 1687513"/>
                    <a:gd name="connsiteY58" fmla="*/ 2361643 h 2986617"/>
                    <a:gd name="connsiteX59" fmla="*/ 1382713 w 1687513"/>
                    <a:gd name="connsiteY59" fmla="*/ 2217148 h 2986617"/>
                    <a:gd name="connsiteX60" fmla="*/ 1535113 w 1687513"/>
                    <a:gd name="connsiteY60" fmla="*/ 1937836 h 2986617"/>
                    <a:gd name="connsiteX61" fmla="*/ 1594287 w 1687513"/>
                    <a:gd name="connsiteY61" fmla="*/ 1928124 h 2986617"/>
                    <a:gd name="connsiteX62" fmla="*/ 211574 w 1687513"/>
                    <a:gd name="connsiteY62" fmla="*/ 1899999 h 2986617"/>
                    <a:gd name="connsiteX63" fmla="*/ 249196 w 1687513"/>
                    <a:gd name="connsiteY63" fmla="*/ 1914989 h 2986617"/>
                    <a:gd name="connsiteX64" fmla="*/ 255167 w 1687513"/>
                    <a:gd name="connsiteY64" fmla="*/ 1921476 h 2986617"/>
                    <a:gd name="connsiteX65" fmla="*/ 260032 w 1687513"/>
                    <a:gd name="connsiteY65" fmla="*/ 1923873 h 2986617"/>
                    <a:gd name="connsiteX66" fmla="*/ 265469 w 1687513"/>
                    <a:gd name="connsiteY66" fmla="*/ 1932666 h 2986617"/>
                    <a:gd name="connsiteX67" fmla="*/ 278681 w 1687513"/>
                    <a:gd name="connsiteY67" fmla="*/ 1947018 h 2986617"/>
                    <a:gd name="connsiteX68" fmla="*/ 287162 w 1687513"/>
                    <a:gd name="connsiteY68" fmla="*/ 1967757 h 2986617"/>
                    <a:gd name="connsiteX69" fmla="*/ 292774 w 1687513"/>
                    <a:gd name="connsiteY69" fmla="*/ 1976835 h 2986617"/>
                    <a:gd name="connsiteX70" fmla="*/ 293942 w 1687513"/>
                    <a:gd name="connsiteY70" fmla="*/ 1984335 h 2986617"/>
                    <a:gd name="connsiteX71" fmla="*/ 297918 w 1687513"/>
                    <a:gd name="connsiteY71" fmla="*/ 1994058 h 2986617"/>
                    <a:gd name="connsiteX72" fmla="*/ 304800 w 1687513"/>
                    <a:gd name="connsiteY72" fmla="*/ 2054083 h 2986617"/>
                    <a:gd name="connsiteX73" fmla="*/ 152400 w 1687513"/>
                    <a:gd name="connsiteY73" fmla="*/ 2334589 h 2986617"/>
                    <a:gd name="connsiteX74" fmla="*/ 0 w 1687513"/>
                    <a:gd name="connsiteY74" fmla="*/ 2189834 h 2986617"/>
                    <a:gd name="connsiteX75" fmla="*/ 152400 w 1687513"/>
                    <a:gd name="connsiteY75" fmla="*/ 1910020 h 2986617"/>
                    <a:gd name="connsiteX76" fmla="*/ 211574 w 1687513"/>
                    <a:gd name="connsiteY76" fmla="*/ 1899999 h 2986617"/>
                    <a:gd name="connsiteX77" fmla="*/ 672241 w 1687513"/>
                    <a:gd name="connsiteY77" fmla="*/ 1694849 h 2986617"/>
                    <a:gd name="connsiteX78" fmla="*/ 672243 w 1687513"/>
                    <a:gd name="connsiteY78" fmla="*/ 1694850 h 2986617"/>
                    <a:gd name="connsiteX79" fmla="*/ 709859 w 1687513"/>
                    <a:gd name="connsiteY79" fmla="*/ 1709856 h 2986617"/>
                    <a:gd name="connsiteX80" fmla="*/ 715806 w 1687513"/>
                    <a:gd name="connsiteY80" fmla="*/ 1716326 h 2986617"/>
                    <a:gd name="connsiteX81" fmla="*/ 720667 w 1687513"/>
                    <a:gd name="connsiteY81" fmla="*/ 1718723 h 2986617"/>
                    <a:gd name="connsiteX82" fmla="*/ 726077 w 1687513"/>
                    <a:gd name="connsiteY82" fmla="*/ 1727503 h 2986617"/>
                    <a:gd name="connsiteX83" fmla="*/ 739239 w 1687513"/>
                    <a:gd name="connsiteY83" fmla="*/ 1741824 h 2986617"/>
                    <a:gd name="connsiteX84" fmla="*/ 747668 w 1687513"/>
                    <a:gd name="connsiteY84" fmla="*/ 1762542 h 2986617"/>
                    <a:gd name="connsiteX85" fmla="*/ 753247 w 1687513"/>
                    <a:gd name="connsiteY85" fmla="*/ 1771597 h 2986617"/>
                    <a:gd name="connsiteX86" fmla="*/ 754407 w 1687513"/>
                    <a:gd name="connsiteY86" fmla="*/ 1779105 h 2986617"/>
                    <a:gd name="connsiteX87" fmla="*/ 758353 w 1687513"/>
                    <a:gd name="connsiteY87" fmla="*/ 1788806 h 2986617"/>
                    <a:gd name="connsiteX88" fmla="*/ 765175 w 1687513"/>
                    <a:gd name="connsiteY88" fmla="*/ 1848854 h 2986617"/>
                    <a:gd name="connsiteX89" fmla="*/ 612775 w 1687513"/>
                    <a:gd name="connsiteY89" fmla="*/ 2129749 h 2986617"/>
                    <a:gd name="connsiteX90" fmla="*/ 460375 w 1687513"/>
                    <a:gd name="connsiteY90" fmla="*/ 1984793 h 2986617"/>
                    <a:gd name="connsiteX91" fmla="*/ 612775 w 1687513"/>
                    <a:gd name="connsiteY91" fmla="*/ 1704592 h 2986617"/>
                    <a:gd name="connsiteX92" fmla="*/ 672241 w 1687513"/>
                    <a:gd name="connsiteY92" fmla="*/ 1694849 h 2986617"/>
                    <a:gd name="connsiteX93" fmla="*/ 1133802 w 1687513"/>
                    <a:gd name="connsiteY93" fmla="*/ 1489974 h 2986617"/>
                    <a:gd name="connsiteX94" fmla="*/ 1133804 w 1687513"/>
                    <a:gd name="connsiteY94" fmla="*/ 1489975 h 2986617"/>
                    <a:gd name="connsiteX95" fmla="*/ 1171531 w 1687513"/>
                    <a:gd name="connsiteY95" fmla="*/ 1504933 h 2986617"/>
                    <a:gd name="connsiteX96" fmla="*/ 1177503 w 1687513"/>
                    <a:gd name="connsiteY96" fmla="*/ 1511382 h 2986617"/>
                    <a:gd name="connsiteX97" fmla="*/ 1182384 w 1687513"/>
                    <a:gd name="connsiteY97" fmla="*/ 1513772 h 2986617"/>
                    <a:gd name="connsiteX98" fmla="*/ 1187819 w 1687513"/>
                    <a:gd name="connsiteY98" fmla="*/ 1522520 h 2986617"/>
                    <a:gd name="connsiteX99" fmla="*/ 1201044 w 1687513"/>
                    <a:gd name="connsiteY99" fmla="*/ 1536799 h 2986617"/>
                    <a:gd name="connsiteX100" fmla="*/ 1209519 w 1687513"/>
                    <a:gd name="connsiteY100" fmla="*/ 1557445 h 2986617"/>
                    <a:gd name="connsiteX101" fmla="*/ 1215132 w 1687513"/>
                    <a:gd name="connsiteY101" fmla="*/ 1566478 h 2986617"/>
                    <a:gd name="connsiteX102" fmla="*/ 1216298 w 1687513"/>
                    <a:gd name="connsiteY102" fmla="*/ 1573957 h 2986617"/>
                    <a:gd name="connsiteX103" fmla="*/ 1220270 w 1687513"/>
                    <a:gd name="connsiteY103" fmla="*/ 1583632 h 2986617"/>
                    <a:gd name="connsiteX104" fmla="*/ 1227138 w 1687513"/>
                    <a:gd name="connsiteY104" fmla="*/ 1643490 h 2986617"/>
                    <a:gd name="connsiteX105" fmla="*/ 1074293 w 1687513"/>
                    <a:gd name="connsiteY105" fmla="*/ 1923493 h 2986617"/>
                    <a:gd name="connsiteX106" fmla="*/ 920750 w 1687513"/>
                    <a:gd name="connsiteY106" fmla="*/ 1778998 h 2986617"/>
                    <a:gd name="connsiteX107" fmla="*/ 1074293 w 1687513"/>
                    <a:gd name="connsiteY107" fmla="*/ 1499686 h 2986617"/>
                    <a:gd name="connsiteX108" fmla="*/ 1133802 w 1687513"/>
                    <a:gd name="connsiteY108" fmla="*/ 1489974 h 2986617"/>
                    <a:gd name="connsiteX109" fmla="*/ 1594287 w 1687513"/>
                    <a:gd name="connsiteY109" fmla="*/ 1285197 h 2986617"/>
                    <a:gd name="connsiteX110" fmla="*/ 1594288 w 1687513"/>
                    <a:gd name="connsiteY110" fmla="*/ 1285197 h 2986617"/>
                    <a:gd name="connsiteX111" fmla="*/ 1631909 w 1687513"/>
                    <a:gd name="connsiteY111" fmla="*/ 1300203 h 2986617"/>
                    <a:gd name="connsiteX112" fmla="*/ 1637872 w 1687513"/>
                    <a:gd name="connsiteY112" fmla="*/ 1306670 h 2986617"/>
                    <a:gd name="connsiteX113" fmla="*/ 1642746 w 1687513"/>
                    <a:gd name="connsiteY113" fmla="*/ 1309071 h 2986617"/>
                    <a:gd name="connsiteX114" fmla="*/ 1648174 w 1687513"/>
                    <a:gd name="connsiteY114" fmla="*/ 1317842 h 2986617"/>
                    <a:gd name="connsiteX115" fmla="*/ 1661394 w 1687513"/>
                    <a:gd name="connsiteY115" fmla="*/ 1332180 h 2986617"/>
                    <a:gd name="connsiteX116" fmla="*/ 1669870 w 1687513"/>
                    <a:gd name="connsiteY116" fmla="*/ 1352903 h 2986617"/>
                    <a:gd name="connsiteX117" fmla="*/ 1675488 w 1687513"/>
                    <a:gd name="connsiteY117" fmla="*/ 1361982 h 2986617"/>
                    <a:gd name="connsiteX118" fmla="*/ 1676654 w 1687513"/>
                    <a:gd name="connsiteY118" fmla="*/ 1369491 h 2986617"/>
                    <a:gd name="connsiteX119" fmla="*/ 1680632 w 1687513"/>
                    <a:gd name="connsiteY119" fmla="*/ 1379215 h 2986617"/>
                    <a:gd name="connsiteX120" fmla="*/ 1687513 w 1687513"/>
                    <a:gd name="connsiteY120" fmla="*/ 1439393 h 2986617"/>
                    <a:gd name="connsiteX121" fmla="*/ 1687513 w 1687513"/>
                    <a:gd name="connsiteY121" fmla="*/ 1439393 h 2986617"/>
                    <a:gd name="connsiteX122" fmla="*/ 1687513 w 1687513"/>
                    <a:gd name="connsiteY122" fmla="*/ 1439393 h 2986617"/>
                    <a:gd name="connsiteX123" fmla="*/ 1535113 w 1687513"/>
                    <a:gd name="connsiteY123" fmla="*/ 1718705 h 2986617"/>
                    <a:gd name="connsiteX124" fmla="*/ 1382713 w 1687513"/>
                    <a:gd name="connsiteY124" fmla="*/ 1574901 h 2986617"/>
                    <a:gd name="connsiteX125" fmla="*/ 1535113 w 1687513"/>
                    <a:gd name="connsiteY125" fmla="*/ 1294898 h 2986617"/>
                    <a:gd name="connsiteX126" fmla="*/ 1594287 w 1687513"/>
                    <a:gd name="connsiteY126" fmla="*/ 1285197 h 2986617"/>
                    <a:gd name="connsiteX127" fmla="*/ 211574 w 1687513"/>
                    <a:gd name="connsiteY127" fmla="*/ 1256699 h 2986617"/>
                    <a:gd name="connsiteX128" fmla="*/ 211574 w 1687513"/>
                    <a:gd name="connsiteY128" fmla="*/ 1256699 h 2986617"/>
                    <a:gd name="connsiteX129" fmla="*/ 249196 w 1687513"/>
                    <a:gd name="connsiteY129" fmla="*/ 1271706 h 2986617"/>
                    <a:gd name="connsiteX130" fmla="*/ 255161 w 1687513"/>
                    <a:gd name="connsiteY130" fmla="*/ 1278173 h 2986617"/>
                    <a:gd name="connsiteX131" fmla="*/ 260032 w 1687513"/>
                    <a:gd name="connsiteY131" fmla="*/ 1280573 h 2986617"/>
                    <a:gd name="connsiteX132" fmla="*/ 265463 w 1687513"/>
                    <a:gd name="connsiteY132" fmla="*/ 1289343 h 2986617"/>
                    <a:gd name="connsiteX133" fmla="*/ 278681 w 1687513"/>
                    <a:gd name="connsiteY133" fmla="*/ 1303674 h 2986617"/>
                    <a:gd name="connsiteX134" fmla="*/ 287158 w 1687513"/>
                    <a:gd name="connsiteY134" fmla="*/ 1324378 h 2986617"/>
                    <a:gd name="connsiteX135" fmla="*/ 292774 w 1687513"/>
                    <a:gd name="connsiteY135" fmla="*/ 1333447 h 2986617"/>
                    <a:gd name="connsiteX136" fmla="*/ 293941 w 1687513"/>
                    <a:gd name="connsiteY136" fmla="*/ 1340943 h 2986617"/>
                    <a:gd name="connsiteX137" fmla="*/ 297918 w 1687513"/>
                    <a:gd name="connsiteY137" fmla="*/ 1350656 h 2986617"/>
                    <a:gd name="connsiteX138" fmla="*/ 304800 w 1687513"/>
                    <a:gd name="connsiteY138" fmla="*/ 1410704 h 2986617"/>
                    <a:gd name="connsiteX139" fmla="*/ 152400 w 1687513"/>
                    <a:gd name="connsiteY139" fmla="*/ 1691599 h 2986617"/>
                    <a:gd name="connsiteX140" fmla="*/ 0 w 1687513"/>
                    <a:gd name="connsiteY140" fmla="*/ 1547337 h 2986617"/>
                    <a:gd name="connsiteX141" fmla="*/ 44508 w 1687513"/>
                    <a:gd name="connsiteY141" fmla="*/ 1376719 h 2986617"/>
                    <a:gd name="connsiteX142" fmla="*/ 152400 w 1687513"/>
                    <a:gd name="connsiteY142" fmla="*/ 1266442 h 2986617"/>
                    <a:gd name="connsiteX143" fmla="*/ 208118 w 1687513"/>
                    <a:gd name="connsiteY143" fmla="*/ 1257268 h 2986617"/>
                    <a:gd name="connsiteX144" fmla="*/ 672241 w 1687513"/>
                    <a:gd name="connsiteY144" fmla="*/ 1051923 h 2986617"/>
                    <a:gd name="connsiteX145" fmla="*/ 672244 w 1687513"/>
                    <a:gd name="connsiteY145" fmla="*/ 1051925 h 2986617"/>
                    <a:gd name="connsiteX146" fmla="*/ 709859 w 1687513"/>
                    <a:gd name="connsiteY146" fmla="*/ 1066977 h 2986617"/>
                    <a:gd name="connsiteX147" fmla="*/ 715803 w 1687513"/>
                    <a:gd name="connsiteY147" fmla="*/ 1073467 h 2986617"/>
                    <a:gd name="connsiteX148" fmla="*/ 720667 w 1687513"/>
                    <a:gd name="connsiteY148" fmla="*/ 1075873 h 2986617"/>
                    <a:gd name="connsiteX149" fmla="*/ 726075 w 1687513"/>
                    <a:gd name="connsiteY149" fmla="*/ 1084683 h 2986617"/>
                    <a:gd name="connsiteX150" fmla="*/ 739239 w 1687513"/>
                    <a:gd name="connsiteY150" fmla="*/ 1099056 h 2986617"/>
                    <a:gd name="connsiteX151" fmla="*/ 747666 w 1687513"/>
                    <a:gd name="connsiteY151" fmla="*/ 1119860 h 2986617"/>
                    <a:gd name="connsiteX152" fmla="*/ 753247 w 1687513"/>
                    <a:gd name="connsiteY152" fmla="*/ 1128953 h 2986617"/>
                    <a:gd name="connsiteX153" fmla="*/ 754406 w 1687513"/>
                    <a:gd name="connsiteY153" fmla="*/ 1136498 h 2986617"/>
                    <a:gd name="connsiteX154" fmla="*/ 758353 w 1687513"/>
                    <a:gd name="connsiteY154" fmla="*/ 1146241 h 2986617"/>
                    <a:gd name="connsiteX155" fmla="*/ 765175 w 1687513"/>
                    <a:gd name="connsiteY155" fmla="*/ 1206610 h 2986617"/>
                    <a:gd name="connsiteX156" fmla="*/ 765175 w 1687513"/>
                    <a:gd name="connsiteY156" fmla="*/ 1206611 h 2986617"/>
                    <a:gd name="connsiteX157" fmla="*/ 765175 w 1687513"/>
                    <a:gd name="connsiteY157" fmla="*/ 1206611 h 2986617"/>
                    <a:gd name="connsiteX158" fmla="*/ 612775 w 1687513"/>
                    <a:gd name="connsiteY158" fmla="*/ 1486812 h 2986617"/>
                    <a:gd name="connsiteX159" fmla="*/ 460375 w 1687513"/>
                    <a:gd name="connsiteY159" fmla="*/ 1342550 h 2986617"/>
                    <a:gd name="connsiteX160" fmla="*/ 612775 w 1687513"/>
                    <a:gd name="connsiteY160" fmla="*/ 1061655 h 2986617"/>
                    <a:gd name="connsiteX161" fmla="*/ 672241 w 1687513"/>
                    <a:gd name="connsiteY161" fmla="*/ 1051923 h 2986617"/>
                    <a:gd name="connsiteX162" fmla="*/ 1133802 w 1687513"/>
                    <a:gd name="connsiteY162" fmla="*/ 847135 h 2986617"/>
                    <a:gd name="connsiteX163" fmla="*/ 1133803 w 1687513"/>
                    <a:gd name="connsiteY163" fmla="*/ 847136 h 2986617"/>
                    <a:gd name="connsiteX164" fmla="*/ 1171531 w 1687513"/>
                    <a:gd name="connsiteY164" fmla="*/ 862189 h 2986617"/>
                    <a:gd name="connsiteX165" fmla="*/ 1177501 w 1687513"/>
                    <a:gd name="connsiteY165" fmla="*/ 868678 h 2986617"/>
                    <a:gd name="connsiteX166" fmla="*/ 1182384 w 1687513"/>
                    <a:gd name="connsiteY166" fmla="*/ 871085 h 2986617"/>
                    <a:gd name="connsiteX167" fmla="*/ 1187817 w 1687513"/>
                    <a:gd name="connsiteY167" fmla="*/ 879891 h 2986617"/>
                    <a:gd name="connsiteX168" fmla="*/ 1201044 w 1687513"/>
                    <a:gd name="connsiteY168" fmla="*/ 894268 h 2986617"/>
                    <a:gd name="connsiteX169" fmla="*/ 1209518 w 1687513"/>
                    <a:gd name="connsiteY169" fmla="*/ 915065 h 2986617"/>
                    <a:gd name="connsiteX170" fmla="*/ 1215132 w 1687513"/>
                    <a:gd name="connsiteY170" fmla="*/ 924165 h 2986617"/>
                    <a:gd name="connsiteX171" fmla="*/ 1216297 w 1687513"/>
                    <a:gd name="connsiteY171" fmla="*/ 931704 h 2986617"/>
                    <a:gd name="connsiteX172" fmla="*/ 1220270 w 1687513"/>
                    <a:gd name="connsiteY172" fmla="*/ 941453 h 2986617"/>
                    <a:gd name="connsiteX173" fmla="*/ 1227138 w 1687513"/>
                    <a:gd name="connsiteY173" fmla="*/ 1001822 h 2986617"/>
                    <a:gd name="connsiteX174" fmla="*/ 1227138 w 1687513"/>
                    <a:gd name="connsiteY174" fmla="*/ 1001823 h 2986617"/>
                    <a:gd name="connsiteX175" fmla="*/ 1227138 w 1687513"/>
                    <a:gd name="connsiteY175" fmla="*/ 1001823 h 2986617"/>
                    <a:gd name="connsiteX176" fmla="*/ 1074293 w 1687513"/>
                    <a:gd name="connsiteY176" fmla="*/ 1282024 h 2986617"/>
                    <a:gd name="connsiteX177" fmla="*/ 920750 w 1687513"/>
                    <a:gd name="connsiteY177" fmla="*/ 1137762 h 2986617"/>
                    <a:gd name="connsiteX178" fmla="*/ 1074293 w 1687513"/>
                    <a:gd name="connsiteY178" fmla="*/ 856867 h 2986617"/>
                    <a:gd name="connsiteX179" fmla="*/ 1114997 w 1687513"/>
                    <a:gd name="connsiteY179" fmla="*/ 850210 h 2986617"/>
                    <a:gd name="connsiteX180" fmla="*/ 1594287 w 1687513"/>
                    <a:gd name="connsiteY180" fmla="*/ 642407 h 2986617"/>
                    <a:gd name="connsiteX181" fmla="*/ 1594292 w 1687513"/>
                    <a:gd name="connsiteY181" fmla="*/ 642410 h 2986617"/>
                    <a:gd name="connsiteX182" fmla="*/ 1631909 w 1687513"/>
                    <a:gd name="connsiteY182" fmla="*/ 657567 h 2986617"/>
                    <a:gd name="connsiteX183" fmla="*/ 1637877 w 1687513"/>
                    <a:gd name="connsiteY183" fmla="*/ 664067 h 2986617"/>
                    <a:gd name="connsiteX184" fmla="*/ 1642746 w 1687513"/>
                    <a:gd name="connsiteY184" fmla="*/ 666487 h 2986617"/>
                    <a:gd name="connsiteX185" fmla="*/ 1648180 w 1687513"/>
                    <a:gd name="connsiteY185" fmla="*/ 675289 h 2986617"/>
                    <a:gd name="connsiteX186" fmla="*/ 1661394 w 1687513"/>
                    <a:gd name="connsiteY186" fmla="*/ 689682 h 2986617"/>
                    <a:gd name="connsiteX187" fmla="*/ 1669873 w 1687513"/>
                    <a:gd name="connsiteY187" fmla="*/ 710430 h 2986617"/>
                    <a:gd name="connsiteX188" fmla="*/ 1675488 w 1687513"/>
                    <a:gd name="connsiteY188" fmla="*/ 719525 h 2986617"/>
                    <a:gd name="connsiteX189" fmla="*/ 1676655 w 1687513"/>
                    <a:gd name="connsiteY189" fmla="*/ 727024 h 2986617"/>
                    <a:gd name="connsiteX190" fmla="*/ 1680632 w 1687513"/>
                    <a:gd name="connsiteY190" fmla="*/ 736754 h 2986617"/>
                    <a:gd name="connsiteX191" fmla="*/ 1687513 w 1687513"/>
                    <a:gd name="connsiteY191" fmla="*/ 796782 h 2986617"/>
                    <a:gd name="connsiteX192" fmla="*/ 1687513 w 1687513"/>
                    <a:gd name="connsiteY192" fmla="*/ 796783 h 2986617"/>
                    <a:gd name="connsiteX193" fmla="*/ 1687513 w 1687513"/>
                    <a:gd name="connsiteY193" fmla="*/ 796783 h 2986617"/>
                    <a:gd name="connsiteX194" fmla="*/ 1535113 w 1687513"/>
                    <a:gd name="connsiteY194" fmla="*/ 1076597 h 2986617"/>
                    <a:gd name="connsiteX195" fmla="*/ 1382713 w 1687513"/>
                    <a:gd name="connsiteY195" fmla="*/ 932534 h 2986617"/>
                    <a:gd name="connsiteX196" fmla="*/ 1535113 w 1687513"/>
                    <a:gd name="connsiteY196" fmla="*/ 652028 h 2986617"/>
                    <a:gd name="connsiteX197" fmla="*/ 1594287 w 1687513"/>
                    <a:gd name="connsiteY197" fmla="*/ 642407 h 2986617"/>
                    <a:gd name="connsiteX198" fmla="*/ 211574 w 1687513"/>
                    <a:gd name="connsiteY198" fmla="*/ 613736 h 2986617"/>
                    <a:gd name="connsiteX199" fmla="*/ 211582 w 1687513"/>
                    <a:gd name="connsiteY199" fmla="*/ 613739 h 2986617"/>
                    <a:gd name="connsiteX200" fmla="*/ 249196 w 1687513"/>
                    <a:gd name="connsiteY200" fmla="*/ 628769 h 2986617"/>
                    <a:gd name="connsiteX201" fmla="*/ 255157 w 1687513"/>
                    <a:gd name="connsiteY201" fmla="*/ 635246 h 2986617"/>
                    <a:gd name="connsiteX202" fmla="*/ 260032 w 1687513"/>
                    <a:gd name="connsiteY202" fmla="*/ 637652 h 2986617"/>
                    <a:gd name="connsiteX203" fmla="*/ 265461 w 1687513"/>
                    <a:gd name="connsiteY203" fmla="*/ 646441 h 2986617"/>
                    <a:gd name="connsiteX204" fmla="*/ 278681 w 1687513"/>
                    <a:gd name="connsiteY204" fmla="*/ 660803 h 2986617"/>
                    <a:gd name="connsiteX205" fmla="*/ 287156 w 1687513"/>
                    <a:gd name="connsiteY205" fmla="*/ 681562 h 2986617"/>
                    <a:gd name="connsiteX206" fmla="*/ 292774 w 1687513"/>
                    <a:gd name="connsiteY206" fmla="*/ 690658 h 2986617"/>
                    <a:gd name="connsiteX207" fmla="*/ 293941 w 1687513"/>
                    <a:gd name="connsiteY207" fmla="*/ 698181 h 2986617"/>
                    <a:gd name="connsiteX208" fmla="*/ 297918 w 1687513"/>
                    <a:gd name="connsiteY208" fmla="*/ 707923 h 2986617"/>
                    <a:gd name="connsiteX209" fmla="*/ 304800 w 1687513"/>
                    <a:gd name="connsiteY209" fmla="*/ 768207 h 2986617"/>
                    <a:gd name="connsiteX210" fmla="*/ 304800 w 1687513"/>
                    <a:gd name="connsiteY210" fmla="*/ 768209 h 2986617"/>
                    <a:gd name="connsiteX211" fmla="*/ 304800 w 1687513"/>
                    <a:gd name="connsiteY211" fmla="*/ 768209 h 2986617"/>
                    <a:gd name="connsiteX212" fmla="*/ 304800 w 1687513"/>
                    <a:gd name="connsiteY212" fmla="*/ 768209 h 2986617"/>
                    <a:gd name="connsiteX213" fmla="*/ 152400 w 1687513"/>
                    <a:gd name="connsiteY213" fmla="*/ 1048021 h 2986617"/>
                    <a:gd name="connsiteX214" fmla="*/ 0 w 1687513"/>
                    <a:gd name="connsiteY214" fmla="*/ 903959 h 2986617"/>
                    <a:gd name="connsiteX215" fmla="*/ 152400 w 1687513"/>
                    <a:gd name="connsiteY215" fmla="*/ 623454 h 2986617"/>
                    <a:gd name="connsiteX216" fmla="*/ 211574 w 1687513"/>
                    <a:gd name="connsiteY216" fmla="*/ 613736 h 2986617"/>
                    <a:gd name="connsiteX217" fmla="*/ 672241 w 1687513"/>
                    <a:gd name="connsiteY217" fmla="*/ 409045 h 2986617"/>
                    <a:gd name="connsiteX218" fmla="*/ 672248 w 1687513"/>
                    <a:gd name="connsiteY218" fmla="*/ 409048 h 2986617"/>
                    <a:gd name="connsiteX219" fmla="*/ 709859 w 1687513"/>
                    <a:gd name="connsiteY219" fmla="*/ 424204 h 2986617"/>
                    <a:gd name="connsiteX220" fmla="*/ 715808 w 1687513"/>
                    <a:gd name="connsiteY220" fmla="*/ 430707 h 2986617"/>
                    <a:gd name="connsiteX221" fmla="*/ 720667 w 1687513"/>
                    <a:gd name="connsiteY221" fmla="*/ 433124 h 2986617"/>
                    <a:gd name="connsiteX222" fmla="*/ 726082 w 1687513"/>
                    <a:gd name="connsiteY222" fmla="*/ 441938 h 2986617"/>
                    <a:gd name="connsiteX223" fmla="*/ 739239 w 1687513"/>
                    <a:gd name="connsiteY223" fmla="*/ 456320 h 2986617"/>
                    <a:gd name="connsiteX224" fmla="*/ 747669 w 1687513"/>
                    <a:gd name="connsiteY224" fmla="*/ 477081 h 2986617"/>
                    <a:gd name="connsiteX225" fmla="*/ 753247 w 1687513"/>
                    <a:gd name="connsiteY225" fmla="*/ 486162 h 2986617"/>
                    <a:gd name="connsiteX226" fmla="*/ 754407 w 1687513"/>
                    <a:gd name="connsiteY226" fmla="*/ 493674 h 2986617"/>
                    <a:gd name="connsiteX227" fmla="*/ 758353 w 1687513"/>
                    <a:gd name="connsiteY227" fmla="*/ 503392 h 2986617"/>
                    <a:gd name="connsiteX228" fmla="*/ 765175 w 1687513"/>
                    <a:gd name="connsiteY228" fmla="*/ 563419 h 2986617"/>
                    <a:gd name="connsiteX229" fmla="*/ 765175 w 1687513"/>
                    <a:gd name="connsiteY229" fmla="*/ 563421 h 2986617"/>
                    <a:gd name="connsiteX230" fmla="*/ 765175 w 1687513"/>
                    <a:gd name="connsiteY230" fmla="*/ 563421 h 2986617"/>
                    <a:gd name="connsiteX231" fmla="*/ 765175 w 1687513"/>
                    <a:gd name="connsiteY231" fmla="*/ 563421 h 2986617"/>
                    <a:gd name="connsiteX232" fmla="*/ 612775 w 1687513"/>
                    <a:gd name="connsiteY232" fmla="*/ 843926 h 2986617"/>
                    <a:gd name="connsiteX233" fmla="*/ 460375 w 1687513"/>
                    <a:gd name="connsiteY233" fmla="*/ 699172 h 2986617"/>
                    <a:gd name="connsiteX234" fmla="*/ 460375 w 1687513"/>
                    <a:gd name="connsiteY234" fmla="*/ 699172 h 2986617"/>
                    <a:gd name="connsiteX235" fmla="*/ 460375 w 1687513"/>
                    <a:gd name="connsiteY235" fmla="*/ 699172 h 2986617"/>
                    <a:gd name="connsiteX236" fmla="*/ 612775 w 1687513"/>
                    <a:gd name="connsiteY236" fmla="*/ 418665 h 2986617"/>
                    <a:gd name="connsiteX237" fmla="*/ 672241 w 1687513"/>
                    <a:gd name="connsiteY237" fmla="*/ 409045 h 2986617"/>
                    <a:gd name="connsiteX238" fmla="*/ 1133802 w 1687513"/>
                    <a:gd name="connsiteY238" fmla="*/ 204550 h 2986617"/>
                    <a:gd name="connsiteX239" fmla="*/ 1133805 w 1687513"/>
                    <a:gd name="connsiteY239" fmla="*/ 204551 h 2986617"/>
                    <a:gd name="connsiteX240" fmla="*/ 1171531 w 1687513"/>
                    <a:gd name="connsiteY240" fmla="*/ 219540 h 2986617"/>
                    <a:gd name="connsiteX241" fmla="*/ 1177509 w 1687513"/>
                    <a:gd name="connsiteY241" fmla="*/ 226027 h 2986617"/>
                    <a:gd name="connsiteX242" fmla="*/ 1182384 w 1687513"/>
                    <a:gd name="connsiteY242" fmla="*/ 228423 h 2986617"/>
                    <a:gd name="connsiteX243" fmla="*/ 1187826 w 1687513"/>
                    <a:gd name="connsiteY243" fmla="*/ 237224 h 2986617"/>
                    <a:gd name="connsiteX244" fmla="*/ 1201044 w 1687513"/>
                    <a:gd name="connsiteY244" fmla="*/ 251569 h 2986617"/>
                    <a:gd name="connsiteX245" fmla="*/ 1209523 w 1687513"/>
                    <a:gd name="connsiteY245" fmla="*/ 272315 h 2986617"/>
                    <a:gd name="connsiteX246" fmla="*/ 1215132 w 1687513"/>
                    <a:gd name="connsiteY246" fmla="*/ 281386 h 2986617"/>
                    <a:gd name="connsiteX247" fmla="*/ 1216299 w 1687513"/>
                    <a:gd name="connsiteY247" fmla="*/ 288893 h 2986617"/>
                    <a:gd name="connsiteX248" fmla="*/ 1220270 w 1687513"/>
                    <a:gd name="connsiteY248" fmla="*/ 298609 h 2986617"/>
                    <a:gd name="connsiteX249" fmla="*/ 1227138 w 1687513"/>
                    <a:gd name="connsiteY249" fmla="*/ 358633 h 2986617"/>
                    <a:gd name="connsiteX250" fmla="*/ 1227138 w 1687513"/>
                    <a:gd name="connsiteY250" fmla="*/ 358633 h 2986617"/>
                    <a:gd name="connsiteX251" fmla="*/ 1227138 w 1687513"/>
                    <a:gd name="connsiteY251" fmla="*/ 358634 h 2986617"/>
                    <a:gd name="connsiteX252" fmla="*/ 1227138 w 1687513"/>
                    <a:gd name="connsiteY252" fmla="*/ 358634 h 2986617"/>
                    <a:gd name="connsiteX253" fmla="*/ 1074293 w 1687513"/>
                    <a:gd name="connsiteY253" fmla="*/ 639140 h 2986617"/>
                    <a:gd name="connsiteX254" fmla="*/ 920750 w 1687513"/>
                    <a:gd name="connsiteY254" fmla="*/ 494385 h 2986617"/>
                    <a:gd name="connsiteX255" fmla="*/ 920750 w 1687513"/>
                    <a:gd name="connsiteY255" fmla="*/ 494385 h 2986617"/>
                    <a:gd name="connsiteX256" fmla="*/ 920750 w 1687513"/>
                    <a:gd name="connsiteY256" fmla="*/ 494385 h 2986617"/>
                    <a:gd name="connsiteX257" fmla="*/ 1074293 w 1687513"/>
                    <a:gd name="connsiteY257" fmla="*/ 214571 h 2986617"/>
                    <a:gd name="connsiteX258" fmla="*/ 1133802 w 1687513"/>
                    <a:gd name="connsiteY258" fmla="*/ 204550 h 2986617"/>
                    <a:gd name="connsiteX259" fmla="*/ 1594287 w 1687513"/>
                    <a:gd name="connsiteY259" fmla="*/ 900 h 2986617"/>
                    <a:gd name="connsiteX260" fmla="*/ 1594289 w 1687513"/>
                    <a:gd name="connsiteY260" fmla="*/ 900 h 2986617"/>
                    <a:gd name="connsiteX261" fmla="*/ 1631909 w 1687513"/>
                    <a:gd name="connsiteY261" fmla="*/ 15859 h 2986617"/>
                    <a:gd name="connsiteX262" fmla="*/ 1637874 w 1687513"/>
                    <a:gd name="connsiteY262" fmla="*/ 22306 h 2986617"/>
                    <a:gd name="connsiteX263" fmla="*/ 1642746 w 1687513"/>
                    <a:gd name="connsiteY263" fmla="*/ 24698 h 2986617"/>
                    <a:gd name="connsiteX264" fmla="*/ 1648176 w 1687513"/>
                    <a:gd name="connsiteY264" fmla="*/ 33440 h 2986617"/>
                    <a:gd name="connsiteX265" fmla="*/ 1661394 w 1687513"/>
                    <a:gd name="connsiteY265" fmla="*/ 47725 h 2986617"/>
                    <a:gd name="connsiteX266" fmla="*/ 1669872 w 1687513"/>
                    <a:gd name="connsiteY266" fmla="*/ 68363 h 2986617"/>
                    <a:gd name="connsiteX267" fmla="*/ 1675488 w 1687513"/>
                    <a:gd name="connsiteY267" fmla="*/ 77404 h 2986617"/>
                    <a:gd name="connsiteX268" fmla="*/ 1676655 w 1687513"/>
                    <a:gd name="connsiteY268" fmla="*/ 84876 h 2986617"/>
                    <a:gd name="connsiteX269" fmla="*/ 1680632 w 1687513"/>
                    <a:gd name="connsiteY269" fmla="*/ 94558 h 2986617"/>
                    <a:gd name="connsiteX270" fmla="*/ 1687513 w 1687513"/>
                    <a:gd name="connsiteY270" fmla="*/ 154415 h 2986617"/>
                    <a:gd name="connsiteX271" fmla="*/ 1687513 w 1687513"/>
                    <a:gd name="connsiteY271" fmla="*/ 154415 h 2986617"/>
                    <a:gd name="connsiteX272" fmla="*/ 1687513 w 1687513"/>
                    <a:gd name="connsiteY272" fmla="*/ 154416 h 2986617"/>
                    <a:gd name="connsiteX273" fmla="*/ 1687513 w 1687513"/>
                    <a:gd name="connsiteY273" fmla="*/ 154416 h 2986617"/>
                    <a:gd name="connsiteX274" fmla="*/ 1535113 w 1687513"/>
                    <a:gd name="connsiteY274" fmla="*/ 434419 h 2986617"/>
                    <a:gd name="connsiteX275" fmla="*/ 1382713 w 1687513"/>
                    <a:gd name="connsiteY275" fmla="*/ 289923 h 2986617"/>
                    <a:gd name="connsiteX276" fmla="*/ 1382713 w 1687513"/>
                    <a:gd name="connsiteY276" fmla="*/ 289923 h 2986617"/>
                    <a:gd name="connsiteX277" fmla="*/ 1535113 w 1687513"/>
                    <a:gd name="connsiteY277" fmla="*/ 10611 h 2986617"/>
                    <a:gd name="connsiteX278" fmla="*/ 1594287 w 1687513"/>
                    <a:gd name="connsiteY278" fmla="*/ 900 h 29866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</a:cxnLst>
                  <a:rect l="l" t="t" r="r" b="b"/>
                  <a:pathLst>
                    <a:path w="1687513" h="2986617">
                      <a:moveTo>
                        <a:pt x="211574" y="2542497"/>
                      </a:moveTo>
                      <a:cubicBezTo>
                        <a:pt x="225236" y="2544458"/>
                        <a:pt x="237894" y="2549566"/>
                        <a:pt x="249196" y="2557503"/>
                      </a:cubicBezTo>
                      <a:lnTo>
                        <a:pt x="255159" y="2563970"/>
                      </a:lnTo>
                      <a:lnTo>
                        <a:pt x="260032" y="2566371"/>
                      </a:lnTo>
                      <a:lnTo>
                        <a:pt x="265460" y="2575142"/>
                      </a:lnTo>
                      <a:lnTo>
                        <a:pt x="278681" y="2589480"/>
                      </a:lnTo>
                      <a:lnTo>
                        <a:pt x="287157" y="2610204"/>
                      </a:lnTo>
                      <a:lnTo>
                        <a:pt x="292774" y="2619282"/>
                      </a:lnTo>
                      <a:lnTo>
                        <a:pt x="293941" y="2626790"/>
                      </a:lnTo>
                      <a:lnTo>
                        <a:pt x="297918" y="2636515"/>
                      </a:lnTo>
                      <a:cubicBezTo>
                        <a:pt x="302389" y="2654490"/>
                        <a:pt x="304800" y="2674656"/>
                        <a:pt x="304800" y="2696693"/>
                      </a:cubicBezTo>
                      <a:cubicBezTo>
                        <a:pt x="304800" y="2813534"/>
                        <a:pt x="236220" y="2938672"/>
                        <a:pt x="152400" y="2976005"/>
                      </a:cubicBezTo>
                      <a:cubicBezTo>
                        <a:pt x="67887" y="3013339"/>
                        <a:pt x="0" y="2949042"/>
                        <a:pt x="0" y="2832201"/>
                      </a:cubicBezTo>
                      <a:cubicBezTo>
                        <a:pt x="0" y="2715360"/>
                        <a:pt x="67887" y="2589532"/>
                        <a:pt x="152400" y="2552198"/>
                      </a:cubicBezTo>
                      <a:cubicBezTo>
                        <a:pt x="173355" y="2542864"/>
                        <a:pt x="193357" y="2539883"/>
                        <a:pt x="211574" y="2542497"/>
                      </a:cubicBezTo>
                      <a:close/>
                      <a:moveTo>
                        <a:pt x="672241" y="2337769"/>
                      </a:moveTo>
                      <a:cubicBezTo>
                        <a:pt x="685928" y="2339767"/>
                        <a:pt x="698580" y="2344915"/>
                        <a:pt x="709859" y="2352880"/>
                      </a:cubicBezTo>
                      <a:lnTo>
                        <a:pt x="715809" y="2359363"/>
                      </a:lnTo>
                      <a:lnTo>
                        <a:pt x="720667" y="2361772"/>
                      </a:lnTo>
                      <a:lnTo>
                        <a:pt x="726081" y="2370556"/>
                      </a:lnTo>
                      <a:lnTo>
                        <a:pt x="739239" y="2384893"/>
                      </a:lnTo>
                      <a:lnTo>
                        <a:pt x="747670" y="2405591"/>
                      </a:lnTo>
                      <a:lnTo>
                        <a:pt x="753247" y="2414642"/>
                      </a:lnTo>
                      <a:lnTo>
                        <a:pt x="754407" y="2422129"/>
                      </a:lnTo>
                      <a:lnTo>
                        <a:pt x="758353" y="2431816"/>
                      </a:lnTo>
                      <a:cubicBezTo>
                        <a:pt x="762789" y="2449720"/>
                        <a:pt x="765175" y="2469777"/>
                        <a:pt x="765175" y="2491655"/>
                      </a:cubicBezTo>
                      <a:cubicBezTo>
                        <a:pt x="765175" y="2608334"/>
                        <a:pt x="697288" y="2733298"/>
                        <a:pt x="612775" y="2771270"/>
                      </a:cubicBezTo>
                      <a:cubicBezTo>
                        <a:pt x="528955" y="2808552"/>
                        <a:pt x="460375" y="2743654"/>
                        <a:pt x="460375" y="2626975"/>
                      </a:cubicBezTo>
                      <a:cubicBezTo>
                        <a:pt x="460375" y="2510296"/>
                        <a:pt x="528955" y="2385332"/>
                        <a:pt x="612775" y="2347359"/>
                      </a:cubicBezTo>
                      <a:cubicBezTo>
                        <a:pt x="633903" y="2338039"/>
                        <a:pt x="653992" y="2335104"/>
                        <a:pt x="672241" y="2337769"/>
                      </a:cubicBezTo>
                      <a:close/>
                      <a:moveTo>
                        <a:pt x="1133802" y="2133272"/>
                      </a:moveTo>
                      <a:lnTo>
                        <a:pt x="1133804" y="2133273"/>
                      </a:lnTo>
                      <a:lnTo>
                        <a:pt x="1171531" y="2148215"/>
                      </a:lnTo>
                      <a:lnTo>
                        <a:pt x="1177509" y="2154682"/>
                      </a:lnTo>
                      <a:lnTo>
                        <a:pt x="1182384" y="2157070"/>
                      </a:lnTo>
                      <a:lnTo>
                        <a:pt x="1187825" y="2165842"/>
                      </a:lnTo>
                      <a:lnTo>
                        <a:pt x="1201044" y="2180142"/>
                      </a:lnTo>
                      <a:lnTo>
                        <a:pt x="1209523" y="2200822"/>
                      </a:lnTo>
                      <a:lnTo>
                        <a:pt x="1215132" y="2209864"/>
                      </a:lnTo>
                      <a:lnTo>
                        <a:pt x="1216299" y="2217347"/>
                      </a:lnTo>
                      <a:lnTo>
                        <a:pt x="1220270" y="2227032"/>
                      </a:lnTo>
                      <a:cubicBezTo>
                        <a:pt x="1224734" y="2244932"/>
                        <a:pt x="1227138" y="2264989"/>
                        <a:pt x="1227138" y="2286866"/>
                      </a:cubicBezTo>
                      <a:cubicBezTo>
                        <a:pt x="1227138" y="2403546"/>
                        <a:pt x="1158742" y="2529200"/>
                        <a:pt x="1074293" y="2566482"/>
                      </a:cubicBezTo>
                      <a:cubicBezTo>
                        <a:pt x="989147" y="2603764"/>
                        <a:pt x="920750" y="2538866"/>
                        <a:pt x="920750" y="2422187"/>
                      </a:cubicBezTo>
                      <a:cubicBezTo>
                        <a:pt x="920750" y="2305507"/>
                        <a:pt x="989147" y="2180543"/>
                        <a:pt x="1074293" y="2143261"/>
                      </a:cubicBezTo>
                      <a:cubicBezTo>
                        <a:pt x="1095405" y="2133768"/>
                        <a:pt x="1115514" y="2130705"/>
                        <a:pt x="1133802" y="2133272"/>
                      </a:cubicBezTo>
                      <a:close/>
                      <a:moveTo>
                        <a:pt x="1594287" y="1928124"/>
                      </a:moveTo>
                      <a:lnTo>
                        <a:pt x="1594288" y="1928124"/>
                      </a:lnTo>
                      <a:lnTo>
                        <a:pt x="1631909" y="1943083"/>
                      </a:lnTo>
                      <a:lnTo>
                        <a:pt x="1637874" y="1949530"/>
                      </a:lnTo>
                      <a:lnTo>
                        <a:pt x="1642746" y="1951922"/>
                      </a:lnTo>
                      <a:lnTo>
                        <a:pt x="1648176" y="1960664"/>
                      </a:lnTo>
                      <a:lnTo>
                        <a:pt x="1661394" y="1974949"/>
                      </a:lnTo>
                      <a:lnTo>
                        <a:pt x="1669872" y="1995587"/>
                      </a:lnTo>
                      <a:lnTo>
                        <a:pt x="1675488" y="2004628"/>
                      </a:lnTo>
                      <a:lnTo>
                        <a:pt x="1676655" y="2012100"/>
                      </a:lnTo>
                      <a:lnTo>
                        <a:pt x="1680632" y="2021782"/>
                      </a:lnTo>
                      <a:cubicBezTo>
                        <a:pt x="1685102" y="2039672"/>
                        <a:pt x="1687513" y="2059732"/>
                        <a:pt x="1687513" y="2081640"/>
                      </a:cubicBezTo>
                      <a:cubicBezTo>
                        <a:pt x="1687513" y="2199172"/>
                        <a:pt x="1618933" y="2324310"/>
                        <a:pt x="1535113" y="2361643"/>
                      </a:cubicBezTo>
                      <a:cubicBezTo>
                        <a:pt x="1450601" y="2398977"/>
                        <a:pt x="1382713" y="2334680"/>
                        <a:pt x="1382713" y="2217148"/>
                      </a:cubicBezTo>
                      <a:cubicBezTo>
                        <a:pt x="1382713" y="2100307"/>
                        <a:pt x="1450601" y="1975169"/>
                        <a:pt x="1535113" y="1937836"/>
                      </a:cubicBezTo>
                      <a:cubicBezTo>
                        <a:pt x="1556068" y="1928502"/>
                        <a:pt x="1576071" y="1925521"/>
                        <a:pt x="1594287" y="1928124"/>
                      </a:cubicBezTo>
                      <a:close/>
                      <a:moveTo>
                        <a:pt x="211574" y="1899999"/>
                      </a:moveTo>
                      <a:cubicBezTo>
                        <a:pt x="225236" y="1901931"/>
                        <a:pt x="237894" y="1907040"/>
                        <a:pt x="249196" y="1914989"/>
                      </a:cubicBezTo>
                      <a:lnTo>
                        <a:pt x="255167" y="1921476"/>
                      </a:lnTo>
                      <a:lnTo>
                        <a:pt x="260032" y="1923873"/>
                      </a:lnTo>
                      <a:lnTo>
                        <a:pt x="265469" y="1932666"/>
                      </a:lnTo>
                      <a:lnTo>
                        <a:pt x="278681" y="1947018"/>
                      </a:lnTo>
                      <a:lnTo>
                        <a:pt x="287162" y="1967757"/>
                      </a:lnTo>
                      <a:lnTo>
                        <a:pt x="292774" y="1976835"/>
                      </a:lnTo>
                      <a:lnTo>
                        <a:pt x="293942" y="1984335"/>
                      </a:lnTo>
                      <a:lnTo>
                        <a:pt x="297918" y="1994058"/>
                      </a:lnTo>
                      <a:cubicBezTo>
                        <a:pt x="302389" y="2012015"/>
                        <a:pt x="304800" y="2032136"/>
                        <a:pt x="304800" y="2054083"/>
                      </a:cubicBezTo>
                      <a:cubicBezTo>
                        <a:pt x="304800" y="2171134"/>
                        <a:pt x="236220" y="2297188"/>
                        <a:pt x="152400" y="2334589"/>
                      </a:cubicBezTo>
                      <a:cubicBezTo>
                        <a:pt x="67887" y="2371990"/>
                        <a:pt x="0" y="2306885"/>
                        <a:pt x="0" y="2189834"/>
                      </a:cubicBezTo>
                      <a:cubicBezTo>
                        <a:pt x="0" y="2072783"/>
                        <a:pt x="67887" y="1947421"/>
                        <a:pt x="152400" y="1910020"/>
                      </a:cubicBezTo>
                      <a:cubicBezTo>
                        <a:pt x="173355" y="1900497"/>
                        <a:pt x="193357" y="1897424"/>
                        <a:pt x="211574" y="1899999"/>
                      </a:cubicBezTo>
                      <a:close/>
                      <a:moveTo>
                        <a:pt x="672241" y="1694849"/>
                      </a:moveTo>
                      <a:lnTo>
                        <a:pt x="672243" y="1694850"/>
                      </a:lnTo>
                      <a:lnTo>
                        <a:pt x="709859" y="1709856"/>
                      </a:lnTo>
                      <a:lnTo>
                        <a:pt x="715806" y="1716326"/>
                      </a:lnTo>
                      <a:lnTo>
                        <a:pt x="720667" y="1718723"/>
                      </a:lnTo>
                      <a:lnTo>
                        <a:pt x="726077" y="1727503"/>
                      </a:lnTo>
                      <a:lnTo>
                        <a:pt x="739239" y="1741824"/>
                      </a:lnTo>
                      <a:lnTo>
                        <a:pt x="747668" y="1762542"/>
                      </a:lnTo>
                      <a:lnTo>
                        <a:pt x="753247" y="1771597"/>
                      </a:lnTo>
                      <a:lnTo>
                        <a:pt x="754407" y="1779105"/>
                      </a:lnTo>
                      <a:lnTo>
                        <a:pt x="758353" y="1788806"/>
                      </a:lnTo>
                      <a:cubicBezTo>
                        <a:pt x="762789" y="1806752"/>
                        <a:pt x="765175" y="1826876"/>
                        <a:pt x="765175" y="1848854"/>
                      </a:cubicBezTo>
                      <a:cubicBezTo>
                        <a:pt x="765175" y="1966761"/>
                        <a:pt x="697288" y="2092296"/>
                        <a:pt x="612775" y="2129749"/>
                      </a:cubicBezTo>
                      <a:cubicBezTo>
                        <a:pt x="528955" y="2167202"/>
                        <a:pt x="460375" y="2102700"/>
                        <a:pt x="460375" y="1984793"/>
                      </a:cubicBezTo>
                      <a:cubicBezTo>
                        <a:pt x="460375" y="1867580"/>
                        <a:pt x="528955" y="1742044"/>
                        <a:pt x="612775" y="1704592"/>
                      </a:cubicBezTo>
                      <a:cubicBezTo>
                        <a:pt x="633903" y="1695228"/>
                        <a:pt x="653992" y="1692237"/>
                        <a:pt x="672241" y="1694849"/>
                      </a:cubicBezTo>
                      <a:close/>
                      <a:moveTo>
                        <a:pt x="1133802" y="1489974"/>
                      </a:moveTo>
                      <a:lnTo>
                        <a:pt x="1133804" y="1489975"/>
                      </a:lnTo>
                      <a:lnTo>
                        <a:pt x="1171531" y="1504933"/>
                      </a:lnTo>
                      <a:lnTo>
                        <a:pt x="1177503" y="1511382"/>
                      </a:lnTo>
                      <a:lnTo>
                        <a:pt x="1182384" y="1513772"/>
                      </a:lnTo>
                      <a:lnTo>
                        <a:pt x="1187819" y="1522520"/>
                      </a:lnTo>
                      <a:lnTo>
                        <a:pt x="1201044" y="1536799"/>
                      </a:lnTo>
                      <a:lnTo>
                        <a:pt x="1209519" y="1557445"/>
                      </a:lnTo>
                      <a:lnTo>
                        <a:pt x="1215132" y="1566478"/>
                      </a:lnTo>
                      <a:lnTo>
                        <a:pt x="1216298" y="1573957"/>
                      </a:lnTo>
                      <a:lnTo>
                        <a:pt x="1220270" y="1583632"/>
                      </a:lnTo>
                      <a:cubicBezTo>
                        <a:pt x="1224734" y="1601522"/>
                        <a:pt x="1227138" y="1621582"/>
                        <a:pt x="1227138" y="1643490"/>
                      </a:cubicBezTo>
                      <a:cubicBezTo>
                        <a:pt x="1227138" y="1761022"/>
                        <a:pt x="1158742" y="1886159"/>
                        <a:pt x="1074293" y="1923493"/>
                      </a:cubicBezTo>
                      <a:cubicBezTo>
                        <a:pt x="989147" y="1960827"/>
                        <a:pt x="920750" y="1896530"/>
                        <a:pt x="920750" y="1778998"/>
                      </a:cubicBezTo>
                      <a:cubicBezTo>
                        <a:pt x="920750" y="1662157"/>
                        <a:pt x="989147" y="1537019"/>
                        <a:pt x="1074293" y="1499686"/>
                      </a:cubicBezTo>
                      <a:cubicBezTo>
                        <a:pt x="1095405" y="1490352"/>
                        <a:pt x="1115514" y="1487371"/>
                        <a:pt x="1133802" y="1489974"/>
                      </a:cubicBezTo>
                      <a:close/>
                      <a:moveTo>
                        <a:pt x="1594287" y="1285197"/>
                      </a:moveTo>
                      <a:lnTo>
                        <a:pt x="1594288" y="1285197"/>
                      </a:lnTo>
                      <a:lnTo>
                        <a:pt x="1631909" y="1300203"/>
                      </a:lnTo>
                      <a:lnTo>
                        <a:pt x="1637872" y="1306670"/>
                      </a:lnTo>
                      <a:lnTo>
                        <a:pt x="1642746" y="1309071"/>
                      </a:lnTo>
                      <a:lnTo>
                        <a:pt x="1648174" y="1317842"/>
                      </a:lnTo>
                      <a:lnTo>
                        <a:pt x="1661394" y="1332180"/>
                      </a:lnTo>
                      <a:lnTo>
                        <a:pt x="1669870" y="1352903"/>
                      </a:lnTo>
                      <a:lnTo>
                        <a:pt x="1675488" y="1361982"/>
                      </a:lnTo>
                      <a:lnTo>
                        <a:pt x="1676654" y="1369491"/>
                      </a:lnTo>
                      <a:lnTo>
                        <a:pt x="1680632" y="1379215"/>
                      </a:lnTo>
                      <a:lnTo>
                        <a:pt x="1687513" y="1439393"/>
                      </a:lnTo>
                      <a:lnTo>
                        <a:pt x="1687513" y="1439393"/>
                      </a:lnTo>
                      <a:lnTo>
                        <a:pt x="1687513" y="1439393"/>
                      </a:lnTo>
                      <a:cubicBezTo>
                        <a:pt x="1687513" y="1556234"/>
                        <a:pt x="1618933" y="1681371"/>
                        <a:pt x="1535113" y="1718705"/>
                      </a:cubicBezTo>
                      <a:cubicBezTo>
                        <a:pt x="1450601" y="1756039"/>
                        <a:pt x="1382713" y="1691742"/>
                        <a:pt x="1382713" y="1574901"/>
                      </a:cubicBezTo>
                      <a:cubicBezTo>
                        <a:pt x="1382713" y="1457369"/>
                        <a:pt x="1450601" y="1332231"/>
                        <a:pt x="1535113" y="1294898"/>
                      </a:cubicBezTo>
                      <a:cubicBezTo>
                        <a:pt x="1556068" y="1285564"/>
                        <a:pt x="1576071" y="1282583"/>
                        <a:pt x="1594287" y="1285197"/>
                      </a:cubicBezTo>
                      <a:close/>
                      <a:moveTo>
                        <a:pt x="211574" y="1256699"/>
                      </a:moveTo>
                      <a:lnTo>
                        <a:pt x="211574" y="1256699"/>
                      </a:lnTo>
                      <a:lnTo>
                        <a:pt x="249196" y="1271706"/>
                      </a:lnTo>
                      <a:lnTo>
                        <a:pt x="255161" y="1278173"/>
                      </a:lnTo>
                      <a:lnTo>
                        <a:pt x="260032" y="1280573"/>
                      </a:lnTo>
                      <a:lnTo>
                        <a:pt x="265463" y="1289343"/>
                      </a:lnTo>
                      <a:lnTo>
                        <a:pt x="278681" y="1303674"/>
                      </a:lnTo>
                      <a:lnTo>
                        <a:pt x="287158" y="1324378"/>
                      </a:lnTo>
                      <a:lnTo>
                        <a:pt x="292774" y="1333447"/>
                      </a:lnTo>
                      <a:lnTo>
                        <a:pt x="293941" y="1340943"/>
                      </a:lnTo>
                      <a:lnTo>
                        <a:pt x="297918" y="1350656"/>
                      </a:lnTo>
                      <a:cubicBezTo>
                        <a:pt x="302389" y="1368602"/>
                        <a:pt x="304800" y="1388727"/>
                        <a:pt x="304800" y="1410704"/>
                      </a:cubicBezTo>
                      <a:cubicBezTo>
                        <a:pt x="304800" y="1528611"/>
                        <a:pt x="236220" y="1654147"/>
                        <a:pt x="152400" y="1691599"/>
                      </a:cubicBezTo>
                      <a:cubicBezTo>
                        <a:pt x="67887" y="1729052"/>
                        <a:pt x="0" y="1664550"/>
                        <a:pt x="0" y="1547337"/>
                      </a:cubicBezTo>
                      <a:cubicBezTo>
                        <a:pt x="0" y="1488384"/>
                        <a:pt x="16972" y="1427523"/>
                        <a:pt x="44508" y="1376719"/>
                      </a:cubicBezTo>
                      <a:cubicBezTo>
                        <a:pt x="72044" y="1325915"/>
                        <a:pt x="110144" y="1285168"/>
                        <a:pt x="152400" y="1266442"/>
                      </a:cubicBezTo>
                      <a:lnTo>
                        <a:pt x="208118" y="1257268"/>
                      </a:lnTo>
                      <a:close/>
                      <a:moveTo>
                        <a:pt x="672241" y="1051923"/>
                      </a:moveTo>
                      <a:lnTo>
                        <a:pt x="672244" y="1051925"/>
                      </a:lnTo>
                      <a:lnTo>
                        <a:pt x="709859" y="1066977"/>
                      </a:lnTo>
                      <a:lnTo>
                        <a:pt x="715803" y="1073467"/>
                      </a:lnTo>
                      <a:lnTo>
                        <a:pt x="720667" y="1075873"/>
                      </a:lnTo>
                      <a:lnTo>
                        <a:pt x="726075" y="1084683"/>
                      </a:lnTo>
                      <a:lnTo>
                        <a:pt x="739239" y="1099056"/>
                      </a:lnTo>
                      <a:lnTo>
                        <a:pt x="747666" y="1119860"/>
                      </a:lnTo>
                      <a:lnTo>
                        <a:pt x="753247" y="1128953"/>
                      </a:lnTo>
                      <a:lnTo>
                        <a:pt x="754406" y="1136498"/>
                      </a:lnTo>
                      <a:lnTo>
                        <a:pt x="758353" y="1146241"/>
                      </a:lnTo>
                      <a:lnTo>
                        <a:pt x="765175" y="1206610"/>
                      </a:lnTo>
                      <a:lnTo>
                        <a:pt x="765175" y="1206611"/>
                      </a:lnTo>
                      <a:lnTo>
                        <a:pt x="765175" y="1206611"/>
                      </a:lnTo>
                      <a:cubicBezTo>
                        <a:pt x="765175" y="1323824"/>
                        <a:pt x="697288" y="1449360"/>
                        <a:pt x="612775" y="1486812"/>
                      </a:cubicBezTo>
                      <a:cubicBezTo>
                        <a:pt x="528955" y="1524265"/>
                        <a:pt x="460375" y="1459763"/>
                        <a:pt x="460375" y="1342550"/>
                      </a:cubicBezTo>
                      <a:cubicBezTo>
                        <a:pt x="460375" y="1224643"/>
                        <a:pt x="528955" y="1099107"/>
                        <a:pt x="612775" y="1061655"/>
                      </a:cubicBezTo>
                      <a:cubicBezTo>
                        <a:pt x="633903" y="1052292"/>
                        <a:pt x="653992" y="1049301"/>
                        <a:pt x="672241" y="1051923"/>
                      </a:cubicBezTo>
                      <a:close/>
                      <a:moveTo>
                        <a:pt x="1133802" y="847135"/>
                      </a:moveTo>
                      <a:lnTo>
                        <a:pt x="1133803" y="847136"/>
                      </a:lnTo>
                      <a:lnTo>
                        <a:pt x="1171531" y="862189"/>
                      </a:lnTo>
                      <a:lnTo>
                        <a:pt x="1177501" y="868678"/>
                      </a:lnTo>
                      <a:lnTo>
                        <a:pt x="1182384" y="871085"/>
                      </a:lnTo>
                      <a:lnTo>
                        <a:pt x="1187817" y="879891"/>
                      </a:lnTo>
                      <a:lnTo>
                        <a:pt x="1201044" y="894268"/>
                      </a:lnTo>
                      <a:lnTo>
                        <a:pt x="1209518" y="915065"/>
                      </a:lnTo>
                      <a:lnTo>
                        <a:pt x="1215132" y="924165"/>
                      </a:lnTo>
                      <a:lnTo>
                        <a:pt x="1216297" y="931704"/>
                      </a:lnTo>
                      <a:lnTo>
                        <a:pt x="1220270" y="941453"/>
                      </a:lnTo>
                      <a:lnTo>
                        <a:pt x="1227138" y="1001822"/>
                      </a:lnTo>
                      <a:lnTo>
                        <a:pt x="1227138" y="1001823"/>
                      </a:lnTo>
                      <a:lnTo>
                        <a:pt x="1227138" y="1001823"/>
                      </a:lnTo>
                      <a:cubicBezTo>
                        <a:pt x="1227138" y="1119036"/>
                        <a:pt x="1158742" y="1244572"/>
                        <a:pt x="1074293" y="1282024"/>
                      </a:cubicBezTo>
                      <a:cubicBezTo>
                        <a:pt x="989147" y="1319477"/>
                        <a:pt x="920750" y="1254975"/>
                        <a:pt x="920750" y="1137762"/>
                      </a:cubicBezTo>
                      <a:cubicBezTo>
                        <a:pt x="920750" y="1020549"/>
                        <a:pt x="989147" y="894319"/>
                        <a:pt x="1074293" y="856867"/>
                      </a:cubicBezTo>
                      <a:lnTo>
                        <a:pt x="1114997" y="850210"/>
                      </a:lnTo>
                      <a:close/>
                      <a:moveTo>
                        <a:pt x="1594287" y="642407"/>
                      </a:moveTo>
                      <a:lnTo>
                        <a:pt x="1594292" y="642410"/>
                      </a:lnTo>
                      <a:lnTo>
                        <a:pt x="1631909" y="657567"/>
                      </a:lnTo>
                      <a:lnTo>
                        <a:pt x="1637877" y="664067"/>
                      </a:lnTo>
                      <a:lnTo>
                        <a:pt x="1642746" y="666487"/>
                      </a:lnTo>
                      <a:lnTo>
                        <a:pt x="1648180" y="675289"/>
                      </a:lnTo>
                      <a:lnTo>
                        <a:pt x="1661394" y="689682"/>
                      </a:lnTo>
                      <a:lnTo>
                        <a:pt x="1669873" y="710430"/>
                      </a:lnTo>
                      <a:lnTo>
                        <a:pt x="1675488" y="719525"/>
                      </a:lnTo>
                      <a:lnTo>
                        <a:pt x="1676655" y="727024"/>
                      </a:lnTo>
                      <a:lnTo>
                        <a:pt x="1680632" y="736754"/>
                      </a:lnTo>
                      <a:lnTo>
                        <a:pt x="1687513" y="796782"/>
                      </a:lnTo>
                      <a:lnTo>
                        <a:pt x="1687513" y="796783"/>
                      </a:lnTo>
                      <a:lnTo>
                        <a:pt x="1687513" y="796783"/>
                      </a:lnTo>
                      <a:cubicBezTo>
                        <a:pt x="1687513" y="913834"/>
                        <a:pt x="1618933" y="1039196"/>
                        <a:pt x="1535113" y="1076597"/>
                      </a:cubicBezTo>
                      <a:cubicBezTo>
                        <a:pt x="1450601" y="1114690"/>
                        <a:pt x="1382713" y="1049585"/>
                        <a:pt x="1382713" y="932534"/>
                      </a:cubicBezTo>
                      <a:cubicBezTo>
                        <a:pt x="1382713" y="815483"/>
                        <a:pt x="1450601" y="690122"/>
                        <a:pt x="1535113" y="652028"/>
                      </a:cubicBezTo>
                      <a:cubicBezTo>
                        <a:pt x="1556068" y="642678"/>
                        <a:pt x="1576071" y="639734"/>
                        <a:pt x="1594287" y="642407"/>
                      </a:cubicBezTo>
                      <a:close/>
                      <a:moveTo>
                        <a:pt x="211574" y="613736"/>
                      </a:moveTo>
                      <a:lnTo>
                        <a:pt x="211582" y="613739"/>
                      </a:lnTo>
                      <a:lnTo>
                        <a:pt x="249196" y="628769"/>
                      </a:lnTo>
                      <a:lnTo>
                        <a:pt x="255157" y="635246"/>
                      </a:lnTo>
                      <a:lnTo>
                        <a:pt x="260032" y="637652"/>
                      </a:lnTo>
                      <a:lnTo>
                        <a:pt x="265461" y="646441"/>
                      </a:lnTo>
                      <a:lnTo>
                        <a:pt x="278681" y="660803"/>
                      </a:lnTo>
                      <a:lnTo>
                        <a:pt x="287156" y="681562"/>
                      </a:lnTo>
                      <a:lnTo>
                        <a:pt x="292774" y="690658"/>
                      </a:lnTo>
                      <a:lnTo>
                        <a:pt x="293941" y="698181"/>
                      </a:lnTo>
                      <a:lnTo>
                        <a:pt x="297918" y="707923"/>
                      </a:lnTo>
                      <a:lnTo>
                        <a:pt x="304800" y="768207"/>
                      </a:lnTo>
                      <a:lnTo>
                        <a:pt x="304800" y="768209"/>
                      </a:lnTo>
                      <a:lnTo>
                        <a:pt x="304800" y="768209"/>
                      </a:lnTo>
                      <a:lnTo>
                        <a:pt x="304800" y="768209"/>
                      </a:lnTo>
                      <a:cubicBezTo>
                        <a:pt x="304800" y="885259"/>
                        <a:pt x="236220" y="1010621"/>
                        <a:pt x="152400" y="1048021"/>
                      </a:cubicBezTo>
                      <a:cubicBezTo>
                        <a:pt x="67887" y="1086115"/>
                        <a:pt x="0" y="1021010"/>
                        <a:pt x="0" y="903959"/>
                      </a:cubicBezTo>
                      <a:cubicBezTo>
                        <a:pt x="0" y="786909"/>
                        <a:pt x="67887" y="660854"/>
                        <a:pt x="152400" y="623454"/>
                      </a:cubicBezTo>
                      <a:cubicBezTo>
                        <a:pt x="173355" y="614103"/>
                        <a:pt x="193357" y="611116"/>
                        <a:pt x="211574" y="613736"/>
                      </a:cubicBezTo>
                      <a:close/>
                      <a:moveTo>
                        <a:pt x="672241" y="409045"/>
                      </a:moveTo>
                      <a:lnTo>
                        <a:pt x="672248" y="409048"/>
                      </a:lnTo>
                      <a:lnTo>
                        <a:pt x="709859" y="424204"/>
                      </a:lnTo>
                      <a:lnTo>
                        <a:pt x="715808" y="430707"/>
                      </a:lnTo>
                      <a:lnTo>
                        <a:pt x="720667" y="433124"/>
                      </a:lnTo>
                      <a:lnTo>
                        <a:pt x="726082" y="441938"/>
                      </a:lnTo>
                      <a:lnTo>
                        <a:pt x="739239" y="456320"/>
                      </a:lnTo>
                      <a:lnTo>
                        <a:pt x="747669" y="477081"/>
                      </a:lnTo>
                      <a:lnTo>
                        <a:pt x="753247" y="486162"/>
                      </a:lnTo>
                      <a:lnTo>
                        <a:pt x="754407" y="493674"/>
                      </a:lnTo>
                      <a:lnTo>
                        <a:pt x="758353" y="503392"/>
                      </a:lnTo>
                      <a:lnTo>
                        <a:pt x="765175" y="563419"/>
                      </a:lnTo>
                      <a:lnTo>
                        <a:pt x="765175" y="563421"/>
                      </a:lnTo>
                      <a:lnTo>
                        <a:pt x="765175" y="563421"/>
                      </a:lnTo>
                      <a:lnTo>
                        <a:pt x="765175" y="563421"/>
                      </a:lnTo>
                      <a:cubicBezTo>
                        <a:pt x="765175" y="680472"/>
                        <a:pt x="697288" y="805833"/>
                        <a:pt x="612775" y="843926"/>
                      </a:cubicBezTo>
                      <a:cubicBezTo>
                        <a:pt x="528955" y="881327"/>
                        <a:pt x="460375" y="816222"/>
                        <a:pt x="460375" y="699172"/>
                      </a:cubicBezTo>
                      <a:lnTo>
                        <a:pt x="460375" y="699172"/>
                      </a:lnTo>
                      <a:lnTo>
                        <a:pt x="460375" y="699172"/>
                      </a:lnTo>
                      <a:cubicBezTo>
                        <a:pt x="460375" y="582121"/>
                        <a:pt x="528955" y="456759"/>
                        <a:pt x="612775" y="418665"/>
                      </a:cubicBezTo>
                      <a:cubicBezTo>
                        <a:pt x="633903" y="409315"/>
                        <a:pt x="653992" y="406372"/>
                        <a:pt x="672241" y="409045"/>
                      </a:cubicBezTo>
                      <a:close/>
                      <a:moveTo>
                        <a:pt x="1133802" y="204550"/>
                      </a:moveTo>
                      <a:lnTo>
                        <a:pt x="1133805" y="204551"/>
                      </a:lnTo>
                      <a:lnTo>
                        <a:pt x="1171531" y="219540"/>
                      </a:lnTo>
                      <a:lnTo>
                        <a:pt x="1177509" y="226027"/>
                      </a:lnTo>
                      <a:lnTo>
                        <a:pt x="1182384" y="228423"/>
                      </a:lnTo>
                      <a:lnTo>
                        <a:pt x="1187826" y="237224"/>
                      </a:lnTo>
                      <a:lnTo>
                        <a:pt x="1201044" y="251569"/>
                      </a:lnTo>
                      <a:lnTo>
                        <a:pt x="1209523" y="272315"/>
                      </a:lnTo>
                      <a:lnTo>
                        <a:pt x="1215132" y="281386"/>
                      </a:lnTo>
                      <a:lnTo>
                        <a:pt x="1216299" y="288893"/>
                      </a:lnTo>
                      <a:lnTo>
                        <a:pt x="1220270" y="298609"/>
                      </a:lnTo>
                      <a:lnTo>
                        <a:pt x="1227138" y="358633"/>
                      </a:lnTo>
                      <a:lnTo>
                        <a:pt x="1227138" y="358633"/>
                      </a:lnTo>
                      <a:lnTo>
                        <a:pt x="1227138" y="358634"/>
                      </a:lnTo>
                      <a:lnTo>
                        <a:pt x="1227138" y="358634"/>
                      </a:lnTo>
                      <a:cubicBezTo>
                        <a:pt x="1227138" y="475685"/>
                        <a:pt x="1158742" y="601739"/>
                        <a:pt x="1074293" y="639140"/>
                      </a:cubicBezTo>
                      <a:cubicBezTo>
                        <a:pt x="989147" y="676541"/>
                        <a:pt x="920750" y="611436"/>
                        <a:pt x="920750" y="494385"/>
                      </a:cubicBezTo>
                      <a:lnTo>
                        <a:pt x="920750" y="494385"/>
                      </a:lnTo>
                      <a:lnTo>
                        <a:pt x="920750" y="494385"/>
                      </a:lnTo>
                      <a:cubicBezTo>
                        <a:pt x="920750" y="377334"/>
                        <a:pt x="989147" y="251972"/>
                        <a:pt x="1074293" y="214571"/>
                      </a:cubicBezTo>
                      <a:cubicBezTo>
                        <a:pt x="1095405" y="205048"/>
                        <a:pt x="1115514" y="201974"/>
                        <a:pt x="1133802" y="204550"/>
                      </a:cubicBezTo>
                      <a:close/>
                      <a:moveTo>
                        <a:pt x="1594287" y="900"/>
                      </a:moveTo>
                      <a:lnTo>
                        <a:pt x="1594289" y="900"/>
                      </a:lnTo>
                      <a:lnTo>
                        <a:pt x="1631909" y="15859"/>
                      </a:lnTo>
                      <a:lnTo>
                        <a:pt x="1637874" y="22306"/>
                      </a:lnTo>
                      <a:lnTo>
                        <a:pt x="1642746" y="24698"/>
                      </a:lnTo>
                      <a:lnTo>
                        <a:pt x="1648176" y="33440"/>
                      </a:lnTo>
                      <a:lnTo>
                        <a:pt x="1661394" y="47725"/>
                      </a:lnTo>
                      <a:lnTo>
                        <a:pt x="1669872" y="68363"/>
                      </a:lnTo>
                      <a:lnTo>
                        <a:pt x="1675488" y="77404"/>
                      </a:lnTo>
                      <a:lnTo>
                        <a:pt x="1676655" y="84876"/>
                      </a:lnTo>
                      <a:lnTo>
                        <a:pt x="1680632" y="94558"/>
                      </a:lnTo>
                      <a:lnTo>
                        <a:pt x="1687513" y="154415"/>
                      </a:lnTo>
                      <a:lnTo>
                        <a:pt x="1687513" y="154415"/>
                      </a:lnTo>
                      <a:lnTo>
                        <a:pt x="1687513" y="154416"/>
                      </a:lnTo>
                      <a:lnTo>
                        <a:pt x="1687513" y="154416"/>
                      </a:lnTo>
                      <a:cubicBezTo>
                        <a:pt x="1687513" y="271948"/>
                        <a:pt x="1618933" y="397085"/>
                        <a:pt x="1535113" y="434419"/>
                      </a:cubicBezTo>
                      <a:cubicBezTo>
                        <a:pt x="1450601" y="471753"/>
                        <a:pt x="1382713" y="407456"/>
                        <a:pt x="1382713" y="289923"/>
                      </a:cubicBezTo>
                      <a:lnTo>
                        <a:pt x="1382713" y="289923"/>
                      </a:lnTo>
                      <a:cubicBezTo>
                        <a:pt x="1382713" y="173082"/>
                        <a:pt x="1450601" y="47945"/>
                        <a:pt x="1535113" y="10611"/>
                      </a:cubicBezTo>
                      <a:cubicBezTo>
                        <a:pt x="1556068" y="1278"/>
                        <a:pt x="1576071" y="-1704"/>
                        <a:pt x="1594287" y="900"/>
                      </a:cubicBezTo>
                      <a:close/>
                    </a:path>
                  </a:pathLst>
                </a:custGeom>
                <a:solidFill>
                  <a:srgbClr val="445776"/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  <p:sp>
              <p:nvSpPr>
                <p:cNvPr id="497" name="Freeform: Shape 434">
                  <a:extLst>
                    <a:ext uri="{FF2B5EF4-FFF2-40B4-BE49-F238E27FC236}">
                      <a16:creationId xmlns:a16="http://schemas.microsoft.com/office/drawing/2014/main" id="{F92179B7-CE9B-5A0B-4BA2-D4BBA76AD2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2613" y="4471173"/>
                  <a:ext cx="245883" cy="435173"/>
                </a:xfrm>
                <a:custGeom>
                  <a:avLst/>
                  <a:gdLst>
                    <a:gd name="connsiteX0" fmla="*/ 1475938 w 1687512"/>
                    <a:gd name="connsiteY0" fmla="*/ 2542497 h 2986617"/>
                    <a:gd name="connsiteX1" fmla="*/ 1535112 w 1687512"/>
                    <a:gd name="connsiteY1" fmla="*/ 2552198 h 2986617"/>
                    <a:gd name="connsiteX2" fmla="*/ 1687512 w 1687512"/>
                    <a:gd name="connsiteY2" fmla="*/ 2832201 h 2986617"/>
                    <a:gd name="connsiteX3" fmla="*/ 1535112 w 1687512"/>
                    <a:gd name="connsiteY3" fmla="*/ 2976005 h 2986617"/>
                    <a:gd name="connsiteX4" fmla="*/ 1382712 w 1687512"/>
                    <a:gd name="connsiteY4" fmla="*/ 2696693 h 2986617"/>
                    <a:gd name="connsiteX5" fmla="*/ 1389594 w 1687512"/>
                    <a:gd name="connsiteY5" fmla="*/ 2636515 h 2986617"/>
                    <a:gd name="connsiteX6" fmla="*/ 1393571 w 1687512"/>
                    <a:gd name="connsiteY6" fmla="*/ 2626791 h 2986617"/>
                    <a:gd name="connsiteX7" fmla="*/ 1394738 w 1687512"/>
                    <a:gd name="connsiteY7" fmla="*/ 2619282 h 2986617"/>
                    <a:gd name="connsiteX8" fmla="*/ 1400356 w 1687512"/>
                    <a:gd name="connsiteY8" fmla="*/ 2610203 h 2986617"/>
                    <a:gd name="connsiteX9" fmla="*/ 1408832 w 1687512"/>
                    <a:gd name="connsiteY9" fmla="*/ 2589480 h 2986617"/>
                    <a:gd name="connsiteX10" fmla="*/ 1422052 w 1687512"/>
                    <a:gd name="connsiteY10" fmla="*/ 2575143 h 2986617"/>
                    <a:gd name="connsiteX11" fmla="*/ 1427480 w 1687512"/>
                    <a:gd name="connsiteY11" fmla="*/ 2566371 h 2986617"/>
                    <a:gd name="connsiteX12" fmla="*/ 1432354 w 1687512"/>
                    <a:gd name="connsiteY12" fmla="*/ 2563970 h 2986617"/>
                    <a:gd name="connsiteX13" fmla="*/ 1438316 w 1687512"/>
                    <a:gd name="connsiteY13" fmla="*/ 2557503 h 2986617"/>
                    <a:gd name="connsiteX14" fmla="*/ 1475938 w 1687512"/>
                    <a:gd name="connsiteY14" fmla="*/ 2542497 h 2986617"/>
                    <a:gd name="connsiteX15" fmla="*/ 1015271 w 1687512"/>
                    <a:gd name="connsiteY15" fmla="*/ 2337769 h 2986617"/>
                    <a:gd name="connsiteX16" fmla="*/ 1074737 w 1687512"/>
                    <a:gd name="connsiteY16" fmla="*/ 2347359 h 2986617"/>
                    <a:gd name="connsiteX17" fmla="*/ 1227137 w 1687512"/>
                    <a:gd name="connsiteY17" fmla="*/ 2626975 h 2986617"/>
                    <a:gd name="connsiteX18" fmla="*/ 1074737 w 1687512"/>
                    <a:gd name="connsiteY18" fmla="*/ 2771270 h 2986617"/>
                    <a:gd name="connsiteX19" fmla="*/ 922337 w 1687512"/>
                    <a:gd name="connsiteY19" fmla="*/ 2491655 h 2986617"/>
                    <a:gd name="connsiteX20" fmla="*/ 929159 w 1687512"/>
                    <a:gd name="connsiteY20" fmla="*/ 2431816 h 2986617"/>
                    <a:gd name="connsiteX21" fmla="*/ 933106 w 1687512"/>
                    <a:gd name="connsiteY21" fmla="*/ 2422129 h 2986617"/>
                    <a:gd name="connsiteX22" fmla="*/ 934265 w 1687512"/>
                    <a:gd name="connsiteY22" fmla="*/ 2414642 h 2986617"/>
                    <a:gd name="connsiteX23" fmla="*/ 939843 w 1687512"/>
                    <a:gd name="connsiteY23" fmla="*/ 2405591 h 2986617"/>
                    <a:gd name="connsiteX24" fmla="*/ 948274 w 1687512"/>
                    <a:gd name="connsiteY24" fmla="*/ 2384893 h 2986617"/>
                    <a:gd name="connsiteX25" fmla="*/ 961432 w 1687512"/>
                    <a:gd name="connsiteY25" fmla="*/ 2370556 h 2986617"/>
                    <a:gd name="connsiteX26" fmla="*/ 966845 w 1687512"/>
                    <a:gd name="connsiteY26" fmla="*/ 2361772 h 2986617"/>
                    <a:gd name="connsiteX27" fmla="*/ 971704 w 1687512"/>
                    <a:gd name="connsiteY27" fmla="*/ 2359363 h 2986617"/>
                    <a:gd name="connsiteX28" fmla="*/ 977654 w 1687512"/>
                    <a:gd name="connsiteY28" fmla="*/ 2352880 h 2986617"/>
                    <a:gd name="connsiteX29" fmla="*/ 1015271 w 1687512"/>
                    <a:gd name="connsiteY29" fmla="*/ 2337769 h 2986617"/>
                    <a:gd name="connsiteX30" fmla="*/ 554814 w 1687512"/>
                    <a:gd name="connsiteY30" fmla="*/ 2133272 h 2986617"/>
                    <a:gd name="connsiteX31" fmla="*/ 614015 w 1687512"/>
                    <a:gd name="connsiteY31" fmla="*/ 2143261 h 2986617"/>
                    <a:gd name="connsiteX32" fmla="*/ 766762 w 1687512"/>
                    <a:gd name="connsiteY32" fmla="*/ 2422187 h 2986617"/>
                    <a:gd name="connsiteX33" fmla="*/ 614015 w 1687512"/>
                    <a:gd name="connsiteY33" fmla="*/ 2566482 h 2986617"/>
                    <a:gd name="connsiteX34" fmla="*/ 461962 w 1687512"/>
                    <a:gd name="connsiteY34" fmla="*/ 2286866 h 2986617"/>
                    <a:gd name="connsiteX35" fmla="*/ 468795 w 1687512"/>
                    <a:gd name="connsiteY35" fmla="*/ 2227032 h 2986617"/>
                    <a:gd name="connsiteX36" fmla="*/ 472745 w 1687512"/>
                    <a:gd name="connsiteY36" fmla="*/ 2217347 h 2986617"/>
                    <a:gd name="connsiteX37" fmla="*/ 473906 w 1687512"/>
                    <a:gd name="connsiteY37" fmla="*/ 2209864 h 2986617"/>
                    <a:gd name="connsiteX38" fmla="*/ 479486 w 1687512"/>
                    <a:gd name="connsiteY38" fmla="*/ 2200822 h 2986617"/>
                    <a:gd name="connsiteX39" fmla="*/ 487921 w 1687512"/>
                    <a:gd name="connsiteY39" fmla="*/ 2180142 h 2986617"/>
                    <a:gd name="connsiteX40" fmla="*/ 501071 w 1687512"/>
                    <a:gd name="connsiteY40" fmla="*/ 2165841 h 2986617"/>
                    <a:gd name="connsiteX41" fmla="*/ 506484 w 1687512"/>
                    <a:gd name="connsiteY41" fmla="*/ 2157070 h 2986617"/>
                    <a:gd name="connsiteX42" fmla="*/ 511333 w 1687512"/>
                    <a:gd name="connsiteY42" fmla="*/ 2154682 h 2986617"/>
                    <a:gd name="connsiteX43" fmla="*/ 517281 w 1687512"/>
                    <a:gd name="connsiteY43" fmla="*/ 2148215 h 2986617"/>
                    <a:gd name="connsiteX44" fmla="*/ 554814 w 1687512"/>
                    <a:gd name="connsiteY44" fmla="*/ 2133272 h 2986617"/>
                    <a:gd name="connsiteX45" fmla="*/ 93712 w 1687512"/>
                    <a:gd name="connsiteY45" fmla="*/ 1928124 h 2986617"/>
                    <a:gd name="connsiteX46" fmla="*/ 153194 w 1687512"/>
                    <a:gd name="connsiteY46" fmla="*/ 1937836 h 2986617"/>
                    <a:gd name="connsiteX47" fmla="*/ 306388 w 1687512"/>
                    <a:gd name="connsiteY47" fmla="*/ 2217148 h 2986617"/>
                    <a:gd name="connsiteX48" fmla="*/ 153194 w 1687512"/>
                    <a:gd name="connsiteY48" fmla="*/ 2361643 h 2986617"/>
                    <a:gd name="connsiteX49" fmla="*/ 0 w 1687512"/>
                    <a:gd name="connsiteY49" fmla="*/ 2081640 h 2986617"/>
                    <a:gd name="connsiteX50" fmla="*/ 6917 w 1687512"/>
                    <a:gd name="connsiteY50" fmla="*/ 2021782 h 2986617"/>
                    <a:gd name="connsiteX51" fmla="*/ 10915 w 1687512"/>
                    <a:gd name="connsiteY51" fmla="*/ 2012100 h 2986617"/>
                    <a:gd name="connsiteX52" fmla="*/ 12088 w 1687512"/>
                    <a:gd name="connsiteY52" fmla="*/ 2004628 h 2986617"/>
                    <a:gd name="connsiteX53" fmla="*/ 17734 w 1687512"/>
                    <a:gd name="connsiteY53" fmla="*/ 1995587 h 2986617"/>
                    <a:gd name="connsiteX54" fmla="*/ 26255 w 1687512"/>
                    <a:gd name="connsiteY54" fmla="*/ 1974949 h 2986617"/>
                    <a:gd name="connsiteX55" fmla="*/ 39541 w 1687512"/>
                    <a:gd name="connsiteY55" fmla="*/ 1960665 h 2986617"/>
                    <a:gd name="connsiteX56" fmla="*/ 45001 w 1687512"/>
                    <a:gd name="connsiteY56" fmla="*/ 1951922 h 2986617"/>
                    <a:gd name="connsiteX57" fmla="*/ 49898 w 1687512"/>
                    <a:gd name="connsiteY57" fmla="*/ 1949530 h 2986617"/>
                    <a:gd name="connsiteX58" fmla="*/ 55894 w 1687512"/>
                    <a:gd name="connsiteY58" fmla="*/ 1943083 h 2986617"/>
                    <a:gd name="connsiteX59" fmla="*/ 93710 w 1687512"/>
                    <a:gd name="connsiteY59" fmla="*/ 1928125 h 2986617"/>
                    <a:gd name="connsiteX60" fmla="*/ 1475938 w 1687512"/>
                    <a:gd name="connsiteY60" fmla="*/ 1899999 h 2986617"/>
                    <a:gd name="connsiteX61" fmla="*/ 1535112 w 1687512"/>
                    <a:gd name="connsiteY61" fmla="*/ 1910020 h 2986617"/>
                    <a:gd name="connsiteX62" fmla="*/ 1687512 w 1687512"/>
                    <a:gd name="connsiteY62" fmla="*/ 2189834 h 2986617"/>
                    <a:gd name="connsiteX63" fmla="*/ 1535112 w 1687512"/>
                    <a:gd name="connsiteY63" fmla="*/ 2334589 h 2986617"/>
                    <a:gd name="connsiteX64" fmla="*/ 1382712 w 1687512"/>
                    <a:gd name="connsiteY64" fmla="*/ 2054083 h 2986617"/>
                    <a:gd name="connsiteX65" fmla="*/ 1389594 w 1687512"/>
                    <a:gd name="connsiteY65" fmla="*/ 1994058 h 2986617"/>
                    <a:gd name="connsiteX66" fmla="*/ 1393570 w 1687512"/>
                    <a:gd name="connsiteY66" fmla="*/ 1984336 h 2986617"/>
                    <a:gd name="connsiteX67" fmla="*/ 1394738 w 1687512"/>
                    <a:gd name="connsiteY67" fmla="*/ 1976835 h 2986617"/>
                    <a:gd name="connsiteX68" fmla="*/ 1400351 w 1687512"/>
                    <a:gd name="connsiteY68" fmla="*/ 1967756 h 2986617"/>
                    <a:gd name="connsiteX69" fmla="*/ 1408832 w 1687512"/>
                    <a:gd name="connsiteY69" fmla="*/ 1947018 h 2986617"/>
                    <a:gd name="connsiteX70" fmla="*/ 1422043 w 1687512"/>
                    <a:gd name="connsiteY70" fmla="*/ 1932667 h 2986617"/>
                    <a:gd name="connsiteX71" fmla="*/ 1427480 w 1687512"/>
                    <a:gd name="connsiteY71" fmla="*/ 1923873 h 2986617"/>
                    <a:gd name="connsiteX72" fmla="*/ 1432346 w 1687512"/>
                    <a:gd name="connsiteY72" fmla="*/ 1921475 h 2986617"/>
                    <a:gd name="connsiteX73" fmla="*/ 1438316 w 1687512"/>
                    <a:gd name="connsiteY73" fmla="*/ 1914989 h 2986617"/>
                    <a:gd name="connsiteX74" fmla="*/ 1475938 w 1687512"/>
                    <a:gd name="connsiteY74" fmla="*/ 1899999 h 2986617"/>
                    <a:gd name="connsiteX75" fmla="*/ 1015271 w 1687512"/>
                    <a:gd name="connsiteY75" fmla="*/ 1694849 h 2986617"/>
                    <a:gd name="connsiteX76" fmla="*/ 1074737 w 1687512"/>
                    <a:gd name="connsiteY76" fmla="*/ 1704592 h 2986617"/>
                    <a:gd name="connsiteX77" fmla="*/ 1227137 w 1687512"/>
                    <a:gd name="connsiteY77" fmla="*/ 1984793 h 2986617"/>
                    <a:gd name="connsiteX78" fmla="*/ 1074737 w 1687512"/>
                    <a:gd name="connsiteY78" fmla="*/ 2129749 h 2986617"/>
                    <a:gd name="connsiteX79" fmla="*/ 922337 w 1687512"/>
                    <a:gd name="connsiteY79" fmla="*/ 1848854 h 2986617"/>
                    <a:gd name="connsiteX80" fmla="*/ 929159 w 1687512"/>
                    <a:gd name="connsiteY80" fmla="*/ 1788806 h 2986617"/>
                    <a:gd name="connsiteX81" fmla="*/ 933106 w 1687512"/>
                    <a:gd name="connsiteY81" fmla="*/ 1779105 h 2986617"/>
                    <a:gd name="connsiteX82" fmla="*/ 934265 w 1687512"/>
                    <a:gd name="connsiteY82" fmla="*/ 1771597 h 2986617"/>
                    <a:gd name="connsiteX83" fmla="*/ 939845 w 1687512"/>
                    <a:gd name="connsiteY83" fmla="*/ 1762542 h 2986617"/>
                    <a:gd name="connsiteX84" fmla="*/ 948274 w 1687512"/>
                    <a:gd name="connsiteY84" fmla="*/ 1741824 h 2986617"/>
                    <a:gd name="connsiteX85" fmla="*/ 961435 w 1687512"/>
                    <a:gd name="connsiteY85" fmla="*/ 1727503 h 2986617"/>
                    <a:gd name="connsiteX86" fmla="*/ 966845 w 1687512"/>
                    <a:gd name="connsiteY86" fmla="*/ 1718723 h 2986617"/>
                    <a:gd name="connsiteX87" fmla="*/ 971707 w 1687512"/>
                    <a:gd name="connsiteY87" fmla="*/ 1716326 h 2986617"/>
                    <a:gd name="connsiteX88" fmla="*/ 977654 w 1687512"/>
                    <a:gd name="connsiteY88" fmla="*/ 1709856 h 2986617"/>
                    <a:gd name="connsiteX89" fmla="*/ 1015270 w 1687512"/>
                    <a:gd name="connsiteY89" fmla="*/ 1694850 h 2986617"/>
                    <a:gd name="connsiteX90" fmla="*/ 554814 w 1687512"/>
                    <a:gd name="connsiteY90" fmla="*/ 1489974 h 2986617"/>
                    <a:gd name="connsiteX91" fmla="*/ 614015 w 1687512"/>
                    <a:gd name="connsiteY91" fmla="*/ 1499686 h 2986617"/>
                    <a:gd name="connsiteX92" fmla="*/ 766762 w 1687512"/>
                    <a:gd name="connsiteY92" fmla="*/ 1778998 h 2986617"/>
                    <a:gd name="connsiteX93" fmla="*/ 614015 w 1687512"/>
                    <a:gd name="connsiteY93" fmla="*/ 1923493 h 2986617"/>
                    <a:gd name="connsiteX94" fmla="*/ 461962 w 1687512"/>
                    <a:gd name="connsiteY94" fmla="*/ 1643490 h 2986617"/>
                    <a:gd name="connsiteX95" fmla="*/ 468795 w 1687512"/>
                    <a:gd name="connsiteY95" fmla="*/ 1583632 h 2986617"/>
                    <a:gd name="connsiteX96" fmla="*/ 472746 w 1687512"/>
                    <a:gd name="connsiteY96" fmla="*/ 1573957 h 2986617"/>
                    <a:gd name="connsiteX97" fmla="*/ 473906 w 1687512"/>
                    <a:gd name="connsiteY97" fmla="*/ 1566478 h 2986617"/>
                    <a:gd name="connsiteX98" fmla="*/ 479489 w 1687512"/>
                    <a:gd name="connsiteY98" fmla="*/ 1557445 h 2986617"/>
                    <a:gd name="connsiteX99" fmla="*/ 487921 w 1687512"/>
                    <a:gd name="connsiteY99" fmla="*/ 1536799 h 2986617"/>
                    <a:gd name="connsiteX100" fmla="*/ 501077 w 1687512"/>
                    <a:gd name="connsiteY100" fmla="*/ 1522520 h 2986617"/>
                    <a:gd name="connsiteX101" fmla="*/ 506484 w 1687512"/>
                    <a:gd name="connsiteY101" fmla="*/ 1513772 h 2986617"/>
                    <a:gd name="connsiteX102" fmla="*/ 511339 w 1687512"/>
                    <a:gd name="connsiteY102" fmla="*/ 1511382 h 2986617"/>
                    <a:gd name="connsiteX103" fmla="*/ 517281 w 1687512"/>
                    <a:gd name="connsiteY103" fmla="*/ 1504933 h 2986617"/>
                    <a:gd name="connsiteX104" fmla="*/ 554814 w 1687512"/>
                    <a:gd name="connsiteY104" fmla="*/ 1489974 h 2986617"/>
                    <a:gd name="connsiteX105" fmla="*/ 93712 w 1687512"/>
                    <a:gd name="connsiteY105" fmla="*/ 1285197 h 2986617"/>
                    <a:gd name="connsiteX106" fmla="*/ 153194 w 1687512"/>
                    <a:gd name="connsiteY106" fmla="*/ 1294898 h 2986617"/>
                    <a:gd name="connsiteX107" fmla="*/ 306388 w 1687512"/>
                    <a:gd name="connsiteY107" fmla="*/ 1574901 h 2986617"/>
                    <a:gd name="connsiteX108" fmla="*/ 153194 w 1687512"/>
                    <a:gd name="connsiteY108" fmla="*/ 1718705 h 2986617"/>
                    <a:gd name="connsiteX109" fmla="*/ 0 w 1687512"/>
                    <a:gd name="connsiteY109" fmla="*/ 1439393 h 2986617"/>
                    <a:gd name="connsiteX110" fmla="*/ 0 w 1687512"/>
                    <a:gd name="connsiteY110" fmla="*/ 1439393 h 2986617"/>
                    <a:gd name="connsiteX111" fmla="*/ 0 w 1687512"/>
                    <a:gd name="connsiteY111" fmla="*/ 1439393 h 2986617"/>
                    <a:gd name="connsiteX112" fmla="*/ 6917 w 1687512"/>
                    <a:gd name="connsiteY112" fmla="*/ 1379215 h 2986617"/>
                    <a:gd name="connsiteX113" fmla="*/ 10915 w 1687512"/>
                    <a:gd name="connsiteY113" fmla="*/ 1369491 h 2986617"/>
                    <a:gd name="connsiteX114" fmla="*/ 12088 w 1687512"/>
                    <a:gd name="connsiteY114" fmla="*/ 1361982 h 2986617"/>
                    <a:gd name="connsiteX115" fmla="*/ 17736 w 1687512"/>
                    <a:gd name="connsiteY115" fmla="*/ 1352902 h 2986617"/>
                    <a:gd name="connsiteX116" fmla="*/ 26255 w 1687512"/>
                    <a:gd name="connsiteY116" fmla="*/ 1332180 h 2986617"/>
                    <a:gd name="connsiteX117" fmla="*/ 39543 w 1687512"/>
                    <a:gd name="connsiteY117" fmla="*/ 1317844 h 2986617"/>
                    <a:gd name="connsiteX118" fmla="*/ 45001 w 1687512"/>
                    <a:gd name="connsiteY118" fmla="*/ 1309071 h 2986617"/>
                    <a:gd name="connsiteX119" fmla="*/ 49901 w 1687512"/>
                    <a:gd name="connsiteY119" fmla="*/ 1306669 h 2986617"/>
                    <a:gd name="connsiteX120" fmla="*/ 55894 w 1687512"/>
                    <a:gd name="connsiteY120" fmla="*/ 1300203 h 2986617"/>
                    <a:gd name="connsiteX121" fmla="*/ 93709 w 1687512"/>
                    <a:gd name="connsiteY121" fmla="*/ 1285198 h 2986617"/>
                    <a:gd name="connsiteX122" fmla="*/ 1475938 w 1687512"/>
                    <a:gd name="connsiteY122" fmla="*/ 1256699 h 2986617"/>
                    <a:gd name="connsiteX123" fmla="*/ 1479394 w 1687512"/>
                    <a:gd name="connsiteY123" fmla="*/ 1257268 h 2986617"/>
                    <a:gd name="connsiteX124" fmla="*/ 1535112 w 1687512"/>
                    <a:gd name="connsiteY124" fmla="*/ 1266442 h 2986617"/>
                    <a:gd name="connsiteX125" fmla="*/ 1643004 w 1687512"/>
                    <a:gd name="connsiteY125" fmla="*/ 1376719 h 2986617"/>
                    <a:gd name="connsiteX126" fmla="*/ 1687512 w 1687512"/>
                    <a:gd name="connsiteY126" fmla="*/ 1547337 h 2986617"/>
                    <a:gd name="connsiteX127" fmla="*/ 1535112 w 1687512"/>
                    <a:gd name="connsiteY127" fmla="*/ 1691599 h 2986617"/>
                    <a:gd name="connsiteX128" fmla="*/ 1382712 w 1687512"/>
                    <a:gd name="connsiteY128" fmla="*/ 1410704 h 2986617"/>
                    <a:gd name="connsiteX129" fmla="*/ 1389594 w 1687512"/>
                    <a:gd name="connsiteY129" fmla="*/ 1350656 h 2986617"/>
                    <a:gd name="connsiteX130" fmla="*/ 1393571 w 1687512"/>
                    <a:gd name="connsiteY130" fmla="*/ 1340943 h 2986617"/>
                    <a:gd name="connsiteX131" fmla="*/ 1394738 w 1687512"/>
                    <a:gd name="connsiteY131" fmla="*/ 1333447 h 2986617"/>
                    <a:gd name="connsiteX132" fmla="*/ 1400354 w 1687512"/>
                    <a:gd name="connsiteY132" fmla="*/ 1324377 h 2986617"/>
                    <a:gd name="connsiteX133" fmla="*/ 1408832 w 1687512"/>
                    <a:gd name="connsiteY133" fmla="*/ 1303674 h 2986617"/>
                    <a:gd name="connsiteX134" fmla="*/ 1422049 w 1687512"/>
                    <a:gd name="connsiteY134" fmla="*/ 1289344 h 2986617"/>
                    <a:gd name="connsiteX135" fmla="*/ 1427480 w 1687512"/>
                    <a:gd name="connsiteY135" fmla="*/ 1280573 h 2986617"/>
                    <a:gd name="connsiteX136" fmla="*/ 1432351 w 1687512"/>
                    <a:gd name="connsiteY136" fmla="*/ 1278173 h 2986617"/>
                    <a:gd name="connsiteX137" fmla="*/ 1438316 w 1687512"/>
                    <a:gd name="connsiteY137" fmla="*/ 1271706 h 2986617"/>
                    <a:gd name="connsiteX138" fmla="*/ 1475938 w 1687512"/>
                    <a:gd name="connsiteY138" fmla="*/ 1256699 h 2986617"/>
                    <a:gd name="connsiteX139" fmla="*/ 1015271 w 1687512"/>
                    <a:gd name="connsiteY139" fmla="*/ 1051923 h 2986617"/>
                    <a:gd name="connsiteX140" fmla="*/ 1074737 w 1687512"/>
                    <a:gd name="connsiteY140" fmla="*/ 1061655 h 2986617"/>
                    <a:gd name="connsiteX141" fmla="*/ 1227137 w 1687512"/>
                    <a:gd name="connsiteY141" fmla="*/ 1342550 h 2986617"/>
                    <a:gd name="connsiteX142" fmla="*/ 1074737 w 1687512"/>
                    <a:gd name="connsiteY142" fmla="*/ 1486812 h 2986617"/>
                    <a:gd name="connsiteX143" fmla="*/ 922337 w 1687512"/>
                    <a:gd name="connsiteY143" fmla="*/ 1206611 h 2986617"/>
                    <a:gd name="connsiteX144" fmla="*/ 922337 w 1687512"/>
                    <a:gd name="connsiteY144" fmla="*/ 1206611 h 2986617"/>
                    <a:gd name="connsiteX145" fmla="*/ 922337 w 1687512"/>
                    <a:gd name="connsiteY145" fmla="*/ 1206610 h 2986617"/>
                    <a:gd name="connsiteX146" fmla="*/ 929159 w 1687512"/>
                    <a:gd name="connsiteY146" fmla="*/ 1146241 h 2986617"/>
                    <a:gd name="connsiteX147" fmla="*/ 933106 w 1687512"/>
                    <a:gd name="connsiteY147" fmla="*/ 1136498 h 2986617"/>
                    <a:gd name="connsiteX148" fmla="*/ 934265 w 1687512"/>
                    <a:gd name="connsiteY148" fmla="*/ 1128953 h 2986617"/>
                    <a:gd name="connsiteX149" fmla="*/ 939846 w 1687512"/>
                    <a:gd name="connsiteY149" fmla="*/ 1119859 h 2986617"/>
                    <a:gd name="connsiteX150" fmla="*/ 948274 w 1687512"/>
                    <a:gd name="connsiteY150" fmla="*/ 1099056 h 2986617"/>
                    <a:gd name="connsiteX151" fmla="*/ 961437 w 1687512"/>
                    <a:gd name="connsiteY151" fmla="*/ 1084683 h 2986617"/>
                    <a:gd name="connsiteX152" fmla="*/ 966845 w 1687512"/>
                    <a:gd name="connsiteY152" fmla="*/ 1075873 h 2986617"/>
                    <a:gd name="connsiteX153" fmla="*/ 971710 w 1687512"/>
                    <a:gd name="connsiteY153" fmla="*/ 1073467 h 2986617"/>
                    <a:gd name="connsiteX154" fmla="*/ 977654 w 1687512"/>
                    <a:gd name="connsiteY154" fmla="*/ 1066977 h 2986617"/>
                    <a:gd name="connsiteX155" fmla="*/ 1015268 w 1687512"/>
                    <a:gd name="connsiteY155" fmla="*/ 1051925 h 2986617"/>
                    <a:gd name="connsiteX156" fmla="*/ 554814 w 1687512"/>
                    <a:gd name="connsiteY156" fmla="*/ 847135 h 2986617"/>
                    <a:gd name="connsiteX157" fmla="*/ 614015 w 1687512"/>
                    <a:gd name="connsiteY157" fmla="*/ 856867 h 2986617"/>
                    <a:gd name="connsiteX158" fmla="*/ 766762 w 1687512"/>
                    <a:gd name="connsiteY158" fmla="*/ 1137762 h 2986617"/>
                    <a:gd name="connsiteX159" fmla="*/ 614015 w 1687512"/>
                    <a:gd name="connsiteY159" fmla="*/ 1282024 h 2986617"/>
                    <a:gd name="connsiteX160" fmla="*/ 461962 w 1687512"/>
                    <a:gd name="connsiteY160" fmla="*/ 1001823 h 2986617"/>
                    <a:gd name="connsiteX161" fmla="*/ 461962 w 1687512"/>
                    <a:gd name="connsiteY161" fmla="*/ 1001823 h 2986617"/>
                    <a:gd name="connsiteX162" fmla="*/ 461962 w 1687512"/>
                    <a:gd name="connsiteY162" fmla="*/ 1001822 h 2986617"/>
                    <a:gd name="connsiteX163" fmla="*/ 468795 w 1687512"/>
                    <a:gd name="connsiteY163" fmla="*/ 941453 h 2986617"/>
                    <a:gd name="connsiteX164" fmla="*/ 472746 w 1687512"/>
                    <a:gd name="connsiteY164" fmla="*/ 931704 h 2986617"/>
                    <a:gd name="connsiteX165" fmla="*/ 473906 w 1687512"/>
                    <a:gd name="connsiteY165" fmla="*/ 924165 h 2986617"/>
                    <a:gd name="connsiteX166" fmla="*/ 479491 w 1687512"/>
                    <a:gd name="connsiteY166" fmla="*/ 915065 h 2986617"/>
                    <a:gd name="connsiteX167" fmla="*/ 487921 w 1687512"/>
                    <a:gd name="connsiteY167" fmla="*/ 894268 h 2986617"/>
                    <a:gd name="connsiteX168" fmla="*/ 501080 w 1687512"/>
                    <a:gd name="connsiteY168" fmla="*/ 879891 h 2986617"/>
                    <a:gd name="connsiteX169" fmla="*/ 506484 w 1687512"/>
                    <a:gd name="connsiteY169" fmla="*/ 871085 h 2986617"/>
                    <a:gd name="connsiteX170" fmla="*/ 511342 w 1687512"/>
                    <a:gd name="connsiteY170" fmla="*/ 868678 h 2986617"/>
                    <a:gd name="connsiteX171" fmla="*/ 517281 w 1687512"/>
                    <a:gd name="connsiteY171" fmla="*/ 862189 h 2986617"/>
                    <a:gd name="connsiteX172" fmla="*/ 554814 w 1687512"/>
                    <a:gd name="connsiteY172" fmla="*/ 847135 h 2986617"/>
                    <a:gd name="connsiteX173" fmla="*/ 93712 w 1687512"/>
                    <a:gd name="connsiteY173" fmla="*/ 642407 h 2986617"/>
                    <a:gd name="connsiteX174" fmla="*/ 153194 w 1687512"/>
                    <a:gd name="connsiteY174" fmla="*/ 652028 h 2986617"/>
                    <a:gd name="connsiteX175" fmla="*/ 306388 w 1687512"/>
                    <a:gd name="connsiteY175" fmla="*/ 932534 h 2986617"/>
                    <a:gd name="connsiteX176" fmla="*/ 306388 w 1687512"/>
                    <a:gd name="connsiteY176" fmla="*/ 932534 h 2986617"/>
                    <a:gd name="connsiteX177" fmla="*/ 153194 w 1687512"/>
                    <a:gd name="connsiteY177" fmla="*/ 1076597 h 2986617"/>
                    <a:gd name="connsiteX178" fmla="*/ 0 w 1687512"/>
                    <a:gd name="connsiteY178" fmla="*/ 796783 h 2986617"/>
                    <a:gd name="connsiteX179" fmla="*/ 0 w 1687512"/>
                    <a:gd name="connsiteY179" fmla="*/ 796783 h 2986617"/>
                    <a:gd name="connsiteX180" fmla="*/ 0 w 1687512"/>
                    <a:gd name="connsiteY180" fmla="*/ 796782 h 2986617"/>
                    <a:gd name="connsiteX181" fmla="*/ 6917 w 1687512"/>
                    <a:gd name="connsiteY181" fmla="*/ 736755 h 2986617"/>
                    <a:gd name="connsiteX182" fmla="*/ 10914 w 1687512"/>
                    <a:gd name="connsiteY182" fmla="*/ 727025 h 2986617"/>
                    <a:gd name="connsiteX183" fmla="*/ 12088 w 1687512"/>
                    <a:gd name="connsiteY183" fmla="*/ 719525 h 2986617"/>
                    <a:gd name="connsiteX184" fmla="*/ 17732 w 1687512"/>
                    <a:gd name="connsiteY184" fmla="*/ 710429 h 2986617"/>
                    <a:gd name="connsiteX185" fmla="*/ 26255 w 1687512"/>
                    <a:gd name="connsiteY185" fmla="*/ 689683 h 2986617"/>
                    <a:gd name="connsiteX186" fmla="*/ 39537 w 1687512"/>
                    <a:gd name="connsiteY186" fmla="*/ 675291 h 2986617"/>
                    <a:gd name="connsiteX187" fmla="*/ 45001 w 1687512"/>
                    <a:gd name="connsiteY187" fmla="*/ 666487 h 2986617"/>
                    <a:gd name="connsiteX188" fmla="*/ 49896 w 1687512"/>
                    <a:gd name="connsiteY188" fmla="*/ 664067 h 2986617"/>
                    <a:gd name="connsiteX189" fmla="*/ 55894 w 1687512"/>
                    <a:gd name="connsiteY189" fmla="*/ 657567 h 2986617"/>
                    <a:gd name="connsiteX190" fmla="*/ 93702 w 1687512"/>
                    <a:gd name="connsiteY190" fmla="*/ 642412 h 2986617"/>
                    <a:gd name="connsiteX191" fmla="*/ 1475938 w 1687512"/>
                    <a:gd name="connsiteY191" fmla="*/ 613736 h 2986617"/>
                    <a:gd name="connsiteX192" fmla="*/ 1535112 w 1687512"/>
                    <a:gd name="connsiteY192" fmla="*/ 623454 h 2986617"/>
                    <a:gd name="connsiteX193" fmla="*/ 1687512 w 1687512"/>
                    <a:gd name="connsiteY193" fmla="*/ 903959 h 2986617"/>
                    <a:gd name="connsiteX194" fmla="*/ 1535112 w 1687512"/>
                    <a:gd name="connsiteY194" fmla="*/ 1048021 h 2986617"/>
                    <a:gd name="connsiteX195" fmla="*/ 1382712 w 1687512"/>
                    <a:gd name="connsiteY195" fmla="*/ 768209 h 2986617"/>
                    <a:gd name="connsiteX196" fmla="*/ 1382712 w 1687512"/>
                    <a:gd name="connsiteY196" fmla="*/ 768209 h 2986617"/>
                    <a:gd name="connsiteX197" fmla="*/ 1382712 w 1687512"/>
                    <a:gd name="connsiteY197" fmla="*/ 768208 h 2986617"/>
                    <a:gd name="connsiteX198" fmla="*/ 1382713 w 1687512"/>
                    <a:gd name="connsiteY198" fmla="*/ 768206 h 2986617"/>
                    <a:gd name="connsiteX199" fmla="*/ 1389594 w 1687512"/>
                    <a:gd name="connsiteY199" fmla="*/ 707923 h 2986617"/>
                    <a:gd name="connsiteX200" fmla="*/ 1393571 w 1687512"/>
                    <a:gd name="connsiteY200" fmla="*/ 698181 h 2986617"/>
                    <a:gd name="connsiteX201" fmla="*/ 1394738 w 1687512"/>
                    <a:gd name="connsiteY201" fmla="*/ 690658 h 2986617"/>
                    <a:gd name="connsiteX202" fmla="*/ 1400357 w 1687512"/>
                    <a:gd name="connsiteY202" fmla="*/ 681561 h 2986617"/>
                    <a:gd name="connsiteX203" fmla="*/ 1408832 w 1687512"/>
                    <a:gd name="connsiteY203" fmla="*/ 660803 h 2986617"/>
                    <a:gd name="connsiteX204" fmla="*/ 1422050 w 1687512"/>
                    <a:gd name="connsiteY204" fmla="*/ 646442 h 2986617"/>
                    <a:gd name="connsiteX205" fmla="*/ 1427480 w 1687512"/>
                    <a:gd name="connsiteY205" fmla="*/ 637652 h 2986617"/>
                    <a:gd name="connsiteX206" fmla="*/ 1432355 w 1687512"/>
                    <a:gd name="connsiteY206" fmla="*/ 635246 h 2986617"/>
                    <a:gd name="connsiteX207" fmla="*/ 1438316 w 1687512"/>
                    <a:gd name="connsiteY207" fmla="*/ 628769 h 2986617"/>
                    <a:gd name="connsiteX208" fmla="*/ 1475931 w 1687512"/>
                    <a:gd name="connsiteY208" fmla="*/ 613739 h 2986617"/>
                    <a:gd name="connsiteX209" fmla="*/ 1015271 w 1687512"/>
                    <a:gd name="connsiteY209" fmla="*/ 409045 h 2986617"/>
                    <a:gd name="connsiteX210" fmla="*/ 1074737 w 1687512"/>
                    <a:gd name="connsiteY210" fmla="*/ 418665 h 2986617"/>
                    <a:gd name="connsiteX211" fmla="*/ 1227137 w 1687512"/>
                    <a:gd name="connsiteY211" fmla="*/ 699172 h 2986617"/>
                    <a:gd name="connsiteX212" fmla="*/ 1227137 w 1687512"/>
                    <a:gd name="connsiteY212" fmla="*/ 699172 h 2986617"/>
                    <a:gd name="connsiteX213" fmla="*/ 1074737 w 1687512"/>
                    <a:gd name="connsiteY213" fmla="*/ 843926 h 2986617"/>
                    <a:gd name="connsiteX214" fmla="*/ 922337 w 1687512"/>
                    <a:gd name="connsiteY214" fmla="*/ 563421 h 2986617"/>
                    <a:gd name="connsiteX215" fmla="*/ 922337 w 1687512"/>
                    <a:gd name="connsiteY215" fmla="*/ 563421 h 2986617"/>
                    <a:gd name="connsiteX216" fmla="*/ 922337 w 1687512"/>
                    <a:gd name="connsiteY216" fmla="*/ 563421 h 2986617"/>
                    <a:gd name="connsiteX217" fmla="*/ 922337 w 1687512"/>
                    <a:gd name="connsiteY217" fmla="*/ 563420 h 2986617"/>
                    <a:gd name="connsiteX218" fmla="*/ 929159 w 1687512"/>
                    <a:gd name="connsiteY218" fmla="*/ 503392 h 2986617"/>
                    <a:gd name="connsiteX219" fmla="*/ 933105 w 1687512"/>
                    <a:gd name="connsiteY219" fmla="*/ 493674 h 2986617"/>
                    <a:gd name="connsiteX220" fmla="*/ 934265 w 1687512"/>
                    <a:gd name="connsiteY220" fmla="*/ 486162 h 2986617"/>
                    <a:gd name="connsiteX221" fmla="*/ 939843 w 1687512"/>
                    <a:gd name="connsiteY221" fmla="*/ 477082 h 2986617"/>
                    <a:gd name="connsiteX222" fmla="*/ 948274 w 1687512"/>
                    <a:gd name="connsiteY222" fmla="*/ 456320 h 2986617"/>
                    <a:gd name="connsiteX223" fmla="*/ 961431 w 1687512"/>
                    <a:gd name="connsiteY223" fmla="*/ 441937 h 2986617"/>
                    <a:gd name="connsiteX224" fmla="*/ 966845 w 1687512"/>
                    <a:gd name="connsiteY224" fmla="*/ 433124 h 2986617"/>
                    <a:gd name="connsiteX225" fmla="*/ 971704 w 1687512"/>
                    <a:gd name="connsiteY225" fmla="*/ 430707 h 2986617"/>
                    <a:gd name="connsiteX226" fmla="*/ 977654 w 1687512"/>
                    <a:gd name="connsiteY226" fmla="*/ 424204 h 2986617"/>
                    <a:gd name="connsiteX227" fmla="*/ 1015266 w 1687512"/>
                    <a:gd name="connsiteY227" fmla="*/ 409047 h 2986617"/>
                    <a:gd name="connsiteX228" fmla="*/ 554814 w 1687512"/>
                    <a:gd name="connsiteY228" fmla="*/ 204550 h 2986617"/>
                    <a:gd name="connsiteX229" fmla="*/ 614015 w 1687512"/>
                    <a:gd name="connsiteY229" fmla="*/ 214571 h 2986617"/>
                    <a:gd name="connsiteX230" fmla="*/ 766762 w 1687512"/>
                    <a:gd name="connsiteY230" fmla="*/ 494385 h 2986617"/>
                    <a:gd name="connsiteX231" fmla="*/ 766762 w 1687512"/>
                    <a:gd name="connsiteY231" fmla="*/ 494385 h 2986617"/>
                    <a:gd name="connsiteX232" fmla="*/ 766762 w 1687512"/>
                    <a:gd name="connsiteY232" fmla="*/ 494385 h 2986617"/>
                    <a:gd name="connsiteX233" fmla="*/ 614015 w 1687512"/>
                    <a:gd name="connsiteY233" fmla="*/ 639140 h 2986617"/>
                    <a:gd name="connsiteX234" fmla="*/ 461962 w 1687512"/>
                    <a:gd name="connsiteY234" fmla="*/ 358634 h 2986617"/>
                    <a:gd name="connsiteX235" fmla="*/ 461962 w 1687512"/>
                    <a:gd name="connsiteY235" fmla="*/ 358634 h 2986617"/>
                    <a:gd name="connsiteX236" fmla="*/ 461962 w 1687512"/>
                    <a:gd name="connsiteY236" fmla="*/ 358633 h 2986617"/>
                    <a:gd name="connsiteX237" fmla="*/ 461962 w 1687512"/>
                    <a:gd name="connsiteY237" fmla="*/ 358632 h 2986617"/>
                    <a:gd name="connsiteX238" fmla="*/ 468795 w 1687512"/>
                    <a:gd name="connsiteY238" fmla="*/ 298609 h 2986617"/>
                    <a:gd name="connsiteX239" fmla="*/ 472745 w 1687512"/>
                    <a:gd name="connsiteY239" fmla="*/ 288894 h 2986617"/>
                    <a:gd name="connsiteX240" fmla="*/ 473906 w 1687512"/>
                    <a:gd name="connsiteY240" fmla="*/ 281386 h 2986617"/>
                    <a:gd name="connsiteX241" fmla="*/ 479486 w 1687512"/>
                    <a:gd name="connsiteY241" fmla="*/ 272314 h 2986617"/>
                    <a:gd name="connsiteX242" fmla="*/ 487921 w 1687512"/>
                    <a:gd name="connsiteY242" fmla="*/ 251569 h 2986617"/>
                    <a:gd name="connsiteX243" fmla="*/ 501071 w 1687512"/>
                    <a:gd name="connsiteY243" fmla="*/ 237224 h 2986617"/>
                    <a:gd name="connsiteX244" fmla="*/ 506484 w 1687512"/>
                    <a:gd name="connsiteY244" fmla="*/ 228423 h 2986617"/>
                    <a:gd name="connsiteX245" fmla="*/ 511334 w 1687512"/>
                    <a:gd name="connsiteY245" fmla="*/ 226027 h 2986617"/>
                    <a:gd name="connsiteX246" fmla="*/ 517281 w 1687512"/>
                    <a:gd name="connsiteY246" fmla="*/ 219540 h 2986617"/>
                    <a:gd name="connsiteX247" fmla="*/ 554811 w 1687512"/>
                    <a:gd name="connsiteY247" fmla="*/ 204551 h 2986617"/>
                    <a:gd name="connsiteX248" fmla="*/ 93712 w 1687512"/>
                    <a:gd name="connsiteY248" fmla="*/ 900 h 2986617"/>
                    <a:gd name="connsiteX249" fmla="*/ 153194 w 1687512"/>
                    <a:gd name="connsiteY249" fmla="*/ 10611 h 2986617"/>
                    <a:gd name="connsiteX250" fmla="*/ 306388 w 1687512"/>
                    <a:gd name="connsiteY250" fmla="*/ 289923 h 2986617"/>
                    <a:gd name="connsiteX251" fmla="*/ 306388 w 1687512"/>
                    <a:gd name="connsiteY251" fmla="*/ 289924 h 2986617"/>
                    <a:gd name="connsiteX252" fmla="*/ 306388 w 1687512"/>
                    <a:gd name="connsiteY252" fmla="*/ 289924 h 2986617"/>
                    <a:gd name="connsiteX253" fmla="*/ 153194 w 1687512"/>
                    <a:gd name="connsiteY253" fmla="*/ 434420 h 2986617"/>
                    <a:gd name="connsiteX254" fmla="*/ 0 w 1687512"/>
                    <a:gd name="connsiteY254" fmla="*/ 154416 h 2986617"/>
                    <a:gd name="connsiteX255" fmla="*/ 0 w 1687512"/>
                    <a:gd name="connsiteY255" fmla="*/ 154416 h 2986617"/>
                    <a:gd name="connsiteX256" fmla="*/ 0 w 1687512"/>
                    <a:gd name="connsiteY256" fmla="*/ 154415 h 2986617"/>
                    <a:gd name="connsiteX257" fmla="*/ 0 w 1687512"/>
                    <a:gd name="connsiteY257" fmla="*/ 154414 h 2986617"/>
                    <a:gd name="connsiteX258" fmla="*/ 6917 w 1687512"/>
                    <a:gd name="connsiteY258" fmla="*/ 94558 h 2986617"/>
                    <a:gd name="connsiteX259" fmla="*/ 10915 w 1687512"/>
                    <a:gd name="connsiteY259" fmla="*/ 84877 h 2986617"/>
                    <a:gd name="connsiteX260" fmla="*/ 12088 w 1687512"/>
                    <a:gd name="connsiteY260" fmla="*/ 77404 h 2986617"/>
                    <a:gd name="connsiteX261" fmla="*/ 17734 w 1687512"/>
                    <a:gd name="connsiteY261" fmla="*/ 68362 h 2986617"/>
                    <a:gd name="connsiteX262" fmla="*/ 26255 w 1687512"/>
                    <a:gd name="connsiteY262" fmla="*/ 47726 h 2986617"/>
                    <a:gd name="connsiteX263" fmla="*/ 39540 w 1687512"/>
                    <a:gd name="connsiteY263" fmla="*/ 33442 h 2986617"/>
                    <a:gd name="connsiteX264" fmla="*/ 45001 w 1687512"/>
                    <a:gd name="connsiteY264" fmla="*/ 24698 h 2986617"/>
                    <a:gd name="connsiteX265" fmla="*/ 49898 w 1687512"/>
                    <a:gd name="connsiteY265" fmla="*/ 22305 h 2986617"/>
                    <a:gd name="connsiteX266" fmla="*/ 55894 w 1687512"/>
                    <a:gd name="connsiteY266" fmla="*/ 15859 h 2986617"/>
                    <a:gd name="connsiteX267" fmla="*/ 93705 w 1687512"/>
                    <a:gd name="connsiteY267" fmla="*/ 903 h 29866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</a:cxnLst>
                  <a:rect l="l" t="t" r="r" b="b"/>
                  <a:pathLst>
                    <a:path w="1687512" h="2986617">
                      <a:moveTo>
                        <a:pt x="1475938" y="2542497"/>
                      </a:moveTo>
                      <a:cubicBezTo>
                        <a:pt x="1494155" y="2539883"/>
                        <a:pt x="1514157" y="2542864"/>
                        <a:pt x="1535112" y="2552198"/>
                      </a:cubicBezTo>
                      <a:cubicBezTo>
                        <a:pt x="1619625" y="2589532"/>
                        <a:pt x="1687512" y="2715360"/>
                        <a:pt x="1687512" y="2832201"/>
                      </a:cubicBezTo>
                      <a:cubicBezTo>
                        <a:pt x="1687512" y="2949042"/>
                        <a:pt x="1619625" y="3013339"/>
                        <a:pt x="1535112" y="2976005"/>
                      </a:cubicBezTo>
                      <a:cubicBezTo>
                        <a:pt x="1451292" y="2938672"/>
                        <a:pt x="1382712" y="2813534"/>
                        <a:pt x="1382712" y="2696693"/>
                      </a:cubicBezTo>
                      <a:cubicBezTo>
                        <a:pt x="1382712" y="2674656"/>
                        <a:pt x="1385123" y="2654490"/>
                        <a:pt x="1389594" y="2636515"/>
                      </a:cubicBezTo>
                      <a:lnTo>
                        <a:pt x="1393571" y="2626791"/>
                      </a:lnTo>
                      <a:lnTo>
                        <a:pt x="1394738" y="2619282"/>
                      </a:lnTo>
                      <a:lnTo>
                        <a:pt x="1400356" y="2610203"/>
                      </a:lnTo>
                      <a:lnTo>
                        <a:pt x="1408832" y="2589480"/>
                      </a:lnTo>
                      <a:lnTo>
                        <a:pt x="1422052" y="2575143"/>
                      </a:lnTo>
                      <a:lnTo>
                        <a:pt x="1427480" y="2566371"/>
                      </a:lnTo>
                      <a:lnTo>
                        <a:pt x="1432354" y="2563970"/>
                      </a:lnTo>
                      <a:lnTo>
                        <a:pt x="1438316" y="2557503"/>
                      </a:lnTo>
                      <a:cubicBezTo>
                        <a:pt x="1449618" y="2549566"/>
                        <a:pt x="1462276" y="2544458"/>
                        <a:pt x="1475938" y="2542497"/>
                      </a:cubicBezTo>
                      <a:close/>
                      <a:moveTo>
                        <a:pt x="1015271" y="2337769"/>
                      </a:moveTo>
                      <a:cubicBezTo>
                        <a:pt x="1033520" y="2335104"/>
                        <a:pt x="1053609" y="2338039"/>
                        <a:pt x="1074737" y="2347359"/>
                      </a:cubicBezTo>
                      <a:cubicBezTo>
                        <a:pt x="1158557" y="2385332"/>
                        <a:pt x="1227137" y="2510296"/>
                        <a:pt x="1227137" y="2626975"/>
                      </a:cubicBezTo>
                      <a:cubicBezTo>
                        <a:pt x="1227137" y="2743654"/>
                        <a:pt x="1158557" y="2808552"/>
                        <a:pt x="1074737" y="2771270"/>
                      </a:cubicBezTo>
                      <a:cubicBezTo>
                        <a:pt x="990225" y="2733298"/>
                        <a:pt x="922337" y="2608334"/>
                        <a:pt x="922337" y="2491655"/>
                      </a:cubicBezTo>
                      <a:cubicBezTo>
                        <a:pt x="922337" y="2469777"/>
                        <a:pt x="924724" y="2449720"/>
                        <a:pt x="929159" y="2431816"/>
                      </a:cubicBezTo>
                      <a:lnTo>
                        <a:pt x="933106" y="2422129"/>
                      </a:lnTo>
                      <a:lnTo>
                        <a:pt x="934265" y="2414642"/>
                      </a:lnTo>
                      <a:lnTo>
                        <a:pt x="939843" y="2405591"/>
                      </a:lnTo>
                      <a:lnTo>
                        <a:pt x="948274" y="2384893"/>
                      </a:lnTo>
                      <a:lnTo>
                        <a:pt x="961432" y="2370556"/>
                      </a:lnTo>
                      <a:lnTo>
                        <a:pt x="966845" y="2361772"/>
                      </a:lnTo>
                      <a:lnTo>
                        <a:pt x="971704" y="2359363"/>
                      </a:lnTo>
                      <a:lnTo>
                        <a:pt x="977654" y="2352880"/>
                      </a:lnTo>
                      <a:lnTo>
                        <a:pt x="1015271" y="2337769"/>
                      </a:lnTo>
                      <a:close/>
                      <a:moveTo>
                        <a:pt x="554814" y="2133272"/>
                      </a:moveTo>
                      <a:cubicBezTo>
                        <a:pt x="573007" y="2130705"/>
                        <a:pt x="593012" y="2133768"/>
                        <a:pt x="614015" y="2143261"/>
                      </a:cubicBezTo>
                      <a:cubicBezTo>
                        <a:pt x="698720" y="2180543"/>
                        <a:pt x="766762" y="2305507"/>
                        <a:pt x="766762" y="2422187"/>
                      </a:cubicBezTo>
                      <a:cubicBezTo>
                        <a:pt x="766762" y="2538866"/>
                        <a:pt x="698720" y="2603764"/>
                        <a:pt x="614015" y="2566482"/>
                      </a:cubicBezTo>
                      <a:cubicBezTo>
                        <a:pt x="530004" y="2529200"/>
                        <a:pt x="461962" y="2403546"/>
                        <a:pt x="461962" y="2286866"/>
                      </a:cubicBezTo>
                      <a:cubicBezTo>
                        <a:pt x="461962" y="2264989"/>
                        <a:pt x="464354" y="2244932"/>
                        <a:pt x="468795" y="2227032"/>
                      </a:cubicBezTo>
                      <a:lnTo>
                        <a:pt x="472745" y="2217347"/>
                      </a:lnTo>
                      <a:lnTo>
                        <a:pt x="473906" y="2209864"/>
                      </a:lnTo>
                      <a:lnTo>
                        <a:pt x="479486" y="2200822"/>
                      </a:lnTo>
                      <a:lnTo>
                        <a:pt x="487921" y="2180142"/>
                      </a:lnTo>
                      <a:lnTo>
                        <a:pt x="501071" y="2165841"/>
                      </a:lnTo>
                      <a:lnTo>
                        <a:pt x="506484" y="2157070"/>
                      </a:lnTo>
                      <a:lnTo>
                        <a:pt x="511333" y="2154682"/>
                      </a:lnTo>
                      <a:lnTo>
                        <a:pt x="517281" y="2148215"/>
                      </a:lnTo>
                      <a:lnTo>
                        <a:pt x="554814" y="2133272"/>
                      </a:lnTo>
                      <a:close/>
                      <a:moveTo>
                        <a:pt x="93712" y="1928124"/>
                      </a:moveTo>
                      <a:cubicBezTo>
                        <a:pt x="112023" y="1925521"/>
                        <a:pt x="132130" y="1928502"/>
                        <a:pt x="153194" y="1937836"/>
                      </a:cubicBezTo>
                      <a:cubicBezTo>
                        <a:pt x="238147" y="1975169"/>
                        <a:pt x="306388" y="2100307"/>
                        <a:pt x="306388" y="2217148"/>
                      </a:cubicBezTo>
                      <a:cubicBezTo>
                        <a:pt x="306388" y="2334680"/>
                        <a:pt x="238147" y="2398977"/>
                        <a:pt x="153194" y="2361643"/>
                      </a:cubicBezTo>
                      <a:cubicBezTo>
                        <a:pt x="68937" y="2324310"/>
                        <a:pt x="0" y="2199172"/>
                        <a:pt x="0" y="2081640"/>
                      </a:cubicBezTo>
                      <a:cubicBezTo>
                        <a:pt x="0" y="2059732"/>
                        <a:pt x="2423" y="2039672"/>
                        <a:pt x="6917" y="2021782"/>
                      </a:cubicBezTo>
                      <a:lnTo>
                        <a:pt x="10915" y="2012100"/>
                      </a:lnTo>
                      <a:lnTo>
                        <a:pt x="12088" y="2004628"/>
                      </a:lnTo>
                      <a:lnTo>
                        <a:pt x="17734" y="1995587"/>
                      </a:lnTo>
                      <a:lnTo>
                        <a:pt x="26255" y="1974949"/>
                      </a:lnTo>
                      <a:lnTo>
                        <a:pt x="39541" y="1960665"/>
                      </a:lnTo>
                      <a:lnTo>
                        <a:pt x="45001" y="1951922"/>
                      </a:lnTo>
                      <a:lnTo>
                        <a:pt x="49898" y="1949530"/>
                      </a:lnTo>
                      <a:lnTo>
                        <a:pt x="55894" y="1943083"/>
                      </a:lnTo>
                      <a:lnTo>
                        <a:pt x="93710" y="1928125"/>
                      </a:lnTo>
                      <a:close/>
                      <a:moveTo>
                        <a:pt x="1475938" y="1899999"/>
                      </a:moveTo>
                      <a:cubicBezTo>
                        <a:pt x="1494155" y="1897424"/>
                        <a:pt x="1514157" y="1900497"/>
                        <a:pt x="1535112" y="1910020"/>
                      </a:cubicBezTo>
                      <a:cubicBezTo>
                        <a:pt x="1619625" y="1947421"/>
                        <a:pt x="1687512" y="2072783"/>
                        <a:pt x="1687512" y="2189834"/>
                      </a:cubicBezTo>
                      <a:cubicBezTo>
                        <a:pt x="1687512" y="2306885"/>
                        <a:pt x="1619625" y="2371990"/>
                        <a:pt x="1535112" y="2334589"/>
                      </a:cubicBezTo>
                      <a:cubicBezTo>
                        <a:pt x="1451292" y="2297188"/>
                        <a:pt x="1382712" y="2171134"/>
                        <a:pt x="1382712" y="2054083"/>
                      </a:cubicBezTo>
                      <a:cubicBezTo>
                        <a:pt x="1382712" y="2032136"/>
                        <a:pt x="1385123" y="2012015"/>
                        <a:pt x="1389594" y="1994058"/>
                      </a:cubicBezTo>
                      <a:lnTo>
                        <a:pt x="1393570" y="1984336"/>
                      </a:lnTo>
                      <a:lnTo>
                        <a:pt x="1394738" y="1976835"/>
                      </a:lnTo>
                      <a:lnTo>
                        <a:pt x="1400351" y="1967756"/>
                      </a:lnTo>
                      <a:lnTo>
                        <a:pt x="1408832" y="1947018"/>
                      </a:lnTo>
                      <a:lnTo>
                        <a:pt x="1422043" y="1932667"/>
                      </a:lnTo>
                      <a:lnTo>
                        <a:pt x="1427480" y="1923873"/>
                      </a:lnTo>
                      <a:lnTo>
                        <a:pt x="1432346" y="1921475"/>
                      </a:lnTo>
                      <a:lnTo>
                        <a:pt x="1438316" y="1914989"/>
                      </a:lnTo>
                      <a:cubicBezTo>
                        <a:pt x="1449618" y="1907040"/>
                        <a:pt x="1462276" y="1901931"/>
                        <a:pt x="1475938" y="1899999"/>
                      </a:cubicBezTo>
                      <a:close/>
                      <a:moveTo>
                        <a:pt x="1015271" y="1694849"/>
                      </a:moveTo>
                      <a:cubicBezTo>
                        <a:pt x="1033520" y="1692237"/>
                        <a:pt x="1053609" y="1695228"/>
                        <a:pt x="1074737" y="1704592"/>
                      </a:cubicBezTo>
                      <a:cubicBezTo>
                        <a:pt x="1158557" y="1742044"/>
                        <a:pt x="1227137" y="1867580"/>
                        <a:pt x="1227137" y="1984793"/>
                      </a:cubicBezTo>
                      <a:cubicBezTo>
                        <a:pt x="1227137" y="2102700"/>
                        <a:pt x="1158557" y="2167202"/>
                        <a:pt x="1074737" y="2129749"/>
                      </a:cubicBezTo>
                      <a:cubicBezTo>
                        <a:pt x="990225" y="2092296"/>
                        <a:pt x="922337" y="1966761"/>
                        <a:pt x="922337" y="1848854"/>
                      </a:cubicBezTo>
                      <a:cubicBezTo>
                        <a:pt x="922337" y="1826876"/>
                        <a:pt x="924724" y="1806752"/>
                        <a:pt x="929159" y="1788806"/>
                      </a:cubicBezTo>
                      <a:lnTo>
                        <a:pt x="933106" y="1779105"/>
                      </a:lnTo>
                      <a:lnTo>
                        <a:pt x="934265" y="1771597"/>
                      </a:lnTo>
                      <a:lnTo>
                        <a:pt x="939845" y="1762542"/>
                      </a:lnTo>
                      <a:lnTo>
                        <a:pt x="948274" y="1741824"/>
                      </a:lnTo>
                      <a:lnTo>
                        <a:pt x="961435" y="1727503"/>
                      </a:lnTo>
                      <a:lnTo>
                        <a:pt x="966845" y="1718723"/>
                      </a:lnTo>
                      <a:lnTo>
                        <a:pt x="971707" y="1716326"/>
                      </a:lnTo>
                      <a:lnTo>
                        <a:pt x="977654" y="1709856"/>
                      </a:lnTo>
                      <a:lnTo>
                        <a:pt x="1015270" y="1694850"/>
                      </a:lnTo>
                      <a:close/>
                      <a:moveTo>
                        <a:pt x="554814" y="1489974"/>
                      </a:moveTo>
                      <a:cubicBezTo>
                        <a:pt x="573007" y="1487371"/>
                        <a:pt x="593012" y="1490352"/>
                        <a:pt x="614015" y="1499686"/>
                      </a:cubicBezTo>
                      <a:cubicBezTo>
                        <a:pt x="698720" y="1537019"/>
                        <a:pt x="766762" y="1662157"/>
                        <a:pt x="766762" y="1778998"/>
                      </a:cubicBezTo>
                      <a:cubicBezTo>
                        <a:pt x="766762" y="1896530"/>
                        <a:pt x="698720" y="1960827"/>
                        <a:pt x="614015" y="1923493"/>
                      </a:cubicBezTo>
                      <a:cubicBezTo>
                        <a:pt x="530004" y="1886159"/>
                        <a:pt x="461962" y="1761022"/>
                        <a:pt x="461962" y="1643490"/>
                      </a:cubicBezTo>
                      <a:cubicBezTo>
                        <a:pt x="461962" y="1621582"/>
                        <a:pt x="464354" y="1601522"/>
                        <a:pt x="468795" y="1583632"/>
                      </a:cubicBezTo>
                      <a:lnTo>
                        <a:pt x="472746" y="1573957"/>
                      </a:lnTo>
                      <a:lnTo>
                        <a:pt x="473906" y="1566478"/>
                      </a:lnTo>
                      <a:lnTo>
                        <a:pt x="479489" y="1557445"/>
                      </a:lnTo>
                      <a:lnTo>
                        <a:pt x="487921" y="1536799"/>
                      </a:lnTo>
                      <a:lnTo>
                        <a:pt x="501077" y="1522520"/>
                      </a:lnTo>
                      <a:lnTo>
                        <a:pt x="506484" y="1513772"/>
                      </a:lnTo>
                      <a:lnTo>
                        <a:pt x="511339" y="1511382"/>
                      </a:lnTo>
                      <a:lnTo>
                        <a:pt x="517281" y="1504933"/>
                      </a:lnTo>
                      <a:lnTo>
                        <a:pt x="554814" y="1489974"/>
                      </a:lnTo>
                      <a:close/>
                      <a:moveTo>
                        <a:pt x="93712" y="1285197"/>
                      </a:moveTo>
                      <a:cubicBezTo>
                        <a:pt x="112023" y="1282583"/>
                        <a:pt x="132130" y="1285564"/>
                        <a:pt x="153194" y="1294898"/>
                      </a:cubicBezTo>
                      <a:cubicBezTo>
                        <a:pt x="238147" y="1332231"/>
                        <a:pt x="306388" y="1457369"/>
                        <a:pt x="306388" y="1574901"/>
                      </a:cubicBezTo>
                      <a:cubicBezTo>
                        <a:pt x="306388" y="1691742"/>
                        <a:pt x="238147" y="1756039"/>
                        <a:pt x="153194" y="1718705"/>
                      </a:cubicBezTo>
                      <a:cubicBezTo>
                        <a:pt x="68937" y="1681371"/>
                        <a:pt x="0" y="1556234"/>
                        <a:pt x="0" y="1439393"/>
                      </a:cubicBezTo>
                      <a:lnTo>
                        <a:pt x="0" y="1439393"/>
                      </a:lnTo>
                      <a:lnTo>
                        <a:pt x="0" y="1439393"/>
                      </a:lnTo>
                      <a:lnTo>
                        <a:pt x="6917" y="1379215"/>
                      </a:lnTo>
                      <a:lnTo>
                        <a:pt x="10915" y="1369491"/>
                      </a:lnTo>
                      <a:lnTo>
                        <a:pt x="12088" y="1361982"/>
                      </a:lnTo>
                      <a:lnTo>
                        <a:pt x="17736" y="1352902"/>
                      </a:lnTo>
                      <a:lnTo>
                        <a:pt x="26255" y="1332180"/>
                      </a:lnTo>
                      <a:lnTo>
                        <a:pt x="39543" y="1317844"/>
                      </a:lnTo>
                      <a:lnTo>
                        <a:pt x="45001" y="1309071"/>
                      </a:lnTo>
                      <a:lnTo>
                        <a:pt x="49901" y="1306669"/>
                      </a:lnTo>
                      <a:lnTo>
                        <a:pt x="55894" y="1300203"/>
                      </a:lnTo>
                      <a:lnTo>
                        <a:pt x="93709" y="1285198"/>
                      </a:lnTo>
                      <a:close/>
                      <a:moveTo>
                        <a:pt x="1475938" y="1256699"/>
                      </a:moveTo>
                      <a:lnTo>
                        <a:pt x="1479394" y="1257268"/>
                      </a:lnTo>
                      <a:lnTo>
                        <a:pt x="1535112" y="1266442"/>
                      </a:lnTo>
                      <a:cubicBezTo>
                        <a:pt x="1577368" y="1285168"/>
                        <a:pt x="1615468" y="1325915"/>
                        <a:pt x="1643004" y="1376719"/>
                      </a:cubicBezTo>
                      <a:cubicBezTo>
                        <a:pt x="1670540" y="1427523"/>
                        <a:pt x="1687512" y="1488384"/>
                        <a:pt x="1687512" y="1547337"/>
                      </a:cubicBezTo>
                      <a:cubicBezTo>
                        <a:pt x="1687512" y="1664550"/>
                        <a:pt x="1619625" y="1729052"/>
                        <a:pt x="1535112" y="1691599"/>
                      </a:cubicBezTo>
                      <a:cubicBezTo>
                        <a:pt x="1451292" y="1654147"/>
                        <a:pt x="1382712" y="1528611"/>
                        <a:pt x="1382712" y="1410704"/>
                      </a:cubicBezTo>
                      <a:cubicBezTo>
                        <a:pt x="1382712" y="1388727"/>
                        <a:pt x="1385123" y="1368602"/>
                        <a:pt x="1389594" y="1350656"/>
                      </a:cubicBezTo>
                      <a:lnTo>
                        <a:pt x="1393571" y="1340943"/>
                      </a:lnTo>
                      <a:lnTo>
                        <a:pt x="1394738" y="1333447"/>
                      </a:lnTo>
                      <a:lnTo>
                        <a:pt x="1400354" y="1324377"/>
                      </a:lnTo>
                      <a:lnTo>
                        <a:pt x="1408832" y="1303674"/>
                      </a:lnTo>
                      <a:lnTo>
                        <a:pt x="1422049" y="1289344"/>
                      </a:lnTo>
                      <a:lnTo>
                        <a:pt x="1427480" y="1280573"/>
                      </a:lnTo>
                      <a:lnTo>
                        <a:pt x="1432351" y="1278173"/>
                      </a:lnTo>
                      <a:lnTo>
                        <a:pt x="1438316" y="1271706"/>
                      </a:lnTo>
                      <a:lnTo>
                        <a:pt x="1475938" y="1256699"/>
                      </a:lnTo>
                      <a:close/>
                      <a:moveTo>
                        <a:pt x="1015271" y="1051923"/>
                      </a:moveTo>
                      <a:cubicBezTo>
                        <a:pt x="1033520" y="1049301"/>
                        <a:pt x="1053609" y="1052292"/>
                        <a:pt x="1074737" y="1061655"/>
                      </a:cubicBezTo>
                      <a:cubicBezTo>
                        <a:pt x="1158557" y="1099107"/>
                        <a:pt x="1227137" y="1224643"/>
                        <a:pt x="1227137" y="1342550"/>
                      </a:cubicBezTo>
                      <a:cubicBezTo>
                        <a:pt x="1227137" y="1459763"/>
                        <a:pt x="1158557" y="1524265"/>
                        <a:pt x="1074737" y="1486812"/>
                      </a:cubicBezTo>
                      <a:cubicBezTo>
                        <a:pt x="990225" y="1449360"/>
                        <a:pt x="922337" y="1323824"/>
                        <a:pt x="922337" y="1206611"/>
                      </a:cubicBezTo>
                      <a:lnTo>
                        <a:pt x="922337" y="1206611"/>
                      </a:lnTo>
                      <a:lnTo>
                        <a:pt x="922337" y="1206610"/>
                      </a:lnTo>
                      <a:lnTo>
                        <a:pt x="929159" y="1146241"/>
                      </a:lnTo>
                      <a:lnTo>
                        <a:pt x="933106" y="1136498"/>
                      </a:lnTo>
                      <a:lnTo>
                        <a:pt x="934265" y="1128953"/>
                      </a:lnTo>
                      <a:lnTo>
                        <a:pt x="939846" y="1119859"/>
                      </a:lnTo>
                      <a:lnTo>
                        <a:pt x="948274" y="1099056"/>
                      </a:lnTo>
                      <a:lnTo>
                        <a:pt x="961437" y="1084683"/>
                      </a:lnTo>
                      <a:lnTo>
                        <a:pt x="966845" y="1075873"/>
                      </a:lnTo>
                      <a:lnTo>
                        <a:pt x="971710" y="1073467"/>
                      </a:lnTo>
                      <a:lnTo>
                        <a:pt x="977654" y="1066977"/>
                      </a:lnTo>
                      <a:lnTo>
                        <a:pt x="1015268" y="1051925"/>
                      </a:lnTo>
                      <a:close/>
                      <a:moveTo>
                        <a:pt x="554814" y="847135"/>
                      </a:moveTo>
                      <a:cubicBezTo>
                        <a:pt x="573007" y="844513"/>
                        <a:pt x="593012" y="847504"/>
                        <a:pt x="614015" y="856867"/>
                      </a:cubicBezTo>
                      <a:cubicBezTo>
                        <a:pt x="698720" y="894319"/>
                        <a:pt x="766762" y="1020549"/>
                        <a:pt x="766762" y="1137762"/>
                      </a:cubicBezTo>
                      <a:cubicBezTo>
                        <a:pt x="766762" y="1254975"/>
                        <a:pt x="698720" y="1319477"/>
                        <a:pt x="614015" y="1282024"/>
                      </a:cubicBezTo>
                      <a:cubicBezTo>
                        <a:pt x="530004" y="1244572"/>
                        <a:pt x="461962" y="1119036"/>
                        <a:pt x="461962" y="1001823"/>
                      </a:cubicBezTo>
                      <a:lnTo>
                        <a:pt x="461962" y="1001823"/>
                      </a:lnTo>
                      <a:lnTo>
                        <a:pt x="461962" y="1001822"/>
                      </a:lnTo>
                      <a:lnTo>
                        <a:pt x="468795" y="941453"/>
                      </a:lnTo>
                      <a:lnTo>
                        <a:pt x="472746" y="931704"/>
                      </a:lnTo>
                      <a:lnTo>
                        <a:pt x="473906" y="924165"/>
                      </a:lnTo>
                      <a:lnTo>
                        <a:pt x="479491" y="915065"/>
                      </a:lnTo>
                      <a:lnTo>
                        <a:pt x="487921" y="894268"/>
                      </a:lnTo>
                      <a:lnTo>
                        <a:pt x="501080" y="879891"/>
                      </a:lnTo>
                      <a:lnTo>
                        <a:pt x="506484" y="871085"/>
                      </a:lnTo>
                      <a:lnTo>
                        <a:pt x="511342" y="868678"/>
                      </a:lnTo>
                      <a:lnTo>
                        <a:pt x="517281" y="862189"/>
                      </a:lnTo>
                      <a:cubicBezTo>
                        <a:pt x="528544" y="854227"/>
                        <a:pt x="541170" y="849102"/>
                        <a:pt x="554814" y="847135"/>
                      </a:cubicBezTo>
                      <a:close/>
                      <a:moveTo>
                        <a:pt x="93712" y="642407"/>
                      </a:moveTo>
                      <a:cubicBezTo>
                        <a:pt x="112023" y="639734"/>
                        <a:pt x="132130" y="642678"/>
                        <a:pt x="153194" y="652028"/>
                      </a:cubicBezTo>
                      <a:cubicBezTo>
                        <a:pt x="238147" y="690122"/>
                        <a:pt x="306388" y="815483"/>
                        <a:pt x="306388" y="932534"/>
                      </a:cubicBezTo>
                      <a:lnTo>
                        <a:pt x="306388" y="932534"/>
                      </a:lnTo>
                      <a:cubicBezTo>
                        <a:pt x="306388" y="1049585"/>
                        <a:pt x="238147" y="1114690"/>
                        <a:pt x="153194" y="1076597"/>
                      </a:cubicBezTo>
                      <a:cubicBezTo>
                        <a:pt x="68937" y="1039196"/>
                        <a:pt x="0" y="913834"/>
                        <a:pt x="0" y="796783"/>
                      </a:cubicBezTo>
                      <a:lnTo>
                        <a:pt x="0" y="796783"/>
                      </a:lnTo>
                      <a:lnTo>
                        <a:pt x="0" y="796782"/>
                      </a:lnTo>
                      <a:lnTo>
                        <a:pt x="6917" y="736755"/>
                      </a:lnTo>
                      <a:lnTo>
                        <a:pt x="10914" y="727025"/>
                      </a:lnTo>
                      <a:lnTo>
                        <a:pt x="12088" y="719525"/>
                      </a:lnTo>
                      <a:lnTo>
                        <a:pt x="17732" y="710429"/>
                      </a:lnTo>
                      <a:lnTo>
                        <a:pt x="26255" y="689683"/>
                      </a:lnTo>
                      <a:lnTo>
                        <a:pt x="39537" y="675291"/>
                      </a:lnTo>
                      <a:lnTo>
                        <a:pt x="45001" y="666487"/>
                      </a:lnTo>
                      <a:lnTo>
                        <a:pt x="49896" y="664067"/>
                      </a:lnTo>
                      <a:lnTo>
                        <a:pt x="55894" y="657567"/>
                      </a:lnTo>
                      <a:lnTo>
                        <a:pt x="93702" y="642412"/>
                      </a:lnTo>
                      <a:close/>
                      <a:moveTo>
                        <a:pt x="1475938" y="613736"/>
                      </a:moveTo>
                      <a:cubicBezTo>
                        <a:pt x="1494155" y="611116"/>
                        <a:pt x="1514157" y="614103"/>
                        <a:pt x="1535112" y="623454"/>
                      </a:cubicBezTo>
                      <a:cubicBezTo>
                        <a:pt x="1619625" y="660854"/>
                        <a:pt x="1687512" y="786909"/>
                        <a:pt x="1687512" y="903959"/>
                      </a:cubicBezTo>
                      <a:cubicBezTo>
                        <a:pt x="1687512" y="1021010"/>
                        <a:pt x="1619625" y="1086115"/>
                        <a:pt x="1535112" y="1048021"/>
                      </a:cubicBezTo>
                      <a:cubicBezTo>
                        <a:pt x="1451292" y="1010621"/>
                        <a:pt x="1382712" y="885259"/>
                        <a:pt x="1382712" y="768209"/>
                      </a:cubicBezTo>
                      <a:lnTo>
                        <a:pt x="1382712" y="768209"/>
                      </a:lnTo>
                      <a:lnTo>
                        <a:pt x="1382712" y="768208"/>
                      </a:lnTo>
                      <a:lnTo>
                        <a:pt x="1382713" y="768206"/>
                      </a:lnTo>
                      <a:lnTo>
                        <a:pt x="1389594" y="707923"/>
                      </a:lnTo>
                      <a:lnTo>
                        <a:pt x="1393571" y="698181"/>
                      </a:lnTo>
                      <a:lnTo>
                        <a:pt x="1394738" y="690658"/>
                      </a:lnTo>
                      <a:lnTo>
                        <a:pt x="1400357" y="681561"/>
                      </a:lnTo>
                      <a:lnTo>
                        <a:pt x="1408832" y="660803"/>
                      </a:lnTo>
                      <a:lnTo>
                        <a:pt x="1422050" y="646442"/>
                      </a:lnTo>
                      <a:lnTo>
                        <a:pt x="1427480" y="637652"/>
                      </a:lnTo>
                      <a:lnTo>
                        <a:pt x="1432355" y="635246"/>
                      </a:lnTo>
                      <a:lnTo>
                        <a:pt x="1438316" y="628769"/>
                      </a:lnTo>
                      <a:lnTo>
                        <a:pt x="1475931" y="613739"/>
                      </a:lnTo>
                      <a:close/>
                      <a:moveTo>
                        <a:pt x="1015271" y="409045"/>
                      </a:moveTo>
                      <a:cubicBezTo>
                        <a:pt x="1033520" y="406372"/>
                        <a:pt x="1053609" y="409315"/>
                        <a:pt x="1074737" y="418665"/>
                      </a:cubicBezTo>
                      <a:cubicBezTo>
                        <a:pt x="1158557" y="456759"/>
                        <a:pt x="1227137" y="582121"/>
                        <a:pt x="1227137" y="699172"/>
                      </a:cubicBezTo>
                      <a:lnTo>
                        <a:pt x="1227137" y="699172"/>
                      </a:lnTo>
                      <a:cubicBezTo>
                        <a:pt x="1227137" y="816222"/>
                        <a:pt x="1158557" y="881327"/>
                        <a:pt x="1074737" y="843926"/>
                      </a:cubicBezTo>
                      <a:cubicBezTo>
                        <a:pt x="990225" y="805833"/>
                        <a:pt x="922337" y="680471"/>
                        <a:pt x="922337" y="563421"/>
                      </a:cubicBezTo>
                      <a:lnTo>
                        <a:pt x="922337" y="563421"/>
                      </a:lnTo>
                      <a:lnTo>
                        <a:pt x="922337" y="563421"/>
                      </a:lnTo>
                      <a:lnTo>
                        <a:pt x="922337" y="563420"/>
                      </a:lnTo>
                      <a:lnTo>
                        <a:pt x="929159" y="503392"/>
                      </a:lnTo>
                      <a:lnTo>
                        <a:pt x="933105" y="493674"/>
                      </a:lnTo>
                      <a:lnTo>
                        <a:pt x="934265" y="486162"/>
                      </a:lnTo>
                      <a:lnTo>
                        <a:pt x="939843" y="477082"/>
                      </a:lnTo>
                      <a:lnTo>
                        <a:pt x="948274" y="456320"/>
                      </a:lnTo>
                      <a:lnTo>
                        <a:pt x="961431" y="441937"/>
                      </a:lnTo>
                      <a:lnTo>
                        <a:pt x="966845" y="433124"/>
                      </a:lnTo>
                      <a:lnTo>
                        <a:pt x="971704" y="430707"/>
                      </a:lnTo>
                      <a:lnTo>
                        <a:pt x="977654" y="424204"/>
                      </a:lnTo>
                      <a:lnTo>
                        <a:pt x="1015266" y="409047"/>
                      </a:lnTo>
                      <a:close/>
                      <a:moveTo>
                        <a:pt x="554814" y="204550"/>
                      </a:moveTo>
                      <a:cubicBezTo>
                        <a:pt x="573007" y="201974"/>
                        <a:pt x="593012" y="205048"/>
                        <a:pt x="614015" y="214571"/>
                      </a:cubicBezTo>
                      <a:cubicBezTo>
                        <a:pt x="698720" y="251972"/>
                        <a:pt x="766762" y="377334"/>
                        <a:pt x="766762" y="494385"/>
                      </a:cubicBezTo>
                      <a:lnTo>
                        <a:pt x="766762" y="494385"/>
                      </a:lnTo>
                      <a:lnTo>
                        <a:pt x="766762" y="494385"/>
                      </a:lnTo>
                      <a:cubicBezTo>
                        <a:pt x="766762" y="611436"/>
                        <a:pt x="698720" y="676541"/>
                        <a:pt x="614015" y="639140"/>
                      </a:cubicBezTo>
                      <a:cubicBezTo>
                        <a:pt x="530004" y="601739"/>
                        <a:pt x="461962" y="475685"/>
                        <a:pt x="461962" y="358634"/>
                      </a:cubicBezTo>
                      <a:lnTo>
                        <a:pt x="461962" y="358634"/>
                      </a:lnTo>
                      <a:lnTo>
                        <a:pt x="461962" y="358633"/>
                      </a:lnTo>
                      <a:lnTo>
                        <a:pt x="461962" y="358632"/>
                      </a:lnTo>
                      <a:lnTo>
                        <a:pt x="468795" y="298609"/>
                      </a:lnTo>
                      <a:lnTo>
                        <a:pt x="472745" y="288894"/>
                      </a:lnTo>
                      <a:lnTo>
                        <a:pt x="473906" y="281386"/>
                      </a:lnTo>
                      <a:lnTo>
                        <a:pt x="479486" y="272314"/>
                      </a:lnTo>
                      <a:lnTo>
                        <a:pt x="487921" y="251569"/>
                      </a:lnTo>
                      <a:lnTo>
                        <a:pt x="501071" y="237224"/>
                      </a:lnTo>
                      <a:lnTo>
                        <a:pt x="506484" y="228423"/>
                      </a:lnTo>
                      <a:lnTo>
                        <a:pt x="511334" y="226027"/>
                      </a:lnTo>
                      <a:lnTo>
                        <a:pt x="517281" y="219540"/>
                      </a:lnTo>
                      <a:lnTo>
                        <a:pt x="554811" y="204551"/>
                      </a:lnTo>
                      <a:close/>
                      <a:moveTo>
                        <a:pt x="93712" y="900"/>
                      </a:moveTo>
                      <a:cubicBezTo>
                        <a:pt x="112023" y="-1704"/>
                        <a:pt x="132130" y="1278"/>
                        <a:pt x="153194" y="10611"/>
                      </a:cubicBezTo>
                      <a:cubicBezTo>
                        <a:pt x="238147" y="47945"/>
                        <a:pt x="306388" y="173082"/>
                        <a:pt x="306388" y="289923"/>
                      </a:cubicBezTo>
                      <a:lnTo>
                        <a:pt x="306388" y="289924"/>
                      </a:lnTo>
                      <a:lnTo>
                        <a:pt x="306388" y="289924"/>
                      </a:lnTo>
                      <a:cubicBezTo>
                        <a:pt x="306388" y="407456"/>
                        <a:pt x="238147" y="471753"/>
                        <a:pt x="153194" y="434420"/>
                      </a:cubicBezTo>
                      <a:cubicBezTo>
                        <a:pt x="68937" y="397086"/>
                        <a:pt x="0" y="271948"/>
                        <a:pt x="0" y="154416"/>
                      </a:cubicBezTo>
                      <a:lnTo>
                        <a:pt x="0" y="154416"/>
                      </a:lnTo>
                      <a:lnTo>
                        <a:pt x="0" y="154415"/>
                      </a:lnTo>
                      <a:lnTo>
                        <a:pt x="0" y="154414"/>
                      </a:lnTo>
                      <a:lnTo>
                        <a:pt x="6917" y="94558"/>
                      </a:lnTo>
                      <a:lnTo>
                        <a:pt x="10915" y="84877"/>
                      </a:lnTo>
                      <a:lnTo>
                        <a:pt x="12088" y="77404"/>
                      </a:lnTo>
                      <a:lnTo>
                        <a:pt x="17734" y="68362"/>
                      </a:lnTo>
                      <a:lnTo>
                        <a:pt x="26255" y="47726"/>
                      </a:lnTo>
                      <a:lnTo>
                        <a:pt x="39540" y="33442"/>
                      </a:lnTo>
                      <a:lnTo>
                        <a:pt x="45001" y="24698"/>
                      </a:lnTo>
                      <a:lnTo>
                        <a:pt x="49898" y="22305"/>
                      </a:lnTo>
                      <a:lnTo>
                        <a:pt x="55894" y="15859"/>
                      </a:lnTo>
                      <a:lnTo>
                        <a:pt x="93705" y="903"/>
                      </a:lnTo>
                      <a:close/>
                    </a:path>
                  </a:pathLst>
                </a:custGeom>
                <a:solidFill>
                  <a:srgbClr val="445776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</p:grpSp>
          <p:grpSp>
            <p:nvGrpSpPr>
              <p:cNvPr id="477" name="Group 476">
                <a:extLst>
                  <a:ext uri="{FF2B5EF4-FFF2-40B4-BE49-F238E27FC236}">
                    <a16:creationId xmlns:a16="http://schemas.microsoft.com/office/drawing/2014/main" id="{48E587A4-6972-1FDE-CF81-A36867864DB5}"/>
                  </a:ext>
                </a:extLst>
              </p:cNvPr>
              <p:cNvGrpSpPr/>
              <p:nvPr/>
            </p:nvGrpSpPr>
            <p:grpSpPr>
              <a:xfrm>
                <a:off x="5011510" y="3303658"/>
                <a:ext cx="508754" cy="796770"/>
                <a:chOff x="1247114" y="4340732"/>
                <a:chExt cx="661061" cy="1035304"/>
              </a:xfrm>
            </p:grpSpPr>
            <p:sp>
              <p:nvSpPr>
                <p:cNvPr id="478" name="Freeform 5">
                  <a:extLst>
                    <a:ext uri="{FF2B5EF4-FFF2-40B4-BE49-F238E27FC236}">
                      <a16:creationId xmlns:a16="http://schemas.microsoft.com/office/drawing/2014/main" id="{129CA583-267B-74DA-CD42-058D149A5C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81683" y="4340732"/>
                  <a:ext cx="191921" cy="536844"/>
                </a:xfrm>
                <a:custGeom>
                  <a:avLst/>
                  <a:gdLst>
                    <a:gd name="T0" fmla="*/ 991 w 1027"/>
                    <a:gd name="T1" fmla="*/ 2872 h 2872"/>
                    <a:gd name="T2" fmla="*/ 36 w 1027"/>
                    <a:gd name="T3" fmla="*/ 2872 h 2872"/>
                    <a:gd name="T4" fmla="*/ 0 w 1027"/>
                    <a:gd name="T5" fmla="*/ 2836 h 2872"/>
                    <a:gd name="T6" fmla="*/ 0 w 1027"/>
                    <a:gd name="T7" fmla="*/ 36 h 2872"/>
                    <a:gd name="T8" fmla="*/ 36 w 1027"/>
                    <a:gd name="T9" fmla="*/ 0 h 2872"/>
                    <a:gd name="T10" fmla="*/ 991 w 1027"/>
                    <a:gd name="T11" fmla="*/ 0 h 2872"/>
                    <a:gd name="T12" fmla="*/ 1027 w 1027"/>
                    <a:gd name="T13" fmla="*/ 36 h 2872"/>
                    <a:gd name="T14" fmla="*/ 1027 w 1027"/>
                    <a:gd name="T15" fmla="*/ 2836 h 2872"/>
                    <a:gd name="T16" fmla="*/ 991 w 1027"/>
                    <a:gd name="T17" fmla="*/ 2872 h 28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27" h="2872">
                      <a:moveTo>
                        <a:pt x="991" y="2872"/>
                      </a:moveTo>
                      <a:cubicBezTo>
                        <a:pt x="36" y="2872"/>
                        <a:pt x="36" y="2872"/>
                        <a:pt x="36" y="2872"/>
                      </a:cubicBezTo>
                      <a:cubicBezTo>
                        <a:pt x="16" y="2872"/>
                        <a:pt x="0" y="2856"/>
                        <a:pt x="0" y="2836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6" y="0"/>
                      </a:cubicBezTo>
                      <a:cubicBezTo>
                        <a:pt x="991" y="0"/>
                        <a:pt x="991" y="0"/>
                        <a:pt x="991" y="0"/>
                      </a:cubicBezTo>
                      <a:cubicBezTo>
                        <a:pt x="1011" y="0"/>
                        <a:pt x="1027" y="16"/>
                        <a:pt x="1027" y="36"/>
                      </a:cubicBezTo>
                      <a:cubicBezTo>
                        <a:pt x="1027" y="2836"/>
                        <a:pt x="1027" y="2836"/>
                        <a:pt x="1027" y="2836"/>
                      </a:cubicBezTo>
                      <a:cubicBezTo>
                        <a:pt x="1027" y="2856"/>
                        <a:pt x="1011" y="2872"/>
                        <a:pt x="991" y="2872"/>
                      </a:cubicBezTo>
                      <a:close/>
                    </a:path>
                  </a:pathLst>
                </a:custGeom>
                <a:solidFill>
                  <a:srgbClr val="445776">
                    <a:lumMod val="60000"/>
                    <a:lumOff val="40000"/>
                  </a:srgbClr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de-DE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  <p:grpSp>
              <p:nvGrpSpPr>
                <p:cNvPr id="479" name="Group 478">
                  <a:extLst>
                    <a:ext uri="{FF2B5EF4-FFF2-40B4-BE49-F238E27FC236}">
                      <a16:creationId xmlns:a16="http://schemas.microsoft.com/office/drawing/2014/main" id="{F39FBB26-296E-E6D4-0095-CB59224A5422}"/>
                    </a:ext>
                  </a:extLst>
                </p:cNvPr>
                <p:cNvGrpSpPr/>
                <p:nvPr/>
              </p:nvGrpSpPr>
              <p:grpSpPr>
                <a:xfrm>
                  <a:off x="1379326" y="4417500"/>
                  <a:ext cx="396637" cy="958536"/>
                  <a:chOff x="1379326" y="2329848"/>
                  <a:chExt cx="396637" cy="958536"/>
                </a:xfrm>
                <a:solidFill>
                  <a:srgbClr val="445776"/>
                </a:solidFill>
              </p:grpSpPr>
              <p:sp>
                <p:nvSpPr>
                  <p:cNvPr id="492" name="Freeform 6">
                    <a:extLst>
                      <a:ext uri="{FF2B5EF4-FFF2-40B4-BE49-F238E27FC236}">
                        <a16:creationId xmlns:a16="http://schemas.microsoft.com/office/drawing/2014/main" id="{3B6685B0-DA1D-35F4-119C-3346C998CA63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1379326" y="2465259"/>
                    <a:ext cx="396637" cy="197785"/>
                  </a:xfrm>
                  <a:custGeom>
                    <a:avLst/>
                    <a:gdLst>
                      <a:gd name="T0" fmla="*/ 2009 w 2125"/>
                      <a:gd name="T1" fmla="*/ 1060 h 1060"/>
                      <a:gd name="T2" fmla="*/ 116 w 2125"/>
                      <a:gd name="T3" fmla="*/ 1060 h 1060"/>
                      <a:gd name="T4" fmla="*/ 8 w 2125"/>
                      <a:gd name="T5" fmla="*/ 985 h 1060"/>
                      <a:gd name="T6" fmla="*/ 0 w 2125"/>
                      <a:gd name="T7" fmla="*/ 945 h 1060"/>
                      <a:gd name="T8" fmla="*/ 40 w 2125"/>
                      <a:gd name="T9" fmla="*/ 857 h 1060"/>
                      <a:gd name="T10" fmla="*/ 987 w 2125"/>
                      <a:gd name="T11" fmla="*/ 37 h 1060"/>
                      <a:gd name="T12" fmla="*/ 1138 w 2125"/>
                      <a:gd name="T13" fmla="*/ 37 h 1060"/>
                      <a:gd name="T14" fmla="*/ 2085 w 2125"/>
                      <a:gd name="T15" fmla="*/ 857 h 1060"/>
                      <a:gd name="T16" fmla="*/ 2125 w 2125"/>
                      <a:gd name="T17" fmla="*/ 945 h 1060"/>
                      <a:gd name="T18" fmla="*/ 2117 w 2125"/>
                      <a:gd name="T19" fmla="*/ 985 h 1060"/>
                      <a:gd name="T20" fmla="*/ 2009 w 2125"/>
                      <a:gd name="T21" fmla="*/ 1060 h 1060"/>
                      <a:gd name="T22" fmla="*/ 425 w 2125"/>
                      <a:gd name="T23" fmla="*/ 829 h 1060"/>
                      <a:gd name="T24" fmla="*/ 1700 w 2125"/>
                      <a:gd name="T25" fmla="*/ 829 h 1060"/>
                      <a:gd name="T26" fmla="*/ 1062 w 2125"/>
                      <a:gd name="T27" fmla="*/ 277 h 1060"/>
                      <a:gd name="T28" fmla="*/ 425 w 2125"/>
                      <a:gd name="T29" fmla="*/ 829 h 10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2125" h="1060">
                        <a:moveTo>
                          <a:pt x="2009" y="1060"/>
                        </a:moveTo>
                        <a:cubicBezTo>
                          <a:pt x="116" y="1060"/>
                          <a:pt x="116" y="1060"/>
                          <a:pt x="116" y="1060"/>
                        </a:cubicBezTo>
                        <a:cubicBezTo>
                          <a:pt x="68" y="1060"/>
                          <a:pt x="24" y="1030"/>
                          <a:pt x="8" y="985"/>
                        </a:cubicBezTo>
                        <a:cubicBezTo>
                          <a:pt x="3" y="972"/>
                          <a:pt x="0" y="958"/>
                          <a:pt x="0" y="945"/>
                        </a:cubicBezTo>
                        <a:cubicBezTo>
                          <a:pt x="0" y="912"/>
                          <a:pt x="14" y="880"/>
                          <a:pt x="40" y="857"/>
                        </a:cubicBezTo>
                        <a:cubicBezTo>
                          <a:pt x="987" y="37"/>
                          <a:pt x="987" y="37"/>
                          <a:pt x="987" y="37"/>
                        </a:cubicBezTo>
                        <a:cubicBezTo>
                          <a:pt x="1030" y="0"/>
                          <a:pt x="1095" y="0"/>
                          <a:pt x="1138" y="37"/>
                        </a:cubicBezTo>
                        <a:cubicBezTo>
                          <a:pt x="2085" y="857"/>
                          <a:pt x="2085" y="857"/>
                          <a:pt x="2085" y="857"/>
                        </a:cubicBezTo>
                        <a:cubicBezTo>
                          <a:pt x="2110" y="880"/>
                          <a:pt x="2125" y="912"/>
                          <a:pt x="2125" y="945"/>
                        </a:cubicBezTo>
                        <a:cubicBezTo>
                          <a:pt x="2125" y="958"/>
                          <a:pt x="2122" y="972"/>
                          <a:pt x="2117" y="985"/>
                        </a:cubicBezTo>
                        <a:cubicBezTo>
                          <a:pt x="2100" y="1030"/>
                          <a:pt x="2057" y="1060"/>
                          <a:pt x="2009" y="1060"/>
                        </a:cubicBezTo>
                        <a:close/>
                        <a:moveTo>
                          <a:pt x="425" y="829"/>
                        </a:moveTo>
                        <a:cubicBezTo>
                          <a:pt x="1700" y="829"/>
                          <a:pt x="1700" y="829"/>
                          <a:pt x="1700" y="829"/>
                        </a:cubicBezTo>
                        <a:cubicBezTo>
                          <a:pt x="1062" y="277"/>
                          <a:pt x="1062" y="277"/>
                          <a:pt x="1062" y="277"/>
                        </a:cubicBezTo>
                        <a:lnTo>
                          <a:pt x="425" y="829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74345" tIns="37172" rIns="74345" bIns="3717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743407">
                      <a:defRPr/>
                    </a:pPr>
                    <a:endParaRPr lang="de-DE" sz="1463" kern="0">
                      <a:solidFill>
                        <a:srgbClr val="000000"/>
                      </a:solidFill>
                      <a:latin typeface="Microsoft Sans Serif"/>
                    </a:endParaRPr>
                  </a:p>
                </p:txBody>
              </p:sp>
              <p:sp>
                <p:nvSpPr>
                  <p:cNvPr id="493" name="Freeform 79">
                    <a:extLst>
                      <a:ext uri="{FF2B5EF4-FFF2-40B4-BE49-F238E27FC236}">
                        <a16:creationId xmlns:a16="http://schemas.microsoft.com/office/drawing/2014/main" id="{3C04037D-D42B-9B3E-81C8-A42D6980C72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23800" y="2329848"/>
                    <a:ext cx="107689" cy="958536"/>
                  </a:xfrm>
                  <a:custGeom>
                    <a:avLst/>
                    <a:gdLst>
                      <a:gd name="T0" fmla="*/ 288 w 577"/>
                      <a:gd name="T1" fmla="*/ 5130 h 5130"/>
                      <a:gd name="T2" fmla="*/ 288 w 577"/>
                      <a:gd name="T3" fmla="*/ 5130 h 5130"/>
                      <a:gd name="T4" fmla="*/ 0 w 577"/>
                      <a:gd name="T5" fmla="*/ 4841 h 5130"/>
                      <a:gd name="T6" fmla="*/ 0 w 577"/>
                      <a:gd name="T7" fmla="*/ 288 h 5130"/>
                      <a:gd name="T8" fmla="*/ 288 w 577"/>
                      <a:gd name="T9" fmla="*/ 0 h 5130"/>
                      <a:gd name="T10" fmla="*/ 288 w 577"/>
                      <a:gd name="T11" fmla="*/ 0 h 5130"/>
                      <a:gd name="T12" fmla="*/ 577 w 577"/>
                      <a:gd name="T13" fmla="*/ 288 h 5130"/>
                      <a:gd name="T14" fmla="*/ 577 w 577"/>
                      <a:gd name="T15" fmla="*/ 4841 h 5130"/>
                      <a:gd name="T16" fmla="*/ 288 w 577"/>
                      <a:gd name="T17" fmla="*/ 5130 h 51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577" h="5130">
                        <a:moveTo>
                          <a:pt x="288" y="5130"/>
                        </a:moveTo>
                        <a:cubicBezTo>
                          <a:pt x="288" y="5130"/>
                          <a:pt x="288" y="5130"/>
                          <a:pt x="288" y="5130"/>
                        </a:cubicBezTo>
                        <a:cubicBezTo>
                          <a:pt x="129" y="5130"/>
                          <a:pt x="0" y="5001"/>
                          <a:pt x="0" y="4841"/>
                        </a:cubicBezTo>
                        <a:cubicBezTo>
                          <a:pt x="0" y="288"/>
                          <a:pt x="0" y="288"/>
                          <a:pt x="0" y="288"/>
                        </a:cubicBezTo>
                        <a:cubicBezTo>
                          <a:pt x="0" y="129"/>
                          <a:pt x="129" y="0"/>
                          <a:pt x="288" y="0"/>
                        </a:cubicBezTo>
                        <a:cubicBezTo>
                          <a:pt x="288" y="0"/>
                          <a:pt x="288" y="0"/>
                          <a:pt x="288" y="0"/>
                        </a:cubicBezTo>
                        <a:cubicBezTo>
                          <a:pt x="448" y="0"/>
                          <a:pt x="577" y="129"/>
                          <a:pt x="577" y="288"/>
                        </a:cubicBezTo>
                        <a:cubicBezTo>
                          <a:pt x="577" y="4841"/>
                          <a:pt x="577" y="4841"/>
                          <a:pt x="577" y="4841"/>
                        </a:cubicBezTo>
                        <a:cubicBezTo>
                          <a:pt x="577" y="5001"/>
                          <a:pt x="448" y="5130"/>
                          <a:pt x="288" y="513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74345" tIns="37172" rIns="74345" bIns="3717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743407">
                      <a:defRPr/>
                    </a:pPr>
                    <a:endParaRPr lang="de-DE" sz="1463" kern="0">
                      <a:solidFill>
                        <a:srgbClr val="000000"/>
                      </a:solidFill>
                      <a:latin typeface="Microsoft Sans Serif"/>
                    </a:endParaRPr>
                  </a:p>
                </p:txBody>
              </p:sp>
            </p:grpSp>
            <p:grpSp>
              <p:nvGrpSpPr>
                <p:cNvPr id="480" name="Group 479">
                  <a:extLst>
                    <a:ext uri="{FF2B5EF4-FFF2-40B4-BE49-F238E27FC236}">
                      <a16:creationId xmlns:a16="http://schemas.microsoft.com/office/drawing/2014/main" id="{3C9B9B77-B492-2BD4-0EB3-0F11B1159846}"/>
                    </a:ext>
                  </a:extLst>
                </p:cNvPr>
                <p:cNvGrpSpPr/>
                <p:nvPr/>
              </p:nvGrpSpPr>
              <p:grpSpPr>
                <a:xfrm>
                  <a:off x="1247114" y="4343398"/>
                  <a:ext cx="661061" cy="601883"/>
                  <a:chOff x="1247114" y="2255746"/>
                  <a:chExt cx="661061" cy="601883"/>
                </a:xfrm>
                <a:solidFill>
                  <a:srgbClr val="445776">
                    <a:lumMod val="60000"/>
                    <a:lumOff val="40000"/>
                  </a:srgbClr>
                </a:solidFill>
              </p:grpSpPr>
              <p:sp>
                <p:nvSpPr>
                  <p:cNvPr id="484" name="Freeform 46">
                    <a:extLst>
                      <a:ext uri="{FF2B5EF4-FFF2-40B4-BE49-F238E27FC236}">
                        <a16:creationId xmlns:a16="http://schemas.microsoft.com/office/drawing/2014/main" id="{4A93279F-3B78-3F62-0FEE-43207FF2511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47114" y="2285600"/>
                    <a:ext cx="141275" cy="572029"/>
                  </a:xfrm>
                  <a:custGeom>
                    <a:avLst/>
                    <a:gdLst>
                      <a:gd name="T0" fmla="*/ 40 w 757"/>
                      <a:gd name="T1" fmla="*/ 2808 h 3063"/>
                      <a:gd name="T2" fmla="*/ 717 w 757"/>
                      <a:gd name="T3" fmla="*/ 3055 h 3063"/>
                      <a:gd name="T4" fmla="*/ 757 w 757"/>
                      <a:gd name="T5" fmla="*/ 3029 h 3063"/>
                      <a:gd name="T6" fmla="*/ 757 w 757"/>
                      <a:gd name="T7" fmla="*/ 309 h 3063"/>
                      <a:gd name="T8" fmla="*/ 717 w 757"/>
                      <a:gd name="T9" fmla="*/ 254 h 3063"/>
                      <a:gd name="T10" fmla="*/ 40 w 757"/>
                      <a:gd name="T11" fmla="*/ 8 h 3063"/>
                      <a:gd name="T12" fmla="*/ 0 w 757"/>
                      <a:gd name="T13" fmla="*/ 34 h 3063"/>
                      <a:gd name="T14" fmla="*/ 0 w 757"/>
                      <a:gd name="T15" fmla="*/ 2753 h 3063"/>
                      <a:gd name="T16" fmla="*/ 40 w 757"/>
                      <a:gd name="T17" fmla="*/ 2808 h 30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757" h="3063">
                        <a:moveTo>
                          <a:pt x="40" y="2808"/>
                        </a:moveTo>
                        <a:cubicBezTo>
                          <a:pt x="717" y="3055"/>
                          <a:pt x="717" y="3055"/>
                          <a:pt x="717" y="3055"/>
                        </a:cubicBezTo>
                        <a:cubicBezTo>
                          <a:pt x="739" y="3063"/>
                          <a:pt x="757" y="3051"/>
                          <a:pt x="757" y="3029"/>
                        </a:cubicBezTo>
                        <a:cubicBezTo>
                          <a:pt x="757" y="309"/>
                          <a:pt x="757" y="309"/>
                          <a:pt x="757" y="309"/>
                        </a:cubicBezTo>
                        <a:cubicBezTo>
                          <a:pt x="757" y="287"/>
                          <a:pt x="739" y="262"/>
                          <a:pt x="717" y="254"/>
                        </a:cubicBezTo>
                        <a:cubicBezTo>
                          <a:pt x="40" y="8"/>
                          <a:pt x="40" y="8"/>
                          <a:pt x="40" y="8"/>
                        </a:cubicBezTo>
                        <a:cubicBezTo>
                          <a:pt x="18" y="0"/>
                          <a:pt x="0" y="11"/>
                          <a:pt x="0" y="34"/>
                        </a:cubicBezTo>
                        <a:cubicBezTo>
                          <a:pt x="0" y="2753"/>
                          <a:pt x="0" y="2753"/>
                          <a:pt x="0" y="2753"/>
                        </a:cubicBezTo>
                        <a:cubicBezTo>
                          <a:pt x="0" y="2775"/>
                          <a:pt x="18" y="2800"/>
                          <a:pt x="40" y="280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74345" tIns="37172" rIns="74345" bIns="3717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743407">
                      <a:defRPr/>
                    </a:pPr>
                    <a:endParaRPr lang="de-DE" sz="1463" kern="0">
                      <a:solidFill>
                        <a:srgbClr val="000000"/>
                      </a:solidFill>
                      <a:latin typeface="Microsoft Sans Serif"/>
                    </a:endParaRPr>
                  </a:p>
                </p:txBody>
              </p:sp>
              <p:sp>
                <p:nvSpPr>
                  <p:cNvPr id="485" name="Freeform 7">
                    <a:extLst>
                      <a:ext uri="{FF2B5EF4-FFF2-40B4-BE49-F238E27FC236}">
                        <a16:creationId xmlns:a16="http://schemas.microsoft.com/office/drawing/2014/main" id="{D2C5CD93-7680-3411-DD88-79FAEF64C35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722118" y="2255746"/>
                    <a:ext cx="141275" cy="572029"/>
                  </a:xfrm>
                  <a:custGeom>
                    <a:avLst/>
                    <a:gdLst>
                      <a:gd name="T0" fmla="*/ 717 w 758"/>
                      <a:gd name="T1" fmla="*/ 2808 h 3063"/>
                      <a:gd name="T2" fmla="*/ 41 w 758"/>
                      <a:gd name="T3" fmla="*/ 3055 h 3063"/>
                      <a:gd name="T4" fmla="*/ 0 w 758"/>
                      <a:gd name="T5" fmla="*/ 3029 h 3063"/>
                      <a:gd name="T6" fmla="*/ 0 w 758"/>
                      <a:gd name="T7" fmla="*/ 309 h 3063"/>
                      <a:gd name="T8" fmla="*/ 41 w 758"/>
                      <a:gd name="T9" fmla="*/ 254 h 3063"/>
                      <a:gd name="T10" fmla="*/ 717 w 758"/>
                      <a:gd name="T11" fmla="*/ 8 h 3063"/>
                      <a:gd name="T12" fmla="*/ 758 w 758"/>
                      <a:gd name="T13" fmla="*/ 34 h 3063"/>
                      <a:gd name="T14" fmla="*/ 758 w 758"/>
                      <a:gd name="T15" fmla="*/ 2753 h 3063"/>
                      <a:gd name="T16" fmla="*/ 717 w 758"/>
                      <a:gd name="T17" fmla="*/ 2808 h 30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758" h="3063">
                        <a:moveTo>
                          <a:pt x="717" y="2808"/>
                        </a:moveTo>
                        <a:cubicBezTo>
                          <a:pt x="41" y="3055"/>
                          <a:pt x="41" y="3055"/>
                          <a:pt x="41" y="3055"/>
                        </a:cubicBezTo>
                        <a:cubicBezTo>
                          <a:pt x="18" y="3063"/>
                          <a:pt x="0" y="3051"/>
                          <a:pt x="0" y="3029"/>
                        </a:cubicBezTo>
                        <a:cubicBezTo>
                          <a:pt x="0" y="309"/>
                          <a:pt x="0" y="309"/>
                          <a:pt x="0" y="309"/>
                        </a:cubicBezTo>
                        <a:cubicBezTo>
                          <a:pt x="0" y="287"/>
                          <a:pt x="18" y="262"/>
                          <a:pt x="41" y="254"/>
                        </a:cubicBezTo>
                        <a:cubicBezTo>
                          <a:pt x="717" y="8"/>
                          <a:pt x="717" y="8"/>
                          <a:pt x="717" y="8"/>
                        </a:cubicBezTo>
                        <a:cubicBezTo>
                          <a:pt x="740" y="0"/>
                          <a:pt x="758" y="11"/>
                          <a:pt x="758" y="34"/>
                        </a:cubicBezTo>
                        <a:cubicBezTo>
                          <a:pt x="758" y="2753"/>
                          <a:pt x="758" y="2753"/>
                          <a:pt x="758" y="2753"/>
                        </a:cubicBezTo>
                        <a:cubicBezTo>
                          <a:pt x="758" y="2775"/>
                          <a:pt x="740" y="2800"/>
                          <a:pt x="717" y="280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74345" tIns="37172" rIns="74345" bIns="3717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743407">
                      <a:defRPr/>
                    </a:pPr>
                    <a:endParaRPr lang="de-DE" sz="1463" kern="0">
                      <a:solidFill>
                        <a:srgbClr val="000000"/>
                      </a:solidFill>
                      <a:latin typeface="Microsoft Sans Serif"/>
                    </a:endParaRPr>
                  </a:p>
                </p:txBody>
              </p:sp>
              <p:sp>
                <p:nvSpPr>
                  <p:cNvPr id="486" name="Freeform 8">
                    <a:extLst>
                      <a:ext uri="{FF2B5EF4-FFF2-40B4-BE49-F238E27FC236}">
                        <a16:creationId xmlns:a16="http://schemas.microsoft.com/office/drawing/2014/main" id="{1921EC22-414F-859B-A07B-1FD018946C1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737045" y="2265342"/>
                    <a:ext cx="141275" cy="572563"/>
                  </a:xfrm>
                  <a:custGeom>
                    <a:avLst/>
                    <a:gdLst>
                      <a:gd name="T0" fmla="*/ 717 w 758"/>
                      <a:gd name="T1" fmla="*/ 2809 h 3063"/>
                      <a:gd name="T2" fmla="*/ 41 w 758"/>
                      <a:gd name="T3" fmla="*/ 3055 h 3063"/>
                      <a:gd name="T4" fmla="*/ 0 w 758"/>
                      <a:gd name="T5" fmla="*/ 3029 h 3063"/>
                      <a:gd name="T6" fmla="*/ 0 w 758"/>
                      <a:gd name="T7" fmla="*/ 310 h 3063"/>
                      <a:gd name="T8" fmla="*/ 41 w 758"/>
                      <a:gd name="T9" fmla="*/ 254 h 3063"/>
                      <a:gd name="T10" fmla="*/ 717 w 758"/>
                      <a:gd name="T11" fmla="*/ 8 h 3063"/>
                      <a:gd name="T12" fmla="*/ 758 w 758"/>
                      <a:gd name="T13" fmla="*/ 34 h 3063"/>
                      <a:gd name="T14" fmla="*/ 758 w 758"/>
                      <a:gd name="T15" fmla="*/ 2753 h 3063"/>
                      <a:gd name="T16" fmla="*/ 717 w 758"/>
                      <a:gd name="T17" fmla="*/ 2809 h 30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758" h="3063">
                        <a:moveTo>
                          <a:pt x="717" y="2809"/>
                        </a:moveTo>
                        <a:cubicBezTo>
                          <a:pt x="41" y="3055"/>
                          <a:pt x="41" y="3055"/>
                          <a:pt x="41" y="3055"/>
                        </a:cubicBezTo>
                        <a:cubicBezTo>
                          <a:pt x="18" y="3063"/>
                          <a:pt x="0" y="3051"/>
                          <a:pt x="0" y="3029"/>
                        </a:cubicBezTo>
                        <a:cubicBezTo>
                          <a:pt x="0" y="310"/>
                          <a:pt x="0" y="310"/>
                          <a:pt x="0" y="310"/>
                        </a:cubicBezTo>
                        <a:cubicBezTo>
                          <a:pt x="0" y="287"/>
                          <a:pt x="18" y="262"/>
                          <a:pt x="41" y="254"/>
                        </a:cubicBezTo>
                        <a:cubicBezTo>
                          <a:pt x="717" y="8"/>
                          <a:pt x="717" y="8"/>
                          <a:pt x="717" y="8"/>
                        </a:cubicBezTo>
                        <a:cubicBezTo>
                          <a:pt x="739" y="0"/>
                          <a:pt x="758" y="11"/>
                          <a:pt x="758" y="34"/>
                        </a:cubicBezTo>
                        <a:cubicBezTo>
                          <a:pt x="758" y="2753"/>
                          <a:pt x="758" y="2753"/>
                          <a:pt x="758" y="2753"/>
                        </a:cubicBezTo>
                        <a:cubicBezTo>
                          <a:pt x="758" y="2776"/>
                          <a:pt x="739" y="2801"/>
                          <a:pt x="717" y="280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74345" tIns="37172" rIns="74345" bIns="3717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743407">
                      <a:defRPr/>
                    </a:pPr>
                    <a:endParaRPr lang="de-DE" sz="1463" kern="0">
                      <a:solidFill>
                        <a:srgbClr val="000000"/>
                      </a:solidFill>
                      <a:latin typeface="Microsoft Sans Serif"/>
                    </a:endParaRPr>
                  </a:p>
                </p:txBody>
              </p:sp>
              <p:sp>
                <p:nvSpPr>
                  <p:cNvPr id="487" name="Freeform 9">
                    <a:extLst>
                      <a:ext uri="{FF2B5EF4-FFF2-40B4-BE49-F238E27FC236}">
                        <a16:creationId xmlns:a16="http://schemas.microsoft.com/office/drawing/2014/main" id="{5400E506-BCEA-F5E9-50B4-523CD20F5CC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751973" y="2275471"/>
                    <a:ext cx="141275" cy="572029"/>
                  </a:xfrm>
                  <a:custGeom>
                    <a:avLst/>
                    <a:gdLst>
                      <a:gd name="T0" fmla="*/ 717 w 757"/>
                      <a:gd name="T1" fmla="*/ 2809 h 3063"/>
                      <a:gd name="T2" fmla="*/ 40 w 757"/>
                      <a:gd name="T3" fmla="*/ 3055 h 3063"/>
                      <a:gd name="T4" fmla="*/ 0 w 757"/>
                      <a:gd name="T5" fmla="*/ 3029 h 3063"/>
                      <a:gd name="T6" fmla="*/ 0 w 757"/>
                      <a:gd name="T7" fmla="*/ 310 h 3063"/>
                      <a:gd name="T8" fmla="*/ 40 w 757"/>
                      <a:gd name="T9" fmla="*/ 255 h 3063"/>
                      <a:gd name="T10" fmla="*/ 717 w 757"/>
                      <a:gd name="T11" fmla="*/ 8 h 3063"/>
                      <a:gd name="T12" fmla="*/ 757 w 757"/>
                      <a:gd name="T13" fmla="*/ 34 h 3063"/>
                      <a:gd name="T14" fmla="*/ 757 w 757"/>
                      <a:gd name="T15" fmla="*/ 2754 h 3063"/>
                      <a:gd name="T16" fmla="*/ 717 w 757"/>
                      <a:gd name="T17" fmla="*/ 2809 h 30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757" h="3063">
                        <a:moveTo>
                          <a:pt x="717" y="2809"/>
                        </a:moveTo>
                        <a:cubicBezTo>
                          <a:pt x="40" y="3055"/>
                          <a:pt x="40" y="3055"/>
                          <a:pt x="40" y="3055"/>
                        </a:cubicBezTo>
                        <a:cubicBezTo>
                          <a:pt x="18" y="3063"/>
                          <a:pt x="0" y="3052"/>
                          <a:pt x="0" y="3029"/>
                        </a:cubicBezTo>
                        <a:cubicBezTo>
                          <a:pt x="0" y="310"/>
                          <a:pt x="0" y="310"/>
                          <a:pt x="0" y="310"/>
                        </a:cubicBezTo>
                        <a:cubicBezTo>
                          <a:pt x="0" y="288"/>
                          <a:pt x="18" y="263"/>
                          <a:pt x="40" y="255"/>
                        </a:cubicBezTo>
                        <a:cubicBezTo>
                          <a:pt x="717" y="8"/>
                          <a:pt x="717" y="8"/>
                          <a:pt x="717" y="8"/>
                        </a:cubicBezTo>
                        <a:cubicBezTo>
                          <a:pt x="739" y="0"/>
                          <a:pt x="757" y="12"/>
                          <a:pt x="757" y="34"/>
                        </a:cubicBezTo>
                        <a:cubicBezTo>
                          <a:pt x="757" y="2754"/>
                          <a:pt x="757" y="2754"/>
                          <a:pt x="757" y="2754"/>
                        </a:cubicBezTo>
                        <a:cubicBezTo>
                          <a:pt x="757" y="2776"/>
                          <a:pt x="739" y="2801"/>
                          <a:pt x="717" y="280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74345" tIns="37172" rIns="74345" bIns="3717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743407">
                      <a:defRPr/>
                    </a:pPr>
                    <a:endParaRPr lang="de-DE" sz="1463" kern="0">
                      <a:solidFill>
                        <a:srgbClr val="000000"/>
                      </a:solidFill>
                      <a:latin typeface="Microsoft Sans Serif"/>
                    </a:endParaRPr>
                  </a:p>
                </p:txBody>
              </p:sp>
              <p:sp>
                <p:nvSpPr>
                  <p:cNvPr id="488" name="Freeform 10">
                    <a:extLst>
                      <a:ext uri="{FF2B5EF4-FFF2-40B4-BE49-F238E27FC236}">
                        <a16:creationId xmlns:a16="http://schemas.microsoft.com/office/drawing/2014/main" id="{872D97B9-A845-7A10-3297-3C493C9AF63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766900" y="2285600"/>
                    <a:ext cx="141275" cy="572029"/>
                  </a:xfrm>
                  <a:custGeom>
                    <a:avLst/>
                    <a:gdLst>
                      <a:gd name="T0" fmla="*/ 717 w 758"/>
                      <a:gd name="T1" fmla="*/ 2808 h 3063"/>
                      <a:gd name="T2" fmla="*/ 41 w 758"/>
                      <a:gd name="T3" fmla="*/ 3055 h 3063"/>
                      <a:gd name="T4" fmla="*/ 0 w 758"/>
                      <a:gd name="T5" fmla="*/ 3029 h 3063"/>
                      <a:gd name="T6" fmla="*/ 0 w 758"/>
                      <a:gd name="T7" fmla="*/ 309 h 3063"/>
                      <a:gd name="T8" fmla="*/ 41 w 758"/>
                      <a:gd name="T9" fmla="*/ 254 h 3063"/>
                      <a:gd name="T10" fmla="*/ 717 w 758"/>
                      <a:gd name="T11" fmla="*/ 8 h 3063"/>
                      <a:gd name="T12" fmla="*/ 758 w 758"/>
                      <a:gd name="T13" fmla="*/ 34 h 3063"/>
                      <a:gd name="T14" fmla="*/ 758 w 758"/>
                      <a:gd name="T15" fmla="*/ 2753 h 3063"/>
                      <a:gd name="T16" fmla="*/ 717 w 758"/>
                      <a:gd name="T17" fmla="*/ 2808 h 30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758" h="3063">
                        <a:moveTo>
                          <a:pt x="717" y="2808"/>
                        </a:moveTo>
                        <a:cubicBezTo>
                          <a:pt x="41" y="3055"/>
                          <a:pt x="41" y="3055"/>
                          <a:pt x="41" y="3055"/>
                        </a:cubicBezTo>
                        <a:cubicBezTo>
                          <a:pt x="19" y="3063"/>
                          <a:pt x="0" y="3051"/>
                          <a:pt x="0" y="3029"/>
                        </a:cubicBezTo>
                        <a:cubicBezTo>
                          <a:pt x="0" y="309"/>
                          <a:pt x="0" y="309"/>
                          <a:pt x="0" y="309"/>
                        </a:cubicBezTo>
                        <a:cubicBezTo>
                          <a:pt x="0" y="287"/>
                          <a:pt x="19" y="262"/>
                          <a:pt x="41" y="254"/>
                        </a:cubicBezTo>
                        <a:cubicBezTo>
                          <a:pt x="717" y="8"/>
                          <a:pt x="717" y="8"/>
                          <a:pt x="717" y="8"/>
                        </a:cubicBezTo>
                        <a:cubicBezTo>
                          <a:pt x="740" y="0"/>
                          <a:pt x="758" y="11"/>
                          <a:pt x="758" y="34"/>
                        </a:cubicBezTo>
                        <a:cubicBezTo>
                          <a:pt x="758" y="2753"/>
                          <a:pt x="758" y="2753"/>
                          <a:pt x="758" y="2753"/>
                        </a:cubicBezTo>
                        <a:cubicBezTo>
                          <a:pt x="758" y="2775"/>
                          <a:pt x="740" y="2800"/>
                          <a:pt x="717" y="280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74345" tIns="37172" rIns="74345" bIns="3717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743407">
                      <a:defRPr/>
                    </a:pPr>
                    <a:endParaRPr lang="de-DE" sz="1463" kern="0">
                      <a:solidFill>
                        <a:srgbClr val="000000"/>
                      </a:solidFill>
                      <a:latin typeface="Microsoft Sans Serif"/>
                    </a:endParaRPr>
                  </a:p>
                </p:txBody>
              </p:sp>
              <p:sp>
                <p:nvSpPr>
                  <p:cNvPr id="489" name="Freeform 43">
                    <a:extLst>
                      <a:ext uri="{FF2B5EF4-FFF2-40B4-BE49-F238E27FC236}">
                        <a16:creationId xmlns:a16="http://schemas.microsoft.com/office/drawing/2014/main" id="{5163BB81-BC23-1C7E-A470-5D0E423C2E5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91895" y="2255746"/>
                    <a:ext cx="141275" cy="572029"/>
                  </a:xfrm>
                  <a:custGeom>
                    <a:avLst/>
                    <a:gdLst>
                      <a:gd name="T0" fmla="*/ 41 w 758"/>
                      <a:gd name="T1" fmla="*/ 2808 h 3063"/>
                      <a:gd name="T2" fmla="*/ 717 w 758"/>
                      <a:gd name="T3" fmla="*/ 3055 h 3063"/>
                      <a:gd name="T4" fmla="*/ 758 w 758"/>
                      <a:gd name="T5" fmla="*/ 3029 h 3063"/>
                      <a:gd name="T6" fmla="*/ 758 w 758"/>
                      <a:gd name="T7" fmla="*/ 309 h 3063"/>
                      <a:gd name="T8" fmla="*/ 717 w 758"/>
                      <a:gd name="T9" fmla="*/ 254 h 3063"/>
                      <a:gd name="T10" fmla="*/ 41 w 758"/>
                      <a:gd name="T11" fmla="*/ 8 h 3063"/>
                      <a:gd name="T12" fmla="*/ 0 w 758"/>
                      <a:gd name="T13" fmla="*/ 34 h 3063"/>
                      <a:gd name="T14" fmla="*/ 0 w 758"/>
                      <a:gd name="T15" fmla="*/ 2753 h 3063"/>
                      <a:gd name="T16" fmla="*/ 41 w 758"/>
                      <a:gd name="T17" fmla="*/ 2808 h 30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758" h="3063">
                        <a:moveTo>
                          <a:pt x="41" y="2808"/>
                        </a:moveTo>
                        <a:cubicBezTo>
                          <a:pt x="717" y="3055"/>
                          <a:pt x="717" y="3055"/>
                          <a:pt x="717" y="3055"/>
                        </a:cubicBezTo>
                        <a:cubicBezTo>
                          <a:pt x="740" y="3063"/>
                          <a:pt x="758" y="3051"/>
                          <a:pt x="758" y="3029"/>
                        </a:cubicBezTo>
                        <a:cubicBezTo>
                          <a:pt x="758" y="309"/>
                          <a:pt x="758" y="309"/>
                          <a:pt x="758" y="309"/>
                        </a:cubicBezTo>
                        <a:cubicBezTo>
                          <a:pt x="758" y="287"/>
                          <a:pt x="740" y="262"/>
                          <a:pt x="717" y="254"/>
                        </a:cubicBezTo>
                        <a:cubicBezTo>
                          <a:pt x="41" y="8"/>
                          <a:pt x="41" y="8"/>
                          <a:pt x="41" y="8"/>
                        </a:cubicBezTo>
                        <a:cubicBezTo>
                          <a:pt x="18" y="0"/>
                          <a:pt x="0" y="11"/>
                          <a:pt x="0" y="34"/>
                        </a:cubicBezTo>
                        <a:cubicBezTo>
                          <a:pt x="0" y="2753"/>
                          <a:pt x="0" y="2753"/>
                          <a:pt x="0" y="2753"/>
                        </a:cubicBezTo>
                        <a:cubicBezTo>
                          <a:pt x="0" y="2775"/>
                          <a:pt x="18" y="2800"/>
                          <a:pt x="41" y="280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74345" tIns="37172" rIns="74345" bIns="3717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743407">
                      <a:defRPr/>
                    </a:pPr>
                    <a:endParaRPr lang="de-DE" sz="1463" kern="0">
                      <a:solidFill>
                        <a:srgbClr val="000000"/>
                      </a:solidFill>
                      <a:latin typeface="Microsoft Sans Serif"/>
                    </a:endParaRPr>
                  </a:p>
                </p:txBody>
              </p:sp>
              <p:sp>
                <p:nvSpPr>
                  <p:cNvPr id="490" name="Freeform 44">
                    <a:extLst>
                      <a:ext uri="{FF2B5EF4-FFF2-40B4-BE49-F238E27FC236}">
                        <a16:creationId xmlns:a16="http://schemas.microsoft.com/office/drawing/2014/main" id="{0DC28BB5-1EE1-E2BC-8624-3C802E7487F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76968" y="2265342"/>
                    <a:ext cx="141275" cy="572563"/>
                  </a:xfrm>
                  <a:custGeom>
                    <a:avLst/>
                    <a:gdLst>
                      <a:gd name="T0" fmla="*/ 41 w 758"/>
                      <a:gd name="T1" fmla="*/ 2809 h 3063"/>
                      <a:gd name="T2" fmla="*/ 717 w 758"/>
                      <a:gd name="T3" fmla="*/ 3055 h 3063"/>
                      <a:gd name="T4" fmla="*/ 758 w 758"/>
                      <a:gd name="T5" fmla="*/ 3029 h 3063"/>
                      <a:gd name="T6" fmla="*/ 758 w 758"/>
                      <a:gd name="T7" fmla="*/ 310 h 3063"/>
                      <a:gd name="T8" fmla="*/ 717 w 758"/>
                      <a:gd name="T9" fmla="*/ 254 h 3063"/>
                      <a:gd name="T10" fmla="*/ 41 w 758"/>
                      <a:gd name="T11" fmla="*/ 8 h 3063"/>
                      <a:gd name="T12" fmla="*/ 0 w 758"/>
                      <a:gd name="T13" fmla="*/ 34 h 3063"/>
                      <a:gd name="T14" fmla="*/ 0 w 758"/>
                      <a:gd name="T15" fmla="*/ 2753 h 3063"/>
                      <a:gd name="T16" fmla="*/ 41 w 758"/>
                      <a:gd name="T17" fmla="*/ 2809 h 30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758" h="3063">
                        <a:moveTo>
                          <a:pt x="41" y="2809"/>
                        </a:moveTo>
                        <a:cubicBezTo>
                          <a:pt x="717" y="3055"/>
                          <a:pt x="717" y="3055"/>
                          <a:pt x="717" y="3055"/>
                        </a:cubicBezTo>
                        <a:cubicBezTo>
                          <a:pt x="740" y="3063"/>
                          <a:pt x="758" y="3051"/>
                          <a:pt x="758" y="3029"/>
                        </a:cubicBezTo>
                        <a:cubicBezTo>
                          <a:pt x="758" y="310"/>
                          <a:pt x="758" y="310"/>
                          <a:pt x="758" y="310"/>
                        </a:cubicBezTo>
                        <a:cubicBezTo>
                          <a:pt x="758" y="287"/>
                          <a:pt x="740" y="262"/>
                          <a:pt x="717" y="254"/>
                        </a:cubicBezTo>
                        <a:cubicBezTo>
                          <a:pt x="41" y="8"/>
                          <a:pt x="41" y="8"/>
                          <a:pt x="41" y="8"/>
                        </a:cubicBezTo>
                        <a:cubicBezTo>
                          <a:pt x="19" y="0"/>
                          <a:pt x="0" y="11"/>
                          <a:pt x="0" y="34"/>
                        </a:cubicBezTo>
                        <a:cubicBezTo>
                          <a:pt x="0" y="2753"/>
                          <a:pt x="0" y="2753"/>
                          <a:pt x="0" y="2753"/>
                        </a:cubicBezTo>
                        <a:cubicBezTo>
                          <a:pt x="0" y="2776"/>
                          <a:pt x="19" y="2801"/>
                          <a:pt x="41" y="280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74345" tIns="37172" rIns="74345" bIns="3717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743407">
                      <a:defRPr/>
                    </a:pPr>
                    <a:endParaRPr lang="de-DE" sz="1463" kern="0">
                      <a:solidFill>
                        <a:srgbClr val="000000"/>
                      </a:solidFill>
                      <a:latin typeface="Microsoft Sans Serif"/>
                    </a:endParaRPr>
                  </a:p>
                </p:txBody>
              </p:sp>
              <p:sp>
                <p:nvSpPr>
                  <p:cNvPr id="491" name="Freeform 45">
                    <a:extLst>
                      <a:ext uri="{FF2B5EF4-FFF2-40B4-BE49-F238E27FC236}">
                        <a16:creationId xmlns:a16="http://schemas.microsoft.com/office/drawing/2014/main" id="{CB46CAEF-27FA-FFE8-AC14-A6CB1E73DE3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62041" y="2275471"/>
                    <a:ext cx="141275" cy="572029"/>
                  </a:xfrm>
                  <a:custGeom>
                    <a:avLst/>
                    <a:gdLst>
                      <a:gd name="T0" fmla="*/ 40 w 757"/>
                      <a:gd name="T1" fmla="*/ 2809 h 3063"/>
                      <a:gd name="T2" fmla="*/ 717 w 757"/>
                      <a:gd name="T3" fmla="*/ 3055 h 3063"/>
                      <a:gd name="T4" fmla="*/ 757 w 757"/>
                      <a:gd name="T5" fmla="*/ 3029 h 3063"/>
                      <a:gd name="T6" fmla="*/ 757 w 757"/>
                      <a:gd name="T7" fmla="*/ 310 h 3063"/>
                      <a:gd name="T8" fmla="*/ 717 w 757"/>
                      <a:gd name="T9" fmla="*/ 255 h 3063"/>
                      <a:gd name="T10" fmla="*/ 40 w 757"/>
                      <a:gd name="T11" fmla="*/ 8 h 3063"/>
                      <a:gd name="T12" fmla="*/ 0 w 757"/>
                      <a:gd name="T13" fmla="*/ 34 h 3063"/>
                      <a:gd name="T14" fmla="*/ 0 w 757"/>
                      <a:gd name="T15" fmla="*/ 2754 h 3063"/>
                      <a:gd name="T16" fmla="*/ 40 w 757"/>
                      <a:gd name="T17" fmla="*/ 2809 h 30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757" h="3063">
                        <a:moveTo>
                          <a:pt x="40" y="2809"/>
                        </a:moveTo>
                        <a:cubicBezTo>
                          <a:pt x="717" y="3055"/>
                          <a:pt x="717" y="3055"/>
                          <a:pt x="717" y="3055"/>
                        </a:cubicBezTo>
                        <a:cubicBezTo>
                          <a:pt x="739" y="3063"/>
                          <a:pt x="757" y="3052"/>
                          <a:pt x="757" y="3029"/>
                        </a:cubicBezTo>
                        <a:cubicBezTo>
                          <a:pt x="757" y="310"/>
                          <a:pt x="757" y="310"/>
                          <a:pt x="757" y="310"/>
                        </a:cubicBezTo>
                        <a:cubicBezTo>
                          <a:pt x="757" y="288"/>
                          <a:pt x="739" y="263"/>
                          <a:pt x="717" y="255"/>
                        </a:cubicBezTo>
                        <a:cubicBezTo>
                          <a:pt x="40" y="8"/>
                          <a:pt x="40" y="8"/>
                          <a:pt x="40" y="8"/>
                        </a:cubicBezTo>
                        <a:cubicBezTo>
                          <a:pt x="18" y="0"/>
                          <a:pt x="0" y="12"/>
                          <a:pt x="0" y="34"/>
                        </a:cubicBezTo>
                        <a:cubicBezTo>
                          <a:pt x="0" y="2754"/>
                          <a:pt x="0" y="2754"/>
                          <a:pt x="0" y="2754"/>
                        </a:cubicBezTo>
                        <a:cubicBezTo>
                          <a:pt x="0" y="2776"/>
                          <a:pt x="18" y="2801"/>
                          <a:pt x="40" y="280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74345" tIns="37172" rIns="74345" bIns="3717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743407">
                      <a:defRPr/>
                    </a:pPr>
                    <a:endParaRPr lang="de-DE" sz="1463" kern="0">
                      <a:solidFill>
                        <a:srgbClr val="000000"/>
                      </a:solidFill>
                      <a:latin typeface="Microsoft Sans Serif"/>
                    </a:endParaRPr>
                  </a:p>
                </p:txBody>
              </p:sp>
            </p:grpSp>
            <p:grpSp>
              <p:nvGrpSpPr>
                <p:cNvPr id="481" name="Group 480">
                  <a:extLst>
                    <a:ext uri="{FF2B5EF4-FFF2-40B4-BE49-F238E27FC236}">
                      <a16:creationId xmlns:a16="http://schemas.microsoft.com/office/drawing/2014/main" id="{9C6334FC-691E-33E8-81AA-121E875377C0}"/>
                    </a:ext>
                  </a:extLst>
                </p:cNvPr>
                <p:cNvGrpSpPr/>
                <p:nvPr/>
              </p:nvGrpSpPr>
              <p:grpSpPr>
                <a:xfrm>
                  <a:off x="1260442" y="4404686"/>
                  <a:ext cx="634405" cy="509158"/>
                  <a:chOff x="1260442" y="2317034"/>
                  <a:chExt cx="634405" cy="509158"/>
                </a:xfrm>
                <a:solidFill>
                  <a:srgbClr val="445776">
                    <a:lumMod val="20000"/>
                    <a:lumOff val="80000"/>
                  </a:srgbClr>
                </a:solidFill>
              </p:grpSpPr>
              <p:sp>
                <p:nvSpPr>
                  <p:cNvPr id="482" name="Freeform: Shape 14">
                    <a:extLst>
                      <a:ext uri="{FF2B5EF4-FFF2-40B4-BE49-F238E27FC236}">
                        <a16:creationId xmlns:a16="http://schemas.microsoft.com/office/drawing/2014/main" id="{D92C57CF-7245-B163-69C0-E2492966609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60442" y="2317034"/>
                    <a:ext cx="114620" cy="509158"/>
                  </a:xfrm>
                  <a:custGeom>
                    <a:avLst/>
                    <a:gdLst>
                      <a:gd name="connsiteX0" fmla="*/ 276318 w 341312"/>
                      <a:gd name="connsiteY0" fmla="*/ 1344294 h 1516168"/>
                      <a:gd name="connsiteX1" fmla="*/ 329546 w 341312"/>
                      <a:gd name="connsiteY1" fmla="*/ 1363314 h 1516168"/>
                      <a:gd name="connsiteX2" fmla="*/ 341312 w 341312"/>
                      <a:gd name="connsiteY2" fmla="*/ 1378977 h 1516168"/>
                      <a:gd name="connsiteX3" fmla="*/ 341312 w 341312"/>
                      <a:gd name="connsiteY3" fmla="*/ 1508200 h 1516168"/>
                      <a:gd name="connsiteX4" fmla="*/ 329546 w 341312"/>
                      <a:gd name="connsiteY4" fmla="*/ 1515473 h 1516168"/>
                      <a:gd name="connsiteX5" fmla="*/ 276318 w 341312"/>
                      <a:gd name="connsiteY5" fmla="*/ 1495893 h 1516168"/>
                      <a:gd name="connsiteX6" fmla="*/ 265112 w 341312"/>
                      <a:gd name="connsiteY6" fmla="*/ 1480789 h 1516168"/>
                      <a:gd name="connsiteX7" fmla="*/ 265112 w 341312"/>
                      <a:gd name="connsiteY7" fmla="*/ 1351007 h 1516168"/>
                      <a:gd name="connsiteX8" fmla="*/ 276318 w 341312"/>
                      <a:gd name="connsiteY8" fmla="*/ 1344294 h 1516168"/>
                      <a:gd name="connsiteX9" fmla="*/ 188854 w 341312"/>
                      <a:gd name="connsiteY9" fmla="*/ 1311965 h 1516168"/>
                      <a:gd name="connsiteX10" fmla="*/ 241359 w 341312"/>
                      <a:gd name="connsiteY10" fmla="*/ 1331367 h 1516168"/>
                      <a:gd name="connsiteX11" fmla="*/ 252413 w 341312"/>
                      <a:gd name="connsiteY11" fmla="*/ 1346890 h 1516168"/>
                      <a:gd name="connsiteX12" fmla="*/ 252413 w 341312"/>
                      <a:gd name="connsiteY12" fmla="*/ 1474948 h 1516168"/>
                      <a:gd name="connsiteX13" fmla="*/ 241359 w 341312"/>
                      <a:gd name="connsiteY13" fmla="*/ 1482155 h 1516168"/>
                      <a:gd name="connsiteX14" fmla="*/ 188854 w 341312"/>
                      <a:gd name="connsiteY14" fmla="*/ 1462752 h 1516168"/>
                      <a:gd name="connsiteX15" fmla="*/ 177800 w 341312"/>
                      <a:gd name="connsiteY15" fmla="*/ 1447784 h 1516168"/>
                      <a:gd name="connsiteX16" fmla="*/ 177800 w 341312"/>
                      <a:gd name="connsiteY16" fmla="*/ 1319171 h 1516168"/>
                      <a:gd name="connsiteX17" fmla="*/ 188854 w 341312"/>
                      <a:gd name="connsiteY17" fmla="*/ 1311965 h 1516168"/>
                      <a:gd name="connsiteX18" fmla="*/ 99873 w 341312"/>
                      <a:gd name="connsiteY18" fmla="*/ 1280215 h 1516168"/>
                      <a:gd name="connsiteX19" fmla="*/ 151992 w 341312"/>
                      <a:gd name="connsiteY19" fmla="*/ 1299617 h 1516168"/>
                      <a:gd name="connsiteX20" fmla="*/ 163513 w 341312"/>
                      <a:gd name="connsiteY20" fmla="*/ 1315140 h 1516168"/>
                      <a:gd name="connsiteX21" fmla="*/ 163513 w 341312"/>
                      <a:gd name="connsiteY21" fmla="*/ 1443198 h 1516168"/>
                      <a:gd name="connsiteX22" fmla="*/ 151992 w 341312"/>
                      <a:gd name="connsiteY22" fmla="*/ 1450405 h 1516168"/>
                      <a:gd name="connsiteX23" fmla="*/ 99873 w 341312"/>
                      <a:gd name="connsiteY23" fmla="*/ 1431002 h 1516168"/>
                      <a:gd name="connsiteX24" fmla="*/ 88900 w 341312"/>
                      <a:gd name="connsiteY24" fmla="*/ 1416034 h 1516168"/>
                      <a:gd name="connsiteX25" fmla="*/ 88900 w 341312"/>
                      <a:gd name="connsiteY25" fmla="*/ 1287421 h 1516168"/>
                      <a:gd name="connsiteX26" fmla="*/ 99873 w 341312"/>
                      <a:gd name="connsiteY26" fmla="*/ 1280215 h 1516168"/>
                      <a:gd name="connsiteX27" fmla="*/ 11054 w 341312"/>
                      <a:gd name="connsiteY27" fmla="*/ 1246897 h 1516168"/>
                      <a:gd name="connsiteX28" fmla="*/ 63559 w 341312"/>
                      <a:gd name="connsiteY28" fmla="*/ 1266476 h 1516168"/>
                      <a:gd name="connsiteX29" fmla="*/ 74613 w 341312"/>
                      <a:gd name="connsiteY29" fmla="*/ 1282139 h 1516168"/>
                      <a:gd name="connsiteX30" fmla="*/ 74613 w 341312"/>
                      <a:gd name="connsiteY30" fmla="*/ 1411362 h 1516168"/>
                      <a:gd name="connsiteX31" fmla="*/ 63559 w 341312"/>
                      <a:gd name="connsiteY31" fmla="*/ 1418635 h 1516168"/>
                      <a:gd name="connsiteX32" fmla="*/ 11054 w 341312"/>
                      <a:gd name="connsiteY32" fmla="*/ 1399055 h 1516168"/>
                      <a:gd name="connsiteX33" fmla="*/ 0 w 341312"/>
                      <a:gd name="connsiteY33" fmla="*/ 1383951 h 1516168"/>
                      <a:gd name="connsiteX34" fmla="*/ 0 w 341312"/>
                      <a:gd name="connsiteY34" fmla="*/ 1254169 h 1516168"/>
                      <a:gd name="connsiteX35" fmla="*/ 11054 w 341312"/>
                      <a:gd name="connsiteY35" fmla="*/ 1246897 h 1516168"/>
                      <a:gd name="connsiteX36" fmla="*/ 276318 w 341312"/>
                      <a:gd name="connsiteY36" fmla="*/ 1165914 h 1516168"/>
                      <a:gd name="connsiteX37" fmla="*/ 329546 w 341312"/>
                      <a:gd name="connsiteY37" fmla="*/ 1185317 h 1516168"/>
                      <a:gd name="connsiteX38" fmla="*/ 341312 w 341312"/>
                      <a:gd name="connsiteY38" fmla="*/ 1200839 h 1516168"/>
                      <a:gd name="connsiteX39" fmla="*/ 341312 w 341312"/>
                      <a:gd name="connsiteY39" fmla="*/ 1328898 h 1516168"/>
                      <a:gd name="connsiteX40" fmla="*/ 329546 w 341312"/>
                      <a:gd name="connsiteY40" fmla="*/ 1336105 h 1516168"/>
                      <a:gd name="connsiteX41" fmla="*/ 276318 w 341312"/>
                      <a:gd name="connsiteY41" fmla="*/ 1316702 h 1516168"/>
                      <a:gd name="connsiteX42" fmla="*/ 265112 w 341312"/>
                      <a:gd name="connsiteY42" fmla="*/ 1301734 h 1516168"/>
                      <a:gd name="connsiteX43" fmla="*/ 265112 w 341312"/>
                      <a:gd name="connsiteY43" fmla="*/ 1173121 h 1516168"/>
                      <a:gd name="connsiteX44" fmla="*/ 276318 w 341312"/>
                      <a:gd name="connsiteY44" fmla="*/ 1165914 h 1516168"/>
                      <a:gd name="connsiteX45" fmla="*/ 188854 w 341312"/>
                      <a:gd name="connsiteY45" fmla="*/ 1134164 h 1516168"/>
                      <a:gd name="connsiteX46" fmla="*/ 241359 w 341312"/>
                      <a:gd name="connsiteY46" fmla="*/ 1153567 h 1516168"/>
                      <a:gd name="connsiteX47" fmla="*/ 252413 w 341312"/>
                      <a:gd name="connsiteY47" fmla="*/ 1169089 h 1516168"/>
                      <a:gd name="connsiteX48" fmla="*/ 252413 w 341312"/>
                      <a:gd name="connsiteY48" fmla="*/ 1297148 h 1516168"/>
                      <a:gd name="connsiteX49" fmla="*/ 241359 w 341312"/>
                      <a:gd name="connsiteY49" fmla="*/ 1304355 h 1516168"/>
                      <a:gd name="connsiteX50" fmla="*/ 188854 w 341312"/>
                      <a:gd name="connsiteY50" fmla="*/ 1284952 h 1516168"/>
                      <a:gd name="connsiteX51" fmla="*/ 177800 w 341312"/>
                      <a:gd name="connsiteY51" fmla="*/ 1269984 h 1516168"/>
                      <a:gd name="connsiteX52" fmla="*/ 177800 w 341312"/>
                      <a:gd name="connsiteY52" fmla="*/ 1141371 h 1516168"/>
                      <a:gd name="connsiteX53" fmla="*/ 188854 w 341312"/>
                      <a:gd name="connsiteY53" fmla="*/ 1134164 h 1516168"/>
                      <a:gd name="connsiteX54" fmla="*/ 99873 w 341312"/>
                      <a:gd name="connsiteY54" fmla="*/ 1100847 h 1516168"/>
                      <a:gd name="connsiteX55" fmla="*/ 151992 w 341312"/>
                      <a:gd name="connsiteY55" fmla="*/ 1120426 h 1516168"/>
                      <a:gd name="connsiteX56" fmla="*/ 163513 w 341312"/>
                      <a:gd name="connsiteY56" fmla="*/ 1136089 h 1516168"/>
                      <a:gd name="connsiteX57" fmla="*/ 163513 w 341312"/>
                      <a:gd name="connsiteY57" fmla="*/ 1265312 h 1516168"/>
                      <a:gd name="connsiteX58" fmla="*/ 151992 w 341312"/>
                      <a:gd name="connsiteY58" fmla="*/ 1272585 h 1516168"/>
                      <a:gd name="connsiteX59" fmla="*/ 99873 w 341312"/>
                      <a:gd name="connsiteY59" fmla="*/ 1253005 h 1516168"/>
                      <a:gd name="connsiteX60" fmla="*/ 88900 w 341312"/>
                      <a:gd name="connsiteY60" fmla="*/ 1237342 h 1516168"/>
                      <a:gd name="connsiteX61" fmla="*/ 88900 w 341312"/>
                      <a:gd name="connsiteY61" fmla="*/ 1108119 h 1516168"/>
                      <a:gd name="connsiteX62" fmla="*/ 99873 w 341312"/>
                      <a:gd name="connsiteY62" fmla="*/ 1100847 h 1516168"/>
                      <a:gd name="connsiteX63" fmla="*/ 11054 w 341312"/>
                      <a:gd name="connsiteY63" fmla="*/ 1069076 h 1516168"/>
                      <a:gd name="connsiteX64" fmla="*/ 63559 w 341312"/>
                      <a:gd name="connsiteY64" fmla="*/ 1088479 h 1516168"/>
                      <a:gd name="connsiteX65" fmla="*/ 74613 w 341312"/>
                      <a:gd name="connsiteY65" fmla="*/ 1104001 h 1516168"/>
                      <a:gd name="connsiteX66" fmla="*/ 74613 w 341312"/>
                      <a:gd name="connsiteY66" fmla="*/ 1232060 h 1516168"/>
                      <a:gd name="connsiteX67" fmla="*/ 63559 w 341312"/>
                      <a:gd name="connsiteY67" fmla="*/ 1239266 h 1516168"/>
                      <a:gd name="connsiteX68" fmla="*/ 11054 w 341312"/>
                      <a:gd name="connsiteY68" fmla="*/ 1219864 h 1516168"/>
                      <a:gd name="connsiteX69" fmla="*/ 0 w 341312"/>
                      <a:gd name="connsiteY69" fmla="*/ 1204341 h 1516168"/>
                      <a:gd name="connsiteX70" fmla="*/ 0 w 341312"/>
                      <a:gd name="connsiteY70" fmla="*/ 1076283 h 1516168"/>
                      <a:gd name="connsiteX71" fmla="*/ 11054 w 341312"/>
                      <a:gd name="connsiteY71" fmla="*/ 1069076 h 1516168"/>
                      <a:gd name="connsiteX72" fmla="*/ 276318 w 341312"/>
                      <a:gd name="connsiteY72" fmla="*/ 988114 h 1516168"/>
                      <a:gd name="connsiteX73" fmla="*/ 329546 w 341312"/>
                      <a:gd name="connsiteY73" fmla="*/ 1007517 h 1516168"/>
                      <a:gd name="connsiteX74" fmla="*/ 341312 w 341312"/>
                      <a:gd name="connsiteY74" fmla="*/ 1023039 h 1516168"/>
                      <a:gd name="connsiteX75" fmla="*/ 341312 w 341312"/>
                      <a:gd name="connsiteY75" fmla="*/ 1151098 h 1516168"/>
                      <a:gd name="connsiteX76" fmla="*/ 329546 w 341312"/>
                      <a:gd name="connsiteY76" fmla="*/ 1158304 h 1516168"/>
                      <a:gd name="connsiteX77" fmla="*/ 276318 w 341312"/>
                      <a:gd name="connsiteY77" fmla="*/ 1138902 h 1516168"/>
                      <a:gd name="connsiteX78" fmla="*/ 265112 w 341312"/>
                      <a:gd name="connsiteY78" fmla="*/ 1123379 h 1516168"/>
                      <a:gd name="connsiteX79" fmla="*/ 265112 w 341312"/>
                      <a:gd name="connsiteY79" fmla="*/ 995321 h 1516168"/>
                      <a:gd name="connsiteX80" fmla="*/ 276318 w 341312"/>
                      <a:gd name="connsiteY80" fmla="*/ 988114 h 1516168"/>
                      <a:gd name="connsiteX81" fmla="*/ 188854 w 341312"/>
                      <a:gd name="connsiteY81" fmla="*/ 956364 h 1516168"/>
                      <a:gd name="connsiteX82" fmla="*/ 241359 w 341312"/>
                      <a:gd name="connsiteY82" fmla="*/ 975767 h 1516168"/>
                      <a:gd name="connsiteX83" fmla="*/ 252413 w 341312"/>
                      <a:gd name="connsiteY83" fmla="*/ 990735 h 1516168"/>
                      <a:gd name="connsiteX84" fmla="*/ 252413 w 341312"/>
                      <a:gd name="connsiteY84" fmla="*/ 1119348 h 1516168"/>
                      <a:gd name="connsiteX85" fmla="*/ 241359 w 341312"/>
                      <a:gd name="connsiteY85" fmla="*/ 1126554 h 1516168"/>
                      <a:gd name="connsiteX86" fmla="*/ 188854 w 341312"/>
                      <a:gd name="connsiteY86" fmla="*/ 1107152 h 1516168"/>
                      <a:gd name="connsiteX87" fmla="*/ 177800 w 341312"/>
                      <a:gd name="connsiteY87" fmla="*/ 1091629 h 1516168"/>
                      <a:gd name="connsiteX88" fmla="*/ 177800 w 341312"/>
                      <a:gd name="connsiteY88" fmla="*/ 963571 h 1516168"/>
                      <a:gd name="connsiteX89" fmla="*/ 188854 w 341312"/>
                      <a:gd name="connsiteY89" fmla="*/ 956364 h 1516168"/>
                      <a:gd name="connsiteX90" fmla="*/ 99873 w 341312"/>
                      <a:gd name="connsiteY90" fmla="*/ 923047 h 1516168"/>
                      <a:gd name="connsiteX91" fmla="*/ 151992 w 341312"/>
                      <a:gd name="connsiteY91" fmla="*/ 942626 h 1516168"/>
                      <a:gd name="connsiteX92" fmla="*/ 163513 w 341312"/>
                      <a:gd name="connsiteY92" fmla="*/ 957730 h 1516168"/>
                      <a:gd name="connsiteX93" fmla="*/ 163513 w 341312"/>
                      <a:gd name="connsiteY93" fmla="*/ 1087512 h 1516168"/>
                      <a:gd name="connsiteX94" fmla="*/ 151992 w 341312"/>
                      <a:gd name="connsiteY94" fmla="*/ 1094784 h 1516168"/>
                      <a:gd name="connsiteX95" fmla="*/ 99873 w 341312"/>
                      <a:gd name="connsiteY95" fmla="*/ 1075205 h 1516168"/>
                      <a:gd name="connsiteX96" fmla="*/ 88900 w 341312"/>
                      <a:gd name="connsiteY96" fmla="*/ 1059542 h 1516168"/>
                      <a:gd name="connsiteX97" fmla="*/ 88900 w 341312"/>
                      <a:gd name="connsiteY97" fmla="*/ 930319 h 1516168"/>
                      <a:gd name="connsiteX98" fmla="*/ 99873 w 341312"/>
                      <a:gd name="connsiteY98" fmla="*/ 923047 h 1516168"/>
                      <a:gd name="connsiteX99" fmla="*/ 11054 w 341312"/>
                      <a:gd name="connsiteY99" fmla="*/ 891276 h 1516168"/>
                      <a:gd name="connsiteX100" fmla="*/ 63559 w 341312"/>
                      <a:gd name="connsiteY100" fmla="*/ 910679 h 1516168"/>
                      <a:gd name="connsiteX101" fmla="*/ 74613 w 341312"/>
                      <a:gd name="connsiteY101" fmla="*/ 925647 h 1516168"/>
                      <a:gd name="connsiteX102" fmla="*/ 74613 w 341312"/>
                      <a:gd name="connsiteY102" fmla="*/ 1054260 h 1516168"/>
                      <a:gd name="connsiteX103" fmla="*/ 63559 w 341312"/>
                      <a:gd name="connsiteY103" fmla="*/ 1061466 h 1516168"/>
                      <a:gd name="connsiteX104" fmla="*/ 11054 w 341312"/>
                      <a:gd name="connsiteY104" fmla="*/ 1042064 h 1516168"/>
                      <a:gd name="connsiteX105" fmla="*/ 0 w 341312"/>
                      <a:gd name="connsiteY105" fmla="*/ 1026541 h 1516168"/>
                      <a:gd name="connsiteX106" fmla="*/ 0 w 341312"/>
                      <a:gd name="connsiteY106" fmla="*/ 898483 h 1516168"/>
                      <a:gd name="connsiteX107" fmla="*/ 11054 w 341312"/>
                      <a:gd name="connsiteY107" fmla="*/ 891276 h 1516168"/>
                      <a:gd name="connsiteX108" fmla="*/ 276318 w 341312"/>
                      <a:gd name="connsiteY108" fmla="*/ 810314 h 1516168"/>
                      <a:gd name="connsiteX109" fmla="*/ 329546 w 341312"/>
                      <a:gd name="connsiteY109" fmla="*/ 829717 h 1516168"/>
                      <a:gd name="connsiteX110" fmla="*/ 341312 w 341312"/>
                      <a:gd name="connsiteY110" fmla="*/ 844685 h 1516168"/>
                      <a:gd name="connsiteX111" fmla="*/ 341312 w 341312"/>
                      <a:gd name="connsiteY111" fmla="*/ 973298 h 1516168"/>
                      <a:gd name="connsiteX112" fmla="*/ 329546 w 341312"/>
                      <a:gd name="connsiteY112" fmla="*/ 980504 h 1516168"/>
                      <a:gd name="connsiteX113" fmla="*/ 276318 w 341312"/>
                      <a:gd name="connsiteY113" fmla="*/ 961102 h 1516168"/>
                      <a:gd name="connsiteX114" fmla="*/ 265112 w 341312"/>
                      <a:gd name="connsiteY114" fmla="*/ 945579 h 1516168"/>
                      <a:gd name="connsiteX115" fmla="*/ 265112 w 341312"/>
                      <a:gd name="connsiteY115" fmla="*/ 817521 h 1516168"/>
                      <a:gd name="connsiteX116" fmla="*/ 276318 w 341312"/>
                      <a:gd name="connsiteY116" fmla="*/ 810314 h 1516168"/>
                      <a:gd name="connsiteX117" fmla="*/ 188854 w 341312"/>
                      <a:gd name="connsiteY117" fmla="*/ 776997 h 1516168"/>
                      <a:gd name="connsiteX118" fmla="*/ 241359 w 341312"/>
                      <a:gd name="connsiteY118" fmla="*/ 796576 h 1516168"/>
                      <a:gd name="connsiteX119" fmla="*/ 252413 w 341312"/>
                      <a:gd name="connsiteY119" fmla="*/ 811680 h 1516168"/>
                      <a:gd name="connsiteX120" fmla="*/ 252413 w 341312"/>
                      <a:gd name="connsiteY120" fmla="*/ 941462 h 1516168"/>
                      <a:gd name="connsiteX121" fmla="*/ 241359 w 341312"/>
                      <a:gd name="connsiteY121" fmla="*/ 948175 h 1516168"/>
                      <a:gd name="connsiteX122" fmla="*/ 188854 w 341312"/>
                      <a:gd name="connsiteY122" fmla="*/ 929155 h 1516168"/>
                      <a:gd name="connsiteX123" fmla="*/ 177800 w 341312"/>
                      <a:gd name="connsiteY123" fmla="*/ 913492 h 1516168"/>
                      <a:gd name="connsiteX124" fmla="*/ 177800 w 341312"/>
                      <a:gd name="connsiteY124" fmla="*/ 784269 h 1516168"/>
                      <a:gd name="connsiteX125" fmla="*/ 188854 w 341312"/>
                      <a:gd name="connsiteY125" fmla="*/ 776997 h 1516168"/>
                      <a:gd name="connsiteX126" fmla="*/ 99873 w 341312"/>
                      <a:gd name="connsiteY126" fmla="*/ 745247 h 1516168"/>
                      <a:gd name="connsiteX127" fmla="*/ 151992 w 341312"/>
                      <a:gd name="connsiteY127" fmla="*/ 764826 h 1516168"/>
                      <a:gd name="connsiteX128" fmla="*/ 163513 w 341312"/>
                      <a:gd name="connsiteY128" fmla="*/ 779930 h 1516168"/>
                      <a:gd name="connsiteX129" fmla="*/ 163513 w 341312"/>
                      <a:gd name="connsiteY129" fmla="*/ 909712 h 1516168"/>
                      <a:gd name="connsiteX130" fmla="*/ 151992 w 341312"/>
                      <a:gd name="connsiteY130" fmla="*/ 916425 h 1516168"/>
                      <a:gd name="connsiteX131" fmla="*/ 99873 w 341312"/>
                      <a:gd name="connsiteY131" fmla="*/ 897405 h 1516168"/>
                      <a:gd name="connsiteX132" fmla="*/ 88900 w 341312"/>
                      <a:gd name="connsiteY132" fmla="*/ 881742 h 1516168"/>
                      <a:gd name="connsiteX133" fmla="*/ 88900 w 341312"/>
                      <a:gd name="connsiteY133" fmla="*/ 752519 h 1516168"/>
                      <a:gd name="connsiteX134" fmla="*/ 99873 w 341312"/>
                      <a:gd name="connsiteY134" fmla="*/ 745247 h 1516168"/>
                      <a:gd name="connsiteX135" fmla="*/ 11054 w 341312"/>
                      <a:gd name="connsiteY135" fmla="*/ 713483 h 1516168"/>
                      <a:gd name="connsiteX136" fmla="*/ 63559 w 341312"/>
                      <a:gd name="connsiteY136" fmla="*/ 732948 h 1516168"/>
                      <a:gd name="connsiteX137" fmla="*/ 74613 w 341312"/>
                      <a:gd name="connsiteY137" fmla="*/ 747963 h 1516168"/>
                      <a:gd name="connsiteX138" fmla="*/ 74613 w 341312"/>
                      <a:gd name="connsiteY138" fmla="*/ 876430 h 1516168"/>
                      <a:gd name="connsiteX139" fmla="*/ 63559 w 341312"/>
                      <a:gd name="connsiteY139" fmla="*/ 883659 h 1516168"/>
                      <a:gd name="connsiteX140" fmla="*/ 11054 w 341312"/>
                      <a:gd name="connsiteY140" fmla="*/ 864751 h 1516168"/>
                      <a:gd name="connsiteX141" fmla="*/ 0 w 341312"/>
                      <a:gd name="connsiteY141" fmla="*/ 849179 h 1516168"/>
                      <a:gd name="connsiteX142" fmla="*/ 0 w 341312"/>
                      <a:gd name="connsiteY142" fmla="*/ 720713 h 1516168"/>
                      <a:gd name="connsiteX143" fmla="*/ 11054 w 341312"/>
                      <a:gd name="connsiteY143" fmla="*/ 713483 h 1516168"/>
                      <a:gd name="connsiteX144" fmla="*/ 276318 w 341312"/>
                      <a:gd name="connsiteY144" fmla="*/ 632521 h 1516168"/>
                      <a:gd name="connsiteX145" fmla="*/ 329546 w 341312"/>
                      <a:gd name="connsiteY145" fmla="*/ 651986 h 1516168"/>
                      <a:gd name="connsiteX146" fmla="*/ 341312 w 341312"/>
                      <a:gd name="connsiteY146" fmla="*/ 667001 h 1516168"/>
                      <a:gd name="connsiteX147" fmla="*/ 341312 w 341312"/>
                      <a:gd name="connsiteY147" fmla="*/ 795468 h 1516168"/>
                      <a:gd name="connsiteX148" fmla="*/ 329546 w 341312"/>
                      <a:gd name="connsiteY148" fmla="*/ 802697 h 1516168"/>
                      <a:gd name="connsiteX149" fmla="*/ 276318 w 341312"/>
                      <a:gd name="connsiteY149" fmla="*/ 783789 h 1516168"/>
                      <a:gd name="connsiteX150" fmla="*/ 265112 w 341312"/>
                      <a:gd name="connsiteY150" fmla="*/ 768217 h 1516168"/>
                      <a:gd name="connsiteX151" fmla="*/ 265112 w 341312"/>
                      <a:gd name="connsiteY151" fmla="*/ 639751 h 1516168"/>
                      <a:gd name="connsiteX152" fmla="*/ 276318 w 341312"/>
                      <a:gd name="connsiteY152" fmla="*/ 632521 h 1516168"/>
                      <a:gd name="connsiteX153" fmla="*/ 188854 w 341312"/>
                      <a:gd name="connsiteY153" fmla="*/ 599183 h 1516168"/>
                      <a:gd name="connsiteX154" fmla="*/ 241359 w 341312"/>
                      <a:gd name="connsiteY154" fmla="*/ 618648 h 1516168"/>
                      <a:gd name="connsiteX155" fmla="*/ 252413 w 341312"/>
                      <a:gd name="connsiteY155" fmla="*/ 633663 h 1516168"/>
                      <a:gd name="connsiteX156" fmla="*/ 252413 w 341312"/>
                      <a:gd name="connsiteY156" fmla="*/ 762130 h 1516168"/>
                      <a:gd name="connsiteX157" fmla="*/ 241359 w 341312"/>
                      <a:gd name="connsiteY157" fmla="*/ 769359 h 1516168"/>
                      <a:gd name="connsiteX158" fmla="*/ 188854 w 341312"/>
                      <a:gd name="connsiteY158" fmla="*/ 750451 h 1516168"/>
                      <a:gd name="connsiteX159" fmla="*/ 177800 w 341312"/>
                      <a:gd name="connsiteY159" fmla="*/ 734879 h 1516168"/>
                      <a:gd name="connsiteX160" fmla="*/ 177800 w 341312"/>
                      <a:gd name="connsiteY160" fmla="*/ 606413 h 1516168"/>
                      <a:gd name="connsiteX161" fmla="*/ 188854 w 341312"/>
                      <a:gd name="connsiteY161" fmla="*/ 599183 h 1516168"/>
                      <a:gd name="connsiteX162" fmla="*/ 99873 w 341312"/>
                      <a:gd name="connsiteY162" fmla="*/ 567433 h 1516168"/>
                      <a:gd name="connsiteX163" fmla="*/ 151992 w 341312"/>
                      <a:gd name="connsiteY163" fmla="*/ 586342 h 1516168"/>
                      <a:gd name="connsiteX164" fmla="*/ 163513 w 341312"/>
                      <a:gd name="connsiteY164" fmla="*/ 601913 h 1516168"/>
                      <a:gd name="connsiteX165" fmla="*/ 163513 w 341312"/>
                      <a:gd name="connsiteY165" fmla="*/ 730380 h 1516168"/>
                      <a:gd name="connsiteX166" fmla="*/ 151992 w 341312"/>
                      <a:gd name="connsiteY166" fmla="*/ 737609 h 1516168"/>
                      <a:gd name="connsiteX167" fmla="*/ 99873 w 341312"/>
                      <a:gd name="connsiteY167" fmla="*/ 718701 h 1516168"/>
                      <a:gd name="connsiteX168" fmla="*/ 88900 w 341312"/>
                      <a:gd name="connsiteY168" fmla="*/ 703129 h 1516168"/>
                      <a:gd name="connsiteX169" fmla="*/ 88900 w 341312"/>
                      <a:gd name="connsiteY169" fmla="*/ 574663 h 1516168"/>
                      <a:gd name="connsiteX170" fmla="*/ 99873 w 341312"/>
                      <a:gd name="connsiteY170" fmla="*/ 567433 h 1516168"/>
                      <a:gd name="connsiteX171" fmla="*/ 11054 w 341312"/>
                      <a:gd name="connsiteY171" fmla="*/ 535683 h 1516168"/>
                      <a:gd name="connsiteX172" fmla="*/ 63559 w 341312"/>
                      <a:gd name="connsiteY172" fmla="*/ 554592 h 1516168"/>
                      <a:gd name="connsiteX173" fmla="*/ 74613 w 341312"/>
                      <a:gd name="connsiteY173" fmla="*/ 570163 h 1516168"/>
                      <a:gd name="connsiteX174" fmla="*/ 74613 w 341312"/>
                      <a:gd name="connsiteY174" fmla="*/ 698630 h 1516168"/>
                      <a:gd name="connsiteX175" fmla="*/ 63559 w 341312"/>
                      <a:gd name="connsiteY175" fmla="*/ 705859 h 1516168"/>
                      <a:gd name="connsiteX176" fmla="*/ 11054 w 341312"/>
                      <a:gd name="connsiteY176" fmla="*/ 686951 h 1516168"/>
                      <a:gd name="connsiteX177" fmla="*/ 0 w 341312"/>
                      <a:gd name="connsiteY177" fmla="*/ 671379 h 1516168"/>
                      <a:gd name="connsiteX178" fmla="*/ 0 w 341312"/>
                      <a:gd name="connsiteY178" fmla="*/ 542913 h 1516168"/>
                      <a:gd name="connsiteX179" fmla="*/ 11054 w 341312"/>
                      <a:gd name="connsiteY179" fmla="*/ 535683 h 1516168"/>
                      <a:gd name="connsiteX180" fmla="*/ 276318 w 341312"/>
                      <a:gd name="connsiteY180" fmla="*/ 453154 h 1516168"/>
                      <a:gd name="connsiteX181" fmla="*/ 329546 w 341312"/>
                      <a:gd name="connsiteY181" fmla="*/ 472234 h 1516168"/>
                      <a:gd name="connsiteX182" fmla="*/ 341312 w 341312"/>
                      <a:gd name="connsiteY182" fmla="*/ 487947 h 1516168"/>
                      <a:gd name="connsiteX183" fmla="*/ 341312 w 341312"/>
                      <a:gd name="connsiteY183" fmla="*/ 617582 h 1516168"/>
                      <a:gd name="connsiteX184" fmla="*/ 329546 w 341312"/>
                      <a:gd name="connsiteY184" fmla="*/ 624877 h 1516168"/>
                      <a:gd name="connsiteX185" fmla="*/ 276318 w 341312"/>
                      <a:gd name="connsiteY185" fmla="*/ 605797 h 1516168"/>
                      <a:gd name="connsiteX186" fmla="*/ 265112 w 341312"/>
                      <a:gd name="connsiteY186" fmla="*/ 590083 h 1516168"/>
                      <a:gd name="connsiteX187" fmla="*/ 265112 w 341312"/>
                      <a:gd name="connsiteY187" fmla="*/ 460449 h 1516168"/>
                      <a:gd name="connsiteX188" fmla="*/ 276318 w 341312"/>
                      <a:gd name="connsiteY188" fmla="*/ 453154 h 1516168"/>
                      <a:gd name="connsiteX189" fmla="*/ 188854 w 341312"/>
                      <a:gd name="connsiteY189" fmla="*/ 421383 h 1516168"/>
                      <a:gd name="connsiteX190" fmla="*/ 241359 w 341312"/>
                      <a:gd name="connsiteY190" fmla="*/ 440292 h 1516168"/>
                      <a:gd name="connsiteX191" fmla="*/ 252413 w 341312"/>
                      <a:gd name="connsiteY191" fmla="*/ 455863 h 1516168"/>
                      <a:gd name="connsiteX192" fmla="*/ 252413 w 341312"/>
                      <a:gd name="connsiteY192" fmla="*/ 584330 h 1516168"/>
                      <a:gd name="connsiteX193" fmla="*/ 241359 w 341312"/>
                      <a:gd name="connsiteY193" fmla="*/ 591559 h 1516168"/>
                      <a:gd name="connsiteX194" fmla="*/ 188854 w 341312"/>
                      <a:gd name="connsiteY194" fmla="*/ 572651 h 1516168"/>
                      <a:gd name="connsiteX195" fmla="*/ 177800 w 341312"/>
                      <a:gd name="connsiteY195" fmla="*/ 557079 h 1516168"/>
                      <a:gd name="connsiteX196" fmla="*/ 177800 w 341312"/>
                      <a:gd name="connsiteY196" fmla="*/ 428613 h 1516168"/>
                      <a:gd name="connsiteX197" fmla="*/ 188854 w 341312"/>
                      <a:gd name="connsiteY197" fmla="*/ 421383 h 1516168"/>
                      <a:gd name="connsiteX198" fmla="*/ 99873 w 341312"/>
                      <a:gd name="connsiteY198" fmla="*/ 389633 h 1516168"/>
                      <a:gd name="connsiteX199" fmla="*/ 151992 w 341312"/>
                      <a:gd name="connsiteY199" fmla="*/ 408542 h 1516168"/>
                      <a:gd name="connsiteX200" fmla="*/ 163513 w 341312"/>
                      <a:gd name="connsiteY200" fmla="*/ 424113 h 1516168"/>
                      <a:gd name="connsiteX201" fmla="*/ 163513 w 341312"/>
                      <a:gd name="connsiteY201" fmla="*/ 552580 h 1516168"/>
                      <a:gd name="connsiteX202" fmla="*/ 151992 w 341312"/>
                      <a:gd name="connsiteY202" fmla="*/ 559809 h 1516168"/>
                      <a:gd name="connsiteX203" fmla="*/ 99873 w 341312"/>
                      <a:gd name="connsiteY203" fmla="*/ 540901 h 1516168"/>
                      <a:gd name="connsiteX204" fmla="*/ 88900 w 341312"/>
                      <a:gd name="connsiteY204" fmla="*/ 525329 h 1516168"/>
                      <a:gd name="connsiteX205" fmla="*/ 88900 w 341312"/>
                      <a:gd name="connsiteY205" fmla="*/ 396863 h 1516168"/>
                      <a:gd name="connsiteX206" fmla="*/ 99873 w 341312"/>
                      <a:gd name="connsiteY206" fmla="*/ 389633 h 1516168"/>
                      <a:gd name="connsiteX207" fmla="*/ 11054 w 341312"/>
                      <a:gd name="connsiteY207" fmla="*/ 356317 h 1516168"/>
                      <a:gd name="connsiteX208" fmla="*/ 63559 w 341312"/>
                      <a:gd name="connsiteY208" fmla="*/ 375397 h 1516168"/>
                      <a:gd name="connsiteX209" fmla="*/ 74613 w 341312"/>
                      <a:gd name="connsiteY209" fmla="*/ 391110 h 1516168"/>
                      <a:gd name="connsiteX210" fmla="*/ 74613 w 341312"/>
                      <a:gd name="connsiteY210" fmla="*/ 520745 h 1516168"/>
                      <a:gd name="connsiteX211" fmla="*/ 63559 w 341312"/>
                      <a:gd name="connsiteY211" fmla="*/ 528040 h 1516168"/>
                      <a:gd name="connsiteX212" fmla="*/ 11054 w 341312"/>
                      <a:gd name="connsiteY212" fmla="*/ 508960 h 1516168"/>
                      <a:gd name="connsiteX213" fmla="*/ 0 w 341312"/>
                      <a:gd name="connsiteY213" fmla="*/ 493246 h 1516168"/>
                      <a:gd name="connsiteX214" fmla="*/ 0 w 341312"/>
                      <a:gd name="connsiteY214" fmla="*/ 363612 h 1516168"/>
                      <a:gd name="connsiteX215" fmla="*/ 11054 w 341312"/>
                      <a:gd name="connsiteY215" fmla="*/ 356317 h 1516168"/>
                      <a:gd name="connsiteX216" fmla="*/ 276318 w 341312"/>
                      <a:gd name="connsiteY216" fmla="*/ 275333 h 1516168"/>
                      <a:gd name="connsiteX217" fmla="*/ 329546 w 341312"/>
                      <a:gd name="connsiteY217" fmla="*/ 294242 h 1516168"/>
                      <a:gd name="connsiteX218" fmla="*/ 341312 w 341312"/>
                      <a:gd name="connsiteY218" fmla="*/ 309813 h 1516168"/>
                      <a:gd name="connsiteX219" fmla="*/ 341312 w 341312"/>
                      <a:gd name="connsiteY219" fmla="*/ 438280 h 1516168"/>
                      <a:gd name="connsiteX220" fmla="*/ 329546 w 341312"/>
                      <a:gd name="connsiteY220" fmla="*/ 445509 h 1516168"/>
                      <a:gd name="connsiteX221" fmla="*/ 276318 w 341312"/>
                      <a:gd name="connsiteY221" fmla="*/ 426601 h 1516168"/>
                      <a:gd name="connsiteX222" fmla="*/ 265112 w 341312"/>
                      <a:gd name="connsiteY222" fmla="*/ 411029 h 1516168"/>
                      <a:gd name="connsiteX223" fmla="*/ 265112 w 341312"/>
                      <a:gd name="connsiteY223" fmla="*/ 282563 h 1516168"/>
                      <a:gd name="connsiteX224" fmla="*/ 276318 w 341312"/>
                      <a:gd name="connsiteY224" fmla="*/ 275333 h 1516168"/>
                      <a:gd name="connsiteX225" fmla="*/ 188854 w 341312"/>
                      <a:gd name="connsiteY225" fmla="*/ 243583 h 1516168"/>
                      <a:gd name="connsiteX226" fmla="*/ 241359 w 341312"/>
                      <a:gd name="connsiteY226" fmla="*/ 262492 h 1516168"/>
                      <a:gd name="connsiteX227" fmla="*/ 252413 w 341312"/>
                      <a:gd name="connsiteY227" fmla="*/ 278063 h 1516168"/>
                      <a:gd name="connsiteX228" fmla="*/ 252413 w 341312"/>
                      <a:gd name="connsiteY228" fmla="*/ 406530 h 1516168"/>
                      <a:gd name="connsiteX229" fmla="*/ 241359 w 341312"/>
                      <a:gd name="connsiteY229" fmla="*/ 413759 h 1516168"/>
                      <a:gd name="connsiteX230" fmla="*/ 188854 w 341312"/>
                      <a:gd name="connsiteY230" fmla="*/ 394295 h 1516168"/>
                      <a:gd name="connsiteX231" fmla="*/ 177800 w 341312"/>
                      <a:gd name="connsiteY231" fmla="*/ 379279 h 1516168"/>
                      <a:gd name="connsiteX232" fmla="*/ 177800 w 341312"/>
                      <a:gd name="connsiteY232" fmla="*/ 250813 h 1516168"/>
                      <a:gd name="connsiteX233" fmla="*/ 188854 w 341312"/>
                      <a:gd name="connsiteY233" fmla="*/ 243583 h 1516168"/>
                      <a:gd name="connsiteX234" fmla="*/ 99873 w 341312"/>
                      <a:gd name="connsiteY234" fmla="*/ 211833 h 1516168"/>
                      <a:gd name="connsiteX235" fmla="*/ 151992 w 341312"/>
                      <a:gd name="connsiteY235" fmla="*/ 230742 h 1516168"/>
                      <a:gd name="connsiteX236" fmla="*/ 163513 w 341312"/>
                      <a:gd name="connsiteY236" fmla="*/ 246313 h 1516168"/>
                      <a:gd name="connsiteX237" fmla="*/ 163513 w 341312"/>
                      <a:gd name="connsiteY237" fmla="*/ 374780 h 1516168"/>
                      <a:gd name="connsiteX238" fmla="*/ 151992 w 341312"/>
                      <a:gd name="connsiteY238" fmla="*/ 382009 h 1516168"/>
                      <a:gd name="connsiteX239" fmla="*/ 99873 w 341312"/>
                      <a:gd name="connsiteY239" fmla="*/ 362545 h 1516168"/>
                      <a:gd name="connsiteX240" fmla="*/ 88900 w 341312"/>
                      <a:gd name="connsiteY240" fmla="*/ 347529 h 1516168"/>
                      <a:gd name="connsiteX241" fmla="*/ 88900 w 341312"/>
                      <a:gd name="connsiteY241" fmla="*/ 219063 h 1516168"/>
                      <a:gd name="connsiteX242" fmla="*/ 99873 w 341312"/>
                      <a:gd name="connsiteY242" fmla="*/ 211833 h 1516168"/>
                      <a:gd name="connsiteX243" fmla="*/ 11054 w 341312"/>
                      <a:gd name="connsiteY243" fmla="*/ 179044 h 1516168"/>
                      <a:gd name="connsiteX244" fmla="*/ 63559 w 341312"/>
                      <a:gd name="connsiteY244" fmla="*/ 197892 h 1516168"/>
                      <a:gd name="connsiteX245" fmla="*/ 74613 w 341312"/>
                      <a:gd name="connsiteY245" fmla="*/ 213414 h 1516168"/>
                      <a:gd name="connsiteX246" fmla="*/ 74613 w 341312"/>
                      <a:gd name="connsiteY246" fmla="*/ 341473 h 1516168"/>
                      <a:gd name="connsiteX247" fmla="*/ 63559 w 341312"/>
                      <a:gd name="connsiteY247" fmla="*/ 348679 h 1516168"/>
                      <a:gd name="connsiteX248" fmla="*/ 11054 w 341312"/>
                      <a:gd name="connsiteY248" fmla="*/ 329277 h 1516168"/>
                      <a:gd name="connsiteX249" fmla="*/ 0 w 341312"/>
                      <a:gd name="connsiteY249" fmla="*/ 314309 h 1516168"/>
                      <a:gd name="connsiteX250" fmla="*/ 0 w 341312"/>
                      <a:gd name="connsiteY250" fmla="*/ 185696 h 1516168"/>
                      <a:gd name="connsiteX251" fmla="*/ 11054 w 341312"/>
                      <a:gd name="connsiteY251" fmla="*/ 179044 h 1516168"/>
                      <a:gd name="connsiteX252" fmla="*/ 276318 w 341312"/>
                      <a:gd name="connsiteY252" fmla="*/ 98081 h 1516168"/>
                      <a:gd name="connsiteX253" fmla="*/ 329546 w 341312"/>
                      <a:gd name="connsiteY253" fmla="*/ 116929 h 1516168"/>
                      <a:gd name="connsiteX254" fmla="*/ 341312 w 341312"/>
                      <a:gd name="connsiteY254" fmla="*/ 132451 h 1516168"/>
                      <a:gd name="connsiteX255" fmla="*/ 341312 w 341312"/>
                      <a:gd name="connsiteY255" fmla="*/ 260510 h 1516168"/>
                      <a:gd name="connsiteX256" fmla="*/ 329546 w 341312"/>
                      <a:gd name="connsiteY256" fmla="*/ 267716 h 1516168"/>
                      <a:gd name="connsiteX257" fmla="*/ 276318 w 341312"/>
                      <a:gd name="connsiteY257" fmla="*/ 248314 h 1516168"/>
                      <a:gd name="connsiteX258" fmla="*/ 265112 w 341312"/>
                      <a:gd name="connsiteY258" fmla="*/ 233346 h 1516168"/>
                      <a:gd name="connsiteX259" fmla="*/ 265112 w 341312"/>
                      <a:gd name="connsiteY259" fmla="*/ 104733 h 1516168"/>
                      <a:gd name="connsiteX260" fmla="*/ 276318 w 341312"/>
                      <a:gd name="connsiteY260" fmla="*/ 98081 h 1516168"/>
                      <a:gd name="connsiteX261" fmla="*/ 188854 w 341312"/>
                      <a:gd name="connsiteY261" fmla="*/ 66331 h 1516168"/>
                      <a:gd name="connsiteX262" fmla="*/ 241359 w 341312"/>
                      <a:gd name="connsiteY262" fmla="*/ 85179 h 1516168"/>
                      <a:gd name="connsiteX263" fmla="*/ 252413 w 341312"/>
                      <a:gd name="connsiteY263" fmla="*/ 100701 h 1516168"/>
                      <a:gd name="connsiteX264" fmla="*/ 252413 w 341312"/>
                      <a:gd name="connsiteY264" fmla="*/ 228760 h 1516168"/>
                      <a:gd name="connsiteX265" fmla="*/ 241359 w 341312"/>
                      <a:gd name="connsiteY265" fmla="*/ 235966 h 1516168"/>
                      <a:gd name="connsiteX266" fmla="*/ 188854 w 341312"/>
                      <a:gd name="connsiteY266" fmla="*/ 216564 h 1516168"/>
                      <a:gd name="connsiteX267" fmla="*/ 177800 w 341312"/>
                      <a:gd name="connsiteY267" fmla="*/ 201596 h 1516168"/>
                      <a:gd name="connsiteX268" fmla="*/ 177800 w 341312"/>
                      <a:gd name="connsiteY268" fmla="*/ 72983 h 1516168"/>
                      <a:gd name="connsiteX269" fmla="*/ 188854 w 341312"/>
                      <a:gd name="connsiteY269" fmla="*/ 66331 h 1516168"/>
                      <a:gd name="connsiteX270" fmla="*/ 99873 w 341312"/>
                      <a:gd name="connsiteY270" fmla="*/ 32460 h 1516168"/>
                      <a:gd name="connsiteX271" fmla="*/ 151992 w 341312"/>
                      <a:gd name="connsiteY271" fmla="*/ 52039 h 1516168"/>
                      <a:gd name="connsiteX272" fmla="*/ 163513 w 341312"/>
                      <a:gd name="connsiteY272" fmla="*/ 67702 h 1516168"/>
                      <a:gd name="connsiteX273" fmla="*/ 163513 w 341312"/>
                      <a:gd name="connsiteY273" fmla="*/ 196925 h 1516168"/>
                      <a:gd name="connsiteX274" fmla="*/ 151992 w 341312"/>
                      <a:gd name="connsiteY274" fmla="*/ 204197 h 1516168"/>
                      <a:gd name="connsiteX275" fmla="*/ 99873 w 341312"/>
                      <a:gd name="connsiteY275" fmla="*/ 184618 h 1516168"/>
                      <a:gd name="connsiteX276" fmla="*/ 88900 w 341312"/>
                      <a:gd name="connsiteY276" fmla="*/ 169514 h 1516168"/>
                      <a:gd name="connsiteX277" fmla="*/ 88900 w 341312"/>
                      <a:gd name="connsiteY277" fmla="*/ 39732 h 1516168"/>
                      <a:gd name="connsiteX278" fmla="*/ 99873 w 341312"/>
                      <a:gd name="connsiteY278" fmla="*/ 32460 h 1516168"/>
                      <a:gd name="connsiteX279" fmla="*/ 11054 w 341312"/>
                      <a:gd name="connsiteY279" fmla="*/ 689 h 1516168"/>
                      <a:gd name="connsiteX280" fmla="*/ 63559 w 341312"/>
                      <a:gd name="connsiteY280" fmla="*/ 20092 h 1516168"/>
                      <a:gd name="connsiteX281" fmla="*/ 74613 w 341312"/>
                      <a:gd name="connsiteY281" fmla="*/ 35614 h 1516168"/>
                      <a:gd name="connsiteX282" fmla="*/ 74613 w 341312"/>
                      <a:gd name="connsiteY282" fmla="*/ 163673 h 1516168"/>
                      <a:gd name="connsiteX283" fmla="*/ 63559 w 341312"/>
                      <a:gd name="connsiteY283" fmla="*/ 170879 h 1516168"/>
                      <a:gd name="connsiteX284" fmla="*/ 11054 w 341312"/>
                      <a:gd name="connsiteY284" fmla="*/ 151477 h 1516168"/>
                      <a:gd name="connsiteX285" fmla="*/ 0 w 341312"/>
                      <a:gd name="connsiteY285" fmla="*/ 136509 h 1516168"/>
                      <a:gd name="connsiteX286" fmla="*/ 0 w 341312"/>
                      <a:gd name="connsiteY286" fmla="*/ 7896 h 1516168"/>
                      <a:gd name="connsiteX287" fmla="*/ 11054 w 341312"/>
                      <a:gd name="connsiteY287" fmla="*/ 689 h 15161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  <a:cxn ang="0">
                        <a:pos x="connsiteX180" y="connsiteY180"/>
                      </a:cxn>
                      <a:cxn ang="0">
                        <a:pos x="connsiteX181" y="connsiteY181"/>
                      </a:cxn>
                      <a:cxn ang="0">
                        <a:pos x="connsiteX182" y="connsiteY182"/>
                      </a:cxn>
                      <a:cxn ang="0">
                        <a:pos x="connsiteX183" y="connsiteY183"/>
                      </a:cxn>
                      <a:cxn ang="0">
                        <a:pos x="connsiteX184" y="connsiteY184"/>
                      </a:cxn>
                      <a:cxn ang="0">
                        <a:pos x="connsiteX185" y="connsiteY185"/>
                      </a:cxn>
                      <a:cxn ang="0">
                        <a:pos x="connsiteX186" y="connsiteY186"/>
                      </a:cxn>
                      <a:cxn ang="0">
                        <a:pos x="connsiteX187" y="connsiteY187"/>
                      </a:cxn>
                      <a:cxn ang="0">
                        <a:pos x="connsiteX188" y="connsiteY188"/>
                      </a:cxn>
                      <a:cxn ang="0">
                        <a:pos x="connsiteX189" y="connsiteY189"/>
                      </a:cxn>
                      <a:cxn ang="0">
                        <a:pos x="connsiteX190" y="connsiteY190"/>
                      </a:cxn>
                      <a:cxn ang="0">
                        <a:pos x="connsiteX191" y="connsiteY191"/>
                      </a:cxn>
                      <a:cxn ang="0">
                        <a:pos x="connsiteX192" y="connsiteY192"/>
                      </a:cxn>
                      <a:cxn ang="0">
                        <a:pos x="connsiteX193" y="connsiteY193"/>
                      </a:cxn>
                      <a:cxn ang="0">
                        <a:pos x="connsiteX194" y="connsiteY194"/>
                      </a:cxn>
                      <a:cxn ang="0">
                        <a:pos x="connsiteX195" y="connsiteY195"/>
                      </a:cxn>
                      <a:cxn ang="0">
                        <a:pos x="connsiteX196" y="connsiteY196"/>
                      </a:cxn>
                      <a:cxn ang="0">
                        <a:pos x="connsiteX197" y="connsiteY197"/>
                      </a:cxn>
                      <a:cxn ang="0">
                        <a:pos x="connsiteX198" y="connsiteY198"/>
                      </a:cxn>
                      <a:cxn ang="0">
                        <a:pos x="connsiteX199" y="connsiteY199"/>
                      </a:cxn>
                      <a:cxn ang="0">
                        <a:pos x="connsiteX200" y="connsiteY200"/>
                      </a:cxn>
                      <a:cxn ang="0">
                        <a:pos x="connsiteX201" y="connsiteY201"/>
                      </a:cxn>
                      <a:cxn ang="0">
                        <a:pos x="connsiteX202" y="connsiteY202"/>
                      </a:cxn>
                      <a:cxn ang="0">
                        <a:pos x="connsiteX203" y="connsiteY203"/>
                      </a:cxn>
                      <a:cxn ang="0">
                        <a:pos x="connsiteX204" y="connsiteY204"/>
                      </a:cxn>
                      <a:cxn ang="0">
                        <a:pos x="connsiteX205" y="connsiteY205"/>
                      </a:cxn>
                      <a:cxn ang="0">
                        <a:pos x="connsiteX206" y="connsiteY206"/>
                      </a:cxn>
                      <a:cxn ang="0">
                        <a:pos x="connsiteX207" y="connsiteY207"/>
                      </a:cxn>
                      <a:cxn ang="0">
                        <a:pos x="connsiteX208" y="connsiteY208"/>
                      </a:cxn>
                      <a:cxn ang="0">
                        <a:pos x="connsiteX209" y="connsiteY209"/>
                      </a:cxn>
                      <a:cxn ang="0">
                        <a:pos x="connsiteX210" y="connsiteY210"/>
                      </a:cxn>
                      <a:cxn ang="0">
                        <a:pos x="connsiteX211" y="connsiteY211"/>
                      </a:cxn>
                      <a:cxn ang="0">
                        <a:pos x="connsiteX212" y="connsiteY212"/>
                      </a:cxn>
                      <a:cxn ang="0">
                        <a:pos x="connsiteX213" y="connsiteY213"/>
                      </a:cxn>
                      <a:cxn ang="0">
                        <a:pos x="connsiteX214" y="connsiteY214"/>
                      </a:cxn>
                      <a:cxn ang="0">
                        <a:pos x="connsiteX215" y="connsiteY215"/>
                      </a:cxn>
                      <a:cxn ang="0">
                        <a:pos x="connsiteX216" y="connsiteY216"/>
                      </a:cxn>
                      <a:cxn ang="0">
                        <a:pos x="connsiteX217" y="connsiteY217"/>
                      </a:cxn>
                      <a:cxn ang="0">
                        <a:pos x="connsiteX218" y="connsiteY218"/>
                      </a:cxn>
                      <a:cxn ang="0">
                        <a:pos x="connsiteX219" y="connsiteY219"/>
                      </a:cxn>
                      <a:cxn ang="0">
                        <a:pos x="connsiteX220" y="connsiteY220"/>
                      </a:cxn>
                      <a:cxn ang="0">
                        <a:pos x="connsiteX221" y="connsiteY221"/>
                      </a:cxn>
                      <a:cxn ang="0">
                        <a:pos x="connsiteX222" y="connsiteY222"/>
                      </a:cxn>
                      <a:cxn ang="0">
                        <a:pos x="connsiteX223" y="connsiteY223"/>
                      </a:cxn>
                      <a:cxn ang="0">
                        <a:pos x="connsiteX224" y="connsiteY224"/>
                      </a:cxn>
                      <a:cxn ang="0">
                        <a:pos x="connsiteX225" y="connsiteY225"/>
                      </a:cxn>
                      <a:cxn ang="0">
                        <a:pos x="connsiteX226" y="connsiteY226"/>
                      </a:cxn>
                      <a:cxn ang="0">
                        <a:pos x="connsiteX227" y="connsiteY227"/>
                      </a:cxn>
                      <a:cxn ang="0">
                        <a:pos x="connsiteX228" y="connsiteY228"/>
                      </a:cxn>
                      <a:cxn ang="0">
                        <a:pos x="connsiteX229" y="connsiteY229"/>
                      </a:cxn>
                      <a:cxn ang="0">
                        <a:pos x="connsiteX230" y="connsiteY230"/>
                      </a:cxn>
                      <a:cxn ang="0">
                        <a:pos x="connsiteX231" y="connsiteY231"/>
                      </a:cxn>
                      <a:cxn ang="0">
                        <a:pos x="connsiteX232" y="connsiteY232"/>
                      </a:cxn>
                      <a:cxn ang="0">
                        <a:pos x="connsiteX233" y="connsiteY233"/>
                      </a:cxn>
                      <a:cxn ang="0">
                        <a:pos x="connsiteX234" y="connsiteY234"/>
                      </a:cxn>
                      <a:cxn ang="0">
                        <a:pos x="connsiteX235" y="connsiteY235"/>
                      </a:cxn>
                      <a:cxn ang="0">
                        <a:pos x="connsiteX236" y="connsiteY236"/>
                      </a:cxn>
                      <a:cxn ang="0">
                        <a:pos x="connsiteX237" y="connsiteY237"/>
                      </a:cxn>
                      <a:cxn ang="0">
                        <a:pos x="connsiteX238" y="connsiteY238"/>
                      </a:cxn>
                      <a:cxn ang="0">
                        <a:pos x="connsiteX239" y="connsiteY239"/>
                      </a:cxn>
                      <a:cxn ang="0">
                        <a:pos x="connsiteX240" y="connsiteY240"/>
                      </a:cxn>
                      <a:cxn ang="0">
                        <a:pos x="connsiteX241" y="connsiteY241"/>
                      </a:cxn>
                      <a:cxn ang="0">
                        <a:pos x="connsiteX242" y="connsiteY242"/>
                      </a:cxn>
                      <a:cxn ang="0">
                        <a:pos x="connsiteX243" y="connsiteY243"/>
                      </a:cxn>
                      <a:cxn ang="0">
                        <a:pos x="connsiteX244" y="connsiteY244"/>
                      </a:cxn>
                      <a:cxn ang="0">
                        <a:pos x="connsiteX245" y="connsiteY245"/>
                      </a:cxn>
                      <a:cxn ang="0">
                        <a:pos x="connsiteX246" y="connsiteY246"/>
                      </a:cxn>
                      <a:cxn ang="0">
                        <a:pos x="connsiteX247" y="connsiteY247"/>
                      </a:cxn>
                      <a:cxn ang="0">
                        <a:pos x="connsiteX248" y="connsiteY248"/>
                      </a:cxn>
                      <a:cxn ang="0">
                        <a:pos x="connsiteX249" y="connsiteY249"/>
                      </a:cxn>
                      <a:cxn ang="0">
                        <a:pos x="connsiteX250" y="connsiteY250"/>
                      </a:cxn>
                      <a:cxn ang="0">
                        <a:pos x="connsiteX251" y="connsiteY251"/>
                      </a:cxn>
                      <a:cxn ang="0">
                        <a:pos x="connsiteX252" y="connsiteY252"/>
                      </a:cxn>
                      <a:cxn ang="0">
                        <a:pos x="connsiteX253" y="connsiteY253"/>
                      </a:cxn>
                      <a:cxn ang="0">
                        <a:pos x="connsiteX254" y="connsiteY254"/>
                      </a:cxn>
                      <a:cxn ang="0">
                        <a:pos x="connsiteX255" y="connsiteY255"/>
                      </a:cxn>
                      <a:cxn ang="0">
                        <a:pos x="connsiteX256" y="connsiteY256"/>
                      </a:cxn>
                      <a:cxn ang="0">
                        <a:pos x="connsiteX257" y="connsiteY257"/>
                      </a:cxn>
                      <a:cxn ang="0">
                        <a:pos x="connsiteX258" y="connsiteY258"/>
                      </a:cxn>
                      <a:cxn ang="0">
                        <a:pos x="connsiteX259" y="connsiteY259"/>
                      </a:cxn>
                      <a:cxn ang="0">
                        <a:pos x="connsiteX260" y="connsiteY260"/>
                      </a:cxn>
                      <a:cxn ang="0">
                        <a:pos x="connsiteX261" y="connsiteY261"/>
                      </a:cxn>
                      <a:cxn ang="0">
                        <a:pos x="connsiteX262" y="connsiteY262"/>
                      </a:cxn>
                      <a:cxn ang="0">
                        <a:pos x="connsiteX263" y="connsiteY263"/>
                      </a:cxn>
                      <a:cxn ang="0">
                        <a:pos x="connsiteX264" y="connsiteY264"/>
                      </a:cxn>
                      <a:cxn ang="0">
                        <a:pos x="connsiteX265" y="connsiteY265"/>
                      </a:cxn>
                      <a:cxn ang="0">
                        <a:pos x="connsiteX266" y="connsiteY266"/>
                      </a:cxn>
                      <a:cxn ang="0">
                        <a:pos x="connsiteX267" y="connsiteY267"/>
                      </a:cxn>
                      <a:cxn ang="0">
                        <a:pos x="connsiteX268" y="connsiteY268"/>
                      </a:cxn>
                      <a:cxn ang="0">
                        <a:pos x="connsiteX269" y="connsiteY269"/>
                      </a:cxn>
                      <a:cxn ang="0">
                        <a:pos x="connsiteX270" y="connsiteY270"/>
                      </a:cxn>
                      <a:cxn ang="0">
                        <a:pos x="connsiteX271" y="connsiteY271"/>
                      </a:cxn>
                      <a:cxn ang="0">
                        <a:pos x="connsiteX272" y="connsiteY272"/>
                      </a:cxn>
                      <a:cxn ang="0">
                        <a:pos x="connsiteX273" y="connsiteY273"/>
                      </a:cxn>
                      <a:cxn ang="0">
                        <a:pos x="connsiteX274" y="connsiteY274"/>
                      </a:cxn>
                      <a:cxn ang="0">
                        <a:pos x="connsiteX275" y="connsiteY275"/>
                      </a:cxn>
                      <a:cxn ang="0">
                        <a:pos x="connsiteX276" y="connsiteY276"/>
                      </a:cxn>
                      <a:cxn ang="0">
                        <a:pos x="connsiteX277" y="connsiteY277"/>
                      </a:cxn>
                      <a:cxn ang="0">
                        <a:pos x="connsiteX278" y="connsiteY278"/>
                      </a:cxn>
                      <a:cxn ang="0">
                        <a:pos x="connsiteX279" y="connsiteY279"/>
                      </a:cxn>
                      <a:cxn ang="0">
                        <a:pos x="connsiteX280" y="connsiteY280"/>
                      </a:cxn>
                      <a:cxn ang="0">
                        <a:pos x="connsiteX281" y="connsiteY281"/>
                      </a:cxn>
                      <a:cxn ang="0">
                        <a:pos x="connsiteX282" y="connsiteY282"/>
                      </a:cxn>
                      <a:cxn ang="0">
                        <a:pos x="connsiteX283" y="connsiteY283"/>
                      </a:cxn>
                      <a:cxn ang="0">
                        <a:pos x="connsiteX284" y="connsiteY284"/>
                      </a:cxn>
                      <a:cxn ang="0">
                        <a:pos x="connsiteX285" y="connsiteY285"/>
                      </a:cxn>
                      <a:cxn ang="0">
                        <a:pos x="connsiteX286" y="connsiteY286"/>
                      </a:cxn>
                      <a:cxn ang="0">
                        <a:pos x="connsiteX287" y="connsiteY287"/>
                      </a:cxn>
                    </a:cxnLst>
                    <a:rect l="l" t="t" r="r" b="b"/>
                    <a:pathLst>
                      <a:path w="341312" h="1516168">
                        <a:moveTo>
                          <a:pt x="276318" y="1344294"/>
                        </a:moveTo>
                        <a:cubicBezTo>
                          <a:pt x="276318" y="1344294"/>
                          <a:pt x="276318" y="1344294"/>
                          <a:pt x="329546" y="1363314"/>
                        </a:cubicBezTo>
                        <a:cubicBezTo>
                          <a:pt x="336270" y="1365552"/>
                          <a:pt x="341312" y="1372824"/>
                          <a:pt x="341312" y="1378977"/>
                        </a:cubicBezTo>
                        <a:cubicBezTo>
                          <a:pt x="341312" y="1378977"/>
                          <a:pt x="341312" y="1378977"/>
                          <a:pt x="341312" y="1508200"/>
                        </a:cubicBezTo>
                        <a:cubicBezTo>
                          <a:pt x="341312" y="1514354"/>
                          <a:pt x="336270" y="1517710"/>
                          <a:pt x="329546" y="1515473"/>
                        </a:cubicBezTo>
                        <a:cubicBezTo>
                          <a:pt x="329546" y="1515473"/>
                          <a:pt x="329546" y="1515473"/>
                          <a:pt x="276318" y="1495893"/>
                        </a:cubicBezTo>
                        <a:cubicBezTo>
                          <a:pt x="270155" y="1493656"/>
                          <a:pt x="265112" y="1486943"/>
                          <a:pt x="265112" y="1480789"/>
                        </a:cubicBezTo>
                        <a:cubicBezTo>
                          <a:pt x="265112" y="1480789"/>
                          <a:pt x="265112" y="1480789"/>
                          <a:pt x="265112" y="1351007"/>
                        </a:cubicBezTo>
                        <a:cubicBezTo>
                          <a:pt x="265112" y="1344854"/>
                          <a:pt x="270155" y="1341497"/>
                          <a:pt x="276318" y="1344294"/>
                        </a:cubicBezTo>
                        <a:close/>
                        <a:moveTo>
                          <a:pt x="188854" y="1311965"/>
                        </a:moveTo>
                        <a:cubicBezTo>
                          <a:pt x="188854" y="1311965"/>
                          <a:pt x="188854" y="1311965"/>
                          <a:pt x="241359" y="1331367"/>
                        </a:cubicBezTo>
                        <a:cubicBezTo>
                          <a:pt x="247439" y="1333585"/>
                          <a:pt x="252413" y="1340792"/>
                          <a:pt x="252413" y="1346890"/>
                        </a:cubicBezTo>
                        <a:cubicBezTo>
                          <a:pt x="252413" y="1346890"/>
                          <a:pt x="252413" y="1346890"/>
                          <a:pt x="252413" y="1474948"/>
                        </a:cubicBezTo>
                        <a:cubicBezTo>
                          <a:pt x="252413" y="1481046"/>
                          <a:pt x="247439" y="1484372"/>
                          <a:pt x="241359" y="1482155"/>
                        </a:cubicBezTo>
                        <a:cubicBezTo>
                          <a:pt x="241359" y="1482155"/>
                          <a:pt x="241359" y="1482155"/>
                          <a:pt x="188854" y="1462752"/>
                        </a:cubicBezTo>
                        <a:cubicBezTo>
                          <a:pt x="182774" y="1460534"/>
                          <a:pt x="177800" y="1453882"/>
                          <a:pt x="177800" y="1447784"/>
                        </a:cubicBezTo>
                        <a:cubicBezTo>
                          <a:pt x="177800" y="1447784"/>
                          <a:pt x="177800" y="1447784"/>
                          <a:pt x="177800" y="1319171"/>
                        </a:cubicBezTo>
                        <a:cubicBezTo>
                          <a:pt x="177800" y="1313073"/>
                          <a:pt x="182774" y="1309747"/>
                          <a:pt x="188854" y="1311965"/>
                        </a:cubicBezTo>
                        <a:close/>
                        <a:moveTo>
                          <a:pt x="99873" y="1280215"/>
                        </a:moveTo>
                        <a:cubicBezTo>
                          <a:pt x="99873" y="1280215"/>
                          <a:pt x="99873" y="1280215"/>
                          <a:pt x="151992" y="1299617"/>
                        </a:cubicBezTo>
                        <a:cubicBezTo>
                          <a:pt x="158576" y="1301835"/>
                          <a:pt x="163513" y="1308487"/>
                          <a:pt x="163513" y="1315140"/>
                        </a:cubicBezTo>
                        <a:cubicBezTo>
                          <a:pt x="163513" y="1315140"/>
                          <a:pt x="163513" y="1315140"/>
                          <a:pt x="163513" y="1443198"/>
                        </a:cubicBezTo>
                        <a:cubicBezTo>
                          <a:pt x="163513" y="1449296"/>
                          <a:pt x="158576" y="1452622"/>
                          <a:pt x="151992" y="1450405"/>
                        </a:cubicBezTo>
                        <a:cubicBezTo>
                          <a:pt x="151992" y="1450405"/>
                          <a:pt x="151992" y="1450405"/>
                          <a:pt x="99873" y="1431002"/>
                        </a:cubicBezTo>
                        <a:cubicBezTo>
                          <a:pt x="93838" y="1428784"/>
                          <a:pt x="88900" y="1422132"/>
                          <a:pt x="88900" y="1416034"/>
                        </a:cubicBezTo>
                        <a:cubicBezTo>
                          <a:pt x="88900" y="1416034"/>
                          <a:pt x="88900" y="1416034"/>
                          <a:pt x="88900" y="1287421"/>
                        </a:cubicBezTo>
                        <a:cubicBezTo>
                          <a:pt x="88900" y="1281323"/>
                          <a:pt x="93838" y="1277997"/>
                          <a:pt x="99873" y="1280215"/>
                        </a:cubicBezTo>
                        <a:close/>
                        <a:moveTo>
                          <a:pt x="11054" y="1246897"/>
                        </a:moveTo>
                        <a:cubicBezTo>
                          <a:pt x="11054" y="1246897"/>
                          <a:pt x="11054" y="1246897"/>
                          <a:pt x="63559" y="1266476"/>
                        </a:cubicBezTo>
                        <a:cubicBezTo>
                          <a:pt x="69639" y="1268714"/>
                          <a:pt x="74613" y="1275426"/>
                          <a:pt x="74613" y="1282139"/>
                        </a:cubicBezTo>
                        <a:cubicBezTo>
                          <a:pt x="74613" y="1282139"/>
                          <a:pt x="74613" y="1282139"/>
                          <a:pt x="74613" y="1411362"/>
                        </a:cubicBezTo>
                        <a:cubicBezTo>
                          <a:pt x="74613" y="1417516"/>
                          <a:pt x="69639" y="1420872"/>
                          <a:pt x="63559" y="1418635"/>
                        </a:cubicBezTo>
                        <a:cubicBezTo>
                          <a:pt x="63559" y="1418635"/>
                          <a:pt x="63559" y="1418635"/>
                          <a:pt x="11054" y="1399055"/>
                        </a:cubicBezTo>
                        <a:cubicBezTo>
                          <a:pt x="4974" y="1396818"/>
                          <a:pt x="0" y="1390105"/>
                          <a:pt x="0" y="1383951"/>
                        </a:cubicBezTo>
                        <a:cubicBezTo>
                          <a:pt x="0" y="1383951"/>
                          <a:pt x="0" y="1383951"/>
                          <a:pt x="0" y="1254169"/>
                        </a:cubicBezTo>
                        <a:cubicBezTo>
                          <a:pt x="0" y="1248016"/>
                          <a:pt x="4974" y="1244659"/>
                          <a:pt x="11054" y="1246897"/>
                        </a:cubicBezTo>
                        <a:close/>
                        <a:moveTo>
                          <a:pt x="276318" y="1165914"/>
                        </a:moveTo>
                        <a:cubicBezTo>
                          <a:pt x="276318" y="1165914"/>
                          <a:pt x="276318" y="1165914"/>
                          <a:pt x="329546" y="1185317"/>
                        </a:cubicBezTo>
                        <a:cubicBezTo>
                          <a:pt x="336270" y="1187535"/>
                          <a:pt x="341312" y="1194187"/>
                          <a:pt x="341312" y="1200839"/>
                        </a:cubicBezTo>
                        <a:cubicBezTo>
                          <a:pt x="341312" y="1200839"/>
                          <a:pt x="341312" y="1200839"/>
                          <a:pt x="341312" y="1328898"/>
                        </a:cubicBezTo>
                        <a:cubicBezTo>
                          <a:pt x="341312" y="1334996"/>
                          <a:pt x="336270" y="1338322"/>
                          <a:pt x="329546" y="1336105"/>
                        </a:cubicBezTo>
                        <a:cubicBezTo>
                          <a:pt x="329546" y="1336105"/>
                          <a:pt x="329546" y="1336105"/>
                          <a:pt x="276318" y="1316702"/>
                        </a:cubicBezTo>
                        <a:cubicBezTo>
                          <a:pt x="270155" y="1314484"/>
                          <a:pt x="265112" y="1307832"/>
                          <a:pt x="265112" y="1301734"/>
                        </a:cubicBezTo>
                        <a:cubicBezTo>
                          <a:pt x="265112" y="1301734"/>
                          <a:pt x="265112" y="1301734"/>
                          <a:pt x="265112" y="1173121"/>
                        </a:cubicBezTo>
                        <a:cubicBezTo>
                          <a:pt x="265112" y="1167023"/>
                          <a:pt x="270155" y="1163697"/>
                          <a:pt x="276318" y="1165914"/>
                        </a:cubicBezTo>
                        <a:close/>
                        <a:moveTo>
                          <a:pt x="188854" y="1134164"/>
                        </a:moveTo>
                        <a:cubicBezTo>
                          <a:pt x="188854" y="1134164"/>
                          <a:pt x="188854" y="1134164"/>
                          <a:pt x="241359" y="1153567"/>
                        </a:cubicBezTo>
                        <a:cubicBezTo>
                          <a:pt x="247439" y="1155785"/>
                          <a:pt x="252413" y="1162437"/>
                          <a:pt x="252413" y="1169089"/>
                        </a:cubicBezTo>
                        <a:cubicBezTo>
                          <a:pt x="252413" y="1169089"/>
                          <a:pt x="252413" y="1169089"/>
                          <a:pt x="252413" y="1297148"/>
                        </a:cubicBezTo>
                        <a:cubicBezTo>
                          <a:pt x="252413" y="1303246"/>
                          <a:pt x="247439" y="1306572"/>
                          <a:pt x="241359" y="1304355"/>
                        </a:cubicBezTo>
                        <a:cubicBezTo>
                          <a:pt x="241359" y="1304355"/>
                          <a:pt x="241359" y="1304355"/>
                          <a:pt x="188854" y="1284952"/>
                        </a:cubicBezTo>
                        <a:cubicBezTo>
                          <a:pt x="182774" y="1282734"/>
                          <a:pt x="177800" y="1276082"/>
                          <a:pt x="177800" y="1269984"/>
                        </a:cubicBezTo>
                        <a:cubicBezTo>
                          <a:pt x="177800" y="1269984"/>
                          <a:pt x="177800" y="1269984"/>
                          <a:pt x="177800" y="1141371"/>
                        </a:cubicBezTo>
                        <a:cubicBezTo>
                          <a:pt x="177800" y="1135273"/>
                          <a:pt x="182774" y="1131947"/>
                          <a:pt x="188854" y="1134164"/>
                        </a:cubicBezTo>
                        <a:close/>
                        <a:moveTo>
                          <a:pt x="99873" y="1100847"/>
                        </a:moveTo>
                        <a:cubicBezTo>
                          <a:pt x="99873" y="1100847"/>
                          <a:pt x="99873" y="1100847"/>
                          <a:pt x="151992" y="1120426"/>
                        </a:cubicBezTo>
                        <a:cubicBezTo>
                          <a:pt x="158576" y="1122663"/>
                          <a:pt x="163513" y="1129376"/>
                          <a:pt x="163513" y="1136089"/>
                        </a:cubicBezTo>
                        <a:cubicBezTo>
                          <a:pt x="163513" y="1136089"/>
                          <a:pt x="163513" y="1136089"/>
                          <a:pt x="163513" y="1265312"/>
                        </a:cubicBezTo>
                        <a:cubicBezTo>
                          <a:pt x="163513" y="1271466"/>
                          <a:pt x="158576" y="1274822"/>
                          <a:pt x="151992" y="1272585"/>
                        </a:cubicBezTo>
                        <a:cubicBezTo>
                          <a:pt x="151992" y="1272585"/>
                          <a:pt x="151992" y="1272585"/>
                          <a:pt x="99873" y="1253005"/>
                        </a:cubicBezTo>
                        <a:cubicBezTo>
                          <a:pt x="93838" y="1250768"/>
                          <a:pt x="88900" y="1244055"/>
                          <a:pt x="88900" y="1237342"/>
                        </a:cubicBezTo>
                        <a:cubicBezTo>
                          <a:pt x="88900" y="1237342"/>
                          <a:pt x="88900" y="1237342"/>
                          <a:pt x="88900" y="1108119"/>
                        </a:cubicBezTo>
                        <a:cubicBezTo>
                          <a:pt x="88900" y="1101965"/>
                          <a:pt x="93838" y="1098609"/>
                          <a:pt x="99873" y="1100847"/>
                        </a:cubicBezTo>
                        <a:close/>
                        <a:moveTo>
                          <a:pt x="11054" y="1069076"/>
                        </a:moveTo>
                        <a:cubicBezTo>
                          <a:pt x="11054" y="1069076"/>
                          <a:pt x="11054" y="1069076"/>
                          <a:pt x="63559" y="1088479"/>
                        </a:cubicBezTo>
                        <a:cubicBezTo>
                          <a:pt x="69639" y="1090697"/>
                          <a:pt x="74613" y="1097349"/>
                          <a:pt x="74613" y="1104001"/>
                        </a:cubicBezTo>
                        <a:cubicBezTo>
                          <a:pt x="74613" y="1104001"/>
                          <a:pt x="74613" y="1104001"/>
                          <a:pt x="74613" y="1232060"/>
                        </a:cubicBezTo>
                        <a:cubicBezTo>
                          <a:pt x="74613" y="1238158"/>
                          <a:pt x="69639" y="1241484"/>
                          <a:pt x="63559" y="1239266"/>
                        </a:cubicBezTo>
                        <a:cubicBezTo>
                          <a:pt x="63559" y="1239266"/>
                          <a:pt x="63559" y="1239266"/>
                          <a:pt x="11054" y="1219864"/>
                        </a:cubicBezTo>
                        <a:cubicBezTo>
                          <a:pt x="4974" y="1217646"/>
                          <a:pt x="0" y="1210994"/>
                          <a:pt x="0" y="1204341"/>
                        </a:cubicBezTo>
                        <a:cubicBezTo>
                          <a:pt x="0" y="1204341"/>
                          <a:pt x="0" y="1204341"/>
                          <a:pt x="0" y="1076283"/>
                        </a:cubicBezTo>
                        <a:cubicBezTo>
                          <a:pt x="0" y="1070185"/>
                          <a:pt x="4974" y="1066859"/>
                          <a:pt x="11054" y="1069076"/>
                        </a:cubicBezTo>
                        <a:close/>
                        <a:moveTo>
                          <a:pt x="276318" y="988114"/>
                        </a:moveTo>
                        <a:cubicBezTo>
                          <a:pt x="276318" y="988114"/>
                          <a:pt x="276318" y="988114"/>
                          <a:pt x="329546" y="1007517"/>
                        </a:cubicBezTo>
                        <a:cubicBezTo>
                          <a:pt x="336270" y="1009735"/>
                          <a:pt x="341312" y="1016387"/>
                          <a:pt x="341312" y="1023039"/>
                        </a:cubicBezTo>
                        <a:cubicBezTo>
                          <a:pt x="341312" y="1023039"/>
                          <a:pt x="341312" y="1023039"/>
                          <a:pt x="341312" y="1151098"/>
                        </a:cubicBezTo>
                        <a:cubicBezTo>
                          <a:pt x="341312" y="1157196"/>
                          <a:pt x="336270" y="1160522"/>
                          <a:pt x="329546" y="1158304"/>
                        </a:cubicBezTo>
                        <a:cubicBezTo>
                          <a:pt x="329546" y="1158304"/>
                          <a:pt x="329546" y="1158304"/>
                          <a:pt x="276318" y="1138902"/>
                        </a:cubicBezTo>
                        <a:cubicBezTo>
                          <a:pt x="270155" y="1136684"/>
                          <a:pt x="265112" y="1130032"/>
                          <a:pt x="265112" y="1123379"/>
                        </a:cubicBezTo>
                        <a:cubicBezTo>
                          <a:pt x="265112" y="1123379"/>
                          <a:pt x="265112" y="1123379"/>
                          <a:pt x="265112" y="995321"/>
                        </a:cubicBezTo>
                        <a:cubicBezTo>
                          <a:pt x="265112" y="989223"/>
                          <a:pt x="270155" y="985897"/>
                          <a:pt x="276318" y="988114"/>
                        </a:cubicBezTo>
                        <a:close/>
                        <a:moveTo>
                          <a:pt x="188854" y="956364"/>
                        </a:moveTo>
                        <a:cubicBezTo>
                          <a:pt x="188854" y="956364"/>
                          <a:pt x="188854" y="956364"/>
                          <a:pt x="241359" y="975767"/>
                        </a:cubicBezTo>
                        <a:cubicBezTo>
                          <a:pt x="247439" y="977985"/>
                          <a:pt x="252413" y="984637"/>
                          <a:pt x="252413" y="990735"/>
                        </a:cubicBezTo>
                        <a:cubicBezTo>
                          <a:pt x="252413" y="990735"/>
                          <a:pt x="252413" y="990735"/>
                          <a:pt x="252413" y="1119348"/>
                        </a:cubicBezTo>
                        <a:cubicBezTo>
                          <a:pt x="252413" y="1125446"/>
                          <a:pt x="247439" y="1128772"/>
                          <a:pt x="241359" y="1126554"/>
                        </a:cubicBezTo>
                        <a:cubicBezTo>
                          <a:pt x="241359" y="1126554"/>
                          <a:pt x="241359" y="1126554"/>
                          <a:pt x="188854" y="1107152"/>
                        </a:cubicBezTo>
                        <a:cubicBezTo>
                          <a:pt x="182774" y="1104934"/>
                          <a:pt x="177800" y="1098282"/>
                          <a:pt x="177800" y="1091629"/>
                        </a:cubicBezTo>
                        <a:cubicBezTo>
                          <a:pt x="177800" y="1091629"/>
                          <a:pt x="177800" y="1091629"/>
                          <a:pt x="177800" y="963571"/>
                        </a:cubicBezTo>
                        <a:cubicBezTo>
                          <a:pt x="177800" y="957473"/>
                          <a:pt x="182774" y="954147"/>
                          <a:pt x="188854" y="956364"/>
                        </a:cubicBezTo>
                        <a:close/>
                        <a:moveTo>
                          <a:pt x="99873" y="923047"/>
                        </a:moveTo>
                        <a:cubicBezTo>
                          <a:pt x="99873" y="923047"/>
                          <a:pt x="99873" y="923047"/>
                          <a:pt x="151992" y="942626"/>
                        </a:cubicBezTo>
                        <a:cubicBezTo>
                          <a:pt x="158576" y="944863"/>
                          <a:pt x="163513" y="951576"/>
                          <a:pt x="163513" y="957730"/>
                        </a:cubicBezTo>
                        <a:cubicBezTo>
                          <a:pt x="163513" y="957730"/>
                          <a:pt x="163513" y="957730"/>
                          <a:pt x="163513" y="1087512"/>
                        </a:cubicBezTo>
                        <a:cubicBezTo>
                          <a:pt x="163513" y="1093665"/>
                          <a:pt x="158576" y="1097022"/>
                          <a:pt x="151992" y="1094784"/>
                        </a:cubicBezTo>
                        <a:cubicBezTo>
                          <a:pt x="151992" y="1094784"/>
                          <a:pt x="151992" y="1094784"/>
                          <a:pt x="99873" y="1075205"/>
                        </a:cubicBezTo>
                        <a:cubicBezTo>
                          <a:pt x="93838" y="1072967"/>
                          <a:pt x="88900" y="1066255"/>
                          <a:pt x="88900" y="1059542"/>
                        </a:cubicBezTo>
                        <a:cubicBezTo>
                          <a:pt x="88900" y="1059542"/>
                          <a:pt x="88900" y="1059542"/>
                          <a:pt x="88900" y="930319"/>
                        </a:cubicBezTo>
                        <a:cubicBezTo>
                          <a:pt x="88900" y="924165"/>
                          <a:pt x="93838" y="920809"/>
                          <a:pt x="99873" y="923047"/>
                        </a:cubicBezTo>
                        <a:close/>
                        <a:moveTo>
                          <a:pt x="11054" y="891276"/>
                        </a:moveTo>
                        <a:cubicBezTo>
                          <a:pt x="11054" y="891276"/>
                          <a:pt x="11054" y="891276"/>
                          <a:pt x="63559" y="910679"/>
                        </a:cubicBezTo>
                        <a:cubicBezTo>
                          <a:pt x="69639" y="912897"/>
                          <a:pt x="74613" y="919549"/>
                          <a:pt x="74613" y="925647"/>
                        </a:cubicBezTo>
                        <a:cubicBezTo>
                          <a:pt x="74613" y="925647"/>
                          <a:pt x="74613" y="925647"/>
                          <a:pt x="74613" y="1054260"/>
                        </a:cubicBezTo>
                        <a:cubicBezTo>
                          <a:pt x="74613" y="1060358"/>
                          <a:pt x="69639" y="1063684"/>
                          <a:pt x="63559" y="1061466"/>
                        </a:cubicBezTo>
                        <a:cubicBezTo>
                          <a:pt x="63559" y="1061466"/>
                          <a:pt x="63559" y="1061466"/>
                          <a:pt x="11054" y="1042064"/>
                        </a:cubicBezTo>
                        <a:cubicBezTo>
                          <a:pt x="4974" y="1039846"/>
                          <a:pt x="0" y="1032639"/>
                          <a:pt x="0" y="1026541"/>
                        </a:cubicBezTo>
                        <a:cubicBezTo>
                          <a:pt x="0" y="1026541"/>
                          <a:pt x="0" y="1026541"/>
                          <a:pt x="0" y="898483"/>
                        </a:cubicBezTo>
                        <a:cubicBezTo>
                          <a:pt x="0" y="892385"/>
                          <a:pt x="4974" y="889059"/>
                          <a:pt x="11054" y="891276"/>
                        </a:cubicBezTo>
                        <a:close/>
                        <a:moveTo>
                          <a:pt x="276318" y="810314"/>
                        </a:moveTo>
                        <a:cubicBezTo>
                          <a:pt x="276318" y="810314"/>
                          <a:pt x="276318" y="810314"/>
                          <a:pt x="329546" y="829717"/>
                        </a:cubicBezTo>
                        <a:cubicBezTo>
                          <a:pt x="336270" y="831935"/>
                          <a:pt x="341312" y="838587"/>
                          <a:pt x="341312" y="844685"/>
                        </a:cubicBezTo>
                        <a:cubicBezTo>
                          <a:pt x="341312" y="844685"/>
                          <a:pt x="341312" y="844685"/>
                          <a:pt x="341312" y="973298"/>
                        </a:cubicBezTo>
                        <a:cubicBezTo>
                          <a:pt x="341312" y="979396"/>
                          <a:pt x="336270" y="982722"/>
                          <a:pt x="329546" y="980504"/>
                        </a:cubicBezTo>
                        <a:cubicBezTo>
                          <a:pt x="329546" y="980504"/>
                          <a:pt x="329546" y="980504"/>
                          <a:pt x="276318" y="961102"/>
                        </a:cubicBezTo>
                        <a:cubicBezTo>
                          <a:pt x="270155" y="958884"/>
                          <a:pt x="265112" y="951677"/>
                          <a:pt x="265112" y="945579"/>
                        </a:cubicBezTo>
                        <a:cubicBezTo>
                          <a:pt x="265112" y="945579"/>
                          <a:pt x="265112" y="945579"/>
                          <a:pt x="265112" y="817521"/>
                        </a:cubicBezTo>
                        <a:cubicBezTo>
                          <a:pt x="265112" y="811423"/>
                          <a:pt x="270155" y="808097"/>
                          <a:pt x="276318" y="810314"/>
                        </a:cubicBezTo>
                        <a:close/>
                        <a:moveTo>
                          <a:pt x="188854" y="776997"/>
                        </a:moveTo>
                        <a:cubicBezTo>
                          <a:pt x="188854" y="776997"/>
                          <a:pt x="188854" y="776997"/>
                          <a:pt x="241359" y="796576"/>
                        </a:cubicBezTo>
                        <a:cubicBezTo>
                          <a:pt x="247439" y="798813"/>
                          <a:pt x="252413" y="805526"/>
                          <a:pt x="252413" y="811680"/>
                        </a:cubicBezTo>
                        <a:cubicBezTo>
                          <a:pt x="252413" y="811680"/>
                          <a:pt x="252413" y="811680"/>
                          <a:pt x="252413" y="941462"/>
                        </a:cubicBezTo>
                        <a:cubicBezTo>
                          <a:pt x="252413" y="947615"/>
                          <a:pt x="247439" y="950972"/>
                          <a:pt x="241359" y="948175"/>
                        </a:cubicBezTo>
                        <a:cubicBezTo>
                          <a:pt x="241359" y="948175"/>
                          <a:pt x="241359" y="948175"/>
                          <a:pt x="188854" y="929155"/>
                        </a:cubicBezTo>
                        <a:cubicBezTo>
                          <a:pt x="182774" y="926917"/>
                          <a:pt x="177800" y="919645"/>
                          <a:pt x="177800" y="913492"/>
                        </a:cubicBezTo>
                        <a:cubicBezTo>
                          <a:pt x="177800" y="913492"/>
                          <a:pt x="177800" y="913492"/>
                          <a:pt x="177800" y="784269"/>
                        </a:cubicBezTo>
                        <a:cubicBezTo>
                          <a:pt x="177800" y="778115"/>
                          <a:pt x="182774" y="774759"/>
                          <a:pt x="188854" y="776997"/>
                        </a:cubicBezTo>
                        <a:close/>
                        <a:moveTo>
                          <a:pt x="99873" y="745247"/>
                        </a:moveTo>
                        <a:cubicBezTo>
                          <a:pt x="99873" y="745247"/>
                          <a:pt x="99873" y="745247"/>
                          <a:pt x="151992" y="764826"/>
                        </a:cubicBezTo>
                        <a:cubicBezTo>
                          <a:pt x="158576" y="767063"/>
                          <a:pt x="163513" y="773776"/>
                          <a:pt x="163513" y="779930"/>
                        </a:cubicBezTo>
                        <a:cubicBezTo>
                          <a:pt x="163513" y="779930"/>
                          <a:pt x="163513" y="779930"/>
                          <a:pt x="163513" y="909712"/>
                        </a:cubicBezTo>
                        <a:cubicBezTo>
                          <a:pt x="163513" y="915865"/>
                          <a:pt x="158576" y="919222"/>
                          <a:pt x="151992" y="916425"/>
                        </a:cubicBezTo>
                        <a:cubicBezTo>
                          <a:pt x="151992" y="916425"/>
                          <a:pt x="151992" y="916425"/>
                          <a:pt x="99873" y="897405"/>
                        </a:cubicBezTo>
                        <a:cubicBezTo>
                          <a:pt x="93838" y="895167"/>
                          <a:pt x="88900" y="887895"/>
                          <a:pt x="88900" y="881742"/>
                        </a:cubicBezTo>
                        <a:cubicBezTo>
                          <a:pt x="88900" y="881742"/>
                          <a:pt x="88900" y="881742"/>
                          <a:pt x="88900" y="752519"/>
                        </a:cubicBezTo>
                        <a:cubicBezTo>
                          <a:pt x="88900" y="746365"/>
                          <a:pt x="93838" y="743009"/>
                          <a:pt x="99873" y="745247"/>
                        </a:cubicBezTo>
                        <a:close/>
                        <a:moveTo>
                          <a:pt x="11054" y="713483"/>
                        </a:moveTo>
                        <a:cubicBezTo>
                          <a:pt x="11054" y="713483"/>
                          <a:pt x="11054" y="713483"/>
                          <a:pt x="63559" y="732948"/>
                        </a:cubicBezTo>
                        <a:cubicBezTo>
                          <a:pt x="69639" y="735172"/>
                          <a:pt x="74613" y="741846"/>
                          <a:pt x="74613" y="747963"/>
                        </a:cubicBezTo>
                        <a:cubicBezTo>
                          <a:pt x="74613" y="747963"/>
                          <a:pt x="74613" y="747963"/>
                          <a:pt x="74613" y="876430"/>
                        </a:cubicBezTo>
                        <a:cubicBezTo>
                          <a:pt x="74613" y="883103"/>
                          <a:pt x="69639" y="885884"/>
                          <a:pt x="63559" y="883659"/>
                        </a:cubicBezTo>
                        <a:cubicBezTo>
                          <a:pt x="63559" y="883659"/>
                          <a:pt x="63559" y="883659"/>
                          <a:pt x="11054" y="864751"/>
                        </a:cubicBezTo>
                        <a:cubicBezTo>
                          <a:pt x="4974" y="862526"/>
                          <a:pt x="0" y="855297"/>
                          <a:pt x="0" y="849179"/>
                        </a:cubicBezTo>
                        <a:cubicBezTo>
                          <a:pt x="0" y="849179"/>
                          <a:pt x="0" y="849179"/>
                          <a:pt x="0" y="720713"/>
                        </a:cubicBezTo>
                        <a:cubicBezTo>
                          <a:pt x="0" y="714596"/>
                          <a:pt x="4974" y="711259"/>
                          <a:pt x="11054" y="713483"/>
                        </a:cubicBezTo>
                        <a:close/>
                        <a:moveTo>
                          <a:pt x="276318" y="632521"/>
                        </a:moveTo>
                        <a:cubicBezTo>
                          <a:pt x="276318" y="632521"/>
                          <a:pt x="276318" y="632521"/>
                          <a:pt x="329546" y="651986"/>
                        </a:cubicBezTo>
                        <a:cubicBezTo>
                          <a:pt x="336270" y="654210"/>
                          <a:pt x="341312" y="660884"/>
                          <a:pt x="341312" y="667001"/>
                        </a:cubicBezTo>
                        <a:cubicBezTo>
                          <a:pt x="341312" y="667001"/>
                          <a:pt x="341312" y="667001"/>
                          <a:pt x="341312" y="795468"/>
                        </a:cubicBezTo>
                        <a:cubicBezTo>
                          <a:pt x="341312" y="802141"/>
                          <a:pt x="336270" y="804922"/>
                          <a:pt x="329546" y="802697"/>
                        </a:cubicBezTo>
                        <a:cubicBezTo>
                          <a:pt x="329546" y="802697"/>
                          <a:pt x="329546" y="802697"/>
                          <a:pt x="276318" y="783789"/>
                        </a:cubicBezTo>
                        <a:cubicBezTo>
                          <a:pt x="270155" y="781564"/>
                          <a:pt x="265112" y="774335"/>
                          <a:pt x="265112" y="768217"/>
                        </a:cubicBezTo>
                        <a:cubicBezTo>
                          <a:pt x="265112" y="768217"/>
                          <a:pt x="265112" y="768217"/>
                          <a:pt x="265112" y="639751"/>
                        </a:cubicBezTo>
                        <a:cubicBezTo>
                          <a:pt x="265112" y="633634"/>
                          <a:pt x="270155" y="630297"/>
                          <a:pt x="276318" y="632521"/>
                        </a:cubicBezTo>
                        <a:close/>
                        <a:moveTo>
                          <a:pt x="188854" y="599183"/>
                        </a:moveTo>
                        <a:cubicBezTo>
                          <a:pt x="188854" y="599183"/>
                          <a:pt x="188854" y="599183"/>
                          <a:pt x="241359" y="618648"/>
                        </a:cubicBezTo>
                        <a:cubicBezTo>
                          <a:pt x="247439" y="620872"/>
                          <a:pt x="252413" y="627546"/>
                          <a:pt x="252413" y="633663"/>
                        </a:cubicBezTo>
                        <a:cubicBezTo>
                          <a:pt x="252413" y="633663"/>
                          <a:pt x="252413" y="633663"/>
                          <a:pt x="252413" y="762130"/>
                        </a:cubicBezTo>
                        <a:cubicBezTo>
                          <a:pt x="252413" y="768803"/>
                          <a:pt x="247439" y="771584"/>
                          <a:pt x="241359" y="769359"/>
                        </a:cubicBezTo>
                        <a:cubicBezTo>
                          <a:pt x="241359" y="769359"/>
                          <a:pt x="241359" y="769359"/>
                          <a:pt x="188854" y="750451"/>
                        </a:cubicBezTo>
                        <a:cubicBezTo>
                          <a:pt x="182774" y="748226"/>
                          <a:pt x="177800" y="740997"/>
                          <a:pt x="177800" y="734879"/>
                        </a:cubicBezTo>
                        <a:cubicBezTo>
                          <a:pt x="177800" y="734879"/>
                          <a:pt x="177800" y="734879"/>
                          <a:pt x="177800" y="606413"/>
                        </a:cubicBezTo>
                        <a:cubicBezTo>
                          <a:pt x="177800" y="600296"/>
                          <a:pt x="182774" y="596959"/>
                          <a:pt x="188854" y="599183"/>
                        </a:cubicBezTo>
                        <a:close/>
                        <a:moveTo>
                          <a:pt x="99873" y="567433"/>
                        </a:moveTo>
                        <a:cubicBezTo>
                          <a:pt x="99873" y="567433"/>
                          <a:pt x="99873" y="567433"/>
                          <a:pt x="151992" y="586342"/>
                        </a:cubicBezTo>
                        <a:cubicBezTo>
                          <a:pt x="158576" y="589122"/>
                          <a:pt x="163513" y="595796"/>
                          <a:pt x="163513" y="601913"/>
                        </a:cubicBezTo>
                        <a:cubicBezTo>
                          <a:pt x="163513" y="601913"/>
                          <a:pt x="163513" y="601913"/>
                          <a:pt x="163513" y="730380"/>
                        </a:cubicBezTo>
                        <a:cubicBezTo>
                          <a:pt x="163513" y="737053"/>
                          <a:pt x="158576" y="739834"/>
                          <a:pt x="151992" y="737609"/>
                        </a:cubicBezTo>
                        <a:cubicBezTo>
                          <a:pt x="151992" y="737609"/>
                          <a:pt x="151992" y="737609"/>
                          <a:pt x="99873" y="718701"/>
                        </a:cubicBezTo>
                        <a:cubicBezTo>
                          <a:pt x="93838" y="716476"/>
                          <a:pt x="88900" y="709247"/>
                          <a:pt x="88900" y="703129"/>
                        </a:cubicBezTo>
                        <a:cubicBezTo>
                          <a:pt x="88900" y="703129"/>
                          <a:pt x="88900" y="703129"/>
                          <a:pt x="88900" y="574663"/>
                        </a:cubicBezTo>
                        <a:cubicBezTo>
                          <a:pt x="88900" y="568546"/>
                          <a:pt x="93838" y="565209"/>
                          <a:pt x="99873" y="567433"/>
                        </a:cubicBezTo>
                        <a:close/>
                        <a:moveTo>
                          <a:pt x="11054" y="535683"/>
                        </a:moveTo>
                        <a:cubicBezTo>
                          <a:pt x="11054" y="535683"/>
                          <a:pt x="11054" y="535683"/>
                          <a:pt x="63559" y="554592"/>
                        </a:cubicBezTo>
                        <a:cubicBezTo>
                          <a:pt x="69639" y="556816"/>
                          <a:pt x="74613" y="564046"/>
                          <a:pt x="74613" y="570163"/>
                        </a:cubicBezTo>
                        <a:cubicBezTo>
                          <a:pt x="74613" y="570163"/>
                          <a:pt x="74613" y="570163"/>
                          <a:pt x="74613" y="698630"/>
                        </a:cubicBezTo>
                        <a:cubicBezTo>
                          <a:pt x="74613" y="705303"/>
                          <a:pt x="69639" y="708084"/>
                          <a:pt x="63559" y="705859"/>
                        </a:cubicBezTo>
                        <a:cubicBezTo>
                          <a:pt x="63559" y="705859"/>
                          <a:pt x="63559" y="705859"/>
                          <a:pt x="11054" y="686951"/>
                        </a:cubicBezTo>
                        <a:cubicBezTo>
                          <a:pt x="4974" y="684726"/>
                          <a:pt x="0" y="677497"/>
                          <a:pt x="0" y="671379"/>
                        </a:cubicBezTo>
                        <a:cubicBezTo>
                          <a:pt x="0" y="671379"/>
                          <a:pt x="0" y="671379"/>
                          <a:pt x="0" y="542913"/>
                        </a:cubicBezTo>
                        <a:cubicBezTo>
                          <a:pt x="0" y="536796"/>
                          <a:pt x="4974" y="533459"/>
                          <a:pt x="11054" y="535683"/>
                        </a:cubicBezTo>
                        <a:close/>
                        <a:moveTo>
                          <a:pt x="276318" y="453154"/>
                        </a:moveTo>
                        <a:cubicBezTo>
                          <a:pt x="276318" y="453154"/>
                          <a:pt x="276318" y="453154"/>
                          <a:pt x="329546" y="472234"/>
                        </a:cubicBezTo>
                        <a:cubicBezTo>
                          <a:pt x="336270" y="474479"/>
                          <a:pt x="341312" y="481774"/>
                          <a:pt x="341312" y="487947"/>
                        </a:cubicBezTo>
                        <a:cubicBezTo>
                          <a:pt x="341312" y="487947"/>
                          <a:pt x="341312" y="487947"/>
                          <a:pt x="341312" y="617582"/>
                        </a:cubicBezTo>
                        <a:cubicBezTo>
                          <a:pt x="341312" y="624316"/>
                          <a:pt x="336270" y="627122"/>
                          <a:pt x="329546" y="624877"/>
                        </a:cubicBezTo>
                        <a:cubicBezTo>
                          <a:pt x="329546" y="624877"/>
                          <a:pt x="329546" y="624877"/>
                          <a:pt x="276318" y="605797"/>
                        </a:cubicBezTo>
                        <a:cubicBezTo>
                          <a:pt x="270155" y="603552"/>
                          <a:pt x="265112" y="596257"/>
                          <a:pt x="265112" y="590083"/>
                        </a:cubicBezTo>
                        <a:cubicBezTo>
                          <a:pt x="265112" y="590083"/>
                          <a:pt x="265112" y="590083"/>
                          <a:pt x="265112" y="460449"/>
                        </a:cubicBezTo>
                        <a:cubicBezTo>
                          <a:pt x="265112" y="454276"/>
                          <a:pt x="270155" y="450909"/>
                          <a:pt x="276318" y="453154"/>
                        </a:cubicBezTo>
                        <a:close/>
                        <a:moveTo>
                          <a:pt x="188854" y="421383"/>
                        </a:moveTo>
                        <a:cubicBezTo>
                          <a:pt x="188854" y="421383"/>
                          <a:pt x="188854" y="421383"/>
                          <a:pt x="241359" y="440292"/>
                        </a:cubicBezTo>
                        <a:cubicBezTo>
                          <a:pt x="247439" y="442516"/>
                          <a:pt x="252413" y="449746"/>
                          <a:pt x="252413" y="455863"/>
                        </a:cubicBezTo>
                        <a:cubicBezTo>
                          <a:pt x="252413" y="455863"/>
                          <a:pt x="252413" y="455863"/>
                          <a:pt x="252413" y="584330"/>
                        </a:cubicBezTo>
                        <a:cubicBezTo>
                          <a:pt x="252413" y="590447"/>
                          <a:pt x="247439" y="593784"/>
                          <a:pt x="241359" y="591559"/>
                        </a:cubicBezTo>
                        <a:cubicBezTo>
                          <a:pt x="241359" y="591559"/>
                          <a:pt x="241359" y="591559"/>
                          <a:pt x="188854" y="572651"/>
                        </a:cubicBezTo>
                        <a:cubicBezTo>
                          <a:pt x="182774" y="570426"/>
                          <a:pt x="177800" y="563197"/>
                          <a:pt x="177800" y="557079"/>
                        </a:cubicBezTo>
                        <a:cubicBezTo>
                          <a:pt x="177800" y="557079"/>
                          <a:pt x="177800" y="557079"/>
                          <a:pt x="177800" y="428613"/>
                        </a:cubicBezTo>
                        <a:cubicBezTo>
                          <a:pt x="177800" y="421940"/>
                          <a:pt x="182774" y="419159"/>
                          <a:pt x="188854" y="421383"/>
                        </a:cubicBezTo>
                        <a:close/>
                        <a:moveTo>
                          <a:pt x="99873" y="389633"/>
                        </a:moveTo>
                        <a:cubicBezTo>
                          <a:pt x="99873" y="389633"/>
                          <a:pt x="99873" y="389633"/>
                          <a:pt x="151992" y="408542"/>
                        </a:cubicBezTo>
                        <a:cubicBezTo>
                          <a:pt x="158576" y="410766"/>
                          <a:pt x="163513" y="417996"/>
                          <a:pt x="163513" y="424113"/>
                        </a:cubicBezTo>
                        <a:cubicBezTo>
                          <a:pt x="163513" y="424113"/>
                          <a:pt x="163513" y="424113"/>
                          <a:pt x="163513" y="552580"/>
                        </a:cubicBezTo>
                        <a:cubicBezTo>
                          <a:pt x="163513" y="558697"/>
                          <a:pt x="158576" y="562034"/>
                          <a:pt x="151992" y="559809"/>
                        </a:cubicBezTo>
                        <a:cubicBezTo>
                          <a:pt x="151992" y="559809"/>
                          <a:pt x="151992" y="559809"/>
                          <a:pt x="99873" y="540901"/>
                        </a:cubicBezTo>
                        <a:cubicBezTo>
                          <a:pt x="93838" y="538120"/>
                          <a:pt x="88900" y="531447"/>
                          <a:pt x="88900" y="525329"/>
                        </a:cubicBezTo>
                        <a:cubicBezTo>
                          <a:pt x="88900" y="525329"/>
                          <a:pt x="88900" y="525329"/>
                          <a:pt x="88900" y="396863"/>
                        </a:cubicBezTo>
                        <a:cubicBezTo>
                          <a:pt x="88900" y="390190"/>
                          <a:pt x="93838" y="387409"/>
                          <a:pt x="99873" y="389633"/>
                        </a:cubicBezTo>
                        <a:close/>
                        <a:moveTo>
                          <a:pt x="11054" y="356317"/>
                        </a:moveTo>
                        <a:cubicBezTo>
                          <a:pt x="11054" y="356317"/>
                          <a:pt x="11054" y="356317"/>
                          <a:pt x="63559" y="375397"/>
                        </a:cubicBezTo>
                        <a:cubicBezTo>
                          <a:pt x="69639" y="377642"/>
                          <a:pt x="74613" y="384937"/>
                          <a:pt x="74613" y="391110"/>
                        </a:cubicBezTo>
                        <a:cubicBezTo>
                          <a:pt x="74613" y="391110"/>
                          <a:pt x="74613" y="391110"/>
                          <a:pt x="74613" y="520745"/>
                        </a:cubicBezTo>
                        <a:cubicBezTo>
                          <a:pt x="74613" y="526918"/>
                          <a:pt x="69639" y="530285"/>
                          <a:pt x="63559" y="528040"/>
                        </a:cubicBezTo>
                        <a:cubicBezTo>
                          <a:pt x="63559" y="528040"/>
                          <a:pt x="63559" y="528040"/>
                          <a:pt x="11054" y="508960"/>
                        </a:cubicBezTo>
                        <a:cubicBezTo>
                          <a:pt x="4974" y="506154"/>
                          <a:pt x="0" y="499420"/>
                          <a:pt x="0" y="493246"/>
                        </a:cubicBezTo>
                        <a:cubicBezTo>
                          <a:pt x="0" y="493246"/>
                          <a:pt x="0" y="493246"/>
                          <a:pt x="0" y="363612"/>
                        </a:cubicBezTo>
                        <a:cubicBezTo>
                          <a:pt x="0" y="356878"/>
                          <a:pt x="4974" y="354072"/>
                          <a:pt x="11054" y="356317"/>
                        </a:cubicBezTo>
                        <a:close/>
                        <a:moveTo>
                          <a:pt x="276318" y="275333"/>
                        </a:moveTo>
                        <a:cubicBezTo>
                          <a:pt x="276318" y="275333"/>
                          <a:pt x="276318" y="275333"/>
                          <a:pt x="329546" y="294242"/>
                        </a:cubicBezTo>
                        <a:cubicBezTo>
                          <a:pt x="336270" y="296466"/>
                          <a:pt x="341312" y="303696"/>
                          <a:pt x="341312" y="309813"/>
                        </a:cubicBezTo>
                        <a:cubicBezTo>
                          <a:pt x="341312" y="309813"/>
                          <a:pt x="341312" y="309813"/>
                          <a:pt x="341312" y="438280"/>
                        </a:cubicBezTo>
                        <a:cubicBezTo>
                          <a:pt x="341312" y="444397"/>
                          <a:pt x="336270" y="447734"/>
                          <a:pt x="329546" y="445509"/>
                        </a:cubicBezTo>
                        <a:cubicBezTo>
                          <a:pt x="329546" y="445509"/>
                          <a:pt x="329546" y="445509"/>
                          <a:pt x="276318" y="426601"/>
                        </a:cubicBezTo>
                        <a:cubicBezTo>
                          <a:pt x="270155" y="423820"/>
                          <a:pt x="265112" y="417147"/>
                          <a:pt x="265112" y="411029"/>
                        </a:cubicBezTo>
                        <a:cubicBezTo>
                          <a:pt x="265112" y="411029"/>
                          <a:pt x="265112" y="411029"/>
                          <a:pt x="265112" y="282563"/>
                        </a:cubicBezTo>
                        <a:cubicBezTo>
                          <a:pt x="265112" y="275890"/>
                          <a:pt x="270155" y="273109"/>
                          <a:pt x="276318" y="275333"/>
                        </a:cubicBezTo>
                        <a:close/>
                        <a:moveTo>
                          <a:pt x="188854" y="243583"/>
                        </a:moveTo>
                        <a:cubicBezTo>
                          <a:pt x="188854" y="243583"/>
                          <a:pt x="188854" y="243583"/>
                          <a:pt x="241359" y="262492"/>
                        </a:cubicBezTo>
                        <a:cubicBezTo>
                          <a:pt x="247439" y="264716"/>
                          <a:pt x="252413" y="271946"/>
                          <a:pt x="252413" y="278063"/>
                        </a:cubicBezTo>
                        <a:cubicBezTo>
                          <a:pt x="252413" y="278063"/>
                          <a:pt x="252413" y="278063"/>
                          <a:pt x="252413" y="406530"/>
                        </a:cubicBezTo>
                        <a:cubicBezTo>
                          <a:pt x="252413" y="412647"/>
                          <a:pt x="247439" y="415984"/>
                          <a:pt x="241359" y="413759"/>
                        </a:cubicBezTo>
                        <a:cubicBezTo>
                          <a:pt x="241359" y="413759"/>
                          <a:pt x="241359" y="413759"/>
                          <a:pt x="188854" y="394295"/>
                        </a:cubicBezTo>
                        <a:cubicBezTo>
                          <a:pt x="182774" y="392070"/>
                          <a:pt x="177800" y="385397"/>
                          <a:pt x="177800" y="379279"/>
                        </a:cubicBezTo>
                        <a:cubicBezTo>
                          <a:pt x="177800" y="379279"/>
                          <a:pt x="177800" y="379279"/>
                          <a:pt x="177800" y="250813"/>
                        </a:cubicBezTo>
                        <a:cubicBezTo>
                          <a:pt x="177800" y="244140"/>
                          <a:pt x="182774" y="241359"/>
                          <a:pt x="188854" y="243583"/>
                        </a:cubicBezTo>
                        <a:close/>
                        <a:moveTo>
                          <a:pt x="99873" y="211833"/>
                        </a:moveTo>
                        <a:cubicBezTo>
                          <a:pt x="99873" y="211833"/>
                          <a:pt x="99873" y="211833"/>
                          <a:pt x="151992" y="230742"/>
                        </a:cubicBezTo>
                        <a:cubicBezTo>
                          <a:pt x="158576" y="232966"/>
                          <a:pt x="163513" y="240196"/>
                          <a:pt x="163513" y="246313"/>
                        </a:cubicBezTo>
                        <a:cubicBezTo>
                          <a:pt x="163513" y="246313"/>
                          <a:pt x="163513" y="246313"/>
                          <a:pt x="163513" y="374780"/>
                        </a:cubicBezTo>
                        <a:cubicBezTo>
                          <a:pt x="163513" y="380897"/>
                          <a:pt x="158576" y="384234"/>
                          <a:pt x="151992" y="382009"/>
                        </a:cubicBezTo>
                        <a:cubicBezTo>
                          <a:pt x="151992" y="382009"/>
                          <a:pt x="151992" y="382009"/>
                          <a:pt x="99873" y="362545"/>
                        </a:cubicBezTo>
                        <a:cubicBezTo>
                          <a:pt x="93838" y="360320"/>
                          <a:pt x="88900" y="353647"/>
                          <a:pt x="88900" y="347529"/>
                        </a:cubicBezTo>
                        <a:cubicBezTo>
                          <a:pt x="88900" y="347529"/>
                          <a:pt x="88900" y="347529"/>
                          <a:pt x="88900" y="219063"/>
                        </a:cubicBezTo>
                        <a:cubicBezTo>
                          <a:pt x="88900" y="212390"/>
                          <a:pt x="93838" y="209609"/>
                          <a:pt x="99873" y="211833"/>
                        </a:cubicBezTo>
                        <a:close/>
                        <a:moveTo>
                          <a:pt x="11054" y="179044"/>
                        </a:moveTo>
                        <a:cubicBezTo>
                          <a:pt x="11054" y="179044"/>
                          <a:pt x="11054" y="179044"/>
                          <a:pt x="63559" y="197892"/>
                        </a:cubicBezTo>
                        <a:cubicBezTo>
                          <a:pt x="69639" y="200110"/>
                          <a:pt x="74613" y="207316"/>
                          <a:pt x="74613" y="213414"/>
                        </a:cubicBezTo>
                        <a:cubicBezTo>
                          <a:pt x="74613" y="213414"/>
                          <a:pt x="74613" y="213414"/>
                          <a:pt x="74613" y="341473"/>
                        </a:cubicBezTo>
                        <a:cubicBezTo>
                          <a:pt x="74613" y="347571"/>
                          <a:pt x="69639" y="350897"/>
                          <a:pt x="63559" y="348679"/>
                        </a:cubicBezTo>
                        <a:cubicBezTo>
                          <a:pt x="63559" y="348679"/>
                          <a:pt x="63559" y="348679"/>
                          <a:pt x="11054" y="329277"/>
                        </a:cubicBezTo>
                        <a:cubicBezTo>
                          <a:pt x="4974" y="327059"/>
                          <a:pt x="0" y="320407"/>
                          <a:pt x="0" y="314309"/>
                        </a:cubicBezTo>
                        <a:cubicBezTo>
                          <a:pt x="0" y="314309"/>
                          <a:pt x="0" y="314309"/>
                          <a:pt x="0" y="185696"/>
                        </a:cubicBezTo>
                        <a:cubicBezTo>
                          <a:pt x="0" y="179598"/>
                          <a:pt x="4974" y="176272"/>
                          <a:pt x="11054" y="179044"/>
                        </a:cubicBezTo>
                        <a:close/>
                        <a:moveTo>
                          <a:pt x="276318" y="98081"/>
                        </a:moveTo>
                        <a:cubicBezTo>
                          <a:pt x="276318" y="98081"/>
                          <a:pt x="276318" y="98081"/>
                          <a:pt x="329546" y="116929"/>
                        </a:cubicBezTo>
                        <a:cubicBezTo>
                          <a:pt x="336270" y="119147"/>
                          <a:pt x="341312" y="126353"/>
                          <a:pt x="341312" y="132451"/>
                        </a:cubicBezTo>
                        <a:cubicBezTo>
                          <a:pt x="341312" y="132451"/>
                          <a:pt x="341312" y="132451"/>
                          <a:pt x="341312" y="260510"/>
                        </a:cubicBezTo>
                        <a:cubicBezTo>
                          <a:pt x="341312" y="266608"/>
                          <a:pt x="336270" y="269934"/>
                          <a:pt x="329546" y="267716"/>
                        </a:cubicBezTo>
                        <a:cubicBezTo>
                          <a:pt x="329546" y="267716"/>
                          <a:pt x="329546" y="267716"/>
                          <a:pt x="276318" y="248314"/>
                        </a:cubicBezTo>
                        <a:cubicBezTo>
                          <a:pt x="270155" y="246096"/>
                          <a:pt x="265112" y="239444"/>
                          <a:pt x="265112" y="233346"/>
                        </a:cubicBezTo>
                        <a:cubicBezTo>
                          <a:pt x="265112" y="233346"/>
                          <a:pt x="265112" y="233346"/>
                          <a:pt x="265112" y="104733"/>
                        </a:cubicBezTo>
                        <a:cubicBezTo>
                          <a:pt x="265112" y="98635"/>
                          <a:pt x="270155" y="95309"/>
                          <a:pt x="276318" y="98081"/>
                        </a:cubicBezTo>
                        <a:close/>
                        <a:moveTo>
                          <a:pt x="188854" y="66331"/>
                        </a:moveTo>
                        <a:cubicBezTo>
                          <a:pt x="188854" y="66331"/>
                          <a:pt x="188854" y="66331"/>
                          <a:pt x="241359" y="85179"/>
                        </a:cubicBezTo>
                        <a:cubicBezTo>
                          <a:pt x="247439" y="87397"/>
                          <a:pt x="252413" y="94603"/>
                          <a:pt x="252413" y="100701"/>
                        </a:cubicBezTo>
                        <a:cubicBezTo>
                          <a:pt x="252413" y="100701"/>
                          <a:pt x="252413" y="100701"/>
                          <a:pt x="252413" y="228760"/>
                        </a:cubicBezTo>
                        <a:cubicBezTo>
                          <a:pt x="252413" y="234858"/>
                          <a:pt x="247439" y="238184"/>
                          <a:pt x="241359" y="235966"/>
                        </a:cubicBezTo>
                        <a:cubicBezTo>
                          <a:pt x="241359" y="235966"/>
                          <a:pt x="241359" y="235966"/>
                          <a:pt x="188854" y="216564"/>
                        </a:cubicBezTo>
                        <a:cubicBezTo>
                          <a:pt x="182774" y="214346"/>
                          <a:pt x="177800" y="207694"/>
                          <a:pt x="177800" y="201596"/>
                        </a:cubicBezTo>
                        <a:cubicBezTo>
                          <a:pt x="177800" y="201596"/>
                          <a:pt x="177800" y="201596"/>
                          <a:pt x="177800" y="72983"/>
                        </a:cubicBezTo>
                        <a:cubicBezTo>
                          <a:pt x="177800" y="66885"/>
                          <a:pt x="182774" y="63559"/>
                          <a:pt x="188854" y="66331"/>
                        </a:cubicBezTo>
                        <a:close/>
                        <a:moveTo>
                          <a:pt x="99873" y="32460"/>
                        </a:moveTo>
                        <a:cubicBezTo>
                          <a:pt x="99873" y="32460"/>
                          <a:pt x="99873" y="32460"/>
                          <a:pt x="151992" y="52039"/>
                        </a:cubicBezTo>
                        <a:cubicBezTo>
                          <a:pt x="158576" y="54276"/>
                          <a:pt x="163513" y="61549"/>
                          <a:pt x="163513" y="67702"/>
                        </a:cubicBezTo>
                        <a:cubicBezTo>
                          <a:pt x="163513" y="67702"/>
                          <a:pt x="163513" y="67702"/>
                          <a:pt x="163513" y="196925"/>
                        </a:cubicBezTo>
                        <a:cubicBezTo>
                          <a:pt x="163513" y="203078"/>
                          <a:pt x="158576" y="206435"/>
                          <a:pt x="151992" y="204197"/>
                        </a:cubicBezTo>
                        <a:cubicBezTo>
                          <a:pt x="151992" y="204197"/>
                          <a:pt x="151992" y="204197"/>
                          <a:pt x="99873" y="184618"/>
                        </a:cubicBezTo>
                        <a:cubicBezTo>
                          <a:pt x="93838" y="182380"/>
                          <a:pt x="88900" y="175668"/>
                          <a:pt x="88900" y="169514"/>
                        </a:cubicBezTo>
                        <a:cubicBezTo>
                          <a:pt x="88900" y="169514"/>
                          <a:pt x="88900" y="169514"/>
                          <a:pt x="88900" y="39732"/>
                        </a:cubicBezTo>
                        <a:cubicBezTo>
                          <a:pt x="88900" y="33578"/>
                          <a:pt x="93838" y="30222"/>
                          <a:pt x="99873" y="32460"/>
                        </a:cubicBezTo>
                        <a:close/>
                        <a:moveTo>
                          <a:pt x="11054" y="689"/>
                        </a:moveTo>
                        <a:cubicBezTo>
                          <a:pt x="11054" y="689"/>
                          <a:pt x="11054" y="689"/>
                          <a:pt x="63559" y="20092"/>
                        </a:cubicBezTo>
                        <a:cubicBezTo>
                          <a:pt x="69639" y="22310"/>
                          <a:pt x="74613" y="28962"/>
                          <a:pt x="74613" y="35614"/>
                        </a:cubicBezTo>
                        <a:cubicBezTo>
                          <a:pt x="74613" y="35614"/>
                          <a:pt x="74613" y="35614"/>
                          <a:pt x="74613" y="163673"/>
                        </a:cubicBezTo>
                        <a:cubicBezTo>
                          <a:pt x="74613" y="169771"/>
                          <a:pt x="69639" y="173097"/>
                          <a:pt x="63559" y="170879"/>
                        </a:cubicBezTo>
                        <a:cubicBezTo>
                          <a:pt x="63559" y="170879"/>
                          <a:pt x="63559" y="170879"/>
                          <a:pt x="11054" y="151477"/>
                        </a:cubicBezTo>
                        <a:cubicBezTo>
                          <a:pt x="4974" y="149259"/>
                          <a:pt x="0" y="142607"/>
                          <a:pt x="0" y="136509"/>
                        </a:cubicBezTo>
                        <a:cubicBezTo>
                          <a:pt x="0" y="136509"/>
                          <a:pt x="0" y="136509"/>
                          <a:pt x="0" y="7896"/>
                        </a:cubicBezTo>
                        <a:cubicBezTo>
                          <a:pt x="0" y="1798"/>
                          <a:pt x="4974" y="-1528"/>
                          <a:pt x="11054" y="68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74345" tIns="37172" rIns="74345" bIns="37172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743407">
                      <a:defRPr/>
                    </a:pPr>
                    <a:endParaRPr lang="de-DE" sz="1463" kern="0">
                      <a:solidFill>
                        <a:srgbClr val="000000"/>
                      </a:solidFill>
                      <a:latin typeface="Microsoft Sans Serif"/>
                    </a:endParaRPr>
                  </a:p>
                </p:txBody>
              </p:sp>
              <p:sp>
                <p:nvSpPr>
                  <p:cNvPr id="483" name="Freeform: Shape 9">
                    <a:extLst>
                      <a:ext uri="{FF2B5EF4-FFF2-40B4-BE49-F238E27FC236}">
                        <a16:creationId xmlns:a16="http://schemas.microsoft.com/office/drawing/2014/main" id="{04D65F03-9346-5088-47F7-0C0D6C75361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780227" y="2317034"/>
                    <a:ext cx="114620" cy="509158"/>
                  </a:xfrm>
                  <a:custGeom>
                    <a:avLst/>
                    <a:gdLst>
                      <a:gd name="connsiteX0" fmla="*/ 63092 w 341313"/>
                      <a:gd name="connsiteY0" fmla="*/ 1344294 h 1516168"/>
                      <a:gd name="connsiteX1" fmla="*/ 74613 w 341313"/>
                      <a:gd name="connsiteY1" fmla="*/ 1351007 h 1516168"/>
                      <a:gd name="connsiteX2" fmla="*/ 74613 w 341313"/>
                      <a:gd name="connsiteY2" fmla="*/ 1480789 h 1516168"/>
                      <a:gd name="connsiteX3" fmla="*/ 63092 w 341313"/>
                      <a:gd name="connsiteY3" fmla="*/ 1495893 h 1516168"/>
                      <a:gd name="connsiteX4" fmla="*/ 10972 w 341313"/>
                      <a:gd name="connsiteY4" fmla="*/ 1515473 h 1516168"/>
                      <a:gd name="connsiteX5" fmla="*/ 0 w 341313"/>
                      <a:gd name="connsiteY5" fmla="*/ 1508200 h 1516168"/>
                      <a:gd name="connsiteX6" fmla="*/ 0 w 341313"/>
                      <a:gd name="connsiteY6" fmla="*/ 1378977 h 1516168"/>
                      <a:gd name="connsiteX7" fmla="*/ 10972 w 341313"/>
                      <a:gd name="connsiteY7" fmla="*/ 1363314 h 1516168"/>
                      <a:gd name="connsiteX8" fmla="*/ 63092 w 341313"/>
                      <a:gd name="connsiteY8" fmla="*/ 1344294 h 1516168"/>
                      <a:gd name="connsiteX9" fmla="*/ 152459 w 341313"/>
                      <a:gd name="connsiteY9" fmla="*/ 1311965 h 1516168"/>
                      <a:gd name="connsiteX10" fmla="*/ 163513 w 341313"/>
                      <a:gd name="connsiteY10" fmla="*/ 1319171 h 1516168"/>
                      <a:gd name="connsiteX11" fmla="*/ 163513 w 341313"/>
                      <a:gd name="connsiteY11" fmla="*/ 1447784 h 1516168"/>
                      <a:gd name="connsiteX12" fmla="*/ 152459 w 341313"/>
                      <a:gd name="connsiteY12" fmla="*/ 1462752 h 1516168"/>
                      <a:gd name="connsiteX13" fmla="*/ 99954 w 341313"/>
                      <a:gd name="connsiteY13" fmla="*/ 1482155 h 1516168"/>
                      <a:gd name="connsiteX14" fmla="*/ 88900 w 341313"/>
                      <a:gd name="connsiteY14" fmla="*/ 1474948 h 1516168"/>
                      <a:gd name="connsiteX15" fmla="*/ 88900 w 341313"/>
                      <a:gd name="connsiteY15" fmla="*/ 1346890 h 1516168"/>
                      <a:gd name="connsiteX16" fmla="*/ 99954 w 341313"/>
                      <a:gd name="connsiteY16" fmla="*/ 1331367 h 1516168"/>
                      <a:gd name="connsiteX17" fmla="*/ 152459 w 341313"/>
                      <a:gd name="connsiteY17" fmla="*/ 1311965 h 1516168"/>
                      <a:gd name="connsiteX18" fmla="*/ 240892 w 341313"/>
                      <a:gd name="connsiteY18" fmla="*/ 1280215 h 1516168"/>
                      <a:gd name="connsiteX19" fmla="*/ 252413 w 341313"/>
                      <a:gd name="connsiteY19" fmla="*/ 1287421 h 1516168"/>
                      <a:gd name="connsiteX20" fmla="*/ 252413 w 341313"/>
                      <a:gd name="connsiteY20" fmla="*/ 1416034 h 1516168"/>
                      <a:gd name="connsiteX21" fmla="*/ 240892 w 341313"/>
                      <a:gd name="connsiteY21" fmla="*/ 1431002 h 1516168"/>
                      <a:gd name="connsiteX22" fmla="*/ 188772 w 341313"/>
                      <a:gd name="connsiteY22" fmla="*/ 1450405 h 1516168"/>
                      <a:gd name="connsiteX23" fmla="*/ 177800 w 341313"/>
                      <a:gd name="connsiteY23" fmla="*/ 1443198 h 1516168"/>
                      <a:gd name="connsiteX24" fmla="*/ 177800 w 341313"/>
                      <a:gd name="connsiteY24" fmla="*/ 1315140 h 1516168"/>
                      <a:gd name="connsiteX25" fmla="*/ 188772 w 341313"/>
                      <a:gd name="connsiteY25" fmla="*/ 1299617 h 1516168"/>
                      <a:gd name="connsiteX26" fmla="*/ 240892 w 341313"/>
                      <a:gd name="connsiteY26" fmla="*/ 1280215 h 1516168"/>
                      <a:gd name="connsiteX27" fmla="*/ 330259 w 341313"/>
                      <a:gd name="connsiteY27" fmla="*/ 1246897 h 1516168"/>
                      <a:gd name="connsiteX28" fmla="*/ 341313 w 341313"/>
                      <a:gd name="connsiteY28" fmla="*/ 1254169 h 1516168"/>
                      <a:gd name="connsiteX29" fmla="*/ 341313 w 341313"/>
                      <a:gd name="connsiteY29" fmla="*/ 1383951 h 1516168"/>
                      <a:gd name="connsiteX30" fmla="*/ 330259 w 341313"/>
                      <a:gd name="connsiteY30" fmla="*/ 1399055 h 1516168"/>
                      <a:gd name="connsiteX31" fmla="*/ 277754 w 341313"/>
                      <a:gd name="connsiteY31" fmla="*/ 1418635 h 1516168"/>
                      <a:gd name="connsiteX32" fmla="*/ 266700 w 341313"/>
                      <a:gd name="connsiteY32" fmla="*/ 1411362 h 1516168"/>
                      <a:gd name="connsiteX33" fmla="*/ 266700 w 341313"/>
                      <a:gd name="connsiteY33" fmla="*/ 1282139 h 1516168"/>
                      <a:gd name="connsiteX34" fmla="*/ 277754 w 341313"/>
                      <a:gd name="connsiteY34" fmla="*/ 1266476 h 1516168"/>
                      <a:gd name="connsiteX35" fmla="*/ 330259 w 341313"/>
                      <a:gd name="connsiteY35" fmla="*/ 1246897 h 1516168"/>
                      <a:gd name="connsiteX36" fmla="*/ 63092 w 341313"/>
                      <a:gd name="connsiteY36" fmla="*/ 1165914 h 1516168"/>
                      <a:gd name="connsiteX37" fmla="*/ 74613 w 341313"/>
                      <a:gd name="connsiteY37" fmla="*/ 1173121 h 1516168"/>
                      <a:gd name="connsiteX38" fmla="*/ 74613 w 341313"/>
                      <a:gd name="connsiteY38" fmla="*/ 1301734 h 1516168"/>
                      <a:gd name="connsiteX39" fmla="*/ 63092 w 341313"/>
                      <a:gd name="connsiteY39" fmla="*/ 1316702 h 1516168"/>
                      <a:gd name="connsiteX40" fmla="*/ 10972 w 341313"/>
                      <a:gd name="connsiteY40" fmla="*/ 1336105 h 1516168"/>
                      <a:gd name="connsiteX41" fmla="*/ 0 w 341313"/>
                      <a:gd name="connsiteY41" fmla="*/ 1328898 h 1516168"/>
                      <a:gd name="connsiteX42" fmla="*/ 0 w 341313"/>
                      <a:gd name="connsiteY42" fmla="*/ 1200839 h 1516168"/>
                      <a:gd name="connsiteX43" fmla="*/ 10972 w 341313"/>
                      <a:gd name="connsiteY43" fmla="*/ 1185317 h 1516168"/>
                      <a:gd name="connsiteX44" fmla="*/ 63092 w 341313"/>
                      <a:gd name="connsiteY44" fmla="*/ 1165914 h 1516168"/>
                      <a:gd name="connsiteX45" fmla="*/ 152459 w 341313"/>
                      <a:gd name="connsiteY45" fmla="*/ 1134164 h 1516168"/>
                      <a:gd name="connsiteX46" fmla="*/ 163513 w 341313"/>
                      <a:gd name="connsiteY46" fmla="*/ 1141371 h 1516168"/>
                      <a:gd name="connsiteX47" fmla="*/ 163513 w 341313"/>
                      <a:gd name="connsiteY47" fmla="*/ 1269984 h 1516168"/>
                      <a:gd name="connsiteX48" fmla="*/ 152459 w 341313"/>
                      <a:gd name="connsiteY48" fmla="*/ 1284952 h 1516168"/>
                      <a:gd name="connsiteX49" fmla="*/ 99954 w 341313"/>
                      <a:gd name="connsiteY49" fmla="*/ 1304355 h 1516168"/>
                      <a:gd name="connsiteX50" fmla="*/ 88900 w 341313"/>
                      <a:gd name="connsiteY50" fmla="*/ 1297148 h 1516168"/>
                      <a:gd name="connsiteX51" fmla="*/ 88900 w 341313"/>
                      <a:gd name="connsiteY51" fmla="*/ 1169089 h 1516168"/>
                      <a:gd name="connsiteX52" fmla="*/ 99954 w 341313"/>
                      <a:gd name="connsiteY52" fmla="*/ 1153567 h 1516168"/>
                      <a:gd name="connsiteX53" fmla="*/ 152459 w 341313"/>
                      <a:gd name="connsiteY53" fmla="*/ 1134164 h 1516168"/>
                      <a:gd name="connsiteX54" fmla="*/ 240892 w 341313"/>
                      <a:gd name="connsiteY54" fmla="*/ 1100847 h 1516168"/>
                      <a:gd name="connsiteX55" fmla="*/ 252413 w 341313"/>
                      <a:gd name="connsiteY55" fmla="*/ 1108119 h 1516168"/>
                      <a:gd name="connsiteX56" fmla="*/ 252413 w 341313"/>
                      <a:gd name="connsiteY56" fmla="*/ 1237342 h 1516168"/>
                      <a:gd name="connsiteX57" fmla="*/ 240892 w 341313"/>
                      <a:gd name="connsiteY57" fmla="*/ 1253005 h 1516168"/>
                      <a:gd name="connsiteX58" fmla="*/ 188772 w 341313"/>
                      <a:gd name="connsiteY58" fmla="*/ 1272585 h 1516168"/>
                      <a:gd name="connsiteX59" fmla="*/ 177800 w 341313"/>
                      <a:gd name="connsiteY59" fmla="*/ 1265312 h 1516168"/>
                      <a:gd name="connsiteX60" fmla="*/ 177800 w 341313"/>
                      <a:gd name="connsiteY60" fmla="*/ 1136089 h 1516168"/>
                      <a:gd name="connsiteX61" fmla="*/ 188772 w 341313"/>
                      <a:gd name="connsiteY61" fmla="*/ 1120426 h 1516168"/>
                      <a:gd name="connsiteX62" fmla="*/ 240892 w 341313"/>
                      <a:gd name="connsiteY62" fmla="*/ 1100847 h 1516168"/>
                      <a:gd name="connsiteX63" fmla="*/ 330259 w 341313"/>
                      <a:gd name="connsiteY63" fmla="*/ 1069076 h 1516168"/>
                      <a:gd name="connsiteX64" fmla="*/ 341313 w 341313"/>
                      <a:gd name="connsiteY64" fmla="*/ 1076283 h 1516168"/>
                      <a:gd name="connsiteX65" fmla="*/ 341313 w 341313"/>
                      <a:gd name="connsiteY65" fmla="*/ 1204341 h 1516168"/>
                      <a:gd name="connsiteX66" fmla="*/ 330259 w 341313"/>
                      <a:gd name="connsiteY66" fmla="*/ 1219864 h 1516168"/>
                      <a:gd name="connsiteX67" fmla="*/ 277754 w 341313"/>
                      <a:gd name="connsiteY67" fmla="*/ 1239266 h 1516168"/>
                      <a:gd name="connsiteX68" fmla="*/ 266700 w 341313"/>
                      <a:gd name="connsiteY68" fmla="*/ 1232060 h 1516168"/>
                      <a:gd name="connsiteX69" fmla="*/ 266700 w 341313"/>
                      <a:gd name="connsiteY69" fmla="*/ 1104001 h 1516168"/>
                      <a:gd name="connsiteX70" fmla="*/ 277754 w 341313"/>
                      <a:gd name="connsiteY70" fmla="*/ 1088479 h 1516168"/>
                      <a:gd name="connsiteX71" fmla="*/ 330259 w 341313"/>
                      <a:gd name="connsiteY71" fmla="*/ 1069076 h 1516168"/>
                      <a:gd name="connsiteX72" fmla="*/ 63092 w 341313"/>
                      <a:gd name="connsiteY72" fmla="*/ 988114 h 1516168"/>
                      <a:gd name="connsiteX73" fmla="*/ 74613 w 341313"/>
                      <a:gd name="connsiteY73" fmla="*/ 995321 h 1516168"/>
                      <a:gd name="connsiteX74" fmla="*/ 74613 w 341313"/>
                      <a:gd name="connsiteY74" fmla="*/ 1123379 h 1516168"/>
                      <a:gd name="connsiteX75" fmla="*/ 63092 w 341313"/>
                      <a:gd name="connsiteY75" fmla="*/ 1138902 h 1516168"/>
                      <a:gd name="connsiteX76" fmla="*/ 10972 w 341313"/>
                      <a:gd name="connsiteY76" fmla="*/ 1158304 h 1516168"/>
                      <a:gd name="connsiteX77" fmla="*/ 0 w 341313"/>
                      <a:gd name="connsiteY77" fmla="*/ 1151098 h 1516168"/>
                      <a:gd name="connsiteX78" fmla="*/ 0 w 341313"/>
                      <a:gd name="connsiteY78" fmla="*/ 1023039 h 1516168"/>
                      <a:gd name="connsiteX79" fmla="*/ 10972 w 341313"/>
                      <a:gd name="connsiteY79" fmla="*/ 1007517 h 1516168"/>
                      <a:gd name="connsiteX80" fmla="*/ 63092 w 341313"/>
                      <a:gd name="connsiteY80" fmla="*/ 988114 h 1516168"/>
                      <a:gd name="connsiteX81" fmla="*/ 152459 w 341313"/>
                      <a:gd name="connsiteY81" fmla="*/ 956364 h 1516168"/>
                      <a:gd name="connsiteX82" fmla="*/ 163513 w 341313"/>
                      <a:gd name="connsiteY82" fmla="*/ 963571 h 1516168"/>
                      <a:gd name="connsiteX83" fmla="*/ 163513 w 341313"/>
                      <a:gd name="connsiteY83" fmla="*/ 1091629 h 1516168"/>
                      <a:gd name="connsiteX84" fmla="*/ 152459 w 341313"/>
                      <a:gd name="connsiteY84" fmla="*/ 1107152 h 1516168"/>
                      <a:gd name="connsiteX85" fmla="*/ 99954 w 341313"/>
                      <a:gd name="connsiteY85" fmla="*/ 1126554 h 1516168"/>
                      <a:gd name="connsiteX86" fmla="*/ 88900 w 341313"/>
                      <a:gd name="connsiteY86" fmla="*/ 1119348 h 1516168"/>
                      <a:gd name="connsiteX87" fmla="*/ 88900 w 341313"/>
                      <a:gd name="connsiteY87" fmla="*/ 990735 h 1516168"/>
                      <a:gd name="connsiteX88" fmla="*/ 99954 w 341313"/>
                      <a:gd name="connsiteY88" fmla="*/ 975767 h 1516168"/>
                      <a:gd name="connsiteX89" fmla="*/ 152459 w 341313"/>
                      <a:gd name="connsiteY89" fmla="*/ 956364 h 1516168"/>
                      <a:gd name="connsiteX90" fmla="*/ 240892 w 341313"/>
                      <a:gd name="connsiteY90" fmla="*/ 923047 h 1516168"/>
                      <a:gd name="connsiteX91" fmla="*/ 252413 w 341313"/>
                      <a:gd name="connsiteY91" fmla="*/ 930319 h 1516168"/>
                      <a:gd name="connsiteX92" fmla="*/ 252413 w 341313"/>
                      <a:gd name="connsiteY92" fmla="*/ 1059542 h 1516168"/>
                      <a:gd name="connsiteX93" fmla="*/ 240892 w 341313"/>
                      <a:gd name="connsiteY93" fmla="*/ 1075205 h 1516168"/>
                      <a:gd name="connsiteX94" fmla="*/ 188772 w 341313"/>
                      <a:gd name="connsiteY94" fmla="*/ 1094784 h 1516168"/>
                      <a:gd name="connsiteX95" fmla="*/ 177800 w 341313"/>
                      <a:gd name="connsiteY95" fmla="*/ 1087512 h 1516168"/>
                      <a:gd name="connsiteX96" fmla="*/ 177800 w 341313"/>
                      <a:gd name="connsiteY96" fmla="*/ 957730 h 1516168"/>
                      <a:gd name="connsiteX97" fmla="*/ 188772 w 341313"/>
                      <a:gd name="connsiteY97" fmla="*/ 942626 h 1516168"/>
                      <a:gd name="connsiteX98" fmla="*/ 240892 w 341313"/>
                      <a:gd name="connsiteY98" fmla="*/ 923047 h 1516168"/>
                      <a:gd name="connsiteX99" fmla="*/ 330259 w 341313"/>
                      <a:gd name="connsiteY99" fmla="*/ 891276 h 1516168"/>
                      <a:gd name="connsiteX100" fmla="*/ 341313 w 341313"/>
                      <a:gd name="connsiteY100" fmla="*/ 898483 h 1516168"/>
                      <a:gd name="connsiteX101" fmla="*/ 341313 w 341313"/>
                      <a:gd name="connsiteY101" fmla="*/ 1026541 h 1516168"/>
                      <a:gd name="connsiteX102" fmla="*/ 330259 w 341313"/>
                      <a:gd name="connsiteY102" fmla="*/ 1042064 h 1516168"/>
                      <a:gd name="connsiteX103" fmla="*/ 277754 w 341313"/>
                      <a:gd name="connsiteY103" fmla="*/ 1061466 h 1516168"/>
                      <a:gd name="connsiteX104" fmla="*/ 266700 w 341313"/>
                      <a:gd name="connsiteY104" fmla="*/ 1054260 h 1516168"/>
                      <a:gd name="connsiteX105" fmla="*/ 266700 w 341313"/>
                      <a:gd name="connsiteY105" fmla="*/ 925647 h 1516168"/>
                      <a:gd name="connsiteX106" fmla="*/ 277754 w 341313"/>
                      <a:gd name="connsiteY106" fmla="*/ 910679 h 1516168"/>
                      <a:gd name="connsiteX107" fmla="*/ 330259 w 341313"/>
                      <a:gd name="connsiteY107" fmla="*/ 891276 h 1516168"/>
                      <a:gd name="connsiteX108" fmla="*/ 63092 w 341313"/>
                      <a:gd name="connsiteY108" fmla="*/ 810314 h 1516168"/>
                      <a:gd name="connsiteX109" fmla="*/ 74613 w 341313"/>
                      <a:gd name="connsiteY109" fmla="*/ 817521 h 1516168"/>
                      <a:gd name="connsiteX110" fmla="*/ 74613 w 341313"/>
                      <a:gd name="connsiteY110" fmla="*/ 945579 h 1516168"/>
                      <a:gd name="connsiteX111" fmla="*/ 63092 w 341313"/>
                      <a:gd name="connsiteY111" fmla="*/ 961102 h 1516168"/>
                      <a:gd name="connsiteX112" fmla="*/ 10972 w 341313"/>
                      <a:gd name="connsiteY112" fmla="*/ 980504 h 1516168"/>
                      <a:gd name="connsiteX113" fmla="*/ 0 w 341313"/>
                      <a:gd name="connsiteY113" fmla="*/ 973298 h 1516168"/>
                      <a:gd name="connsiteX114" fmla="*/ 0 w 341313"/>
                      <a:gd name="connsiteY114" fmla="*/ 844685 h 1516168"/>
                      <a:gd name="connsiteX115" fmla="*/ 10972 w 341313"/>
                      <a:gd name="connsiteY115" fmla="*/ 829717 h 1516168"/>
                      <a:gd name="connsiteX116" fmla="*/ 63092 w 341313"/>
                      <a:gd name="connsiteY116" fmla="*/ 810314 h 1516168"/>
                      <a:gd name="connsiteX117" fmla="*/ 152459 w 341313"/>
                      <a:gd name="connsiteY117" fmla="*/ 776997 h 1516168"/>
                      <a:gd name="connsiteX118" fmla="*/ 163513 w 341313"/>
                      <a:gd name="connsiteY118" fmla="*/ 784269 h 1516168"/>
                      <a:gd name="connsiteX119" fmla="*/ 163513 w 341313"/>
                      <a:gd name="connsiteY119" fmla="*/ 913492 h 1516168"/>
                      <a:gd name="connsiteX120" fmla="*/ 152459 w 341313"/>
                      <a:gd name="connsiteY120" fmla="*/ 929155 h 1516168"/>
                      <a:gd name="connsiteX121" fmla="*/ 99954 w 341313"/>
                      <a:gd name="connsiteY121" fmla="*/ 948175 h 1516168"/>
                      <a:gd name="connsiteX122" fmla="*/ 88900 w 341313"/>
                      <a:gd name="connsiteY122" fmla="*/ 941462 h 1516168"/>
                      <a:gd name="connsiteX123" fmla="*/ 88900 w 341313"/>
                      <a:gd name="connsiteY123" fmla="*/ 811680 h 1516168"/>
                      <a:gd name="connsiteX124" fmla="*/ 99954 w 341313"/>
                      <a:gd name="connsiteY124" fmla="*/ 796576 h 1516168"/>
                      <a:gd name="connsiteX125" fmla="*/ 152459 w 341313"/>
                      <a:gd name="connsiteY125" fmla="*/ 776997 h 1516168"/>
                      <a:gd name="connsiteX126" fmla="*/ 240892 w 341313"/>
                      <a:gd name="connsiteY126" fmla="*/ 745247 h 1516168"/>
                      <a:gd name="connsiteX127" fmla="*/ 252413 w 341313"/>
                      <a:gd name="connsiteY127" fmla="*/ 752519 h 1516168"/>
                      <a:gd name="connsiteX128" fmla="*/ 252413 w 341313"/>
                      <a:gd name="connsiteY128" fmla="*/ 881742 h 1516168"/>
                      <a:gd name="connsiteX129" fmla="*/ 240892 w 341313"/>
                      <a:gd name="connsiteY129" fmla="*/ 897405 h 1516168"/>
                      <a:gd name="connsiteX130" fmla="*/ 188772 w 341313"/>
                      <a:gd name="connsiteY130" fmla="*/ 916425 h 1516168"/>
                      <a:gd name="connsiteX131" fmla="*/ 177800 w 341313"/>
                      <a:gd name="connsiteY131" fmla="*/ 909712 h 1516168"/>
                      <a:gd name="connsiteX132" fmla="*/ 177800 w 341313"/>
                      <a:gd name="connsiteY132" fmla="*/ 779930 h 1516168"/>
                      <a:gd name="connsiteX133" fmla="*/ 188772 w 341313"/>
                      <a:gd name="connsiteY133" fmla="*/ 764826 h 1516168"/>
                      <a:gd name="connsiteX134" fmla="*/ 240892 w 341313"/>
                      <a:gd name="connsiteY134" fmla="*/ 745247 h 1516168"/>
                      <a:gd name="connsiteX135" fmla="*/ 330259 w 341313"/>
                      <a:gd name="connsiteY135" fmla="*/ 713483 h 1516168"/>
                      <a:gd name="connsiteX136" fmla="*/ 341313 w 341313"/>
                      <a:gd name="connsiteY136" fmla="*/ 720713 h 1516168"/>
                      <a:gd name="connsiteX137" fmla="*/ 341313 w 341313"/>
                      <a:gd name="connsiteY137" fmla="*/ 849179 h 1516168"/>
                      <a:gd name="connsiteX138" fmla="*/ 330259 w 341313"/>
                      <a:gd name="connsiteY138" fmla="*/ 864751 h 1516168"/>
                      <a:gd name="connsiteX139" fmla="*/ 277754 w 341313"/>
                      <a:gd name="connsiteY139" fmla="*/ 883659 h 1516168"/>
                      <a:gd name="connsiteX140" fmla="*/ 266700 w 341313"/>
                      <a:gd name="connsiteY140" fmla="*/ 876430 h 1516168"/>
                      <a:gd name="connsiteX141" fmla="*/ 266700 w 341313"/>
                      <a:gd name="connsiteY141" fmla="*/ 747963 h 1516168"/>
                      <a:gd name="connsiteX142" fmla="*/ 277754 w 341313"/>
                      <a:gd name="connsiteY142" fmla="*/ 732948 h 1516168"/>
                      <a:gd name="connsiteX143" fmla="*/ 330259 w 341313"/>
                      <a:gd name="connsiteY143" fmla="*/ 713483 h 1516168"/>
                      <a:gd name="connsiteX144" fmla="*/ 63092 w 341313"/>
                      <a:gd name="connsiteY144" fmla="*/ 632521 h 1516168"/>
                      <a:gd name="connsiteX145" fmla="*/ 74613 w 341313"/>
                      <a:gd name="connsiteY145" fmla="*/ 639751 h 1516168"/>
                      <a:gd name="connsiteX146" fmla="*/ 74613 w 341313"/>
                      <a:gd name="connsiteY146" fmla="*/ 768217 h 1516168"/>
                      <a:gd name="connsiteX147" fmla="*/ 63092 w 341313"/>
                      <a:gd name="connsiteY147" fmla="*/ 783789 h 1516168"/>
                      <a:gd name="connsiteX148" fmla="*/ 10972 w 341313"/>
                      <a:gd name="connsiteY148" fmla="*/ 802697 h 1516168"/>
                      <a:gd name="connsiteX149" fmla="*/ 0 w 341313"/>
                      <a:gd name="connsiteY149" fmla="*/ 795468 h 1516168"/>
                      <a:gd name="connsiteX150" fmla="*/ 0 w 341313"/>
                      <a:gd name="connsiteY150" fmla="*/ 667001 h 1516168"/>
                      <a:gd name="connsiteX151" fmla="*/ 10972 w 341313"/>
                      <a:gd name="connsiteY151" fmla="*/ 651986 h 1516168"/>
                      <a:gd name="connsiteX152" fmla="*/ 63092 w 341313"/>
                      <a:gd name="connsiteY152" fmla="*/ 632521 h 1516168"/>
                      <a:gd name="connsiteX153" fmla="*/ 152459 w 341313"/>
                      <a:gd name="connsiteY153" fmla="*/ 599183 h 1516168"/>
                      <a:gd name="connsiteX154" fmla="*/ 163513 w 341313"/>
                      <a:gd name="connsiteY154" fmla="*/ 606413 h 1516168"/>
                      <a:gd name="connsiteX155" fmla="*/ 163513 w 341313"/>
                      <a:gd name="connsiteY155" fmla="*/ 734879 h 1516168"/>
                      <a:gd name="connsiteX156" fmla="*/ 152459 w 341313"/>
                      <a:gd name="connsiteY156" fmla="*/ 750451 h 1516168"/>
                      <a:gd name="connsiteX157" fmla="*/ 99954 w 341313"/>
                      <a:gd name="connsiteY157" fmla="*/ 769359 h 1516168"/>
                      <a:gd name="connsiteX158" fmla="*/ 88900 w 341313"/>
                      <a:gd name="connsiteY158" fmla="*/ 762130 h 1516168"/>
                      <a:gd name="connsiteX159" fmla="*/ 88900 w 341313"/>
                      <a:gd name="connsiteY159" fmla="*/ 633663 h 1516168"/>
                      <a:gd name="connsiteX160" fmla="*/ 99954 w 341313"/>
                      <a:gd name="connsiteY160" fmla="*/ 618648 h 1516168"/>
                      <a:gd name="connsiteX161" fmla="*/ 152459 w 341313"/>
                      <a:gd name="connsiteY161" fmla="*/ 599183 h 1516168"/>
                      <a:gd name="connsiteX162" fmla="*/ 240892 w 341313"/>
                      <a:gd name="connsiteY162" fmla="*/ 567433 h 1516168"/>
                      <a:gd name="connsiteX163" fmla="*/ 252413 w 341313"/>
                      <a:gd name="connsiteY163" fmla="*/ 574663 h 1516168"/>
                      <a:gd name="connsiteX164" fmla="*/ 252413 w 341313"/>
                      <a:gd name="connsiteY164" fmla="*/ 703129 h 1516168"/>
                      <a:gd name="connsiteX165" fmla="*/ 240892 w 341313"/>
                      <a:gd name="connsiteY165" fmla="*/ 718701 h 1516168"/>
                      <a:gd name="connsiteX166" fmla="*/ 188772 w 341313"/>
                      <a:gd name="connsiteY166" fmla="*/ 737609 h 1516168"/>
                      <a:gd name="connsiteX167" fmla="*/ 177800 w 341313"/>
                      <a:gd name="connsiteY167" fmla="*/ 730380 h 1516168"/>
                      <a:gd name="connsiteX168" fmla="*/ 177800 w 341313"/>
                      <a:gd name="connsiteY168" fmla="*/ 601913 h 1516168"/>
                      <a:gd name="connsiteX169" fmla="*/ 188772 w 341313"/>
                      <a:gd name="connsiteY169" fmla="*/ 586342 h 1516168"/>
                      <a:gd name="connsiteX170" fmla="*/ 240892 w 341313"/>
                      <a:gd name="connsiteY170" fmla="*/ 567433 h 1516168"/>
                      <a:gd name="connsiteX171" fmla="*/ 330259 w 341313"/>
                      <a:gd name="connsiteY171" fmla="*/ 535683 h 1516168"/>
                      <a:gd name="connsiteX172" fmla="*/ 341313 w 341313"/>
                      <a:gd name="connsiteY172" fmla="*/ 542913 h 1516168"/>
                      <a:gd name="connsiteX173" fmla="*/ 341313 w 341313"/>
                      <a:gd name="connsiteY173" fmla="*/ 671379 h 1516168"/>
                      <a:gd name="connsiteX174" fmla="*/ 330259 w 341313"/>
                      <a:gd name="connsiteY174" fmla="*/ 686951 h 1516168"/>
                      <a:gd name="connsiteX175" fmla="*/ 277754 w 341313"/>
                      <a:gd name="connsiteY175" fmla="*/ 705859 h 1516168"/>
                      <a:gd name="connsiteX176" fmla="*/ 266700 w 341313"/>
                      <a:gd name="connsiteY176" fmla="*/ 698630 h 1516168"/>
                      <a:gd name="connsiteX177" fmla="*/ 266700 w 341313"/>
                      <a:gd name="connsiteY177" fmla="*/ 570163 h 1516168"/>
                      <a:gd name="connsiteX178" fmla="*/ 277754 w 341313"/>
                      <a:gd name="connsiteY178" fmla="*/ 554592 h 1516168"/>
                      <a:gd name="connsiteX179" fmla="*/ 330259 w 341313"/>
                      <a:gd name="connsiteY179" fmla="*/ 535683 h 1516168"/>
                      <a:gd name="connsiteX180" fmla="*/ 63092 w 341313"/>
                      <a:gd name="connsiteY180" fmla="*/ 453154 h 1516168"/>
                      <a:gd name="connsiteX181" fmla="*/ 74613 w 341313"/>
                      <a:gd name="connsiteY181" fmla="*/ 460449 h 1516168"/>
                      <a:gd name="connsiteX182" fmla="*/ 74613 w 341313"/>
                      <a:gd name="connsiteY182" fmla="*/ 590083 h 1516168"/>
                      <a:gd name="connsiteX183" fmla="*/ 63092 w 341313"/>
                      <a:gd name="connsiteY183" fmla="*/ 605797 h 1516168"/>
                      <a:gd name="connsiteX184" fmla="*/ 10972 w 341313"/>
                      <a:gd name="connsiteY184" fmla="*/ 624877 h 1516168"/>
                      <a:gd name="connsiteX185" fmla="*/ 0 w 341313"/>
                      <a:gd name="connsiteY185" fmla="*/ 617582 h 1516168"/>
                      <a:gd name="connsiteX186" fmla="*/ 0 w 341313"/>
                      <a:gd name="connsiteY186" fmla="*/ 487947 h 1516168"/>
                      <a:gd name="connsiteX187" fmla="*/ 10972 w 341313"/>
                      <a:gd name="connsiteY187" fmla="*/ 472234 h 1516168"/>
                      <a:gd name="connsiteX188" fmla="*/ 63092 w 341313"/>
                      <a:gd name="connsiteY188" fmla="*/ 453154 h 1516168"/>
                      <a:gd name="connsiteX189" fmla="*/ 152459 w 341313"/>
                      <a:gd name="connsiteY189" fmla="*/ 421383 h 1516168"/>
                      <a:gd name="connsiteX190" fmla="*/ 163513 w 341313"/>
                      <a:gd name="connsiteY190" fmla="*/ 428613 h 1516168"/>
                      <a:gd name="connsiteX191" fmla="*/ 163513 w 341313"/>
                      <a:gd name="connsiteY191" fmla="*/ 557079 h 1516168"/>
                      <a:gd name="connsiteX192" fmla="*/ 152459 w 341313"/>
                      <a:gd name="connsiteY192" fmla="*/ 572651 h 1516168"/>
                      <a:gd name="connsiteX193" fmla="*/ 99954 w 341313"/>
                      <a:gd name="connsiteY193" fmla="*/ 591559 h 1516168"/>
                      <a:gd name="connsiteX194" fmla="*/ 88900 w 341313"/>
                      <a:gd name="connsiteY194" fmla="*/ 584330 h 1516168"/>
                      <a:gd name="connsiteX195" fmla="*/ 88900 w 341313"/>
                      <a:gd name="connsiteY195" fmla="*/ 455863 h 1516168"/>
                      <a:gd name="connsiteX196" fmla="*/ 99954 w 341313"/>
                      <a:gd name="connsiteY196" fmla="*/ 440292 h 1516168"/>
                      <a:gd name="connsiteX197" fmla="*/ 152459 w 341313"/>
                      <a:gd name="connsiteY197" fmla="*/ 421383 h 1516168"/>
                      <a:gd name="connsiteX198" fmla="*/ 240892 w 341313"/>
                      <a:gd name="connsiteY198" fmla="*/ 389633 h 1516168"/>
                      <a:gd name="connsiteX199" fmla="*/ 252413 w 341313"/>
                      <a:gd name="connsiteY199" fmla="*/ 396863 h 1516168"/>
                      <a:gd name="connsiteX200" fmla="*/ 252413 w 341313"/>
                      <a:gd name="connsiteY200" fmla="*/ 525329 h 1516168"/>
                      <a:gd name="connsiteX201" fmla="*/ 240892 w 341313"/>
                      <a:gd name="connsiteY201" fmla="*/ 540901 h 1516168"/>
                      <a:gd name="connsiteX202" fmla="*/ 188772 w 341313"/>
                      <a:gd name="connsiteY202" fmla="*/ 559809 h 1516168"/>
                      <a:gd name="connsiteX203" fmla="*/ 177800 w 341313"/>
                      <a:gd name="connsiteY203" fmla="*/ 552580 h 1516168"/>
                      <a:gd name="connsiteX204" fmla="*/ 177800 w 341313"/>
                      <a:gd name="connsiteY204" fmla="*/ 424113 h 1516168"/>
                      <a:gd name="connsiteX205" fmla="*/ 188772 w 341313"/>
                      <a:gd name="connsiteY205" fmla="*/ 408542 h 1516168"/>
                      <a:gd name="connsiteX206" fmla="*/ 240892 w 341313"/>
                      <a:gd name="connsiteY206" fmla="*/ 389633 h 1516168"/>
                      <a:gd name="connsiteX207" fmla="*/ 330259 w 341313"/>
                      <a:gd name="connsiteY207" fmla="*/ 356317 h 1516168"/>
                      <a:gd name="connsiteX208" fmla="*/ 341313 w 341313"/>
                      <a:gd name="connsiteY208" fmla="*/ 363612 h 1516168"/>
                      <a:gd name="connsiteX209" fmla="*/ 341313 w 341313"/>
                      <a:gd name="connsiteY209" fmla="*/ 493246 h 1516168"/>
                      <a:gd name="connsiteX210" fmla="*/ 330259 w 341313"/>
                      <a:gd name="connsiteY210" fmla="*/ 508960 h 1516168"/>
                      <a:gd name="connsiteX211" fmla="*/ 277754 w 341313"/>
                      <a:gd name="connsiteY211" fmla="*/ 528040 h 1516168"/>
                      <a:gd name="connsiteX212" fmla="*/ 266700 w 341313"/>
                      <a:gd name="connsiteY212" fmla="*/ 520745 h 1516168"/>
                      <a:gd name="connsiteX213" fmla="*/ 266700 w 341313"/>
                      <a:gd name="connsiteY213" fmla="*/ 391110 h 1516168"/>
                      <a:gd name="connsiteX214" fmla="*/ 277754 w 341313"/>
                      <a:gd name="connsiteY214" fmla="*/ 375397 h 1516168"/>
                      <a:gd name="connsiteX215" fmla="*/ 330259 w 341313"/>
                      <a:gd name="connsiteY215" fmla="*/ 356317 h 1516168"/>
                      <a:gd name="connsiteX216" fmla="*/ 63092 w 341313"/>
                      <a:gd name="connsiteY216" fmla="*/ 275333 h 1516168"/>
                      <a:gd name="connsiteX217" fmla="*/ 74613 w 341313"/>
                      <a:gd name="connsiteY217" fmla="*/ 282563 h 1516168"/>
                      <a:gd name="connsiteX218" fmla="*/ 74613 w 341313"/>
                      <a:gd name="connsiteY218" fmla="*/ 411029 h 1516168"/>
                      <a:gd name="connsiteX219" fmla="*/ 63092 w 341313"/>
                      <a:gd name="connsiteY219" fmla="*/ 426601 h 1516168"/>
                      <a:gd name="connsiteX220" fmla="*/ 10972 w 341313"/>
                      <a:gd name="connsiteY220" fmla="*/ 445509 h 1516168"/>
                      <a:gd name="connsiteX221" fmla="*/ 0 w 341313"/>
                      <a:gd name="connsiteY221" fmla="*/ 438280 h 1516168"/>
                      <a:gd name="connsiteX222" fmla="*/ 0 w 341313"/>
                      <a:gd name="connsiteY222" fmla="*/ 309813 h 1516168"/>
                      <a:gd name="connsiteX223" fmla="*/ 10972 w 341313"/>
                      <a:gd name="connsiteY223" fmla="*/ 294242 h 1516168"/>
                      <a:gd name="connsiteX224" fmla="*/ 63092 w 341313"/>
                      <a:gd name="connsiteY224" fmla="*/ 275333 h 1516168"/>
                      <a:gd name="connsiteX225" fmla="*/ 152459 w 341313"/>
                      <a:gd name="connsiteY225" fmla="*/ 243583 h 1516168"/>
                      <a:gd name="connsiteX226" fmla="*/ 163513 w 341313"/>
                      <a:gd name="connsiteY226" fmla="*/ 250813 h 1516168"/>
                      <a:gd name="connsiteX227" fmla="*/ 163513 w 341313"/>
                      <a:gd name="connsiteY227" fmla="*/ 379279 h 1516168"/>
                      <a:gd name="connsiteX228" fmla="*/ 152459 w 341313"/>
                      <a:gd name="connsiteY228" fmla="*/ 394295 h 1516168"/>
                      <a:gd name="connsiteX229" fmla="*/ 99954 w 341313"/>
                      <a:gd name="connsiteY229" fmla="*/ 413759 h 1516168"/>
                      <a:gd name="connsiteX230" fmla="*/ 88900 w 341313"/>
                      <a:gd name="connsiteY230" fmla="*/ 406530 h 1516168"/>
                      <a:gd name="connsiteX231" fmla="*/ 88900 w 341313"/>
                      <a:gd name="connsiteY231" fmla="*/ 278063 h 1516168"/>
                      <a:gd name="connsiteX232" fmla="*/ 99954 w 341313"/>
                      <a:gd name="connsiteY232" fmla="*/ 262492 h 1516168"/>
                      <a:gd name="connsiteX233" fmla="*/ 152459 w 341313"/>
                      <a:gd name="connsiteY233" fmla="*/ 243583 h 1516168"/>
                      <a:gd name="connsiteX234" fmla="*/ 240892 w 341313"/>
                      <a:gd name="connsiteY234" fmla="*/ 211833 h 1516168"/>
                      <a:gd name="connsiteX235" fmla="*/ 252413 w 341313"/>
                      <a:gd name="connsiteY235" fmla="*/ 219063 h 1516168"/>
                      <a:gd name="connsiteX236" fmla="*/ 252413 w 341313"/>
                      <a:gd name="connsiteY236" fmla="*/ 347529 h 1516168"/>
                      <a:gd name="connsiteX237" fmla="*/ 240892 w 341313"/>
                      <a:gd name="connsiteY237" fmla="*/ 362545 h 1516168"/>
                      <a:gd name="connsiteX238" fmla="*/ 188772 w 341313"/>
                      <a:gd name="connsiteY238" fmla="*/ 382009 h 1516168"/>
                      <a:gd name="connsiteX239" fmla="*/ 177800 w 341313"/>
                      <a:gd name="connsiteY239" fmla="*/ 374780 h 1516168"/>
                      <a:gd name="connsiteX240" fmla="*/ 177800 w 341313"/>
                      <a:gd name="connsiteY240" fmla="*/ 246313 h 1516168"/>
                      <a:gd name="connsiteX241" fmla="*/ 188772 w 341313"/>
                      <a:gd name="connsiteY241" fmla="*/ 230742 h 1516168"/>
                      <a:gd name="connsiteX242" fmla="*/ 240892 w 341313"/>
                      <a:gd name="connsiteY242" fmla="*/ 211833 h 1516168"/>
                      <a:gd name="connsiteX243" fmla="*/ 330259 w 341313"/>
                      <a:gd name="connsiteY243" fmla="*/ 179044 h 1516168"/>
                      <a:gd name="connsiteX244" fmla="*/ 341313 w 341313"/>
                      <a:gd name="connsiteY244" fmla="*/ 185696 h 1516168"/>
                      <a:gd name="connsiteX245" fmla="*/ 341313 w 341313"/>
                      <a:gd name="connsiteY245" fmla="*/ 314309 h 1516168"/>
                      <a:gd name="connsiteX246" fmla="*/ 330259 w 341313"/>
                      <a:gd name="connsiteY246" fmla="*/ 329277 h 1516168"/>
                      <a:gd name="connsiteX247" fmla="*/ 277754 w 341313"/>
                      <a:gd name="connsiteY247" fmla="*/ 348679 h 1516168"/>
                      <a:gd name="connsiteX248" fmla="*/ 266700 w 341313"/>
                      <a:gd name="connsiteY248" fmla="*/ 341473 h 1516168"/>
                      <a:gd name="connsiteX249" fmla="*/ 266700 w 341313"/>
                      <a:gd name="connsiteY249" fmla="*/ 213414 h 1516168"/>
                      <a:gd name="connsiteX250" fmla="*/ 277754 w 341313"/>
                      <a:gd name="connsiteY250" fmla="*/ 197892 h 1516168"/>
                      <a:gd name="connsiteX251" fmla="*/ 330259 w 341313"/>
                      <a:gd name="connsiteY251" fmla="*/ 179044 h 1516168"/>
                      <a:gd name="connsiteX252" fmla="*/ 63092 w 341313"/>
                      <a:gd name="connsiteY252" fmla="*/ 98081 h 1516168"/>
                      <a:gd name="connsiteX253" fmla="*/ 74613 w 341313"/>
                      <a:gd name="connsiteY253" fmla="*/ 104733 h 1516168"/>
                      <a:gd name="connsiteX254" fmla="*/ 74613 w 341313"/>
                      <a:gd name="connsiteY254" fmla="*/ 233346 h 1516168"/>
                      <a:gd name="connsiteX255" fmla="*/ 63092 w 341313"/>
                      <a:gd name="connsiteY255" fmla="*/ 248314 h 1516168"/>
                      <a:gd name="connsiteX256" fmla="*/ 10972 w 341313"/>
                      <a:gd name="connsiteY256" fmla="*/ 267716 h 1516168"/>
                      <a:gd name="connsiteX257" fmla="*/ 0 w 341313"/>
                      <a:gd name="connsiteY257" fmla="*/ 260510 h 1516168"/>
                      <a:gd name="connsiteX258" fmla="*/ 0 w 341313"/>
                      <a:gd name="connsiteY258" fmla="*/ 132451 h 1516168"/>
                      <a:gd name="connsiteX259" fmla="*/ 10972 w 341313"/>
                      <a:gd name="connsiteY259" fmla="*/ 116929 h 1516168"/>
                      <a:gd name="connsiteX260" fmla="*/ 63092 w 341313"/>
                      <a:gd name="connsiteY260" fmla="*/ 98081 h 1516168"/>
                      <a:gd name="connsiteX261" fmla="*/ 152459 w 341313"/>
                      <a:gd name="connsiteY261" fmla="*/ 66331 h 1516168"/>
                      <a:gd name="connsiteX262" fmla="*/ 163513 w 341313"/>
                      <a:gd name="connsiteY262" fmla="*/ 72983 h 1516168"/>
                      <a:gd name="connsiteX263" fmla="*/ 163513 w 341313"/>
                      <a:gd name="connsiteY263" fmla="*/ 201596 h 1516168"/>
                      <a:gd name="connsiteX264" fmla="*/ 152459 w 341313"/>
                      <a:gd name="connsiteY264" fmla="*/ 216564 h 1516168"/>
                      <a:gd name="connsiteX265" fmla="*/ 99954 w 341313"/>
                      <a:gd name="connsiteY265" fmla="*/ 235966 h 1516168"/>
                      <a:gd name="connsiteX266" fmla="*/ 88900 w 341313"/>
                      <a:gd name="connsiteY266" fmla="*/ 228760 h 1516168"/>
                      <a:gd name="connsiteX267" fmla="*/ 88900 w 341313"/>
                      <a:gd name="connsiteY267" fmla="*/ 100701 h 1516168"/>
                      <a:gd name="connsiteX268" fmla="*/ 99954 w 341313"/>
                      <a:gd name="connsiteY268" fmla="*/ 85179 h 1516168"/>
                      <a:gd name="connsiteX269" fmla="*/ 152459 w 341313"/>
                      <a:gd name="connsiteY269" fmla="*/ 66331 h 1516168"/>
                      <a:gd name="connsiteX270" fmla="*/ 240892 w 341313"/>
                      <a:gd name="connsiteY270" fmla="*/ 32460 h 1516168"/>
                      <a:gd name="connsiteX271" fmla="*/ 252413 w 341313"/>
                      <a:gd name="connsiteY271" fmla="*/ 39732 h 1516168"/>
                      <a:gd name="connsiteX272" fmla="*/ 252413 w 341313"/>
                      <a:gd name="connsiteY272" fmla="*/ 169514 h 1516168"/>
                      <a:gd name="connsiteX273" fmla="*/ 240892 w 341313"/>
                      <a:gd name="connsiteY273" fmla="*/ 184618 h 1516168"/>
                      <a:gd name="connsiteX274" fmla="*/ 188772 w 341313"/>
                      <a:gd name="connsiteY274" fmla="*/ 204197 h 1516168"/>
                      <a:gd name="connsiteX275" fmla="*/ 177800 w 341313"/>
                      <a:gd name="connsiteY275" fmla="*/ 196925 h 1516168"/>
                      <a:gd name="connsiteX276" fmla="*/ 177800 w 341313"/>
                      <a:gd name="connsiteY276" fmla="*/ 67702 h 1516168"/>
                      <a:gd name="connsiteX277" fmla="*/ 188772 w 341313"/>
                      <a:gd name="connsiteY277" fmla="*/ 52039 h 1516168"/>
                      <a:gd name="connsiteX278" fmla="*/ 240892 w 341313"/>
                      <a:gd name="connsiteY278" fmla="*/ 32460 h 1516168"/>
                      <a:gd name="connsiteX279" fmla="*/ 330259 w 341313"/>
                      <a:gd name="connsiteY279" fmla="*/ 689 h 1516168"/>
                      <a:gd name="connsiteX280" fmla="*/ 341313 w 341313"/>
                      <a:gd name="connsiteY280" fmla="*/ 7896 h 1516168"/>
                      <a:gd name="connsiteX281" fmla="*/ 341313 w 341313"/>
                      <a:gd name="connsiteY281" fmla="*/ 136509 h 1516168"/>
                      <a:gd name="connsiteX282" fmla="*/ 330259 w 341313"/>
                      <a:gd name="connsiteY282" fmla="*/ 151477 h 1516168"/>
                      <a:gd name="connsiteX283" fmla="*/ 277754 w 341313"/>
                      <a:gd name="connsiteY283" fmla="*/ 170879 h 1516168"/>
                      <a:gd name="connsiteX284" fmla="*/ 266700 w 341313"/>
                      <a:gd name="connsiteY284" fmla="*/ 163673 h 1516168"/>
                      <a:gd name="connsiteX285" fmla="*/ 266700 w 341313"/>
                      <a:gd name="connsiteY285" fmla="*/ 35614 h 1516168"/>
                      <a:gd name="connsiteX286" fmla="*/ 277754 w 341313"/>
                      <a:gd name="connsiteY286" fmla="*/ 20092 h 1516168"/>
                      <a:gd name="connsiteX287" fmla="*/ 330259 w 341313"/>
                      <a:gd name="connsiteY287" fmla="*/ 689 h 15161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  <a:cxn ang="0">
                        <a:pos x="connsiteX180" y="connsiteY180"/>
                      </a:cxn>
                      <a:cxn ang="0">
                        <a:pos x="connsiteX181" y="connsiteY181"/>
                      </a:cxn>
                      <a:cxn ang="0">
                        <a:pos x="connsiteX182" y="connsiteY182"/>
                      </a:cxn>
                      <a:cxn ang="0">
                        <a:pos x="connsiteX183" y="connsiteY183"/>
                      </a:cxn>
                      <a:cxn ang="0">
                        <a:pos x="connsiteX184" y="connsiteY184"/>
                      </a:cxn>
                      <a:cxn ang="0">
                        <a:pos x="connsiteX185" y="connsiteY185"/>
                      </a:cxn>
                      <a:cxn ang="0">
                        <a:pos x="connsiteX186" y="connsiteY186"/>
                      </a:cxn>
                      <a:cxn ang="0">
                        <a:pos x="connsiteX187" y="connsiteY187"/>
                      </a:cxn>
                      <a:cxn ang="0">
                        <a:pos x="connsiteX188" y="connsiteY188"/>
                      </a:cxn>
                      <a:cxn ang="0">
                        <a:pos x="connsiteX189" y="connsiteY189"/>
                      </a:cxn>
                      <a:cxn ang="0">
                        <a:pos x="connsiteX190" y="connsiteY190"/>
                      </a:cxn>
                      <a:cxn ang="0">
                        <a:pos x="connsiteX191" y="connsiteY191"/>
                      </a:cxn>
                      <a:cxn ang="0">
                        <a:pos x="connsiteX192" y="connsiteY192"/>
                      </a:cxn>
                      <a:cxn ang="0">
                        <a:pos x="connsiteX193" y="connsiteY193"/>
                      </a:cxn>
                      <a:cxn ang="0">
                        <a:pos x="connsiteX194" y="connsiteY194"/>
                      </a:cxn>
                      <a:cxn ang="0">
                        <a:pos x="connsiteX195" y="connsiteY195"/>
                      </a:cxn>
                      <a:cxn ang="0">
                        <a:pos x="connsiteX196" y="connsiteY196"/>
                      </a:cxn>
                      <a:cxn ang="0">
                        <a:pos x="connsiteX197" y="connsiteY197"/>
                      </a:cxn>
                      <a:cxn ang="0">
                        <a:pos x="connsiteX198" y="connsiteY198"/>
                      </a:cxn>
                      <a:cxn ang="0">
                        <a:pos x="connsiteX199" y="connsiteY199"/>
                      </a:cxn>
                      <a:cxn ang="0">
                        <a:pos x="connsiteX200" y="connsiteY200"/>
                      </a:cxn>
                      <a:cxn ang="0">
                        <a:pos x="connsiteX201" y="connsiteY201"/>
                      </a:cxn>
                      <a:cxn ang="0">
                        <a:pos x="connsiteX202" y="connsiteY202"/>
                      </a:cxn>
                      <a:cxn ang="0">
                        <a:pos x="connsiteX203" y="connsiteY203"/>
                      </a:cxn>
                      <a:cxn ang="0">
                        <a:pos x="connsiteX204" y="connsiteY204"/>
                      </a:cxn>
                      <a:cxn ang="0">
                        <a:pos x="connsiteX205" y="connsiteY205"/>
                      </a:cxn>
                      <a:cxn ang="0">
                        <a:pos x="connsiteX206" y="connsiteY206"/>
                      </a:cxn>
                      <a:cxn ang="0">
                        <a:pos x="connsiteX207" y="connsiteY207"/>
                      </a:cxn>
                      <a:cxn ang="0">
                        <a:pos x="connsiteX208" y="connsiteY208"/>
                      </a:cxn>
                      <a:cxn ang="0">
                        <a:pos x="connsiteX209" y="connsiteY209"/>
                      </a:cxn>
                      <a:cxn ang="0">
                        <a:pos x="connsiteX210" y="connsiteY210"/>
                      </a:cxn>
                      <a:cxn ang="0">
                        <a:pos x="connsiteX211" y="connsiteY211"/>
                      </a:cxn>
                      <a:cxn ang="0">
                        <a:pos x="connsiteX212" y="connsiteY212"/>
                      </a:cxn>
                      <a:cxn ang="0">
                        <a:pos x="connsiteX213" y="connsiteY213"/>
                      </a:cxn>
                      <a:cxn ang="0">
                        <a:pos x="connsiteX214" y="connsiteY214"/>
                      </a:cxn>
                      <a:cxn ang="0">
                        <a:pos x="connsiteX215" y="connsiteY215"/>
                      </a:cxn>
                      <a:cxn ang="0">
                        <a:pos x="connsiteX216" y="connsiteY216"/>
                      </a:cxn>
                      <a:cxn ang="0">
                        <a:pos x="connsiteX217" y="connsiteY217"/>
                      </a:cxn>
                      <a:cxn ang="0">
                        <a:pos x="connsiteX218" y="connsiteY218"/>
                      </a:cxn>
                      <a:cxn ang="0">
                        <a:pos x="connsiteX219" y="connsiteY219"/>
                      </a:cxn>
                      <a:cxn ang="0">
                        <a:pos x="connsiteX220" y="connsiteY220"/>
                      </a:cxn>
                      <a:cxn ang="0">
                        <a:pos x="connsiteX221" y="connsiteY221"/>
                      </a:cxn>
                      <a:cxn ang="0">
                        <a:pos x="connsiteX222" y="connsiteY222"/>
                      </a:cxn>
                      <a:cxn ang="0">
                        <a:pos x="connsiteX223" y="connsiteY223"/>
                      </a:cxn>
                      <a:cxn ang="0">
                        <a:pos x="connsiteX224" y="connsiteY224"/>
                      </a:cxn>
                      <a:cxn ang="0">
                        <a:pos x="connsiteX225" y="connsiteY225"/>
                      </a:cxn>
                      <a:cxn ang="0">
                        <a:pos x="connsiteX226" y="connsiteY226"/>
                      </a:cxn>
                      <a:cxn ang="0">
                        <a:pos x="connsiteX227" y="connsiteY227"/>
                      </a:cxn>
                      <a:cxn ang="0">
                        <a:pos x="connsiteX228" y="connsiteY228"/>
                      </a:cxn>
                      <a:cxn ang="0">
                        <a:pos x="connsiteX229" y="connsiteY229"/>
                      </a:cxn>
                      <a:cxn ang="0">
                        <a:pos x="connsiteX230" y="connsiteY230"/>
                      </a:cxn>
                      <a:cxn ang="0">
                        <a:pos x="connsiteX231" y="connsiteY231"/>
                      </a:cxn>
                      <a:cxn ang="0">
                        <a:pos x="connsiteX232" y="connsiteY232"/>
                      </a:cxn>
                      <a:cxn ang="0">
                        <a:pos x="connsiteX233" y="connsiteY233"/>
                      </a:cxn>
                      <a:cxn ang="0">
                        <a:pos x="connsiteX234" y="connsiteY234"/>
                      </a:cxn>
                      <a:cxn ang="0">
                        <a:pos x="connsiteX235" y="connsiteY235"/>
                      </a:cxn>
                      <a:cxn ang="0">
                        <a:pos x="connsiteX236" y="connsiteY236"/>
                      </a:cxn>
                      <a:cxn ang="0">
                        <a:pos x="connsiteX237" y="connsiteY237"/>
                      </a:cxn>
                      <a:cxn ang="0">
                        <a:pos x="connsiteX238" y="connsiteY238"/>
                      </a:cxn>
                      <a:cxn ang="0">
                        <a:pos x="connsiteX239" y="connsiteY239"/>
                      </a:cxn>
                      <a:cxn ang="0">
                        <a:pos x="connsiteX240" y="connsiteY240"/>
                      </a:cxn>
                      <a:cxn ang="0">
                        <a:pos x="connsiteX241" y="connsiteY241"/>
                      </a:cxn>
                      <a:cxn ang="0">
                        <a:pos x="connsiteX242" y="connsiteY242"/>
                      </a:cxn>
                      <a:cxn ang="0">
                        <a:pos x="connsiteX243" y="connsiteY243"/>
                      </a:cxn>
                      <a:cxn ang="0">
                        <a:pos x="connsiteX244" y="connsiteY244"/>
                      </a:cxn>
                      <a:cxn ang="0">
                        <a:pos x="connsiteX245" y="connsiteY245"/>
                      </a:cxn>
                      <a:cxn ang="0">
                        <a:pos x="connsiteX246" y="connsiteY246"/>
                      </a:cxn>
                      <a:cxn ang="0">
                        <a:pos x="connsiteX247" y="connsiteY247"/>
                      </a:cxn>
                      <a:cxn ang="0">
                        <a:pos x="connsiteX248" y="connsiteY248"/>
                      </a:cxn>
                      <a:cxn ang="0">
                        <a:pos x="connsiteX249" y="connsiteY249"/>
                      </a:cxn>
                      <a:cxn ang="0">
                        <a:pos x="connsiteX250" y="connsiteY250"/>
                      </a:cxn>
                      <a:cxn ang="0">
                        <a:pos x="connsiteX251" y="connsiteY251"/>
                      </a:cxn>
                      <a:cxn ang="0">
                        <a:pos x="connsiteX252" y="connsiteY252"/>
                      </a:cxn>
                      <a:cxn ang="0">
                        <a:pos x="connsiteX253" y="connsiteY253"/>
                      </a:cxn>
                      <a:cxn ang="0">
                        <a:pos x="connsiteX254" y="connsiteY254"/>
                      </a:cxn>
                      <a:cxn ang="0">
                        <a:pos x="connsiteX255" y="connsiteY255"/>
                      </a:cxn>
                      <a:cxn ang="0">
                        <a:pos x="connsiteX256" y="connsiteY256"/>
                      </a:cxn>
                      <a:cxn ang="0">
                        <a:pos x="connsiteX257" y="connsiteY257"/>
                      </a:cxn>
                      <a:cxn ang="0">
                        <a:pos x="connsiteX258" y="connsiteY258"/>
                      </a:cxn>
                      <a:cxn ang="0">
                        <a:pos x="connsiteX259" y="connsiteY259"/>
                      </a:cxn>
                      <a:cxn ang="0">
                        <a:pos x="connsiteX260" y="connsiteY260"/>
                      </a:cxn>
                      <a:cxn ang="0">
                        <a:pos x="connsiteX261" y="connsiteY261"/>
                      </a:cxn>
                      <a:cxn ang="0">
                        <a:pos x="connsiteX262" y="connsiteY262"/>
                      </a:cxn>
                      <a:cxn ang="0">
                        <a:pos x="connsiteX263" y="connsiteY263"/>
                      </a:cxn>
                      <a:cxn ang="0">
                        <a:pos x="connsiteX264" y="connsiteY264"/>
                      </a:cxn>
                      <a:cxn ang="0">
                        <a:pos x="connsiteX265" y="connsiteY265"/>
                      </a:cxn>
                      <a:cxn ang="0">
                        <a:pos x="connsiteX266" y="connsiteY266"/>
                      </a:cxn>
                      <a:cxn ang="0">
                        <a:pos x="connsiteX267" y="connsiteY267"/>
                      </a:cxn>
                      <a:cxn ang="0">
                        <a:pos x="connsiteX268" y="connsiteY268"/>
                      </a:cxn>
                      <a:cxn ang="0">
                        <a:pos x="connsiteX269" y="connsiteY269"/>
                      </a:cxn>
                      <a:cxn ang="0">
                        <a:pos x="connsiteX270" y="connsiteY270"/>
                      </a:cxn>
                      <a:cxn ang="0">
                        <a:pos x="connsiteX271" y="connsiteY271"/>
                      </a:cxn>
                      <a:cxn ang="0">
                        <a:pos x="connsiteX272" y="connsiteY272"/>
                      </a:cxn>
                      <a:cxn ang="0">
                        <a:pos x="connsiteX273" y="connsiteY273"/>
                      </a:cxn>
                      <a:cxn ang="0">
                        <a:pos x="connsiteX274" y="connsiteY274"/>
                      </a:cxn>
                      <a:cxn ang="0">
                        <a:pos x="connsiteX275" y="connsiteY275"/>
                      </a:cxn>
                      <a:cxn ang="0">
                        <a:pos x="connsiteX276" y="connsiteY276"/>
                      </a:cxn>
                      <a:cxn ang="0">
                        <a:pos x="connsiteX277" y="connsiteY277"/>
                      </a:cxn>
                      <a:cxn ang="0">
                        <a:pos x="connsiteX278" y="connsiteY278"/>
                      </a:cxn>
                      <a:cxn ang="0">
                        <a:pos x="connsiteX279" y="connsiteY279"/>
                      </a:cxn>
                      <a:cxn ang="0">
                        <a:pos x="connsiteX280" y="connsiteY280"/>
                      </a:cxn>
                      <a:cxn ang="0">
                        <a:pos x="connsiteX281" y="connsiteY281"/>
                      </a:cxn>
                      <a:cxn ang="0">
                        <a:pos x="connsiteX282" y="connsiteY282"/>
                      </a:cxn>
                      <a:cxn ang="0">
                        <a:pos x="connsiteX283" y="connsiteY283"/>
                      </a:cxn>
                      <a:cxn ang="0">
                        <a:pos x="connsiteX284" y="connsiteY284"/>
                      </a:cxn>
                      <a:cxn ang="0">
                        <a:pos x="connsiteX285" y="connsiteY285"/>
                      </a:cxn>
                      <a:cxn ang="0">
                        <a:pos x="connsiteX286" y="connsiteY286"/>
                      </a:cxn>
                      <a:cxn ang="0">
                        <a:pos x="connsiteX287" y="connsiteY287"/>
                      </a:cxn>
                    </a:cxnLst>
                    <a:rect l="l" t="t" r="r" b="b"/>
                    <a:pathLst>
                      <a:path w="341313" h="1516168">
                        <a:moveTo>
                          <a:pt x="63092" y="1344294"/>
                        </a:moveTo>
                        <a:cubicBezTo>
                          <a:pt x="69675" y="1341497"/>
                          <a:pt x="74613" y="1344854"/>
                          <a:pt x="74613" y="1351007"/>
                        </a:cubicBezTo>
                        <a:cubicBezTo>
                          <a:pt x="74613" y="1480789"/>
                          <a:pt x="74613" y="1480789"/>
                          <a:pt x="74613" y="1480789"/>
                        </a:cubicBezTo>
                        <a:cubicBezTo>
                          <a:pt x="74613" y="1486943"/>
                          <a:pt x="69675" y="1493656"/>
                          <a:pt x="63092" y="1495893"/>
                        </a:cubicBezTo>
                        <a:cubicBezTo>
                          <a:pt x="10972" y="1515473"/>
                          <a:pt x="10972" y="1515473"/>
                          <a:pt x="10972" y="1515473"/>
                        </a:cubicBezTo>
                        <a:cubicBezTo>
                          <a:pt x="4937" y="1517710"/>
                          <a:pt x="0" y="1514354"/>
                          <a:pt x="0" y="1508200"/>
                        </a:cubicBezTo>
                        <a:cubicBezTo>
                          <a:pt x="0" y="1378977"/>
                          <a:pt x="0" y="1378977"/>
                          <a:pt x="0" y="1378977"/>
                        </a:cubicBezTo>
                        <a:cubicBezTo>
                          <a:pt x="0" y="1372824"/>
                          <a:pt x="4937" y="1365552"/>
                          <a:pt x="10972" y="1363314"/>
                        </a:cubicBezTo>
                        <a:cubicBezTo>
                          <a:pt x="63092" y="1344294"/>
                          <a:pt x="63092" y="1344294"/>
                          <a:pt x="63092" y="1344294"/>
                        </a:cubicBezTo>
                        <a:close/>
                        <a:moveTo>
                          <a:pt x="152459" y="1311965"/>
                        </a:moveTo>
                        <a:cubicBezTo>
                          <a:pt x="158539" y="1309747"/>
                          <a:pt x="163513" y="1313073"/>
                          <a:pt x="163513" y="1319171"/>
                        </a:cubicBezTo>
                        <a:cubicBezTo>
                          <a:pt x="163513" y="1447784"/>
                          <a:pt x="163513" y="1447784"/>
                          <a:pt x="163513" y="1447784"/>
                        </a:cubicBezTo>
                        <a:cubicBezTo>
                          <a:pt x="163513" y="1453882"/>
                          <a:pt x="158539" y="1460534"/>
                          <a:pt x="152459" y="1462752"/>
                        </a:cubicBezTo>
                        <a:cubicBezTo>
                          <a:pt x="99954" y="1482155"/>
                          <a:pt x="99954" y="1482155"/>
                          <a:pt x="99954" y="1482155"/>
                        </a:cubicBezTo>
                        <a:cubicBezTo>
                          <a:pt x="93874" y="1484372"/>
                          <a:pt x="88900" y="1481046"/>
                          <a:pt x="88900" y="1474948"/>
                        </a:cubicBezTo>
                        <a:cubicBezTo>
                          <a:pt x="88900" y="1346890"/>
                          <a:pt x="88900" y="1346890"/>
                          <a:pt x="88900" y="1346890"/>
                        </a:cubicBezTo>
                        <a:cubicBezTo>
                          <a:pt x="88900" y="1340792"/>
                          <a:pt x="93874" y="1333585"/>
                          <a:pt x="99954" y="1331367"/>
                        </a:cubicBezTo>
                        <a:cubicBezTo>
                          <a:pt x="152459" y="1311965"/>
                          <a:pt x="152459" y="1311965"/>
                          <a:pt x="152459" y="1311965"/>
                        </a:cubicBezTo>
                        <a:close/>
                        <a:moveTo>
                          <a:pt x="240892" y="1280215"/>
                        </a:moveTo>
                        <a:cubicBezTo>
                          <a:pt x="247475" y="1277997"/>
                          <a:pt x="252413" y="1281323"/>
                          <a:pt x="252413" y="1287421"/>
                        </a:cubicBezTo>
                        <a:cubicBezTo>
                          <a:pt x="252413" y="1416034"/>
                          <a:pt x="252413" y="1416034"/>
                          <a:pt x="252413" y="1416034"/>
                        </a:cubicBezTo>
                        <a:cubicBezTo>
                          <a:pt x="252413" y="1422132"/>
                          <a:pt x="247475" y="1428784"/>
                          <a:pt x="240892" y="1431002"/>
                        </a:cubicBezTo>
                        <a:cubicBezTo>
                          <a:pt x="188772" y="1450405"/>
                          <a:pt x="188772" y="1450405"/>
                          <a:pt x="188772" y="1450405"/>
                        </a:cubicBezTo>
                        <a:cubicBezTo>
                          <a:pt x="182737" y="1452622"/>
                          <a:pt x="177800" y="1449296"/>
                          <a:pt x="177800" y="1443198"/>
                        </a:cubicBezTo>
                        <a:cubicBezTo>
                          <a:pt x="177800" y="1315140"/>
                          <a:pt x="177800" y="1315140"/>
                          <a:pt x="177800" y="1315140"/>
                        </a:cubicBezTo>
                        <a:cubicBezTo>
                          <a:pt x="177800" y="1308487"/>
                          <a:pt x="182737" y="1301835"/>
                          <a:pt x="188772" y="1299617"/>
                        </a:cubicBezTo>
                        <a:cubicBezTo>
                          <a:pt x="240892" y="1280215"/>
                          <a:pt x="240892" y="1280215"/>
                          <a:pt x="240892" y="1280215"/>
                        </a:cubicBezTo>
                        <a:close/>
                        <a:moveTo>
                          <a:pt x="330259" y="1246897"/>
                        </a:moveTo>
                        <a:cubicBezTo>
                          <a:pt x="336339" y="1244659"/>
                          <a:pt x="341313" y="1248016"/>
                          <a:pt x="341313" y="1254169"/>
                        </a:cubicBezTo>
                        <a:cubicBezTo>
                          <a:pt x="341313" y="1383951"/>
                          <a:pt x="341313" y="1383951"/>
                          <a:pt x="341313" y="1383951"/>
                        </a:cubicBezTo>
                        <a:cubicBezTo>
                          <a:pt x="341313" y="1390105"/>
                          <a:pt x="336339" y="1396818"/>
                          <a:pt x="330259" y="1399055"/>
                        </a:cubicBezTo>
                        <a:cubicBezTo>
                          <a:pt x="277754" y="1418635"/>
                          <a:pt x="277754" y="1418635"/>
                          <a:pt x="277754" y="1418635"/>
                        </a:cubicBezTo>
                        <a:cubicBezTo>
                          <a:pt x="271674" y="1420872"/>
                          <a:pt x="266700" y="1417516"/>
                          <a:pt x="266700" y="1411362"/>
                        </a:cubicBezTo>
                        <a:cubicBezTo>
                          <a:pt x="266700" y="1282139"/>
                          <a:pt x="266700" y="1282139"/>
                          <a:pt x="266700" y="1282139"/>
                        </a:cubicBezTo>
                        <a:cubicBezTo>
                          <a:pt x="266700" y="1275426"/>
                          <a:pt x="271674" y="1268714"/>
                          <a:pt x="277754" y="1266476"/>
                        </a:cubicBezTo>
                        <a:cubicBezTo>
                          <a:pt x="330259" y="1246897"/>
                          <a:pt x="330259" y="1246897"/>
                          <a:pt x="330259" y="1246897"/>
                        </a:cubicBezTo>
                        <a:close/>
                        <a:moveTo>
                          <a:pt x="63092" y="1165914"/>
                        </a:moveTo>
                        <a:cubicBezTo>
                          <a:pt x="69675" y="1163697"/>
                          <a:pt x="74613" y="1167023"/>
                          <a:pt x="74613" y="1173121"/>
                        </a:cubicBezTo>
                        <a:cubicBezTo>
                          <a:pt x="74613" y="1301734"/>
                          <a:pt x="74613" y="1301734"/>
                          <a:pt x="74613" y="1301734"/>
                        </a:cubicBezTo>
                        <a:cubicBezTo>
                          <a:pt x="74613" y="1307832"/>
                          <a:pt x="69675" y="1314484"/>
                          <a:pt x="63092" y="1316702"/>
                        </a:cubicBezTo>
                        <a:cubicBezTo>
                          <a:pt x="10972" y="1336105"/>
                          <a:pt x="10972" y="1336105"/>
                          <a:pt x="10972" y="1336105"/>
                        </a:cubicBezTo>
                        <a:cubicBezTo>
                          <a:pt x="4937" y="1338322"/>
                          <a:pt x="0" y="1334996"/>
                          <a:pt x="0" y="1328898"/>
                        </a:cubicBezTo>
                        <a:cubicBezTo>
                          <a:pt x="0" y="1200839"/>
                          <a:pt x="0" y="1200839"/>
                          <a:pt x="0" y="1200839"/>
                        </a:cubicBezTo>
                        <a:cubicBezTo>
                          <a:pt x="0" y="1194187"/>
                          <a:pt x="4937" y="1187535"/>
                          <a:pt x="10972" y="1185317"/>
                        </a:cubicBezTo>
                        <a:cubicBezTo>
                          <a:pt x="63092" y="1165914"/>
                          <a:pt x="63092" y="1165914"/>
                          <a:pt x="63092" y="1165914"/>
                        </a:cubicBezTo>
                        <a:close/>
                        <a:moveTo>
                          <a:pt x="152459" y="1134164"/>
                        </a:moveTo>
                        <a:cubicBezTo>
                          <a:pt x="158539" y="1131947"/>
                          <a:pt x="163513" y="1135273"/>
                          <a:pt x="163513" y="1141371"/>
                        </a:cubicBezTo>
                        <a:cubicBezTo>
                          <a:pt x="163513" y="1269984"/>
                          <a:pt x="163513" y="1269984"/>
                          <a:pt x="163513" y="1269984"/>
                        </a:cubicBezTo>
                        <a:cubicBezTo>
                          <a:pt x="163513" y="1276082"/>
                          <a:pt x="158539" y="1282734"/>
                          <a:pt x="152459" y="1284952"/>
                        </a:cubicBezTo>
                        <a:cubicBezTo>
                          <a:pt x="99954" y="1304355"/>
                          <a:pt x="99954" y="1304355"/>
                          <a:pt x="99954" y="1304355"/>
                        </a:cubicBezTo>
                        <a:cubicBezTo>
                          <a:pt x="93874" y="1306572"/>
                          <a:pt x="88900" y="1303246"/>
                          <a:pt x="88900" y="1297148"/>
                        </a:cubicBezTo>
                        <a:cubicBezTo>
                          <a:pt x="88900" y="1169089"/>
                          <a:pt x="88900" y="1169089"/>
                          <a:pt x="88900" y="1169089"/>
                        </a:cubicBezTo>
                        <a:cubicBezTo>
                          <a:pt x="88900" y="1162437"/>
                          <a:pt x="93874" y="1155785"/>
                          <a:pt x="99954" y="1153567"/>
                        </a:cubicBezTo>
                        <a:cubicBezTo>
                          <a:pt x="152459" y="1134164"/>
                          <a:pt x="152459" y="1134164"/>
                          <a:pt x="152459" y="1134164"/>
                        </a:cubicBezTo>
                        <a:close/>
                        <a:moveTo>
                          <a:pt x="240892" y="1100847"/>
                        </a:moveTo>
                        <a:cubicBezTo>
                          <a:pt x="247475" y="1098609"/>
                          <a:pt x="252413" y="1101965"/>
                          <a:pt x="252413" y="1108119"/>
                        </a:cubicBezTo>
                        <a:cubicBezTo>
                          <a:pt x="252413" y="1237342"/>
                          <a:pt x="252413" y="1237342"/>
                          <a:pt x="252413" y="1237342"/>
                        </a:cubicBezTo>
                        <a:cubicBezTo>
                          <a:pt x="252413" y="1244055"/>
                          <a:pt x="247475" y="1250768"/>
                          <a:pt x="240892" y="1253005"/>
                        </a:cubicBezTo>
                        <a:cubicBezTo>
                          <a:pt x="188772" y="1272585"/>
                          <a:pt x="188772" y="1272585"/>
                          <a:pt x="188772" y="1272585"/>
                        </a:cubicBezTo>
                        <a:cubicBezTo>
                          <a:pt x="182737" y="1274822"/>
                          <a:pt x="177800" y="1271466"/>
                          <a:pt x="177800" y="1265312"/>
                        </a:cubicBezTo>
                        <a:cubicBezTo>
                          <a:pt x="177800" y="1136089"/>
                          <a:pt x="177800" y="1136089"/>
                          <a:pt x="177800" y="1136089"/>
                        </a:cubicBezTo>
                        <a:cubicBezTo>
                          <a:pt x="177800" y="1129376"/>
                          <a:pt x="182737" y="1122663"/>
                          <a:pt x="188772" y="1120426"/>
                        </a:cubicBezTo>
                        <a:cubicBezTo>
                          <a:pt x="240892" y="1100847"/>
                          <a:pt x="240892" y="1100847"/>
                          <a:pt x="240892" y="1100847"/>
                        </a:cubicBezTo>
                        <a:close/>
                        <a:moveTo>
                          <a:pt x="330259" y="1069076"/>
                        </a:moveTo>
                        <a:cubicBezTo>
                          <a:pt x="336339" y="1066859"/>
                          <a:pt x="341313" y="1070185"/>
                          <a:pt x="341313" y="1076283"/>
                        </a:cubicBezTo>
                        <a:cubicBezTo>
                          <a:pt x="341313" y="1204341"/>
                          <a:pt x="341313" y="1204341"/>
                          <a:pt x="341313" y="1204341"/>
                        </a:cubicBezTo>
                        <a:cubicBezTo>
                          <a:pt x="341313" y="1210994"/>
                          <a:pt x="336339" y="1217646"/>
                          <a:pt x="330259" y="1219864"/>
                        </a:cubicBezTo>
                        <a:cubicBezTo>
                          <a:pt x="277754" y="1239266"/>
                          <a:pt x="277754" y="1239266"/>
                          <a:pt x="277754" y="1239266"/>
                        </a:cubicBezTo>
                        <a:cubicBezTo>
                          <a:pt x="271674" y="1241484"/>
                          <a:pt x="266700" y="1238158"/>
                          <a:pt x="266700" y="1232060"/>
                        </a:cubicBezTo>
                        <a:cubicBezTo>
                          <a:pt x="266700" y="1104001"/>
                          <a:pt x="266700" y="1104001"/>
                          <a:pt x="266700" y="1104001"/>
                        </a:cubicBezTo>
                        <a:cubicBezTo>
                          <a:pt x="266700" y="1097349"/>
                          <a:pt x="271674" y="1090697"/>
                          <a:pt x="277754" y="1088479"/>
                        </a:cubicBezTo>
                        <a:cubicBezTo>
                          <a:pt x="330259" y="1069076"/>
                          <a:pt x="330259" y="1069076"/>
                          <a:pt x="330259" y="1069076"/>
                        </a:cubicBezTo>
                        <a:close/>
                        <a:moveTo>
                          <a:pt x="63092" y="988114"/>
                        </a:moveTo>
                        <a:cubicBezTo>
                          <a:pt x="69675" y="985897"/>
                          <a:pt x="74613" y="989223"/>
                          <a:pt x="74613" y="995321"/>
                        </a:cubicBezTo>
                        <a:cubicBezTo>
                          <a:pt x="74613" y="1123379"/>
                          <a:pt x="74613" y="1123379"/>
                          <a:pt x="74613" y="1123379"/>
                        </a:cubicBezTo>
                        <a:cubicBezTo>
                          <a:pt x="74613" y="1130032"/>
                          <a:pt x="69675" y="1136684"/>
                          <a:pt x="63092" y="1138902"/>
                        </a:cubicBezTo>
                        <a:cubicBezTo>
                          <a:pt x="10972" y="1158304"/>
                          <a:pt x="10972" y="1158304"/>
                          <a:pt x="10972" y="1158304"/>
                        </a:cubicBezTo>
                        <a:cubicBezTo>
                          <a:pt x="4937" y="1160522"/>
                          <a:pt x="0" y="1157196"/>
                          <a:pt x="0" y="1151098"/>
                        </a:cubicBezTo>
                        <a:cubicBezTo>
                          <a:pt x="0" y="1023039"/>
                          <a:pt x="0" y="1023039"/>
                          <a:pt x="0" y="1023039"/>
                        </a:cubicBezTo>
                        <a:cubicBezTo>
                          <a:pt x="0" y="1016387"/>
                          <a:pt x="4937" y="1009735"/>
                          <a:pt x="10972" y="1007517"/>
                        </a:cubicBezTo>
                        <a:cubicBezTo>
                          <a:pt x="63092" y="988114"/>
                          <a:pt x="63092" y="988114"/>
                          <a:pt x="63092" y="988114"/>
                        </a:cubicBezTo>
                        <a:close/>
                        <a:moveTo>
                          <a:pt x="152459" y="956364"/>
                        </a:moveTo>
                        <a:cubicBezTo>
                          <a:pt x="158539" y="954147"/>
                          <a:pt x="163513" y="957473"/>
                          <a:pt x="163513" y="963571"/>
                        </a:cubicBezTo>
                        <a:cubicBezTo>
                          <a:pt x="163513" y="1091629"/>
                          <a:pt x="163513" y="1091629"/>
                          <a:pt x="163513" y="1091629"/>
                        </a:cubicBezTo>
                        <a:cubicBezTo>
                          <a:pt x="163513" y="1098282"/>
                          <a:pt x="158539" y="1104934"/>
                          <a:pt x="152459" y="1107152"/>
                        </a:cubicBezTo>
                        <a:cubicBezTo>
                          <a:pt x="99954" y="1126554"/>
                          <a:pt x="99954" y="1126554"/>
                          <a:pt x="99954" y="1126554"/>
                        </a:cubicBezTo>
                        <a:cubicBezTo>
                          <a:pt x="93874" y="1128772"/>
                          <a:pt x="88900" y="1125446"/>
                          <a:pt x="88900" y="1119348"/>
                        </a:cubicBezTo>
                        <a:cubicBezTo>
                          <a:pt x="88900" y="990735"/>
                          <a:pt x="88900" y="990735"/>
                          <a:pt x="88900" y="990735"/>
                        </a:cubicBezTo>
                        <a:cubicBezTo>
                          <a:pt x="88900" y="984637"/>
                          <a:pt x="93874" y="977985"/>
                          <a:pt x="99954" y="975767"/>
                        </a:cubicBezTo>
                        <a:cubicBezTo>
                          <a:pt x="152459" y="956364"/>
                          <a:pt x="152459" y="956364"/>
                          <a:pt x="152459" y="956364"/>
                        </a:cubicBezTo>
                        <a:close/>
                        <a:moveTo>
                          <a:pt x="240892" y="923047"/>
                        </a:moveTo>
                        <a:cubicBezTo>
                          <a:pt x="247475" y="920809"/>
                          <a:pt x="252413" y="924165"/>
                          <a:pt x="252413" y="930319"/>
                        </a:cubicBezTo>
                        <a:cubicBezTo>
                          <a:pt x="252413" y="1059542"/>
                          <a:pt x="252413" y="1059542"/>
                          <a:pt x="252413" y="1059542"/>
                        </a:cubicBezTo>
                        <a:cubicBezTo>
                          <a:pt x="252413" y="1066255"/>
                          <a:pt x="247475" y="1072967"/>
                          <a:pt x="240892" y="1075205"/>
                        </a:cubicBezTo>
                        <a:cubicBezTo>
                          <a:pt x="188772" y="1094784"/>
                          <a:pt x="188772" y="1094784"/>
                          <a:pt x="188772" y="1094784"/>
                        </a:cubicBezTo>
                        <a:cubicBezTo>
                          <a:pt x="182737" y="1097022"/>
                          <a:pt x="177800" y="1093665"/>
                          <a:pt x="177800" y="1087512"/>
                        </a:cubicBezTo>
                        <a:cubicBezTo>
                          <a:pt x="177800" y="957730"/>
                          <a:pt x="177800" y="957730"/>
                          <a:pt x="177800" y="957730"/>
                        </a:cubicBezTo>
                        <a:cubicBezTo>
                          <a:pt x="177800" y="951576"/>
                          <a:pt x="182737" y="944863"/>
                          <a:pt x="188772" y="942626"/>
                        </a:cubicBezTo>
                        <a:cubicBezTo>
                          <a:pt x="240892" y="923047"/>
                          <a:pt x="240892" y="923047"/>
                          <a:pt x="240892" y="923047"/>
                        </a:cubicBezTo>
                        <a:close/>
                        <a:moveTo>
                          <a:pt x="330259" y="891276"/>
                        </a:moveTo>
                        <a:cubicBezTo>
                          <a:pt x="336339" y="889059"/>
                          <a:pt x="341313" y="892385"/>
                          <a:pt x="341313" y="898483"/>
                        </a:cubicBezTo>
                        <a:cubicBezTo>
                          <a:pt x="341313" y="1026541"/>
                          <a:pt x="341313" y="1026541"/>
                          <a:pt x="341313" y="1026541"/>
                        </a:cubicBezTo>
                        <a:cubicBezTo>
                          <a:pt x="341313" y="1032639"/>
                          <a:pt x="336339" y="1039846"/>
                          <a:pt x="330259" y="1042064"/>
                        </a:cubicBezTo>
                        <a:cubicBezTo>
                          <a:pt x="277754" y="1061466"/>
                          <a:pt x="277754" y="1061466"/>
                          <a:pt x="277754" y="1061466"/>
                        </a:cubicBezTo>
                        <a:cubicBezTo>
                          <a:pt x="271674" y="1063684"/>
                          <a:pt x="266700" y="1060358"/>
                          <a:pt x="266700" y="1054260"/>
                        </a:cubicBezTo>
                        <a:cubicBezTo>
                          <a:pt x="266700" y="925647"/>
                          <a:pt x="266700" y="925647"/>
                          <a:pt x="266700" y="925647"/>
                        </a:cubicBezTo>
                        <a:cubicBezTo>
                          <a:pt x="266700" y="919549"/>
                          <a:pt x="271674" y="912897"/>
                          <a:pt x="277754" y="910679"/>
                        </a:cubicBezTo>
                        <a:cubicBezTo>
                          <a:pt x="330259" y="891276"/>
                          <a:pt x="330259" y="891276"/>
                          <a:pt x="330259" y="891276"/>
                        </a:cubicBezTo>
                        <a:close/>
                        <a:moveTo>
                          <a:pt x="63092" y="810314"/>
                        </a:moveTo>
                        <a:cubicBezTo>
                          <a:pt x="69675" y="808097"/>
                          <a:pt x="74613" y="811423"/>
                          <a:pt x="74613" y="817521"/>
                        </a:cubicBezTo>
                        <a:cubicBezTo>
                          <a:pt x="74613" y="945579"/>
                          <a:pt x="74613" y="945579"/>
                          <a:pt x="74613" y="945579"/>
                        </a:cubicBezTo>
                        <a:cubicBezTo>
                          <a:pt x="74613" y="951677"/>
                          <a:pt x="69675" y="958884"/>
                          <a:pt x="63092" y="961102"/>
                        </a:cubicBezTo>
                        <a:cubicBezTo>
                          <a:pt x="10972" y="980504"/>
                          <a:pt x="10972" y="980504"/>
                          <a:pt x="10972" y="980504"/>
                        </a:cubicBezTo>
                        <a:cubicBezTo>
                          <a:pt x="4937" y="982722"/>
                          <a:pt x="0" y="979396"/>
                          <a:pt x="0" y="973298"/>
                        </a:cubicBezTo>
                        <a:cubicBezTo>
                          <a:pt x="0" y="844685"/>
                          <a:pt x="0" y="844685"/>
                          <a:pt x="0" y="844685"/>
                        </a:cubicBezTo>
                        <a:cubicBezTo>
                          <a:pt x="0" y="838587"/>
                          <a:pt x="4937" y="831935"/>
                          <a:pt x="10972" y="829717"/>
                        </a:cubicBezTo>
                        <a:cubicBezTo>
                          <a:pt x="63092" y="810314"/>
                          <a:pt x="63092" y="810314"/>
                          <a:pt x="63092" y="810314"/>
                        </a:cubicBezTo>
                        <a:close/>
                        <a:moveTo>
                          <a:pt x="152459" y="776997"/>
                        </a:moveTo>
                        <a:cubicBezTo>
                          <a:pt x="158539" y="774759"/>
                          <a:pt x="163513" y="778115"/>
                          <a:pt x="163513" y="784269"/>
                        </a:cubicBezTo>
                        <a:cubicBezTo>
                          <a:pt x="163513" y="913492"/>
                          <a:pt x="163513" y="913492"/>
                          <a:pt x="163513" y="913492"/>
                        </a:cubicBezTo>
                        <a:cubicBezTo>
                          <a:pt x="163513" y="919645"/>
                          <a:pt x="158539" y="926917"/>
                          <a:pt x="152459" y="929155"/>
                        </a:cubicBezTo>
                        <a:cubicBezTo>
                          <a:pt x="99954" y="948175"/>
                          <a:pt x="99954" y="948175"/>
                          <a:pt x="99954" y="948175"/>
                        </a:cubicBezTo>
                        <a:cubicBezTo>
                          <a:pt x="93874" y="950972"/>
                          <a:pt x="88900" y="947615"/>
                          <a:pt x="88900" y="941462"/>
                        </a:cubicBezTo>
                        <a:cubicBezTo>
                          <a:pt x="88900" y="811680"/>
                          <a:pt x="88900" y="811680"/>
                          <a:pt x="88900" y="811680"/>
                        </a:cubicBezTo>
                        <a:cubicBezTo>
                          <a:pt x="88900" y="805526"/>
                          <a:pt x="93874" y="798813"/>
                          <a:pt x="99954" y="796576"/>
                        </a:cubicBezTo>
                        <a:cubicBezTo>
                          <a:pt x="152459" y="776997"/>
                          <a:pt x="152459" y="776997"/>
                          <a:pt x="152459" y="776997"/>
                        </a:cubicBezTo>
                        <a:close/>
                        <a:moveTo>
                          <a:pt x="240892" y="745247"/>
                        </a:moveTo>
                        <a:cubicBezTo>
                          <a:pt x="247475" y="743009"/>
                          <a:pt x="252413" y="746365"/>
                          <a:pt x="252413" y="752519"/>
                        </a:cubicBezTo>
                        <a:cubicBezTo>
                          <a:pt x="252413" y="881742"/>
                          <a:pt x="252413" y="881742"/>
                          <a:pt x="252413" y="881742"/>
                        </a:cubicBezTo>
                        <a:cubicBezTo>
                          <a:pt x="252413" y="887895"/>
                          <a:pt x="247475" y="895167"/>
                          <a:pt x="240892" y="897405"/>
                        </a:cubicBezTo>
                        <a:cubicBezTo>
                          <a:pt x="188772" y="916425"/>
                          <a:pt x="188772" y="916425"/>
                          <a:pt x="188772" y="916425"/>
                        </a:cubicBezTo>
                        <a:cubicBezTo>
                          <a:pt x="182737" y="919222"/>
                          <a:pt x="177800" y="915865"/>
                          <a:pt x="177800" y="909712"/>
                        </a:cubicBezTo>
                        <a:cubicBezTo>
                          <a:pt x="177800" y="779930"/>
                          <a:pt x="177800" y="779930"/>
                          <a:pt x="177800" y="779930"/>
                        </a:cubicBezTo>
                        <a:cubicBezTo>
                          <a:pt x="177800" y="773776"/>
                          <a:pt x="182737" y="767063"/>
                          <a:pt x="188772" y="764826"/>
                        </a:cubicBezTo>
                        <a:cubicBezTo>
                          <a:pt x="240892" y="745247"/>
                          <a:pt x="240892" y="745247"/>
                          <a:pt x="240892" y="745247"/>
                        </a:cubicBezTo>
                        <a:close/>
                        <a:moveTo>
                          <a:pt x="330259" y="713483"/>
                        </a:moveTo>
                        <a:cubicBezTo>
                          <a:pt x="336339" y="711259"/>
                          <a:pt x="341313" y="714596"/>
                          <a:pt x="341313" y="720713"/>
                        </a:cubicBezTo>
                        <a:cubicBezTo>
                          <a:pt x="341313" y="849179"/>
                          <a:pt x="341313" y="849179"/>
                          <a:pt x="341313" y="849179"/>
                        </a:cubicBezTo>
                        <a:cubicBezTo>
                          <a:pt x="341313" y="855297"/>
                          <a:pt x="336339" y="862526"/>
                          <a:pt x="330259" y="864751"/>
                        </a:cubicBezTo>
                        <a:cubicBezTo>
                          <a:pt x="277754" y="883659"/>
                          <a:pt x="277754" y="883659"/>
                          <a:pt x="277754" y="883659"/>
                        </a:cubicBezTo>
                        <a:cubicBezTo>
                          <a:pt x="271674" y="885884"/>
                          <a:pt x="266700" y="883103"/>
                          <a:pt x="266700" y="876430"/>
                        </a:cubicBezTo>
                        <a:cubicBezTo>
                          <a:pt x="266700" y="747963"/>
                          <a:pt x="266700" y="747963"/>
                          <a:pt x="266700" y="747963"/>
                        </a:cubicBezTo>
                        <a:cubicBezTo>
                          <a:pt x="266700" y="741846"/>
                          <a:pt x="271674" y="735172"/>
                          <a:pt x="277754" y="732948"/>
                        </a:cubicBezTo>
                        <a:cubicBezTo>
                          <a:pt x="330259" y="713483"/>
                          <a:pt x="330259" y="713483"/>
                          <a:pt x="330259" y="713483"/>
                        </a:cubicBezTo>
                        <a:close/>
                        <a:moveTo>
                          <a:pt x="63092" y="632521"/>
                        </a:moveTo>
                        <a:cubicBezTo>
                          <a:pt x="69675" y="630297"/>
                          <a:pt x="74613" y="633634"/>
                          <a:pt x="74613" y="639751"/>
                        </a:cubicBezTo>
                        <a:cubicBezTo>
                          <a:pt x="74613" y="768217"/>
                          <a:pt x="74613" y="768217"/>
                          <a:pt x="74613" y="768217"/>
                        </a:cubicBezTo>
                        <a:cubicBezTo>
                          <a:pt x="74613" y="774335"/>
                          <a:pt x="69675" y="781564"/>
                          <a:pt x="63092" y="783789"/>
                        </a:cubicBezTo>
                        <a:cubicBezTo>
                          <a:pt x="10972" y="802697"/>
                          <a:pt x="10972" y="802697"/>
                          <a:pt x="10972" y="802697"/>
                        </a:cubicBezTo>
                        <a:cubicBezTo>
                          <a:pt x="4937" y="804922"/>
                          <a:pt x="0" y="802141"/>
                          <a:pt x="0" y="795468"/>
                        </a:cubicBezTo>
                        <a:cubicBezTo>
                          <a:pt x="0" y="667001"/>
                          <a:pt x="0" y="667001"/>
                          <a:pt x="0" y="667001"/>
                        </a:cubicBezTo>
                        <a:cubicBezTo>
                          <a:pt x="0" y="660884"/>
                          <a:pt x="4937" y="654210"/>
                          <a:pt x="10972" y="651986"/>
                        </a:cubicBezTo>
                        <a:cubicBezTo>
                          <a:pt x="63092" y="632521"/>
                          <a:pt x="63092" y="632521"/>
                          <a:pt x="63092" y="632521"/>
                        </a:cubicBezTo>
                        <a:close/>
                        <a:moveTo>
                          <a:pt x="152459" y="599183"/>
                        </a:moveTo>
                        <a:cubicBezTo>
                          <a:pt x="158539" y="596959"/>
                          <a:pt x="163513" y="600296"/>
                          <a:pt x="163513" y="606413"/>
                        </a:cubicBezTo>
                        <a:cubicBezTo>
                          <a:pt x="163513" y="734879"/>
                          <a:pt x="163513" y="734879"/>
                          <a:pt x="163513" y="734879"/>
                        </a:cubicBezTo>
                        <a:cubicBezTo>
                          <a:pt x="163513" y="740997"/>
                          <a:pt x="158539" y="748226"/>
                          <a:pt x="152459" y="750451"/>
                        </a:cubicBezTo>
                        <a:cubicBezTo>
                          <a:pt x="99954" y="769359"/>
                          <a:pt x="99954" y="769359"/>
                          <a:pt x="99954" y="769359"/>
                        </a:cubicBezTo>
                        <a:cubicBezTo>
                          <a:pt x="93874" y="771584"/>
                          <a:pt x="88900" y="768803"/>
                          <a:pt x="88900" y="762130"/>
                        </a:cubicBezTo>
                        <a:cubicBezTo>
                          <a:pt x="88900" y="633663"/>
                          <a:pt x="88900" y="633663"/>
                          <a:pt x="88900" y="633663"/>
                        </a:cubicBezTo>
                        <a:cubicBezTo>
                          <a:pt x="88900" y="627546"/>
                          <a:pt x="93874" y="620872"/>
                          <a:pt x="99954" y="618648"/>
                        </a:cubicBezTo>
                        <a:cubicBezTo>
                          <a:pt x="152459" y="599183"/>
                          <a:pt x="152459" y="599183"/>
                          <a:pt x="152459" y="599183"/>
                        </a:cubicBezTo>
                        <a:close/>
                        <a:moveTo>
                          <a:pt x="240892" y="567433"/>
                        </a:moveTo>
                        <a:cubicBezTo>
                          <a:pt x="247475" y="565209"/>
                          <a:pt x="252413" y="568546"/>
                          <a:pt x="252413" y="574663"/>
                        </a:cubicBezTo>
                        <a:cubicBezTo>
                          <a:pt x="252413" y="703129"/>
                          <a:pt x="252413" y="703129"/>
                          <a:pt x="252413" y="703129"/>
                        </a:cubicBezTo>
                        <a:cubicBezTo>
                          <a:pt x="252413" y="709247"/>
                          <a:pt x="247475" y="716476"/>
                          <a:pt x="240892" y="718701"/>
                        </a:cubicBezTo>
                        <a:cubicBezTo>
                          <a:pt x="188772" y="737609"/>
                          <a:pt x="188772" y="737609"/>
                          <a:pt x="188772" y="737609"/>
                        </a:cubicBezTo>
                        <a:cubicBezTo>
                          <a:pt x="182737" y="739834"/>
                          <a:pt x="177800" y="737053"/>
                          <a:pt x="177800" y="730380"/>
                        </a:cubicBezTo>
                        <a:cubicBezTo>
                          <a:pt x="177800" y="601913"/>
                          <a:pt x="177800" y="601913"/>
                          <a:pt x="177800" y="601913"/>
                        </a:cubicBezTo>
                        <a:cubicBezTo>
                          <a:pt x="177800" y="595796"/>
                          <a:pt x="182737" y="589122"/>
                          <a:pt x="188772" y="586342"/>
                        </a:cubicBezTo>
                        <a:cubicBezTo>
                          <a:pt x="240892" y="567433"/>
                          <a:pt x="240892" y="567433"/>
                          <a:pt x="240892" y="567433"/>
                        </a:cubicBezTo>
                        <a:close/>
                        <a:moveTo>
                          <a:pt x="330259" y="535683"/>
                        </a:moveTo>
                        <a:cubicBezTo>
                          <a:pt x="336339" y="533459"/>
                          <a:pt x="341313" y="536796"/>
                          <a:pt x="341313" y="542913"/>
                        </a:cubicBezTo>
                        <a:cubicBezTo>
                          <a:pt x="341313" y="671379"/>
                          <a:pt x="341313" y="671379"/>
                          <a:pt x="341313" y="671379"/>
                        </a:cubicBezTo>
                        <a:cubicBezTo>
                          <a:pt x="341313" y="677497"/>
                          <a:pt x="336339" y="684726"/>
                          <a:pt x="330259" y="686951"/>
                        </a:cubicBezTo>
                        <a:cubicBezTo>
                          <a:pt x="277754" y="705859"/>
                          <a:pt x="277754" y="705859"/>
                          <a:pt x="277754" y="705859"/>
                        </a:cubicBezTo>
                        <a:cubicBezTo>
                          <a:pt x="271674" y="708084"/>
                          <a:pt x="266700" y="705303"/>
                          <a:pt x="266700" y="698630"/>
                        </a:cubicBezTo>
                        <a:cubicBezTo>
                          <a:pt x="266700" y="570163"/>
                          <a:pt x="266700" y="570163"/>
                          <a:pt x="266700" y="570163"/>
                        </a:cubicBezTo>
                        <a:cubicBezTo>
                          <a:pt x="266700" y="564046"/>
                          <a:pt x="271674" y="556816"/>
                          <a:pt x="277754" y="554592"/>
                        </a:cubicBezTo>
                        <a:cubicBezTo>
                          <a:pt x="330259" y="535683"/>
                          <a:pt x="330259" y="535683"/>
                          <a:pt x="330259" y="535683"/>
                        </a:cubicBezTo>
                        <a:close/>
                        <a:moveTo>
                          <a:pt x="63092" y="453154"/>
                        </a:moveTo>
                        <a:cubicBezTo>
                          <a:pt x="69675" y="450909"/>
                          <a:pt x="74613" y="454276"/>
                          <a:pt x="74613" y="460449"/>
                        </a:cubicBezTo>
                        <a:cubicBezTo>
                          <a:pt x="74613" y="590083"/>
                          <a:pt x="74613" y="590083"/>
                          <a:pt x="74613" y="590083"/>
                        </a:cubicBezTo>
                        <a:cubicBezTo>
                          <a:pt x="74613" y="596257"/>
                          <a:pt x="69675" y="603552"/>
                          <a:pt x="63092" y="605797"/>
                        </a:cubicBezTo>
                        <a:cubicBezTo>
                          <a:pt x="10972" y="624877"/>
                          <a:pt x="10972" y="624877"/>
                          <a:pt x="10972" y="624877"/>
                        </a:cubicBezTo>
                        <a:cubicBezTo>
                          <a:pt x="4937" y="627122"/>
                          <a:pt x="0" y="624316"/>
                          <a:pt x="0" y="617582"/>
                        </a:cubicBezTo>
                        <a:cubicBezTo>
                          <a:pt x="0" y="487947"/>
                          <a:pt x="0" y="487947"/>
                          <a:pt x="0" y="487947"/>
                        </a:cubicBezTo>
                        <a:cubicBezTo>
                          <a:pt x="0" y="481774"/>
                          <a:pt x="4937" y="474479"/>
                          <a:pt x="10972" y="472234"/>
                        </a:cubicBezTo>
                        <a:cubicBezTo>
                          <a:pt x="63092" y="453154"/>
                          <a:pt x="63092" y="453154"/>
                          <a:pt x="63092" y="453154"/>
                        </a:cubicBezTo>
                        <a:close/>
                        <a:moveTo>
                          <a:pt x="152459" y="421383"/>
                        </a:moveTo>
                        <a:cubicBezTo>
                          <a:pt x="158539" y="419159"/>
                          <a:pt x="163513" y="421940"/>
                          <a:pt x="163513" y="428613"/>
                        </a:cubicBezTo>
                        <a:cubicBezTo>
                          <a:pt x="163513" y="557079"/>
                          <a:pt x="163513" y="557079"/>
                          <a:pt x="163513" y="557079"/>
                        </a:cubicBezTo>
                        <a:cubicBezTo>
                          <a:pt x="163513" y="563197"/>
                          <a:pt x="158539" y="570426"/>
                          <a:pt x="152459" y="572651"/>
                        </a:cubicBezTo>
                        <a:cubicBezTo>
                          <a:pt x="99954" y="591559"/>
                          <a:pt x="99954" y="591559"/>
                          <a:pt x="99954" y="591559"/>
                        </a:cubicBezTo>
                        <a:cubicBezTo>
                          <a:pt x="93874" y="593784"/>
                          <a:pt x="88900" y="590447"/>
                          <a:pt x="88900" y="584330"/>
                        </a:cubicBezTo>
                        <a:cubicBezTo>
                          <a:pt x="88900" y="455863"/>
                          <a:pt x="88900" y="455863"/>
                          <a:pt x="88900" y="455863"/>
                        </a:cubicBezTo>
                        <a:cubicBezTo>
                          <a:pt x="88900" y="449746"/>
                          <a:pt x="93874" y="442516"/>
                          <a:pt x="99954" y="440292"/>
                        </a:cubicBezTo>
                        <a:cubicBezTo>
                          <a:pt x="152459" y="421383"/>
                          <a:pt x="152459" y="421383"/>
                          <a:pt x="152459" y="421383"/>
                        </a:cubicBezTo>
                        <a:close/>
                        <a:moveTo>
                          <a:pt x="240892" y="389633"/>
                        </a:moveTo>
                        <a:cubicBezTo>
                          <a:pt x="247475" y="387409"/>
                          <a:pt x="252413" y="390190"/>
                          <a:pt x="252413" y="396863"/>
                        </a:cubicBezTo>
                        <a:cubicBezTo>
                          <a:pt x="252413" y="525329"/>
                          <a:pt x="252413" y="525329"/>
                          <a:pt x="252413" y="525329"/>
                        </a:cubicBezTo>
                        <a:cubicBezTo>
                          <a:pt x="252413" y="531447"/>
                          <a:pt x="247475" y="538120"/>
                          <a:pt x="240892" y="540901"/>
                        </a:cubicBezTo>
                        <a:cubicBezTo>
                          <a:pt x="188772" y="559809"/>
                          <a:pt x="188772" y="559809"/>
                          <a:pt x="188772" y="559809"/>
                        </a:cubicBezTo>
                        <a:cubicBezTo>
                          <a:pt x="182737" y="562034"/>
                          <a:pt x="177800" y="558697"/>
                          <a:pt x="177800" y="552580"/>
                        </a:cubicBezTo>
                        <a:cubicBezTo>
                          <a:pt x="177800" y="424113"/>
                          <a:pt x="177800" y="424113"/>
                          <a:pt x="177800" y="424113"/>
                        </a:cubicBezTo>
                        <a:cubicBezTo>
                          <a:pt x="177800" y="417996"/>
                          <a:pt x="182737" y="410766"/>
                          <a:pt x="188772" y="408542"/>
                        </a:cubicBezTo>
                        <a:cubicBezTo>
                          <a:pt x="240892" y="389633"/>
                          <a:pt x="240892" y="389633"/>
                          <a:pt x="240892" y="389633"/>
                        </a:cubicBezTo>
                        <a:close/>
                        <a:moveTo>
                          <a:pt x="330259" y="356317"/>
                        </a:moveTo>
                        <a:cubicBezTo>
                          <a:pt x="336339" y="354072"/>
                          <a:pt x="341313" y="356878"/>
                          <a:pt x="341313" y="363612"/>
                        </a:cubicBezTo>
                        <a:cubicBezTo>
                          <a:pt x="341313" y="493246"/>
                          <a:pt x="341313" y="493246"/>
                          <a:pt x="341313" y="493246"/>
                        </a:cubicBezTo>
                        <a:cubicBezTo>
                          <a:pt x="341313" y="499420"/>
                          <a:pt x="336339" y="506154"/>
                          <a:pt x="330259" y="508960"/>
                        </a:cubicBezTo>
                        <a:cubicBezTo>
                          <a:pt x="277754" y="528040"/>
                          <a:pt x="277754" y="528040"/>
                          <a:pt x="277754" y="528040"/>
                        </a:cubicBezTo>
                        <a:cubicBezTo>
                          <a:pt x="271674" y="530285"/>
                          <a:pt x="266700" y="526918"/>
                          <a:pt x="266700" y="520745"/>
                        </a:cubicBezTo>
                        <a:cubicBezTo>
                          <a:pt x="266700" y="391110"/>
                          <a:pt x="266700" y="391110"/>
                          <a:pt x="266700" y="391110"/>
                        </a:cubicBezTo>
                        <a:cubicBezTo>
                          <a:pt x="266700" y="384937"/>
                          <a:pt x="271674" y="377642"/>
                          <a:pt x="277754" y="375397"/>
                        </a:cubicBezTo>
                        <a:cubicBezTo>
                          <a:pt x="330259" y="356317"/>
                          <a:pt x="330259" y="356317"/>
                          <a:pt x="330259" y="356317"/>
                        </a:cubicBezTo>
                        <a:close/>
                        <a:moveTo>
                          <a:pt x="63092" y="275333"/>
                        </a:moveTo>
                        <a:cubicBezTo>
                          <a:pt x="69675" y="273109"/>
                          <a:pt x="74613" y="275890"/>
                          <a:pt x="74613" y="282563"/>
                        </a:cubicBezTo>
                        <a:cubicBezTo>
                          <a:pt x="74613" y="411029"/>
                          <a:pt x="74613" y="411029"/>
                          <a:pt x="74613" y="411029"/>
                        </a:cubicBezTo>
                        <a:cubicBezTo>
                          <a:pt x="74613" y="417147"/>
                          <a:pt x="69675" y="423820"/>
                          <a:pt x="63092" y="426601"/>
                        </a:cubicBezTo>
                        <a:cubicBezTo>
                          <a:pt x="10972" y="445509"/>
                          <a:pt x="10972" y="445509"/>
                          <a:pt x="10972" y="445509"/>
                        </a:cubicBezTo>
                        <a:cubicBezTo>
                          <a:pt x="4937" y="447734"/>
                          <a:pt x="0" y="444397"/>
                          <a:pt x="0" y="438280"/>
                        </a:cubicBezTo>
                        <a:cubicBezTo>
                          <a:pt x="0" y="309813"/>
                          <a:pt x="0" y="309813"/>
                          <a:pt x="0" y="309813"/>
                        </a:cubicBezTo>
                        <a:cubicBezTo>
                          <a:pt x="0" y="303696"/>
                          <a:pt x="4937" y="296466"/>
                          <a:pt x="10972" y="294242"/>
                        </a:cubicBezTo>
                        <a:cubicBezTo>
                          <a:pt x="63092" y="275333"/>
                          <a:pt x="63092" y="275333"/>
                          <a:pt x="63092" y="275333"/>
                        </a:cubicBezTo>
                        <a:close/>
                        <a:moveTo>
                          <a:pt x="152459" y="243583"/>
                        </a:moveTo>
                        <a:cubicBezTo>
                          <a:pt x="158539" y="241359"/>
                          <a:pt x="163513" y="244140"/>
                          <a:pt x="163513" y="250813"/>
                        </a:cubicBezTo>
                        <a:cubicBezTo>
                          <a:pt x="163513" y="379279"/>
                          <a:pt x="163513" y="379279"/>
                          <a:pt x="163513" y="379279"/>
                        </a:cubicBezTo>
                        <a:cubicBezTo>
                          <a:pt x="163513" y="385397"/>
                          <a:pt x="158539" y="392070"/>
                          <a:pt x="152459" y="394295"/>
                        </a:cubicBezTo>
                        <a:cubicBezTo>
                          <a:pt x="99954" y="413759"/>
                          <a:pt x="99954" y="413759"/>
                          <a:pt x="99954" y="413759"/>
                        </a:cubicBezTo>
                        <a:cubicBezTo>
                          <a:pt x="93874" y="415984"/>
                          <a:pt x="88900" y="412647"/>
                          <a:pt x="88900" y="406530"/>
                        </a:cubicBezTo>
                        <a:cubicBezTo>
                          <a:pt x="88900" y="278063"/>
                          <a:pt x="88900" y="278063"/>
                          <a:pt x="88900" y="278063"/>
                        </a:cubicBezTo>
                        <a:cubicBezTo>
                          <a:pt x="88900" y="271946"/>
                          <a:pt x="93874" y="264716"/>
                          <a:pt x="99954" y="262492"/>
                        </a:cubicBezTo>
                        <a:cubicBezTo>
                          <a:pt x="152459" y="243583"/>
                          <a:pt x="152459" y="243583"/>
                          <a:pt x="152459" y="243583"/>
                        </a:cubicBezTo>
                        <a:close/>
                        <a:moveTo>
                          <a:pt x="240892" y="211833"/>
                        </a:moveTo>
                        <a:cubicBezTo>
                          <a:pt x="247475" y="209609"/>
                          <a:pt x="252413" y="212390"/>
                          <a:pt x="252413" y="219063"/>
                        </a:cubicBezTo>
                        <a:cubicBezTo>
                          <a:pt x="252413" y="347529"/>
                          <a:pt x="252413" y="347529"/>
                          <a:pt x="252413" y="347529"/>
                        </a:cubicBezTo>
                        <a:cubicBezTo>
                          <a:pt x="252413" y="353647"/>
                          <a:pt x="247475" y="360320"/>
                          <a:pt x="240892" y="362545"/>
                        </a:cubicBezTo>
                        <a:cubicBezTo>
                          <a:pt x="188772" y="382009"/>
                          <a:pt x="188772" y="382009"/>
                          <a:pt x="188772" y="382009"/>
                        </a:cubicBezTo>
                        <a:cubicBezTo>
                          <a:pt x="182737" y="384234"/>
                          <a:pt x="177800" y="380897"/>
                          <a:pt x="177800" y="374780"/>
                        </a:cubicBezTo>
                        <a:cubicBezTo>
                          <a:pt x="177800" y="246313"/>
                          <a:pt x="177800" y="246313"/>
                          <a:pt x="177800" y="246313"/>
                        </a:cubicBezTo>
                        <a:cubicBezTo>
                          <a:pt x="177800" y="240196"/>
                          <a:pt x="182737" y="232966"/>
                          <a:pt x="188772" y="230742"/>
                        </a:cubicBezTo>
                        <a:cubicBezTo>
                          <a:pt x="240892" y="211833"/>
                          <a:pt x="240892" y="211833"/>
                          <a:pt x="240892" y="211833"/>
                        </a:cubicBezTo>
                        <a:close/>
                        <a:moveTo>
                          <a:pt x="330259" y="179044"/>
                        </a:moveTo>
                        <a:cubicBezTo>
                          <a:pt x="336339" y="176272"/>
                          <a:pt x="341313" y="179598"/>
                          <a:pt x="341313" y="185696"/>
                        </a:cubicBezTo>
                        <a:cubicBezTo>
                          <a:pt x="341313" y="314309"/>
                          <a:pt x="341313" y="314309"/>
                          <a:pt x="341313" y="314309"/>
                        </a:cubicBezTo>
                        <a:cubicBezTo>
                          <a:pt x="341313" y="320407"/>
                          <a:pt x="336339" y="327059"/>
                          <a:pt x="330259" y="329277"/>
                        </a:cubicBezTo>
                        <a:cubicBezTo>
                          <a:pt x="277754" y="348679"/>
                          <a:pt x="277754" y="348679"/>
                          <a:pt x="277754" y="348679"/>
                        </a:cubicBezTo>
                        <a:cubicBezTo>
                          <a:pt x="271674" y="350897"/>
                          <a:pt x="266700" y="347571"/>
                          <a:pt x="266700" y="341473"/>
                        </a:cubicBezTo>
                        <a:cubicBezTo>
                          <a:pt x="266700" y="213414"/>
                          <a:pt x="266700" y="213414"/>
                          <a:pt x="266700" y="213414"/>
                        </a:cubicBezTo>
                        <a:cubicBezTo>
                          <a:pt x="266700" y="207316"/>
                          <a:pt x="271674" y="200110"/>
                          <a:pt x="277754" y="197892"/>
                        </a:cubicBezTo>
                        <a:cubicBezTo>
                          <a:pt x="330259" y="179044"/>
                          <a:pt x="330259" y="179044"/>
                          <a:pt x="330259" y="179044"/>
                        </a:cubicBezTo>
                        <a:close/>
                        <a:moveTo>
                          <a:pt x="63092" y="98081"/>
                        </a:moveTo>
                        <a:cubicBezTo>
                          <a:pt x="69675" y="95309"/>
                          <a:pt x="74613" y="98635"/>
                          <a:pt x="74613" y="104733"/>
                        </a:cubicBezTo>
                        <a:cubicBezTo>
                          <a:pt x="74613" y="233346"/>
                          <a:pt x="74613" y="233346"/>
                          <a:pt x="74613" y="233346"/>
                        </a:cubicBezTo>
                        <a:cubicBezTo>
                          <a:pt x="74613" y="239444"/>
                          <a:pt x="69675" y="246096"/>
                          <a:pt x="63092" y="248314"/>
                        </a:cubicBezTo>
                        <a:cubicBezTo>
                          <a:pt x="10972" y="267716"/>
                          <a:pt x="10972" y="267716"/>
                          <a:pt x="10972" y="267716"/>
                        </a:cubicBezTo>
                        <a:cubicBezTo>
                          <a:pt x="4937" y="269934"/>
                          <a:pt x="0" y="266608"/>
                          <a:pt x="0" y="260510"/>
                        </a:cubicBezTo>
                        <a:cubicBezTo>
                          <a:pt x="0" y="132451"/>
                          <a:pt x="0" y="132451"/>
                          <a:pt x="0" y="132451"/>
                        </a:cubicBezTo>
                        <a:cubicBezTo>
                          <a:pt x="0" y="126353"/>
                          <a:pt x="4937" y="119147"/>
                          <a:pt x="10972" y="116929"/>
                        </a:cubicBezTo>
                        <a:cubicBezTo>
                          <a:pt x="63092" y="98081"/>
                          <a:pt x="63092" y="98081"/>
                          <a:pt x="63092" y="98081"/>
                        </a:cubicBezTo>
                        <a:close/>
                        <a:moveTo>
                          <a:pt x="152459" y="66331"/>
                        </a:moveTo>
                        <a:cubicBezTo>
                          <a:pt x="158539" y="63559"/>
                          <a:pt x="163513" y="66885"/>
                          <a:pt x="163513" y="72983"/>
                        </a:cubicBezTo>
                        <a:cubicBezTo>
                          <a:pt x="163513" y="201596"/>
                          <a:pt x="163513" y="201596"/>
                          <a:pt x="163513" y="201596"/>
                        </a:cubicBezTo>
                        <a:cubicBezTo>
                          <a:pt x="163513" y="207694"/>
                          <a:pt x="158539" y="214346"/>
                          <a:pt x="152459" y="216564"/>
                        </a:cubicBezTo>
                        <a:cubicBezTo>
                          <a:pt x="99954" y="235966"/>
                          <a:pt x="99954" y="235966"/>
                          <a:pt x="99954" y="235966"/>
                        </a:cubicBezTo>
                        <a:cubicBezTo>
                          <a:pt x="93874" y="238184"/>
                          <a:pt x="88900" y="234858"/>
                          <a:pt x="88900" y="228760"/>
                        </a:cubicBezTo>
                        <a:cubicBezTo>
                          <a:pt x="88900" y="100701"/>
                          <a:pt x="88900" y="100701"/>
                          <a:pt x="88900" y="100701"/>
                        </a:cubicBezTo>
                        <a:cubicBezTo>
                          <a:pt x="88900" y="94603"/>
                          <a:pt x="93874" y="87397"/>
                          <a:pt x="99954" y="85179"/>
                        </a:cubicBezTo>
                        <a:cubicBezTo>
                          <a:pt x="152459" y="66331"/>
                          <a:pt x="152459" y="66331"/>
                          <a:pt x="152459" y="66331"/>
                        </a:cubicBezTo>
                        <a:close/>
                        <a:moveTo>
                          <a:pt x="240892" y="32460"/>
                        </a:moveTo>
                        <a:cubicBezTo>
                          <a:pt x="247475" y="30222"/>
                          <a:pt x="252413" y="33578"/>
                          <a:pt x="252413" y="39732"/>
                        </a:cubicBezTo>
                        <a:cubicBezTo>
                          <a:pt x="252413" y="169514"/>
                          <a:pt x="252413" y="169514"/>
                          <a:pt x="252413" y="169514"/>
                        </a:cubicBezTo>
                        <a:cubicBezTo>
                          <a:pt x="252413" y="175668"/>
                          <a:pt x="247475" y="182380"/>
                          <a:pt x="240892" y="184618"/>
                        </a:cubicBezTo>
                        <a:cubicBezTo>
                          <a:pt x="188772" y="204197"/>
                          <a:pt x="188772" y="204197"/>
                          <a:pt x="188772" y="204197"/>
                        </a:cubicBezTo>
                        <a:cubicBezTo>
                          <a:pt x="182737" y="206435"/>
                          <a:pt x="177800" y="203078"/>
                          <a:pt x="177800" y="196925"/>
                        </a:cubicBezTo>
                        <a:cubicBezTo>
                          <a:pt x="177800" y="67702"/>
                          <a:pt x="177800" y="67702"/>
                          <a:pt x="177800" y="67702"/>
                        </a:cubicBezTo>
                        <a:cubicBezTo>
                          <a:pt x="177800" y="61549"/>
                          <a:pt x="182737" y="54276"/>
                          <a:pt x="188772" y="52039"/>
                        </a:cubicBezTo>
                        <a:cubicBezTo>
                          <a:pt x="240892" y="32460"/>
                          <a:pt x="240892" y="32460"/>
                          <a:pt x="240892" y="32460"/>
                        </a:cubicBezTo>
                        <a:close/>
                        <a:moveTo>
                          <a:pt x="330259" y="689"/>
                        </a:moveTo>
                        <a:cubicBezTo>
                          <a:pt x="336339" y="-1528"/>
                          <a:pt x="341313" y="1798"/>
                          <a:pt x="341313" y="7896"/>
                        </a:cubicBezTo>
                        <a:cubicBezTo>
                          <a:pt x="341313" y="136509"/>
                          <a:pt x="341313" y="136509"/>
                          <a:pt x="341313" y="136509"/>
                        </a:cubicBezTo>
                        <a:cubicBezTo>
                          <a:pt x="341313" y="142607"/>
                          <a:pt x="336339" y="149259"/>
                          <a:pt x="330259" y="151477"/>
                        </a:cubicBezTo>
                        <a:cubicBezTo>
                          <a:pt x="277754" y="170879"/>
                          <a:pt x="277754" y="170879"/>
                          <a:pt x="277754" y="170879"/>
                        </a:cubicBezTo>
                        <a:cubicBezTo>
                          <a:pt x="271674" y="173097"/>
                          <a:pt x="266700" y="169771"/>
                          <a:pt x="266700" y="163673"/>
                        </a:cubicBezTo>
                        <a:cubicBezTo>
                          <a:pt x="266700" y="35614"/>
                          <a:pt x="266700" y="35614"/>
                          <a:pt x="266700" y="35614"/>
                        </a:cubicBezTo>
                        <a:cubicBezTo>
                          <a:pt x="266700" y="28962"/>
                          <a:pt x="271674" y="22310"/>
                          <a:pt x="277754" y="20092"/>
                        </a:cubicBezTo>
                        <a:cubicBezTo>
                          <a:pt x="330259" y="689"/>
                          <a:pt x="330259" y="689"/>
                          <a:pt x="330259" y="68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74345" tIns="37172" rIns="74345" bIns="37172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743407">
                      <a:defRPr/>
                    </a:pPr>
                    <a:endParaRPr lang="de-DE" sz="1463" kern="0">
                      <a:solidFill>
                        <a:srgbClr val="000000"/>
                      </a:solidFill>
                      <a:latin typeface="Microsoft Sans Serif"/>
                    </a:endParaRPr>
                  </a:p>
                </p:txBody>
              </p:sp>
            </p:grpSp>
          </p:grpSp>
        </p:grpSp>
        <p:grpSp>
          <p:nvGrpSpPr>
            <p:cNvPr id="458" name="Group 457">
              <a:extLst>
                <a:ext uri="{FF2B5EF4-FFF2-40B4-BE49-F238E27FC236}">
                  <a16:creationId xmlns:a16="http://schemas.microsoft.com/office/drawing/2014/main" id="{C7E447A8-19D8-A7B8-082E-49170E228F8B}"/>
                </a:ext>
              </a:extLst>
            </p:cNvPr>
            <p:cNvGrpSpPr/>
            <p:nvPr/>
          </p:nvGrpSpPr>
          <p:grpSpPr>
            <a:xfrm>
              <a:off x="7271384" y="3877212"/>
              <a:ext cx="507532" cy="217800"/>
              <a:chOff x="1055093" y="4595148"/>
              <a:chExt cx="1005840" cy="431641"/>
            </a:xfrm>
          </p:grpSpPr>
          <p:grpSp>
            <p:nvGrpSpPr>
              <p:cNvPr id="467" name="Group 466">
                <a:extLst>
                  <a:ext uri="{FF2B5EF4-FFF2-40B4-BE49-F238E27FC236}">
                    <a16:creationId xmlns:a16="http://schemas.microsoft.com/office/drawing/2014/main" id="{94598CBC-7823-AF26-C834-76F97CDB1BE4}"/>
                  </a:ext>
                </a:extLst>
              </p:cNvPr>
              <p:cNvGrpSpPr/>
              <p:nvPr/>
            </p:nvGrpSpPr>
            <p:grpSpPr>
              <a:xfrm>
                <a:off x="1756586" y="4621049"/>
                <a:ext cx="304347" cy="304347"/>
                <a:chOff x="3768725" y="1116013"/>
                <a:chExt cx="4654550" cy="4625975"/>
              </a:xfrm>
              <a:solidFill>
                <a:srgbClr val="445776"/>
              </a:solidFill>
            </p:grpSpPr>
            <p:sp>
              <p:nvSpPr>
                <p:cNvPr id="469" name="Oval 5">
                  <a:extLst>
                    <a:ext uri="{FF2B5EF4-FFF2-40B4-BE49-F238E27FC236}">
                      <a16:creationId xmlns:a16="http://schemas.microsoft.com/office/drawing/2014/main" id="{E0FBD4F6-4213-AAF8-3F08-704A70DC72A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83113" y="1925638"/>
                  <a:ext cx="3013075" cy="2995613"/>
                </a:xfrm>
                <a:prstGeom prst="ellipse">
                  <a:avLst/>
                </a:prstGeom>
                <a:solidFill>
                  <a:srgbClr val="ACBACF"/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  <p:sp>
              <p:nvSpPr>
                <p:cNvPr id="470" name="Freeform 6">
                  <a:extLst>
                    <a:ext uri="{FF2B5EF4-FFF2-40B4-BE49-F238E27FC236}">
                      <a16:creationId xmlns:a16="http://schemas.microsoft.com/office/drawing/2014/main" id="{B99FC9E9-9B03-A2FB-BDEC-DDC2F9526FB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768725" y="1116013"/>
                  <a:ext cx="4654550" cy="4625975"/>
                </a:xfrm>
                <a:custGeom>
                  <a:avLst/>
                  <a:gdLst>
                    <a:gd name="T0" fmla="*/ 4000 w 8000"/>
                    <a:gd name="T1" fmla="*/ 7974 h 7974"/>
                    <a:gd name="T2" fmla="*/ 2443 w 8000"/>
                    <a:gd name="T3" fmla="*/ 7661 h 7974"/>
                    <a:gd name="T4" fmla="*/ 1172 w 8000"/>
                    <a:gd name="T5" fmla="*/ 6807 h 7974"/>
                    <a:gd name="T6" fmla="*/ 315 w 8000"/>
                    <a:gd name="T7" fmla="*/ 5539 h 7974"/>
                    <a:gd name="T8" fmla="*/ 0 w 8000"/>
                    <a:gd name="T9" fmla="*/ 3987 h 7974"/>
                    <a:gd name="T10" fmla="*/ 315 w 8000"/>
                    <a:gd name="T11" fmla="*/ 2435 h 7974"/>
                    <a:gd name="T12" fmla="*/ 1172 w 8000"/>
                    <a:gd name="T13" fmla="*/ 1168 h 7974"/>
                    <a:gd name="T14" fmla="*/ 2443 w 8000"/>
                    <a:gd name="T15" fmla="*/ 313 h 7974"/>
                    <a:gd name="T16" fmla="*/ 4000 w 8000"/>
                    <a:gd name="T17" fmla="*/ 0 h 7974"/>
                    <a:gd name="T18" fmla="*/ 5557 w 8000"/>
                    <a:gd name="T19" fmla="*/ 313 h 7974"/>
                    <a:gd name="T20" fmla="*/ 6829 w 8000"/>
                    <a:gd name="T21" fmla="*/ 1168 h 7974"/>
                    <a:gd name="T22" fmla="*/ 7686 w 8000"/>
                    <a:gd name="T23" fmla="*/ 2435 h 7974"/>
                    <a:gd name="T24" fmla="*/ 8000 w 8000"/>
                    <a:gd name="T25" fmla="*/ 3987 h 7974"/>
                    <a:gd name="T26" fmla="*/ 7686 w 8000"/>
                    <a:gd name="T27" fmla="*/ 5539 h 7974"/>
                    <a:gd name="T28" fmla="*/ 6829 w 8000"/>
                    <a:gd name="T29" fmla="*/ 6807 h 7974"/>
                    <a:gd name="T30" fmla="*/ 5557 w 8000"/>
                    <a:gd name="T31" fmla="*/ 7661 h 7974"/>
                    <a:gd name="T32" fmla="*/ 4000 w 8000"/>
                    <a:gd name="T33" fmla="*/ 7974 h 7974"/>
                    <a:gd name="T34" fmla="*/ 4000 w 8000"/>
                    <a:gd name="T35" fmla="*/ 121 h 7974"/>
                    <a:gd name="T36" fmla="*/ 122 w 8000"/>
                    <a:gd name="T37" fmla="*/ 3987 h 7974"/>
                    <a:gd name="T38" fmla="*/ 4000 w 8000"/>
                    <a:gd name="T39" fmla="*/ 7853 h 7974"/>
                    <a:gd name="T40" fmla="*/ 7879 w 8000"/>
                    <a:gd name="T41" fmla="*/ 3987 h 7974"/>
                    <a:gd name="T42" fmla="*/ 4000 w 8000"/>
                    <a:gd name="T43" fmla="*/ 121 h 79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8000" h="7974">
                      <a:moveTo>
                        <a:pt x="4000" y="7974"/>
                      </a:moveTo>
                      <a:cubicBezTo>
                        <a:pt x="3460" y="7974"/>
                        <a:pt x="2937" y="7869"/>
                        <a:pt x="2443" y="7661"/>
                      </a:cubicBezTo>
                      <a:cubicBezTo>
                        <a:pt x="1967" y="7460"/>
                        <a:pt x="1539" y="7173"/>
                        <a:pt x="1172" y="6807"/>
                      </a:cubicBezTo>
                      <a:cubicBezTo>
                        <a:pt x="805" y="6440"/>
                        <a:pt x="516" y="6014"/>
                        <a:pt x="315" y="5539"/>
                      </a:cubicBezTo>
                      <a:cubicBezTo>
                        <a:pt x="106" y="5048"/>
                        <a:pt x="0" y="4525"/>
                        <a:pt x="0" y="3987"/>
                      </a:cubicBezTo>
                      <a:cubicBezTo>
                        <a:pt x="0" y="3449"/>
                        <a:pt x="106" y="2927"/>
                        <a:pt x="315" y="2435"/>
                      </a:cubicBezTo>
                      <a:cubicBezTo>
                        <a:pt x="516" y="1960"/>
                        <a:pt x="805" y="1534"/>
                        <a:pt x="1172" y="1168"/>
                      </a:cubicBezTo>
                      <a:cubicBezTo>
                        <a:pt x="1539" y="802"/>
                        <a:pt x="1967" y="514"/>
                        <a:pt x="2443" y="313"/>
                      </a:cubicBezTo>
                      <a:cubicBezTo>
                        <a:pt x="2937" y="105"/>
                        <a:pt x="3460" y="0"/>
                        <a:pt x="4000" y="0"/>
                      </a:cubicBezTo>
                      <a:cubicBezTo>
                        <a:pt x="4540" y="0"/>
                        <a:pt x="5064" y="105"/>
                        <a:pt x="5557" y="313"/>
                      </a:cubicBezTo>
                      <a:cubicBezTo>
                        <a:pt x="6034" y="514"/>
                        <a:pt x="6461" y="802"/>
                        <a:pt x="6829" y="1168"/>
                      </a:cubicBezTo>
                      <a:cubicBezTo>
                        <a:pt x="7196" y="1534"/>
                        <a:pt x="7484" y="1960"/>
                        <a:pt x="7686" y="2435"/>
                      </a:cubicBezTo>
                      <a:cubicBezTo>
                        <a:pt x="7895" y="2927"/>
                        <a:pt x="8000" y="3449"/>
                        <a:pt x="8000" y="3987"/>
                      </a:cubicBezTo>
                      <a:cubicBezTo>
                        <a:pt x="8000" y="4525"/>
                        <a:pt x="7895" y="5048"/>
                        <a:pt x="7686" y="5539"/>
                      </a:cubicBezTo>
                      <a:cubicBezTo>
                        <a:pt x="7484" y="6014"/>
                        <a:pt x="7196" y="6440"/>
                        <a:pt x="6829" y="6807"/>
                      </a:cubicBezTo>
                      <a:cubicBezTo>
                        <a:pt x="6461" y="7173"/>
                        <a:pt x="6034" y="7460"/>
                        <a:pt x="5557" y="7661"/>
                      </a:cubicBezTo>
                      <a:cubicBezTo>
                        <a:pt x="5064" y="7869"/>
                        <a:pt x="4540" y="7974"/>
                        <a:pt x="4000" y="7974"/>
                      </a:cubicBezTo>
                      <a:close/>
                      <a:moveTo>
                        <a:pt x="4000" y="121"/>
                      </a:moveTo>
                      <a:cubicBezTo>
                        <a:pt x="1862" y="121"/>
                        <a:pt x="122" y="1856"/>
                        <a:pt x="122" y="3987"/>
                      </a:cubicBezTo>
                      <a:cubicBezTo>
                        <a:pt x="122" y="6119"/>
                        <a:pt x="1862" y="7853"/>
                        <a:pt x="4000" y="7853"/>
                      </a:cubicBezTo>
                      <a:cubicBezTo>
                        <a:pt x="6139" y="7853"/>
                        <a:pt x="7879" y="6119"/>
                        <a:pt x="7879" y="3987"/>
                      </a:cubicBezTo>
                      <a:cubicBezTo>
                        <a:pt x="7879" y="1856"/>
                        <a:pt x="6139" y="121"/>
                        <a:pt x="4000" y="121"/>
                      </a:cubicBezTo>
                      <a:close/>
                    </a:path>
                  </a:pathLst>
                </a:custGeom>
                <a:solidFill>
                  <a:srgbClr val="ACBACF">
                    <a:lumMod val="60000"/>
                    <a:lumOff val="40000"/>
                  </a:srgbClr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  <p:sp>
              <p:nvSpPr>
                <p:cNvPr id="471" name="Oval 7">
                  <a:extLst>
                    <a:ext uri="{FF2B5EF4-FFF2-40B4-BE49-F238E27FC236}">
                      <a16:creationId xmlns:a16="http://schemas.microsoft.com/office/drawing/2014/main" id="{6933DA76-D6A6-3413-5E28-5F457BD709D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56225" y="2667001"/>
                  <a:ext cx="1466850" cy="1511300"/>
                </a:xfrm>
                <a:prstGeom prst="ellipse">
                  <a:avLst/>
                </a:prstGeom>
                <a:solidFill>
                  <a:srgbClr val="ACBACF">
                    <a:lumMod val="60000"/>
                    <a:lumOff val="40000"/>
                  </a:srgbClr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</p:grpSp>
          <p:sp>
            <p:nvSpPr>
              <p:cNvPr id="468" name="Freeform 9">
                <a:extLst>
                  <a:ext uri="{FF2B5EF4-FFF2-40B4-BE49-F238E27FC236}">
                    <a16:creationId xmlns:a16="http://schemas.microsoft.com/office/drawing/2014/main" id="{0D45CCA5-B177-1207-DAED-368E455E6E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5093" y="4595148"/>
                <a:ext cx="853514" cy="431641"/>
              </a:xfrm>
              <a:custGeom>
                <a:avLst/>
                <a:gdLst>
                  <a:gd name="T0" fmla="*/ 979 w 1046"/>
                  <a:gd name="T1" fmla="*/ 179 h 528"/>
                  <a:gd name="T2" fmla="*/ 719 w 1046"/>
                  <a:gd name="T3" fmla="*/ 25 h 528"/>
                  <a:gd name="T4" fmla="*/ 648 w 1046"/>
                  <a:gd name="T5" fmla="*/ 13 h 528"/>
                  <a:gd name="T6" fmla="*/ 609 w 1046"/>
                  <a:gd name="T7" fmla="*/ 61 h 528"/>
                  <a:gd name="T8" fmla="*/ 641 w 1046"/>
                  <a:gd name="T9" fmla="*/ 73 h 528"/>
                  <a:gd name="T10" fmla="*/ 679 w 1046"/>
                  <a:gd name="T11" fmla="*/ 39 h 528"/>
                  <a:gd name="T12" fmla="*/ 847 w 1046"/>
                  <a:gd name="T13" fmla="*/ 175 h 528"/>
                  <a:gd name="T14" fmla="*/ 641 w 1046"/>
                  <a:gd name="T15" fmla="*/ 175 h 528"/>
                  <a:gd name="T16" fmla="*/ 568 w 1046"/>
                  <a:gd name="T17" fmla="*/ 217 h 528"/>
                  <a:gd name="T18" fmla="*/ 524 w 1046"/>
                  <a:gd name="T19" fmla="*/ 211 h 528"/>
                  <a:gd name="T20" fmla="*/ 479 w 1046"/>
                  <a:gd name="T21" fmla="*/ 217 h 528"/>
                  <a:gd name="T22" fmla="*/ 405 w 1046"/>
                  <a:gd name="T23" fmla="*/ 175 h 528"/>
                  <a:gd name="T24" fmla="*/ 201 w 1046"/>
                  <a:gd name="T25" fmla="*/ 175 h 528"/>
                  <a:gd name="T26" fmla="*/ 369 w 1046"/>
                  <a:gd name="T27" fmla="*/ 39 h 528"/>
                  <a:gd name="T28" fmla="*/ 406 w 1046"/>
                  <a:gd name="T29" fmla="*/ 73 h 528"/>
                  <a:gd name="T30" fmla="*/ 438 w 1046"/>
                  <a:gd name="T31" fmla="*/ 61 h 528"/>
                  <a:gd name="T32" fmla="*/ 400 w 1046"/>
                  <a:gd name="T33" fmla="*/ 13 h 528"/>
                  <a:gd name="T34" fmla="*/ 329 w 1046"/>
                  <a:gd name="T35" fmla="*/ 25 h 528"/>
                  <a:gd name="T36" fmla="*/ 70 w 1046"/>
                  <a:gd name="T37" fmla="*/ 178 h 528"/>
                  <a:gd name="T38" fmla="*/ 11 w 1046"/>
                  <a:gd name="T39" fmla="*/ 281 h 528"/>
                  <a:gd name="T40" fmla="*/ 51 w 1046"/>
                  <a:gd name="T41" fmla="*/ 463 h 528"/>
                  <a:gd name="T42" fmla="*/ 134 w 1046"/>
                  <a:gd name="T43" fmla="*/ 528 h 528"/>
                  <a:gd name="T44" fmla="*/ 318 w 1046"/>
                  <a:gd name="T45" fmla="*/ 528 h 528"/>
                  <a:gd name="T46" fmla="*/ 401 w 1046"/>
                  <a:gd name="T47" fmla="*/ 463 h 528"/>
                  <a:gd name="T48" fmla="*/ 463 w 1046"/>
                  <a:gd name="T49" fmla="*/ 335 h 528"/>
                  <a:gd name="T50" fmla="*/ 524 w 1046"/>
                  <a:gd name="T51" fmla="*/ 307 h 528"/>
                  <a:gd name="T52" fmla="*/ 582 w 1046"/>
                  <a:gd name="T53" fmla="*/ 332 h 528"/>
                  <a:gd name="T54" fmla="*/ 645 w 1046"/>
                  <a:gd name="T55" fmla="*/ 463 h 528"/>
                  <a:gd name="T56" fmla="*/ 728 w 1046"/>
                  <a:gd name="T57" fmla="*/ 528 h 528"/>
                  <a:gd name="T58" fmla="*/ 912 w 1046"/>
                  <a:gd name="T59" fmla="*/ 528 h 528"/>
                  <a:gd name="T60" fmla="*/ 995 w 1046"/>
                  <a:gd name="T61" fmla="*/ 463 h 528"/>
                  <a:gd name="T62" fmla="*/ 1036 w 1046"/>
                  <a:gd name="T63" fmla="*/ 281 h 528"/>
                  <a:gd name="T64" fmla="*/ 979 w 1046"/>
                  <a:gd name="T65" fmla="*/ 179 h 5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46" h="528">
                    <a:moveTo>
                      <a:pt x="979" y="179"/>
                    </a:moveTo>
                    <a:cubicBezTo>
                      <a:pt x="719" y="25"/>
                      <a:pt x="719" y="25"/>
                      <a:pt x="719" y="25"/>
                    </a:cubicBezTo>
                    <a:cubicBezTo>
                      <a:pt x="719" y="25"/>
                      <a:pt x="679" y="0"/>
                      <a:pt x="648" y="13"/>
                    </a:cubicBezTo>
                    <a:cubicBezTo>
                      <a:pt x="619" y="26"/>
                      <a:pt x="605" y="48"/>
                      <a:pt x="609" y="61"/>
                    </a:cubicBezTo>
                    <a:cubicBezTo>
                      <a:pt x="613" y="72"/>
                      <a:pt x="626" y="81"/>
                      <a:pt x="641" y="73"/>
                    </a:cubicBezTo>
                    <a:cubicBezTo>
                      <a:pt x="657" y="65"/>
                      <a:pt x="651" y="32"/>
                      <a:pt x="679" y="39"/>
                    </a:cubicBezTo>
                    <a:cubicBezTo>
                      <a:pt x="710" y="46"/>
                      <a:pt x="805" y="134"/>
                      <a:pt x="847" y="175"/>
                    </a:cubicBezTo>
                    <a:cubicBezTo>
                      <a:pt x="641" y="175"/>
                      <a:pt x="641" y="175"/>
                      <a:pt x="641" y="175"/>
                    </a:cubicBezTo>
                    <a:cubicBezTo>
                      <a:pt x="609" y="175"/>
                      <a:pt x="583" y="192"/>
                      <a:pt x="568" y="217"/>
                    </a:cubicBezTo>
                    <a:cubicBezTo>
                      <a:pt x="554" y="213"/>
                      <a:pt x="539" y="211"/>
                      <a:pt x="524" y="211"/>
                    </a:cubicBezTo>
                    <a:cubicBezTo>
                      <a:pt x="508" y="211"/>
                      <a:pt x="493" y="213"/>
                      <a:pt x="479" y="217"/>
                    </a:cubicBezTo>
                    <a:cubicBezTo>
                      <a:pt x="464" y="192"/>
                      <a:pt x="437" y="175"/>
                      <a:pt x="405" y="175"/>
                    </a:cubicBezTo>
                    <a:cubicBezTo>
                      <a:pt x="201" y="175"/>
                      <a:pt x="201" y="175"/>
                      <a:pt x="201" y="175"/>
                    </a:cubicBezTo>
                    <a:cubicBezTo>
                      <a:pt x="243" y="134"/>
                      <a:pt x="338" y="46"/>
                      <a:pt x="369" y="39"/>
                    </a:cubicBezTo>
                    <a:cubicBezTo>
                      <a:pt x="396" y="32"/>
                      <a:pt x="391" y="65"/>
                      <a:pt x="406" y="73"/>
                    </a:cubicBezTo>
                    <a:cubicBezTo>
                      <a:pt x="422" y="81"/>
                      <a:pt x="434" y="72"/>
                      <a:pt x="438" y="61"/>
                    </a:cubicBezTo>
                    <a:cubicBezTo>
                      <a:pt x="443" y="48"/>
                      <a:pt x="429" y="26"/>
                      <a:pt x="400" y="13"/>
                    </a:cubicBezTo>
                    <a:cubicBezTo>
                      <a:pt x="369" y="0"/>
                      <a:pt x="329" y="25"/>
                      <a:pt x="329" y="25"/>
                    </a:cubicBezTo>
                    <a:cubicBezTo>
                      <a:pt x="70" y="178"/>
                      <a:pt x="70" y="178"/>
                      <a:pt x="70" y="178"/>
                    </a:cubicBezTo>
                    <a:cubicBezTo>
                      <a:pt x="27" y="191"/>
                      <a:pt x="0" y="235"/>
                      <a:pt x="11" y="281"/>
                    </a:cubicBezTo>
                    <a:cubicBezTo>
                      <a:pt x="51" y="463"/>
                      <a:pt x="51" y="463"/>
                      <a:pt x="51" y="463"/>
                    </a:cubicBezTo>
                    <a:cubicBezTo>
                      <a:pt x="60" y="501"/>
                      <a:pt x="95" y="528"/>
                      <a:pt x="134" y="528"/>
                    </a:cubicBezTo>
                    <a:cubicBezTo>
                      <a:pt x="318" y="528"/>
                      <a:pt x="318" y="528"/>
                      <a:pt x="318" y="528"/>
                    </a:cubicBezTo>
                    <a:cubicBezTo>
                      <a:pt x="358" y="528"/>
                      <a:pt x="384" y="500"/>
                      <a:pt x="401" y="463"/>
                    </a:cubicBezTo>
                    <a:cubicBezTo>
                      <a:pt x="463" y="335"/>
                      <a:pt x="463" y="335"/>
                      <a:pt x="463" y="335"/>
                    </a:cubicBezTo>
                    <a:cubicBezTo>
                      <a:pt x="471" y="314"/>
                      <a:pt x="500" y="307"/>
                      <a:pt x="524" y="307"/>
                    </a:cubicBezTo>
                    <a:cubicBezTo>
                      <a:pt x="546" y="307"/>
                      <a:pt x="572" y="313"/>
                      <a:pt x="582" y="332"/>
                    </a:cubicBezTo>
                    <a:cubicBezTo>
                      <a:pt x="645" y="463"/>
                      <a:pt x="645" y="463"/>
                      <a:pt x="645" y="463"/>
                    </a:cubicBezTo>
                    <a:cubicBezTo>
                      <a:pt x="665" y="501"/>
                      <a:pt x="689" y="528"/>
                      <a:pt x="728" y="528"/>
                    </a:cubicBezTo>
                    <a:cubicBezTo>
                      <a:pt x="912" y="528"/>
                      <a:pt x="912" y="528"/>
                      <a:pt x="912" y="528"/>
                    </a:cubicBezTo>
                    <a:cubicBezTo>
                      <a:pt x="951" y="528"/>
                      <a:pt x="986" y="501"/>
                      <a:pt x="995" y="463"/>
                    </a:cubicBezTo>
                    <a:cubicBezTo>
                      <a:pt x="1036" y="281"/>
                      <a:pt x="1036" y="281"/>
                      <a:pt x="1036" y="281"/>
                    </a:cubicBezTo>
                    <a:cubicBezTo>
                      <a:pt x="1046" y="236"/>
                      <a:pt x="1020" y="193"/>
                      <a:pt x="979" y="179"/>
                    </a:cubicBezTo>
                    <a:close/>
                  </a:path>
                </a:pathLst>
              </a:custGeom>
              <a:solidFill>
                <a:srgbClr val="445776">
                  <a:lumMod val="10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defRPr/>
                </a:pPr>
                <a:endParaRPr lang="en-US" sz="1463" kern="0">
                  <a:solidFill>
                    <a:prstClr val="black"/>
                  </a:solidFill>
                  <a:latin typeface="Microsoft Sans Serif"/>
                </a:endParaRPr>
              </a:p>
            </p:txBody>
          </p:sp>
        </p:grpSp>
        <p:grpSp>
          <p:nvGrpSpPr>
            <p:cNvPr id="459" name="Group 458">
              <a:extLst>
                <a:ext uri="{FF2B5EF4-FFF2-40B4-BE49-F238E27FC236}">
                  <a16:creationId xmlns:a16="http://schemas.microsoft.com/office/drawing/2014/main" id="{D8CA1256-9284-52D8-861F-D1670D49E765}"/>
                </a:ext>
              </a:extLst>
            </p:cNvPr>
            <p:cNvGrpSpPr/>
            <p:nvPr/>
          </p:nvGrpSpPr>
          <p:grpSpPr>
            <a:xfrm>
              <a:off x="7378119" y="3507766"/>
              <a:ext cx="274097" cy="313129"/>
              <a:chOff x="1779991" y="4420581"/>
              <a:chExt cx="231281" cy="266101"/>
            </a:xfrm>
          </p:grpSpPr>
          <p:sp>
            <p:nvSpPr>
              <p:cNvPr id="460" name="Oval 22">
                <a:extLst>
                  <a:ext uri="{FF2B5EF4-FFF2-40B4-BE49-F238E27FC236}">
                    <a16:creationId xmlns:a16="http://schemas.microsoft.com/office/drawing/2014/main" id="{06C1E93B-F2E8-FC88-652A-0B8BD817ED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02979" y="4449332"/>
                <a:ext cx="80821" cy="81140"/>
              </a:xfrm>
              <a:prstGeom prst="ellipse">
                <a:avLst/>
              </a:prstGeom>
              <a:solidFill>
                <a:srgbClr val="ACBACF">
                  <a:lumMod val="40000"/>
                  <a:lumOff val="60000"/>
                </a:srgbClr>
              </a:solidFill>
              <a:ln w="1079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 kern="0">
                  <a:solidFill>
                    <a:srgbClr val="F7F8FA"/>
                  </a:solidFill>
                  <a:latin typeface="Microsoft Sans Serif"/>
                </a:endParaRPr>
              </a:p>
            </p:txBody>
          </p:sp>
          <p:sp>
            <p:nvSpPr>
              <p:cNvPr id="461" name="Freeform 23">
                <a:extLst>
                  <a:ext uri="{FF2B5EF4-FFF2-40B4-BE49-F238E27FC236}">
                    <a16:creationId xmlns:a16="http://schemas.microsoft.com/office/drawing/2014/main" id="{03AA7CE1-6FBE-E034-4631-34D396353F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75506" y="4422179"/>
                <a:ext cx="135766" cy="135766"/>
              </a:xfrm>
              <a:custGeom>
                <a:avLst/>
                <a:gdLst>
                  <a:gd name="T0" fmla="*/ 881 w 1763"/>
                  <a:gd name="T1" fmla="*/ 30 h 1763"/>
                  <a:gd name="T2" fmla="*/ 30 w 1763"/>
                  <a:gd name="T3" fmla="*/ 881 h 1763"/>
                  <a:gd name="T4" fmla="*/ 881 w 1763"/>
                  <a:gd name="T5" fmla="*/ 1733 h 1763"/>
                  <a:gd name="T6" fmla="*/ 1733 w 1763"/>
                  <a:gd name="T7" fmla="*/ 881 h 1763"/>
                  <a:gd name="T8" fmla="*/ 881 w 1763"/>
                  <a:gd name="T9" fmla="*/ 30 h 1763"/>
                  <a:gd name="T10" fmla="*/ 881 w 1763"/>
                  <a:gd name="T11" fmla="*/ 1763 h 1763"/>
                  <a:gd name="T12" fmla="*/ 538 w 1763"/>
                  <a:gd name="T13" fmla="*/ 1694 h 1763"/>
                  <a:gd name="T14" fmla="*/ 258 w 1763"/>
                  <a:gd name="T15" fmla="*/ 1505 h 1763"/>
                  <a:gd name="T16" fmla="*/ 69 w 1763"/>
                  <a:gd name="T17" fmla="*/ 1224 h 1763"/>
                  <a:gd name="T18" fmla="*/ 0 w 1763"/>
                  <a:gd name="T19" fmla="*/ 881 h 1763"/>
                  <a:gd name="T20" fmla="*/ 69 w 1763"/>
                  <a:gd name="T21" fmla="*/ 538 h 1763"/>
                  <a:gd name="T22" fmla="*/ 258 w 1763"/>
                  <a:gd name="T23" fmla="*/ 258 h 1763"/>
                  <a:gd name="T24" fmla="*/ 538 w 1763"/>
                  <a:gd name="T25" fmla="*/ 69 h 1763"/>
                  <a:gd name="T26" fmla="*/ 881 w 1763"/>
                  <a:gd name="T27" fmla="*/ 0 h 1763"/>
                  <a:gd name="T28" fmla="*/ 1224 w 1763"/>
                  <a:gd name="T29" fmla="*/ 69 h 1763"/>
                  <a:gd name="T30" fmla="*/ 1505 w 1763"/>
                  <a:gd name="T31" fmla="*/ 258 h 1763"/>
                  <a:gd name="T32" fmla="*/ 1694 w 1763"/>
                  <a:gd name="T33" fmla="*/ 538 h 1763"/>
                  <a:gd name="T34" fmla="*/ 1763 w 1763"/>
                  <a:gd name="T35" fmla="*/ 881 h 1763"/>
                  <a:gd name="T36" fmla="*/ 1694 w 1763"/>
                  <a:gd name="T37" fmla="*/ 1224 h 1763"/>
                  <a:gd name="T38" fmla="*/ 1505 w 1763"/>
                  <a:gd name="T39" fmla="*/ 1505 h 1763"/>
                  <a:gd name="T40" fmla="*/ 1224 w 1763"/>
                  <a:gd name="T41" fmla="*/ 1694 h 1763"/>
                  <a:gd name="T42" fmla="*/ 881 w 1763"/>
                  <a:gd name="T43" fmla="*/ 1763 h 17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63" h="1763">
                    <a:moveTo>
                      <a:pt x="881" y="30"/>
                    </a:moveTo>
                    <a:cubicBezTo>
                      <a:pt x="412" y="30"/>
                      <a:pt x="30" y="412"/>
                      <a:pt x="30" y="881"/>
                    </a:cubicBezTo>
                    <a:cubicBezTo>
                      <a:pt x="30" y="1351"/>
                      <a:pt x="412" y="1733"/>
                      <a:pt x="881" y="1733"/>
                    </a:cubicBezTo>
                    <a:cubicBezTo>
                      <a:pt x="1351" y="1733"/>
                      <a:pt x="1733" y="1351"/>
                      <a:pt x="1733" y="881"/>
                    </a:cubicBezTo>
                    <a:cubicBezTo>
                      <a:pt x="1733" y="412"/>
                      <a:pt x="1351" y="30"/>
                      <a:pt x="881" y="30"/>
                    </a:cubicBezTo>
                    <a:close/>
                    <a:moveTo>
                      <a:pt x="881" y="1763"/>
                    </a:moveTo>
                    <a:cubicBezTo>
                      <a:pt x="762" y="1763"/>
                      <a:pt x="647" y="1740"/>
                      <a:pt x="538" y="1694"/>
                    </a:cubicBezTo>
                    <a:cubicBezTo>
                      <a:pt x="433" y="1649"/>
                      <a:pt x="339" y="1586"/>
                      <a:pt x="258" y="1505"/>
                    </a:cubicBezTo>
                    <a:cubicBezTo>
                      <a:pt x="177" y="1424"/>
                      <a:pt x="114" y="1329"/>
                      <a:pt x="69" y="1224"/>
                    </a:cubicBezTo>
                    <a:cubicBezTo>
                      <a:pt x="23" y="1116"/>
                      <a:pt x="0" y="1000"/>
                      <a:pt x="0" y="881"/>
                    </a:cubicBezTo>
                    <a:cubicBezTo>
                      <a:pt x="0" y="762"/>
                      <a:pt x="23" y="647"/>
                      <a:pt x="69" y="538"/>
                    </a:cubicBezTo>
                    <a:cubicBezTo>
                      <a:pt x="114" y="433"/>
                      <a:pt x="177" y="339"/>
                      <a:pt x="258" y="258"/>
                    </a:cubicBezTo>
                    <a:cubicBezTo>
                      <a:pt x="339" y="177"/>
                      <a:pt x="433" y="113"/>
                      <a:pt x="538" y="69"/>
                    </a:cubicBezTo>
                    <a:cubicBezTo>
                      <a:pt x="647" y="23"/>
                      <a:pt x="762" y="0"/>
                      <a:pt x="881" y="0"/>
                    </a:cubicBezTo>
                    <a:cubicBezTo>
                      <a:pt x="1000" y="0"/>
                      <a:pt x="1116" y="23"/>
                      <a:pt x="1224" y="69"/>
                    </a:cubicBezTo>
                    <a:cubicBezTo>
                      <a:pt x="1329" y="113"/>
                      <a:pt x="1424" y="177"/>
                      <a:pt x="1505" y="258"/>
                    </a:cubicBezTo>
                    <a:cubicBezTo>
                      <a:pt x="1586" y="339"/>
                      <a:pt x="1649" y="433"/>
                      <a:pt x="1694" y="538"/>
                    </a:cubicBezTo>
                    <a:cubicBezTo>
                      <a:pt x="1740" y="647"/>
                      <a:pt x="1763" y="762"/>
                      <a:pt x="1763" y="881"/>
                    </a:cubicBezTo>
                    <a:cubicBezTo>
                      <a:pt x="1763" y="1000"/>
                      <a:pt x="1740" y="1116"/>
                      <a:pt x="1694" y="1224"/>
                    </a:cubicBezTo>
                    <a:cubicBezTo>
                      <a:pt x="1649" y="1329"/>
                      <a:pt x="1586" y="1424"/>
                      <a:pt x="1505" y="1505"/>
                    </a:cubicBezTo>
                    <a:cubicBezTo>
                      <a:pt x="1424" y="1586"/>
                      <a:pt x="1329" y="1649"/>
                      <a:pt x="1224" y="1694"/>
                    </a:cubicBezTo>
                    <a:cubicBezTo>
                      <a:pt x="1116" y="1740"/>
                      <a:pt x="1000" y="1763"/>
                      <a:pt x="881" y="1763"/>
                    </a:cubicBezTo>
                    <a:close/>
                  </a:path>
                </a:pathLst>
              </a:custGeom>
              <a:solidFill>
                <a:srgbClr val="ACBACF"/>
              </a:solidFill>
              <a:ln w="1079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 kern="0">
                  <a:solidFill>
                    <a:srgbClr val="F7F8FA"/>
                  </a:solidFill>
                  <a:latin typeface="Microsoft Sans Serif"/>
                </a:endParaRPr>
              </a:p>
            </p:txBody>
          </p:sp>
          <p:sp>
            <p:nvSpPr>
              <p:cNvPr id="462" name="Oval 24">
                <a:extLst>
                  <a:ext uri="{FF2B5EF4-FFF2-40B4-BE49-F238E27FC236}">
                    <a16:creationId xmlns:a16="http://schemas.microsoft.com/office/drawing/2014/main" id="{7478BF5B-6963-6B28-EB8E-30F4E379EC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4063" y="4471054"/>
                <a:ext cx="38653" cy="38334"/>
              </a:xfrm>
              <a:prstGeom prst="ellipse">
                <a:avLst/>
              </a:prstGeom>
              <a:solidFill>
                <a:srgbClr val="ACBACF"/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defRPr/>
                </a:pPr>
                <a:endParaRPr lang="en-US" sz="1463" kern="0">
                  <a:solidFill>
                    <a:srgbClr val="13171F"/>
                  </a:solidFill>
                  <a:latin typeface="Microsoft Sans Serif"/>
                </a:endParaRPr>
              </a:p>
            </p:txBody>
          </p:sp>
          <p:sp>
            <p:nvSpPr>
              <p:cNvPr id="463" name="Freeform 25">
                <a:extLst>
                  <a:ext uri="{FF2B5EF4-FFF2-40B4-BE49-F238E27FC236}">
                    <a16:creationId xmlns:a16="http://schemas.microsoft.com/office/drawing/2014/main" id="{E1B806A6-8C12-13E7-D2CA-3615AA4ABC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3950" y="4420581"/>
                <a:ext cx="126183" cy="266101"/>
              </a:xfrm>
              <a:custGeom>
                <a:avLst/>
                <a:gdLst>
                  <a:gd name="T0" fmla="*/ 1593 w 1637"/>
                  <a:gd name="T1" fmla="*/ 916 h 3451"/>
                  <a:gd name="T2" fmla="*/ 1430 w 1637"/>
                  <a:gd name="T3" fmla="*/ 619 h 3451"/>
                  <a:gd name="T4" fmla="*/ 1332 w 1637"/>
                  <a:gd name="T5" fmla="*/ 70 h 3451"/>
                  <a:gd name="T6" fmla="*/ 1244 w 1637"/>
                  <a:gd name="T7" fmla="*/ 0 h 3451"/>
                  <a:gd name="T8" fmla="*/ 393 w 1637"/>
                  <a:gd name="T9" fmla="*/ 0 h 3451"/>
                  <a:gd name="T10" fmla="*/ 305 w 1637"/>
                  <a:gd name="T11" fmla="*/ 70 h 3451"/>
                  <a:gd name="T12" fmla="*/ 207 w 1637"/>
                  <a:gd name="T13" fmla="*/ 619 h 3451"/>
                  <a:gd name="T14" fmla="*/ 44 w 1637"/>
                  <a:gd name="T15" fmla="*/ 916 h 3451"/>
                  <a:gd name="T16" fmla="*/ 0 w 1637"/>
                  <a:gd name="T17" fmla="*/ 1016 h 3451"/>
                  <a:gd name="T18" fmla="*/ 0 w 1637"/>
                  <a:gd name="T19" fmla="*/ 2436 h 3451"/>
                  <a:gd name="T20" fmla="*/ 44 w 1637"/>
                  <a:gd name="T21" fmla="*/ 2536 h 3451"/>
                  <a:gd name="T22" fmla="*/ 207 w 1637"/>
                  <a:gd name="T23" fmla="*/ 2833 h 3451"/>
                  <a:gd name="T24" fmla="*/ 305 w 1637"/>
                  <a:gd name="T25" fmla="*/ 3382 h 3451"/>
                  <a:gd name="T26" fmla="*/ 393 w 1637"/>
                  <a:gd name="T27" fmla="*/ 3451 h 3451"/>
                  <a:gd name="T28" fmla="*/ 1244 w 1637"/>
                  <a:gd name="T29" fmla="*/ 3451 h 3451"/>
                  <a:gd name="T30" fmla="*/ 1332 w 1637"/>
                  <a:gd name="T31" fmla="*/ 3382 h 3451"/>
                  <a:gd name="T32" fmla="*/ 1430 w 1637"/>
                  <a:gd name="T33" fmla="*/ 2833 h 3451"/>
                  <a:gd name="T34" fmla="*/ 1593 w 1637"/>
                  <a:gd name="T35" fmla="*/ 2536 h 3451"/>
                  <a:gd name="T36" fmla="*/ 1637 w 1637"/>
                  <a:gd name="T37" fmla="*/ 2436 h 3451"/>
                  <a:gd name="T38" fmla="*/ 1637 w 1637"/>
                  <a:gd name="T39" fmla="*/ 1016 h 3451"/>
                  <a:gd name="T40" fmla="*/ 1593 w 1637"/>
                  <a:gd name="T41" fmla="*/ 916 h 3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37" h="3451">
                    <a:moveTo>
                      <a:pt x="1593" y="916"/>
                    </a:moveTo>
                    <a:cubicBezTo>
                      <a:pt x="1570" y="886"/>
                      <a:pt x="1516" y="794"/>
                      <a:pt x="1430" y="619"/>
                    </a:cubicBezTo>
                    <a:cubicBezTo>
                      <a:pt x="1373" y="499"/>
                      <a:pt x="1347" y="114"/>
                      <a:pt x="1332" y="70"/>
                    </a:cubicBezTo>
                    <a:cubicBezTo>
                      <a:pt x="1319" y="28"/>
                      <a:pt x="1283" y="0"/>
                      <a:pt x="1244" y="0"/>
                    </a:cubicBezTo>
                    <a:cubicBezTo>
                      <a:pt x="393" y="0"/>
                      <a:pt x="393" y="0"/>
                      <a:pt x="393" y="0"/>
                    </a:cubicBezTo>
                    <a:cubicBezTo>
                      <a:pt x="354" y="0"/>
                      <a:pt x="318" y="28"/>
                      <a:pt x="305" y="70"/>
                    </a:cubicBezTo>
                    <a:cubicBezTo>
                      <a:pt x="290" y="114"/>
                      <a:pt x="264" y="499"/>
                      <a:pt x="207" y="619"/>
                    </a:cubicBezTo>
                    <a:cubicBezTo>
                      <a:pt x="121" y="794"/>
                      <a:pt x="67" y="886"/>
                      <a:pt x="44" y="916"/>
                    </a:cubicBezTo>
                    <a:cubicBezTo>
                      <a:pt x="15" y="936"/>
                      <a:pt x="0" y="972"/>
                      <a:pt x="0" y="1016"/>
                    </a:cubicBezTo>
                    <a:cubicBezTo>
                      <a:pt x="0" y="2436"/>
                      <a:pt x="0" y="1016"/>
                      <a:pt x="0" y="2436"/>
                    </a:cubicBezTo>
                    <a:cubicBezTo>
                      <a:pt x="0" y="2480"/>
                      <a:pt x="15" y="2516"/>
                      <a:pt x="44" y="2536"/>
                    </a:cubicBezTo>
                    <a:cubicBezTo>
                      <a:pt x="67" y="2566"/>
                      <a:pt x="121" y="2658"/>
                      <a:pt x="207" y="2833"/>
                    </a:cubicBezTo>
                    <a:cubicBezTo>
                      <a:pt x="264" y="2952"/>
                      <a:pt x="290" y="3337"/>
                      <a:pt x="305" y="3382"/>
                    </a:cubicBezTo>
                    <a:cubicBezTo>
                      <a:pt x="318" y="3424"/>
                      <a:pt x="354" y="3451"/>
                      <a:pt x="393" y="3451"/>
                    </a:cubicBezTo>
                    <a:cubicBezTo>
                      <a:pt x="393" y="3451"/>
                      <a:pt x="393" y="3451"/>
                      <a:pt x="1244" y="3451"/>
                    </a:cubicBezTo>
                    <a:cubicBezTo>
                      <a:pt x="1283" y="3451"/>
                      <a:pt x="1319" y="3424"/>
                      <a:pt x="1332" y="3382"/>
                    </a:cubicBezTo>
                    <a:cubicBezTo>
                      <a:pt x="1347" y="3337"/>
                      <a:pt x="1373" y="2952"/>
                      <a:pt x="1430" y="2833"/>
                    </a:cubicBezTo>
                    <a:cubicBezTo>
                      <a:pt x="1516" y="2658"/>
                      <a:pt x="1570" y="2566"/>
                      <a:pt x="1593" y="2536"/>
                    </a:cubicBezTo>
                    <a:cubicBezTo>
                      <a:pt x="1622" y="2516"/>
                      <a:pt x="1637" y="2480"/>
                      <a:pt x="1637" y="2436"/>
                    </a:cubicBezTo>
                    <a:cubicBezTo>
                      <a:pt x="1637" y="1016"/>
                      <a:pt x="1637" y="2436"/>
                      <a:pt x="1637" y="1016"/>
                    </a:cubicBezTo>
                    <a:cubicBezTo>
                      <a:pt x="1637" y="972"/>
                      <a:pt x="1622" y="936"/>
                      <a:pt x="1593" y="916"/>
                    </a:cubicBezTo>
                    <a:close/>
                  </a:path>
                </a:pathLst>
              </a:custGeom>
              <a:solidFill>
                <a:srgbClr val="445776"/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defRPr/>
                </a:pPr>
                <a:endParaRPr lang="en-US" sz="1463" kern="0">
                  <a:solidFill>
                    <a:srgbClr val="13171F"/>
                  </a:solidFill>
                  <a:latin typeface="Microsoft Sans Serif"/>
                </a:endParaRPr>
              </a:p>
            </p:txBody>
          </p:sp>
          <p:sp>
            <p:nvSpPr>
              <p:cNvPr id="464" name="Oval 26">
                <a:extLst>
                  <a:ext uri="{FF2B5EF4-FFF2-40B4-BE49-F238E27FC236}">
                    <a16:creationId xmlns:a16="http://schemas.microsoft.com/office/drawing/2014/main" id="{43AEA45E-02D3-AFBE-721C-AC243D8BBD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79991" y="4466582"/>
                <a:ext cx="174100" cy="174100"/>
              </a:xfrm>
              <a:prstGeom prst="ellipse">
                <a:avLst/>
              </a:prstGeom>
              <a:solidFill>
                <a:srgbClr val="ACBACF">
                  <a:lumMod val="40000"/>
                  <a:lumOff val="60000"/>
                </a:srgbClr>
              </a:solidFill>
              <a:ln w="1079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 kern="0">
                  <a:solidFill>
                    <a:srgbClr val="F7F8FA"/>
                  </a:solidFill>
                  <a:latin typeface="Microsoft Sans Serif"/>
                </a:endParaRPr>
              </a:p>
            </p:txBody>
          </p:sp>
          <p:sp>
            <p:nvSpPr>
              <p:cNvPr id="465" name="Oval 27">
                <a:extLst>
                  <a:ext uri="{FF2B5EF4-FFF2-40B4-BE49-F238E27FC236}">
                    <a16:creationId xmlns:a16="http://schemas.microsoft.com/office/drawing/2014/main" id="{93B59283-A704-577E-0F54-4443938AD6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99797" y="4486388"/>
                <a:ext cx="134488" cy="134488"/>
              </a:xfrm>
              <a:prstGeom prst="ellipse">
                <a:avLst/>
              </a:prstGeom>
              <a:solidFill>
                <a:srgbClr val="ACBA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defRPr/>
                </a:pPr>
                <a:endParaRPr lang="en-US" sz="1463" kern="0">
                  <a:solidFill>
                    <a:srgbClr val="13171F"/>
                  </a:solidFill>
                  <a:latin typeface="Microsoft Sans Serif"/>
                </a:endParaRPr>
              </a:p>
            </p:txBody>
          </p:sp>
          <p:sp>
            <p:nvSpPr>
              <p:cNvPr id="466" name="Freeform 28">
                <a:extLst>
                  <a:ext uri="{FF2B5EF4-FFF2-40B4-BE49-F238E27FC236}">
                    <a16:creationId xmlns:a16="http://schemas.microsoft.com/office/drawing/2014/main" id="{F0C94464-AC81-641B-9599-272E16D5C0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2174" y="4539736"/>
                <a:ext cx="14056" cy="27792"/>
              </a:xfrm>
              <a:custGeom>
                <a:avLst/>
                <a:gdLst>
                  <a:gd name="T0" fmla="*/ 0 w 180"/>
                  <a:gd name="T1" fmla="*/ 0 h 360"/>
                  <a:gd name="T2" fmla="*/ 180 w 180"/>
                  <a:gd name="T3" fmla="*/ 177 h 360"/>
                  <a:gd name="T4" fmla="*/ 0 w 180"/>
                  <a:gd name="T5" fmla="*/ 360 h 360"/>
                  <a:gd name="T6" fmla="*/ 0 w 180"/>
                  <a:gd name="T7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60">
                    <a:moveTo>
                      <a:pt x="0" y="0"/>
                    </a:moveTo>
                    <a:cubicBezTo>
                      <a:pt x="104" y="0"/>
                      <a:pt x="180" y="80"/>
                      <a:pt x="180" y="177"/>
                    </a:cubicBezTo>
                    <a:cubicBezTo>
                      <a:pt x="180" y="279"/>
                      <a:pt x="104" y="360"/>
                      <a:pt x="0" y="36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CBACF">
                  <a:lumMod val="60000"/>
                  <a:lumOff val="4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defRPr/>
                </a:pPr>
                <a:endParaRPr lang="en-US" sz="1463" kern="0">
                  <a:solidFill>
                    <a:srgbClr val="13171F"/>
                  </a:solidFill>
                  <a:latin typeface="Microsoft Sans Serif"/>
                </a:endParaRPr>
              </a:p>
            </p:txBody>
          </p:sp>
        </p:grpSp>
      </p:grpSp>
      <p:grpSp>
        <p:nvGrpSpPr>
          <p:cNvPr id="508" name="Group 507">
            <a:extLst>
              <a:ext uri="{FF2B5EF4-FFF2-40B4-BE49-F238E27FC236}">
                <a16:creationId xmlns:a16="http://schemas.microsoft.com/office/drawing/2014/main" id="{E62558A2-8151-98D5-CF81-6178AC42AEE8}"/>
              </a:ext>
            </a:extLst>
          </p:cNvPr>
          <p:cNvGrpSpPr/>
          <p:nvPr/>
        </p:nvGrpSpPr>
        <p:grpSpPr>
          <a:xfrm>
            <a:off x="8059936" y="3195600"/>
            <a:ext cx="2102470" cy="643739"/>
            <a:chOff x="8526020" y="3252084"/>
            <a:chExt cx="2585928" cy="791766"/>
          </a:xfrm>
        </p:grpSpPr>
        <p:cxnSp>
          <p:nvCxnSpPr>
            <p:cNvPr id="509" name="Straight Arrow Connector 508">
              <a:extLst>
                <a:ext uri="{FF2B5EF4-FFF2-40B4-BE49-F238E27FC236}">
                  <a16:creationId xmlns:a16="http://schemas.microsoft.com/office/drawing/2014/main" id="{3D54CC39-F18C-2B5F-23A3-FC72A0B6FD48}"/>
                </a:ext>
              </a:extLst>
            </p:cNvPr>
            <p:cNvCxnSpPr>
              <a:cxnSpLocks/>
            </p:cNvCxnSpPr>
            <p:nvPr/>
          </p:nvCxnSpPr>
          <p:spPr>
            <a:xfrm>
              <a:off x="8526020" y="4043850"/>
              <a:ext cx="2585928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ACBACF">
                  <a:lumMod val="60000"/>
                  <a:lumOff val="40000"/>
                </a:srgbClr>
              </a:solidFill>
              <a:prstDash val="solid"/>
              <a:round/>
              <a:headEnd type="triangle"/>
              <a:tailEnd type="triangle"/>
            </a:ln>
            <a:effectLst/>
          </p:spPr>
        </p:cxnSp>
        <p:grpSp>
          <p:nvGrpSpPr>
            <p:cNvPr id="510" name="Group 509">
              <a:extLst>
                <a:ext uri="{FF2B5EF4-FFF2-40B4-BE49-F238E27FC236}">
                  <a16:creationId xmlns:a16="http://schemas.microsoft.com/office/drawing/2014/main" id="{8E5C4F3C-29EC-B519-B407-69390F48013E}"/>
                </a:ext>
              </a:extLst>
            </p:cNvPr>
            <p:cNvGrpSpPr/>
            <p:nvPr/>
          </p:nvGrpSpPr>
          <p:grpSpPr>
            <a:xfrm>
              <a:off x="9759403" y="3277896"/>
              <a:ext cx="417531" cy="653905"/>
              <a:chOff x="1247114" y="4340732"/>
              <a:chExt cx="661061" cy="1035304"/>
            </a:xfrm>
          </p:grpSpPr>
          <p:sp>
            <p:nvSpPr>
              <p:cNvPr id="522" name="Freeform 5">
                <a:extLst>
                  <a:ext uri="{FF2B5EF4-FFF2-40B4-BE49-F238E27FC236}">
                    <a16:creationId xmlns:a16="http://schemas.microsoft.com/office/drawing/2014/main" id="{DB1723EE-8345-3566-926B-3AB7BE93A9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1683" y="4340732"/>
                <a:ext cx="191921" cy="536844"/>
              </a:xfrm>
              <a:custGeom>
                <a:avLst/>
                <a:gdLst>
                  <a:gd name="T0" fmla="*/ 991 w 1027"/>
                  <a:gd name="T1" fmla="*/ 2872 h 2872"/>
                  <a:gd name="T2" fmla="*/ 36 w 1027"/>
                  <a:gd name="T3" fmla="*/ 2872 h 2872"/>
                  <a:gd name="T4" fmla="*/ 0 w 1027"/>
                  <a:gd name="T5" fmla="*/ 2836 h 2872"/>
                  <a:gd name="T6" fmla="*/ 0 w 1027"/>
                  <a:gd name="T7" fmla="*/ 36 h 2872"/>
                  <a:gd name="T8" fmla="*/ 36 w 1027"/>
                  <a:gd name="T9" fmla="*/ 0 h 2872"/>
                  <a:gd name="T10" fmla="*/ 991 w 1027"/>
                  <a:gd name="T11" fmla="*/ 0 h 2872"/>
                  <a:gd name="T12" fmla="*/ 1027 w 1027"/>
                  <a:gd name="T13" fmla="*/ 36 h 2872"/>
                  <a:gd name="T14" fmla="*/ 1027 w 1027"/>
                  <a:gd name="T15" fmla="*/ 2836 h 2872"/>
                  <a:gd name="T16" fmla="*/ 991 w 1027"/>
                  <a:gd name="T17" fmla="*/ 2872 h 2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27" h="2872">
                    <a:moveTo>
                      <a:pt x="991" y="2872"/>
                    </a:moveTo>
                    <a:cubicBezTo>
                      <a:pt x="36" y="2872"/>
                      <a:pt x="36" y="2872"/>
                      <a:pt x="36" y="2872"/>
                    </a:cubicBezTo>
                    <a:cubicBezTo>
                      <a:pt x="16" y="2872"/>
                      <a:pt x="0" y="2856"/>
                      <a:pt x="0" y="2836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991" y="0"/>
                      <a:pt x="991" y="0"/>
                      <a:pt x="991" y="0"/>
                    </a:cubicBezTo>
                    <a:cubicBezTo>
                      <a:pt x="1011" y="0"/>
                      <a:pt x="1027" y="16"/>
                      <a:pt x="1027" y="36"/>
                    </a:cubicBezTo>
                    <a:cubicBezTo>
                      <a:pt x="1027" y="2836"/>
                      <a:pt x="1027" y="2836"/>
                      <a:pt x="1027" y="2836"/>
                    </a:cubicBezTo>
                    <a:cubicBezTo>
                      <a:pt x="1027" y="2856"/>
                      <a:pt x="1011" y="2872"/>
                      <a:pt x="991" y="2872"/>
                    </a:cubicBezTo>
                    <a:close/>
                  </a:path>
                </a:pathLst>
              </a:custGeom>
              <a:solidFill>
                <a:srgbClr val="445776">
                  <a:lumMod val="60000"/>
                  <a:lumOff val="40000"/>
                </a:srgbClr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defRPr/>
                </a:pPr>
                <a:endParaRPr lang="de-DE" sz="1463" kern="0">
                  <a:solidFill>
                    <a:srgbClr val="000000"/>
                  </a:solidFill>
                  <a:latin typeface="Microsoft Sans Serif"/>
                </a:endParaRPr>
              </a:p>
            </p:txBody>
          </p:sp>
          <p:grpSp>
            <p:nvGrpSpPr>
              <p:cNvPr id="523" name="Group 522">
                <a:extLst>
                  <a:ext uri="{FF2B5EF4-FFF2-40B4-BE49-F238E27FC236}">
                    <a16:creationId xmlns:a16="http://schemas.microsoft.com/office/drawing/2014/main" id="{69DDACAF-FF7D-36F5-2B4B-880FCE0B7704}"/>
                  </a:ext>
                </a:extLst>
              </p:cNvPr>
              <p:cNvGrpSpPr/>
              <p:nvPr/>
            </p:nvGrpSpPr>
            <p:grpSpPr>
              <a:xfrm>
                <a:off x="1379326" y="4417500"/>
                <a:ext cx="396637" cy="958536"/>
                <a:chOff x="1379326" y="2329848"/>
                <a:chExt cx="396637" cy="958536"/>
              </a:xfrm>
              <a:solidFill>
                <a:srgbClr val="445776"/>
              </a:solidFill>
            </p:grpSpPr>
            <p:sp>
              <p:nvSpPr>
                <p:cNvPr id="536" name="Freeform 6">
                  <a:extLst>
                    <a:ext uri="{FF2B5EF4-FFF2-40B4-BE49-F238E27FC236}">
                      <a16:creationId xmlns:a16="http://schemas.microsoft.com/office/drawing/2014/main" id="{C5F8588D-5E62-F722-8308-16768519BB8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379326" y="2465259"/>
                  <a:ext cx="396637" cy="197785"/>
                </a:xfrm>
                <a:custGeom>
                  <a:avLst/>
                  <a:gdLst>
                    <a:gd name="T0" fmla="*/ 2009 w 2125"/>
                    <a:gd name="T1" fmla="*/ 1060 h 1060"/>
                    <a:gd name="T2" fmla="*/ 116 w 2125"/>
                    <a:gd name="T3" fmla="*/ 1060 h 1060"/>
                    <a:gd name="T4" fmla="*/ 8 w 2125"/>
                    <a:gd name="T5" fmla="*/ 985 h 1060"/>
                    <a:gd name="T6" fmla="*/ 0 w 2125"/>
                    <a:gd name="T7" fmla="*/ 945 h 1060"/>
                    <a:gd name="T8" fmla="*/ 40 w 2125"/>
                    <a:gd name="T9" fmla="*/ 857 h 1060"/>
                    <a:gd name="T10" fmla="*/ 987 w 2125"/>
                    <a:gd name="T11" fmla="*/ 37 h 1060"/>
                    <a:gd name="T12" fmla="*/ 1138 w 2125"/>
                    <a:gd name="T13" fmla="*/ 37 h 1060"/>
                    <a:gd name="T14" fmla="*/ 2085 w 2125"/>
                    <a:gd name="T15" fmla="*/ 857 h 1060"/>
                    <a:gd name="T16" fmla="*/ 2125 w 2125"/>
                    <a:gd name="T17" fmla="*/ 945 h 1060"/>
                    <a:gd name="T18" fmla="*/ 2117 w 2125"/>
                    <a:gd name="T19" fmla="*/ 985 h 1060"/>
                    <a:gd name="T20" fmla="*/ 2009 w 2125"/>
                    <a:gd name="T21" fmla="*/ 1060 h 1060"/>
                    <a:gd name="T22" fmla="*/ 425 w 2125"/>
                    <a:gd name="T23" fmla="*/ 829 h 1060"/>
                    <a:gd name="T24" fmla="*/ 1700 w 2125"/>
                    <a:gd name="T25" fmla="*/ 829 h 1060"/>
                    <a:gd name="T26" fmla="*/ 1062 w 2125"/>
                    <a:gd name="T27" fmla="*/ 277 h 1060"/>
                    <a:gd name="T28" fmla="*/ 425 w 2125"/>
                    <a:gd name="T29" fmla="*/ 829 h 10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125" h="1060">
                      <a:moveTo>
                        <a:pt x="2009" y="1060"/>
                      </a:moveTo>
                      <a:cubicBezTo>
                        <a:pt x="116" y="1060"/>
                        <a:pt x="116" y="1060"/>
                        <a:pt x="116" y="1060"/>
                      </a:cubicBezTo>
                      <a:cubicBezTo>
                        <a:pt x="68" y="1060"/>
                        <a:pt x="24" y="1030"/>
                        <a:pt x="8" y="985"/>
                      </a:cubicBezTo>
                      <a:cubicBezTo>
                        <a:pt x="3" y="972"/>
                        <a:pt x="0" y="958"/>
                        <a:pt x="0" y="945"/>
                      </a:cubicBezTo>
                      <a:cubicBezTo>
                        <a:pt x="0" y="912"/>
                        <a:pt x="14" y="880"/>
                        <a:pt x="40" y="857"/>
                      </a:cubicBezTo>
                      <a:cubicBezTo>
                        <a:pt x="987" y="37"/>
                        <a:pt x="987" y="37"/>
                        <a:pt x="987" y="37"/>
                      </a:cubicBezTo>
                      <a:cubicBezTo>
                        <a:pt x="1030" y="0"/>
                        <a:pt x="1095" y="0"/>
                        <a:pt x="1138" y="37"/>
                      </a:cubicBezTo>
                      <a:cubicBezTo>
                        <a:pt x="2085" y="857"/>
                        <a:pt x="2085" y="857"/>
                        <a:pt x="2085" y="857"/>
                      </a:cubicBezTo>
                      <a:cubicBezTo>
                        <a:pt x="2110" y="880"/>
                        <a:pt x="2125" y="912"/>
                        <a:pt x="2125" y="945"/>
                      </a:cubicBezTo>
                      <a:cubicBezTo>
                        <a:pt x="2125" y="958"/>
                        <a:pt x="2122" y="972"/>
                        <a:pt x="2117" y="985"/>
                      </a:cubicBezTo>
                      <a:cubicBezTo>
                        <a:pt x="2100" y="1030"/>
                        <a:pt x="2057" y="1060"/>
                        <a:pt x="2009" y="1060"/>
                      </a:cubicBezTo>
                      <a:close/>
                      <a:moveTo>
                        <a:pt x="425" y="829"/>
                      </a:moveTo>
                      <a:cubicBezTo>
                        <a:pt x="1700" y="829"/>
                        <a:pt x="1700" y="829"/>
                        <a:pt x="1700" y="829"/>
                      </a:cubicBezTo>
                      <a:cubicBezTo>
                        <a:pt x="1062" y="277"/>
                        <a:pt x="1062" y="277"/>
                        <a:pt x="1062" y="277"/>
                      </a:cubicBezTo>
                      <a:lnTo>
                        <a:pt x="425" y="82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de-DE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  <p:sp>
              <p:nvSpPr>
                <p:cNvPr id="537" name="Freeform 79">
                  <a:extLst>
                    <a:ext uri="{FF2B5EF4-FFF2-40B4-BE49-F238E27FC236}">
                      <a16:creationId xmlns:a16="http://schemas.microsoft.com/office/drawing/2014/main" id="{E45E8EDB-5504-31C3-59BF-C597750FDA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3800" y="2329848"/>
                  <a:ext cx="107689" cy="958536"/>
                </a:xfrm>
                <a:custGeom>
                  <a:avLst/>
                  <a:gdLst>
                    <a:gd name="T0" fmla="*/ 288 w 577"/>
                    <a:gd name="T1" fmla="*/ 5130 h 5130"/>
                    <a:gd name="T2" fmla="*/ 288 w 577"/>
                    <a:gd name="T3" fmla="*/ 5130 h 5130"/>
                    <a:gd name="T4" fmla="*/ 0 w 577"/>
                    <a:gd name="T5" fmla="*/ 4841 h 5130"/>
                    <a:gd name="T6" fmla="*/ 0 w 577"/>
                    <a:gd name="T7" fmla="*/ 288 h 5130"/>
                    <a:gd name="T8" fmla="*/ 288 w 577"/>
                    <a:gd name="T9" fmla="*/ 0 h 5130"/>
                    <a:gd name="T10" fmla="*/ 288 w 577"/>
                    <a:gd name="T11" fmla="*/ 0 h 5130"/>
                    <a:gd name="T12" fmla="*/ 577 w 577"/>
                    <a:gd name="T13" fmla="*/ 288 h 5130"/>
                    <a:gd name="T14" fmla="*/ 577 w 577"/>
                    <a:gd name="T15" fmla="*/ 4841 h 5130"/>
                    <a:gd name="T16" fmla="*/ 288 w 577"/>
                    <a:gd name="T17" fmla="*/ 5130 h 5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77" h="5130">
                      <a:moveTo>
                        <a:pt x="288" y="5130"/>
                      </a:moveTo>
                      <a:cubicBezTo>
                        <a:pt x="288" y="5130"/>
                        <a:pt x="288" y="5130"/>
                        <a:pt x="288" y="5130"/>
                      </a:cubicBezTo>
                      <a:cubicBezTo>
                        <a:pt x="129" y="5130"/>
                        <a:pt x="0" y="5001"/>
                        <a:pt x="0" y="4841"/>
                      </a:cubicBezTo>
                      <a:cubicBezTo>
                        <a:pt x="0" y="288"/>
                        <a:pt x="0" y="288"/>
                        <a:pt x="0" y="288"/>
                      </a:cubicBezTo>
                      <a:cubicBezTo>
                        <a:pt x="0" y="129"/>
                        <a:pt x="129" y="0"/>
                        <a:pt x="288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448" y="0"/>
                        <a:pt x="577" y="129"/>
                        <a:pt x="577" y="288"/>
                      </a:cubicBezTo>
                      <a:cubicBezTo>
                        <a:pt x="577" y="4841"/>
                        <a:pt x="577" y="4841"/>
                        <a:pt x="577" y="4841"/>
                      </a:cubicBezTo>
                      <a:cubicBezTo>
                        <a:pt x="577" y="5001"/>
                        <a:pt x="448" y="5130"/>
                        <a:pt x="288" y="51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de-DE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</p:grpSp>
          <p:grpSp>
            <p:nvGrpSpPr>
              <p:cNvPr id="524" name="Group 523">
                <a:extLst>
                  <a:ext uri="{FF2B5EF4-FFF2-40B4-BE49-F238E27FC236}">
                    <a16:creationId xmlns:a16="http://schemas.microsoft.com/office/drawing/2014/main" id="{205A7A32-52E1-D092-D297-09A3EDA689E9}"/>
                  </a:ext>
                </a:extLst>
              </p:cNvPr>
              <p:cNvGrpSpPr/>
              <p:nvPr/>
            </p:nvGrpSpPr>
            <p:grpSpPr>
              <a:xfrm>
                <a:off x="1247114" y="4343398"/>
                <a:ext cx="661061" cy="601883"/>
                <a:chOff x="1247114" y="2255746"/>
                <a:chExt cx="661061" cy="601883"/>
              </a:xfrm>
              <a:solidFill>
                <a:srgbClr val="445776">
                  <a:lumMod val="60000"/>
                  <a:lumOff val="40000"/>
                </a:srgbClr>
              </a:solidFill>
            </p:grpSpPr>
            <p:sp>
              <p:nvSpPr>
                <p:cNvPr id="528" name="Freeform 46">
                  <a:extLst>
                    <a:ext uri="{FF2B5EF4-FFF2-40B4-BE49-F238E27FC236}">
                      <a16:creationId xmlns:a16="http://schemas.microsoft.com/office/drawing/2014/main" id="{C5FA4AF5-58C7-0824-6CBA-E6EE4659E6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47114" y="2285600"/>
                  <a:ext cx="141275" cy="572029"/>
                </a:xfrm>
                <a:custGeom>
                  <a:avLst/>
                  <a:gdLst>
                    <a:gd name="T0" fmla="*/ 40 w 757"/>
                    <a:gd name="T1" fmla="*/ 2808 h 3063"/>
                    <a:gd name="T2" fmla="*/ 717 w 757"/>
                    <a:gd name="T3" fmla="*/ 3055 h 3063"/>
                    <a:gd name="T4" fmla="*/ 757 w 757"/>
                    <a:gd name="T5" fmla="*/ 3029 h 3063"/>
                    <a:gd name="T6" fmla="*/ 757 w 757"/>
                    <a:gd name="T7" fmla="*/ 309 h 3063"/>
                    <a:gd name="T8" fmla="*/ 717 w 757"/>
                    <a:gd name="T9" fmla="*/ 254 h 3063"/>
                    <a:gd name="T10" fmla="*/ 40 w 757"/>
                    <a:gd name="T11" fmla="*/ 8 h 3063"/>
                    <a:gd name="T12" fmla="*/ 0 w 757"/>
                    <a:gd name="T13" fmla="*/ 34 h 3063"/>
                    <a:gd name="T14" fmla="*/ 0 w 757"/>
                    <a:gd name="T15" fmla="*/ 2753 h 3063"/>
                    <a:gd name="T16" fmla="*/ 40 w 757"/>
                    <a:gd name="T17" fmla="*/ 2808 h 30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57" h="3063">
                      <a:moveTo>
                        <a:pt x="40" y="2808"/>
                      </a:moveTo>
                      <a:cubicBezTo>
                        <a:pt x="717" y="3055"/>
                        <a:pt x="717" y="3055"/>
                        <a:pt x="717" y="3055"/>
                      </a:cubicBezTo>
                      <a:cubicBezTo>
                        <a:pt x="739" y="3063"/>
                        <a:pt x="757" y="3051"/>
                        <a:pt x="757" y="3029"/>
                      </a:cubicBezTo>
                      <a:cubicBezTo>
                        <a:pt x="757" y="309"/>
                        <a:pt x="757" y="309"/>
                        <a:pt x="757" y="309"/>
                      </a:cubicBezTo>
                      <a:cubicBezTo>
                        <a:pt x="757" y="287"/>
                        <a:pt x="739" y="262"/>
                        <a:pt x="717" y="254"/>
                      </a:cubicBezTo>
                      <a:cubicBezTo>
                        <a:pt x="40" y="8"/>
                        <a:pt x="40" y="8"/>
                        <a:pt x="40" y="8"/>
                      </a:cubicBezTo>
                      <a:cubicBezTo>
                        <a:pt x="18" y="0"/>
                        <a:pt x="0" y="11"/>
                        <a:pt x="0" y="34"/>
                      </a:cubicBezTo>
                      <a:cubicBezTo>
                        <a:pt x="0" y="2753"/>
                        <a:pt x="0" y="2753"/>
                        <a:pt x="0" y="2753"/>
                      </a:cubicBezTo>
                      <a:cubicBezTo>
                        <a:pt x="0" y="2775"/>
                        <a:pt x="18" y="2800"/>
                        <a:pt x="40" y="280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de-DE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  <p:sp>
              <p:nvSpPr>
                <p:cNvPr id="529" name="Freeform 7">
                  <a:extLst>
                    <a:ext uri="{FF2B5EF4-FFF2-40B4-BE49-F238E27FC236}">
                      <a16:creationId xmlns:a16="http://schemas.microsoft.com/office/drawing/2014/main" id="{9369448A-5551-0D59-3FEC-03AFDA8303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22118" y="2255746"/>
                  <a:ext cx="141275" cy="572029"/>
                </a:xfrm>
                <a:custGeom>
                  <a:avLst/>
                  <a:gdLst>
                    <a:gd name="T0" fmla="*/ 717 w 758"/>
                    <a:gd name="T1" fmla="*/ 2808 h 3063"/>
                    <a:gd name="T2" fmla="*/ 41 w 758"/>
                    <a:gd name="T3" fmla="*/ 3055 h 3063"/>
                    <a:gd name="T4" fmla="*/ 0 w 758"/>
                    <a:gd name="T5" fmla="*/ 3029 h 3063"/>
                    <a:gd name="T6" fmla="*/ 0 w 758"/>
                    <a:gd name="T7" fmla="*/ 309 h 3063"/>
                    <a:gd name="T8" fmla="*/ 41 w 758"/>
                    <a:gd name="T9" fmla="*/ 254 h 3063"/>
                    <a:gd name="T10" fmla="*/ 717 w 758"/>
                    <a:gd name="T11" fmla="*/ 8 h 3063"/>
                    <a:gd name="T12" fmla="*/ 758 w 758"/>
                    <a:gd name="T13" fmla="*/ 34 h 3063"/>
                    <a:gd name="T14" fmla="*/ 758 w 758"/>
                    <a:gd name="T15" fmla="*/ 2753 h 3063"/>
                    <a:gd name="T16" fmla="*/ 717 w 758"/>
                    <a:gd name="T17" fmla="*/ 2808 h 30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58" h="3063">
                      <a:moveTo>
                        <a:pt x="717" y="2808"/>
                      </a:moveTo>
                      <a:cubicBezTo>
                        <a:pt x="41" y="3055"/>
                        <a:pt x="41" y="3055"/>
                        <a:pt x="41" y="3055"/>
                      </a:cubicBezTo>
                      <a:cubicBezTo>
                        <a:pt x="18" y="3063"/>
                        <a:pt x="0" y="3051"/>
                        <a:pt x="0" y="3029"/>
                      </a:cubicBezTo>
                      <a:cubicBezTo>
                        <a:pt x="0" y="309"/>
                        <a:pt x="0" y="309"/>
                        <a:pt x="0" y="309"/>
                      </a:cubicBezTo>
                      <a:cubicBezTo>
                        <a:pt x="0" y="287"/>
                        <a:pt x="18" y="262"/>
                        <a:pt x="41" y="254"/>
                      </a:cubicBezTo>
                      <a:cubicBezTo>
                        <a:pt x="717" y="8"/>
                        <a:pt x="717" y="8"/>
                        <a:pt x="717" y="8"/>
                      </a:cubicBezTo>
                      <a:cubicBezTo>
                        <a:pt x="740" y="0"/>
                        <a:pt x="758" y="11"/>
                        <a:pt x="758" y="34"/>
                      </a:cubicBezTo>
                      <a:cubicBezTo>
                        <a:pt x="758" y="2753"/>
                        <a:pt x="758" y="2753"/>
                        <a:pt x="758" y="2753"/>
                      </a:cubicBezTo>
                      <a:cubicBezTo>
                        <a:pt x="758" y="2775"/>
                        <a:pt x="740" y="2800"/>
                        <a:pt x="717" y="280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de-DE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  <p:sp>
              <p:nvSpPr>
                <p:cNvPr id="530" name="Freeform 8">
                  <a:extLst>
                    <a:ext uri="{FF2B5EF4-FFF2-40B4-BE49-F238E27FC236}">
                      <a16:creationId xmlns:a16="http://schemas.microsoft.com/office/drawing/2014/main" id="{5CE2DFBA-BB98-446D-0924-B8793535D0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7045" y="2265342"/>
                  <a:ext cx="141275" cy="572563"/>
                </a:xfrm>
                <a:custGeom>
                  <a:avLst/>
                  <a:gdLst>
                    <a:gd name="T0" fmla="*/ 717 w 758"/>
                    <a:gd name="T1" fmla="*/ 2809 h 3063"/>
                    <a:gd name="T2" fmla="*/ 41 w 758"/>
                    <a:gd name="T3" fmla="*/ 3055 h 3063"/>
                    <a:gd name="T4" fmla="*/ 0 w 758"/>
                    <a:gd name="T5" fmla="*/ 3029 h 3063"/>
                    <a:gd name="T6" fmla="*/ 0 w 758"/>
                    <a:gd name="T7" fmla="*/ 310 h 3063"/>
                    <a:gd name="T8" fmla="*/ 41 w 758"/>
                    <a:gd name="T9" fmla="*/ 254 h 3063"/>
                    <a:gd name="T10" fmla="*/ 717 w 758"/>
                    <a:gd name="T11" fmla="*/ 8 h 3063"/>
                    <a:gd name="T12" fmla="*/ 758 w 758"/>
                    <a:gd name="T13" fmla="*/ 34 h 3063"/>
                    <a:gd name="T14" fmla="*/ 758 w 758"/>
                    <a:gd name="T15" fmla="*/ 2753 h 3063"/>
                    <a:gd name="T16" fmla="*/ 717 w 758"/>
                    <a:gd name="T17" fmla="*/ 2809 h 30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58" h="3063">
                      <a:moveTo>
                        <a:pt x="717" y="2809"/>
                      </a:moveTo>
                      <a:cubicBezTo>
                        <a:pt x="41" y="3055"/>
                        <a:pt x="41" y="3055"/>
                        <a:pt x="41" y="3055"/>
                      </a:cubicBezTo>
                      <a:cubicBezTo>
                        <a:pt x="18" y="3063"/>
                        <a:pt x="0" y="3051"/>
                        <a:pt x="0" y="3029"/>
                      </a:cubicBezTo>
                      <a:cubicBezTo>
                        <a:pt x="0" y="310"/>
                        <a:pt x="0" y="310"/>
                        <a:pt x="0" y="310"/>
                      </a:cubicBezTo>
                      <a:cubicBezTo>
                        <a:pt x="0" y="287"/>
                        <a:pt x="18" y="262"/>
                        <a:pt x="41" y="254"/>
                      </a:cubicBezTo>
                      <a:cubicBezTo>
                        <a:pt x="717" y="8"/>
                        <a:pt x="717" y="8"/>
                        <a:pt x="717" y="8"/>
                      </a:cubicBezTo>
                      <a:cubicBezTo>
                        <a:pt x="739" y="0"/>
                        <a:pt x="758" y="11"/>
                        <a:pt x="758" y="34"/>
                      </a:cubicBezTo>
                      <a:cubicBezTo>
                        <a:pt x="758" y="2753"/>
                        <a:pt x="758" y="2753"/>
                        <a:pt x="758" y="2753"/>
                      </a:cubicBezTo>
                      <a:cubicBezTo>
                        <a:pt x="758" y="2776"/>
                        <a:pt x="739" y="2801"/>
                        <a:pt x="717" y="280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de-DE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  <p:sp>
              <p:nvSpPr>
                <p:cNvPr id="531" name="Freeform 9">
                  <a:extLst>
                    <a:ext uri="{FF2B5EF4-FFF2-40B4-BE49-F238E27FC236}">
                      <a16:creationId xmlns:a16="http://schemas.microsoft.com/office/drawing/2014/main" id="{E8E26D69-5B42-8D9E-A79C-4CFF9D5D9E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51973" y="2275471"/>
                  <a:ext cx="141275" cy="572029"/>
                </a:xfrm>
                <a:custGeom>
                  <a:avLst/>
                  <a:gdLst>
                    <a:gd name="T0" fmla="*/ 717 w 757"/>
                    <a:gd name="T1" fmla="*/ 2809 h 3063"/>
                    <a:gd name="T2" fmla="*/ 40 w 757"/>
                    <a:gd name="T3" fmla="*/ 3055 h 3063"/>
                    <a:gd name="T4" fmla="*/ 0 w 757"/>
                    <a:gd name="T5" fmla="*/ 3029 h 3063"/>
                    <a:gd name="T6" fmla="*/ 0 w 757"/>
                    <a:gd name="T7" fmla="*/ 310 h 3063"/>
                    <a:gd name="T8" fmla="*/ 40 w 757"/>
                    <a:gd name="T9" fmla="*/ 255 h 3063"/>
                    <a:gd name="T10" fmla="*/ 717 w 757"/>
                    <a:gd name="T11" fmla="*/ 8 h 3063"/>
                    <a:gd name="T12" fmla="*/ 757 w 757"/>
                    <a:gd name="T13" fmla="*/ 34 h 3063"/>
                    <a:gd name="T14" fmla="*/ 757 w 757"/>
                    <a:gd name="T15" fmla="*/ 2754 h 3063"/>
                    <a:gd name="T16" fmla="*/ 717 w 757"/>
                    <a:gd name="T17" fmla="*/ 2809 h 30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57" h="3063">
                      <a:moveTo>
                        <a:pt x="717" y="2809"/>
                      </a:moveTo>
                      <a:cubicBezTo>
                        <a:pt x="40" y="3055"/>
                        <a:pt x="40" y="3055"/>
                        <a:pt x="40" y="3055"/>
                      </a:cubicBezTo>
                      <a:cubicBezTo>
                        <a:pt x="18" y="3063"/>
                        <a:pt x="0" y="3052"/>
                        <a:pt x="0" y="3029"/>
                      </a:cubicBezTo>
                      <a:cubicBezTo>
                        <a:pt x="0" y="310"/>
                        <a:pt x="0" y="310"/>
                        <a:pt x="0" y="310"/>
                      </a:cubicBezTo>
                      <a:cubicBezTo>
                        <a:pt x="0" y="288"/>
                        <a:pt x="18" y="263"/>
                        <a:pt x="40" y="255"/>
                      </a:cubicBezTo>
                      <a:cubicBezTo>
                        <a:pt x="717" y="8"/>
                        <a:pt x="717" y="8"/>
                        <a:pt x="717" y="8"/>
                      </a:cubicBezTo>
                      <a:cubicBezTo>
                        <a:pt x="739" y="0"/>
                        <a:pt x="757" y="12"/>
                        <a:pt x="757" y="34"/>
                      </a:cubicBezTo>
                      <a:cubicBezTo>
                        <a:pt x="757" y="2754"/>
                        <a:pt x="757" y="2754"/>
                        <a:pt x="757" y="2754"/>
                      </a:cubicBezTo>
                      <a:cubicBezTo>
                        <a:pt x="757" y="2776"/>
                        <a:pt x="739" y="2801"/>
                        <a:pt x="717" y="280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de-DE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  <p:sp>
              <p:nvSpPr>
                <p:cNvPr id="532" name="Freeform 10">
                  <a:extLst>
                    <a:ext uri="{FF2B5EF4-FFF2-40B4-BE49-F238E27FC236}">
                      <a16:creationId xmlns:a16="http://schemas.microsoft.com/office/drawing/2014/main" id="{F7C5D429-1C7C-6176-2703-2BB0BD2D86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66900" y="2285600"/>
                  <a:ext cx="141275" cy="572029"/>
                </a:xfrm>
                <a:custGeom>
                  <a:avLst/>
                  <a:gdLst>
                    <a:gd name="T0" fmla="*/ 717 w 758"/>
                    <a:gd name="T1" fmla="*/ 2808 h 3063"/>
                    <a:gd name="T2" fmla="*/ 41 w 758"/>
                    <a:gd name="T3" fmla="*/ 3055 h 3063"/>
                    <a:gd name="T4" fmla="*/ 0 w 758"/>
                    <a:gd name="T5" fmla="*/ 3029 h 3063"/>
                    <a:gd name="T6" fmla="*/ 0 w 758"/>
                    <a:gd name="T7" fmla="*/ 309 h 3063"/>
                    <a:gd name="T8" fmla="*/ 41 w 758"/>
                    <a:gd name="T9" fmla="*/ 254 h 3063"/>
                    <a:gd name="T10" fmla="*/ 717 w 758"/>
                    <a:gd name="T11" fmla="*/ 8 h 3063"/>
                    <a:gd name="T12" fmla="*/ 758 w 758"/>
                    <a:gd name="T13" fmla="*/ 34 h 3063"/>
                    <a:gd name="T14" fmla="*/ 758 w 758"/>
                    <a:gd name="T15" fmla="*/ 2753 h 3063"/>
                    <a:gd name="T16" fmla="*/ 717 w 758"/>
                    <a:gd name="T17" fmla="*/ 2808 h 30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58" h="3063">
                      <a:moveTo>
                        <a:pt x="717" y="2808"/>
                      </a:moveTo>
                      <a:cubicBezTo>
                        <a:pt x="41" y="3055"/>
                        <a:pt x="41" y="3055"/>
                        <a:pt x="41" y="3055"/>
                      </a:cubicBezTo>
                      <a:cubicBezTo>
                        <a:pt x="19" y="3063"/>
                        <a:pt x="0" y="3051"/>
                        <a:pt x="0" y="3029"/>
                      </a:cubicBezTo>
                      <a:cubicBezTo>
                        <a:pt x="0" y="309"/>
                        <a:pt x="0" y="309"/>
                        <a:pt x="0" y="309"/>
                      </a:cubicBezTo>
                      <a:cubicBezTo>
                        <a:pt x="0" y="287"/>
                        <a:pt x="19" y="262"/>
                        <a:pt x="41" y="254"/>
                      </a:cubicBezTo>
                      <a:cubicBezTo>
                        <a:pt x="717" y="8"/>
                        <a:pt x="717" y="8"/>
                        <a:pt x="717" y="8"/>
                      </a:cubicBezTo>
                      <a:cubicBezTo>
                        <a:pt x="740" y="0"/>
                        <a:pt x="758" y="11"/>
                        <a:pt x="758" y="34"/>
                      </a:cubicBezTo>
                      <a:cubicBezTo>
                        <a:pt x="758" y="2753"/>
                        <a:pt x="758" y="2753"/>
                        <a:pt x="758" y="2753"/>
                      </a:cubicBezTo>
                      <a:cubicBezTo>
                        <a:pt x="758" y="2775"/>
                        <a:pt x="740" y="2800"/>
                        <a:pt x="717" y="280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de-DE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  <p:sp>
              <p:nvSpPr>
                <p:cNvPr id="533" name="Freeform 43">
                  <a:extLst>
                    <a:ext uri="{FF2B5EF4-FFF2-40B4-BE49-F238E27FC236}">
                      <a16:creationId xmlns:a16="http://schemas.microsoft.com/office/drawing/2014/main" id="{94A3C9BC-3B6C-09CA-4D22-5753A8BD3A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1895" y="2255746"/>
                  <a:ext cx="141275" cy="572029"/>
                </a:xfrm>
                <a:custGeom>
                  <a:avLst/>
                  <a:gdLst>
                    <a:gd name="T0" fmla="*/ 41 w 758"/>
                    <a:gd name="T1" fmla="*/ 2808 h 3063"/>
                    <a:gd name="T2" fmla="*/ 717 w 758"/>
                    <a:gd name="T3" fmla="*/ 3055 h 3063"/>
                    <a:gd name="T4" fmla="*/ 758 w 758"/>
                    <a:gd name="T5" fmla="*/ 3029 h 3063"/>
                    <a:gd name="T6" fmla="*/ 758 w 758"/>
                    <a:gd name="T7" fmla="*/ 309 h 3063"/>
                    <a:gd name="T8" fmla="*/ 717 w 758"/>
                    <a:gd name="T9" fmla="*/ 254 h 3063"/>
                    <a:gd name="T10" fmla="*/ 41 w 758"/>
                    <a:gd name="T11" fmla="*/ 8 h 3063"/>
                    <a:gd name="T12" fmla="*/ 0 w 758"/>
                    <a:gd name="T13" fmla="*/ 34 h 3063"/>
                    <a:gd name="T14" fmla="*/ 0 w 758"/>
                    <a:gd name="T15" fmla="*/ 2753 h 3063"/>
                    <a:gd name="T16" fmla="*/ 41 w 758"/>
                    <a:gd name="T17" fmla="*/ 2808 h 30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58" h="3063">
                      <a:moveTo>
                        <a:pt x="41" y="2808"/>
                      </a:moveTo>
                      <a:cubicBezTo>
                        <a:pt x="717" y="3055"/>
                        <a:pt x="717" y="3055"/>
                        <a:pt x="717" y="3055"/>
                      </a:cubicBezTo>
                      <a:cubicBezTo>
                        <a:pt x="740" y="3063"/>
                        <a:pt x="758" y="3051"/>
                        <a:pt x="758" y="3029"/>
                      </a:cubicBezTo>
                      <a:cubicBezTo>
                        <a:pt x="758" y="309"/>
                        <a:pt x="758" y="309"/>
                        <a:pt x="758" y="309"/>
                      </a:cubicBezTo>
                      <a:cubicBezTo>
                        <a:pt x="758" y="287"/>
                        <a:pt x="740" y="262"/>
                        <a:pt x="717" y="254"/>
                      </a:cubicBezTo>
                      <a:cubicBezTo>
                        <a:pt x="41" y="8"/>
                        <a:pt x="41" y="8"/>
                        <a:pt x="41" y="8"/>
                      </a:cubicBezTo>
                      <a:cubicBezTo>
                        <a:pt x="18" y="0"/>
                        <a:pt x="0" y="11"/>
                        <a:pt x="0" y="34"/>
                      </a:cubicBezTo>
                      <a:cubicBezTo>
                        <a:pt x="0" y="2753"/>
                        <a:pt x="0" y="2753"/>
                        <a:pt x="0" y="2753"/>
                      </a:cubicBezTo>
                      <a:cubicBezTo>
                        <a:pt x="0" y="2775"/>
                        <a:pt x="18" y="2800"/>
                        <a:pt x="41" y="280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de-DE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  <p:sp>
              <p:nvSpPr>
                <p:cNvPr id="534" name="Freeform 44">
                  <a:extLst>
                    <a:ext uri="{FF2B5EF4-FFF2-40B4-BE49-F238E27FC236}">
                      <a16:creationId xmlns:a16="http://schemas.microsoft.com/office/drawing/2014/main" id="{9DD563EB-0578-7683-18C1-FE66CDAE32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76968" y="2265342"/>
                  <a:ext cx="141275" cy="572563"/>
                </a:xfrm>
                <a:custGeom>
                  <a:avLst/>
                  <a:gdLst>
                    <a:gd name="T0" fmla="*/ 41 w 758"/>
                    <a:gd name="T1" fmla="*/ 2809 h 3063"/>
                    <a:gd name="T2" fmla="*/ 717 w 758"/>
                    <a:gd name="T3" fmla="*/ 3055 h 3063"/>
                    <a:gd name="T4" fmla="*/ 758 w 758"/>
                    <a:gd name="T5" fmla="*/ 3029 h 3063"/>
                    <a:gd name="T6" fmla="*/ 758 w 758"/>
                    <a:gd name="T7" fmla="*/ 310 h 3063"/>
                    <a:gd name="T8" fmla="*/ 717 w 758"/>
                    <a:gd name="T9" fmla="*/ 254 h 3063"/>
                    <a:gd name="T10" fmla="*/ 41 w 758"/>
                    <a:gd name="T11" fmla="*/ 8 h 3063"/>
                    <a:gd name="T12" fmla="*/ 0 w 758"/>
                    <a:gd name="T13" fmla="*/ 34 h 3063"/>
                    <a:gd name="T14" fmla="*/ 0 w 758"/>
                    <a:gd name="T15" fmla="*/ 2753 h 3063"/>
                    <a:gd name="T16" fmla="*/ 41 w 758"/>
                    <a:gd name="T17" fmla="*/ 2809 h 30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58" h="3063">
                      <a:moveTo>
                        <a:pt x="41" y="2809"/>
                      </a:moveTo>
                      <a:cubicBezTo>
                        <a:pt x="717" y="3055"/>
                        <a:pt x="717" y="3055"/>
                        <a:pt x="717" y="3055"/>
                      </a:cubicBezTo>
                      <a:cubicBezTo>
                        <a:pt x="740" y="3063"/>
                        <a:pt x="758" y="3051"/>
                        <a:pt x="758" y="3029"/>
                      </a:cubicBezTo>
                      <a:cubicBezTo>
                        <a:pt x="758" y="310"/>
                        <a:pt x="758" y="310"/>
                        <a:pt x="758" y="310"/>
                      </a:cubicBezTo>
                      <a:cubicBezTo>
                        <a:pt x="758" y="287"/>
                        <a:pt x="740" y="262"/>
                        <a:pt x="717" y="254"/>
                      </a:cubicBezTo>
                      <a:cubicBezTo>
                        <a:pt x="41" y="8"/>
                        <a:pt x="41" y="8"/>
                        <a:pt x="41" y="8"/>
                      </a:cubicBezTo>
                      <a:cubicBezTo>
                        <a:pt x="19" y="0"/>
                        <a:pt x="0" y="11"/>
                        <a:pt x="0" y="34"/>
                      </a:cubicBezTo>
                      <a:cubicBezTo>
                        <a:pt x="0" y="2753"/>
                        <a:pt x="0" y="2753"/>
                        <a:pt x="0" y="2753"/>
                      </a:cubicBezTo>
                      <a:cubicBezTo>
                        <a:pt x="0" y="2776"/>
                        <a:pt x="19" y="2801"/>
                        <a:pt x="41" y="280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de-DE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  <p:sp>
              <p:nvSpPr>
                <p:cNvPr id="535" name="Freeform 45">
                  <a:extLst>
                    <a:ext uri="{FF2B5EF4-FFF2-40B4-BE49-F238E27FC236}">
                      <a16:creationId xmlns:a16="http://schemas.microsoft.com/office/drawing/2014/main" id="{4EF5F079-2D84-6387-B52C-655CEB0AE0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62041" y="2275471"/>
                  <a:ext cx="141275" cy="572029"/>
                </a:xfrm>
                <a:custGeom>
                  <a:avLst/>
                  <a:gdLst>
                    <a:gd name="T0" fmla="*/ 40 w 757"/>
                    <a:gd name="T1" fmla="*/ 2809 h 3063"/>
                    <a:gd name="T2" fmla="*/ 717 w 757"/>
                    <a:gd name="T3" fmla="*/ 3055 h 3063"/>
                    <a:gd name="T4" fmla="*/ 757 w 757"/>
                    <a:gd name="T5" fmla="*/ 3029 h 3063"/>
                    <a:gd name="T6" fmla="*/ 757 w 757"/>
                    <a:gd name="T7" fmla="*/ 310 h 3063"/>
                    <a:gd name="T8" fmla="*/ 717 w 757"/>
                    <a:gd name="T9" fmla="*/ 255 h 3063"/>
                    <a:gd name="T10" fmla="*/ 40 w 757"/>
                    <a:gd name="T11" fmla="*/ 8 h 3063"/>
                    <a:gd name="T12" fmla="*/ 0 w 757"/>
                    <a:gd name="T13" fmla="*/ 34 h 3063"/>
                    <a:gd name="T14" fmla="*/ 0 w 757"/>
                    <a:gd name="T15" fmla="*/ 2754 h 3063"/>
                    <a:gd name="T16" fmla="*/ 40 w 757"/>
                    <a:gd name="T17" fmla="*/ 2809 h 30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57" h="3063">
                      <a:moveTo>
                        <a:pt x="40" y="2809"/>
                      </a:moveTo>
                      <a:cubicBezTo>
                        <a:pt x="717" y="3055"/>
                        <a:pt x="717" y="3055"/>
                        <a:pt x="717" y="3055"/>
                      </a:cubicBezTo>
                      <a:cubicBezTo>
                        <a:pt x="739" y="3063"/>
                        <a:pt x="757" y="3052"/>
                        <a:pt x="757" y="3029"/>
                      </a:cubicBezTo>
                      <a:cubicBezTo>
                        <a:pt x="757" y="310"/>
                        <a:pt x="757" y="310"/>
                        <a:pt x="757" y="310"/>
                      </a:cubicBezTo>
                      <a:cubicBezTo>
                        <a:pt x="757" y="288"/>
                        <a:pt x="739" y="263"/>
                        <a:pt x="717" y="255"/>
                      </a:cubicBezTo>
                      <a:cubicBezTo>
                        <a:pt x="40" y="8"/>
                        <a:pt x="40" y="8"/>
                        <a:pt x="40" y="8"/>
                      </a:cubicBezTo>
                      <a:cubicBezTo>
                        <a:pt x="18" y="0"/>
                        <a:pt x="0" y="12"/>
                        <a:pt x="0" y="34"/>
                      </a:cubicBezTo>
                      <a:cubicBezTo>
                        <a:pt x="0" y="2754"/>
                        <a:pt x="0" y="2754"/>
                        <a:pt x="0" y="2754"/>
                      </a:cubicBezTo>
                      <a:cubicBezTo>
                        <a:pt x="0" y="2776"/>
                        <a:pt x="18" y="2801"/>
                        <a:pt x="40" y="280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743407">
                    <a:defRPr/>
                  </a:pPr>
                  <a:endParaRPr lang="de-DE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</p:grpSp>
          <p:grpSp>
            <p:nvGrpSpPr>
              <p:cNvPr id="525" name="Group 524">
                <a:extLst>
                  <a:ext uri="{FF2B5EF4-FFF2-40B4-BE49-F238E27FC236}">
                    <a16:creationId xmlns:a16="http://schemas.microsoft.com/office/drawing/2014/main" id="{06C6E6B8-5DE2-15AF-F04A-22E526DBCF6C}"/>
                  </a:ext>
                </a:extLst>
              </p:cNvPr>
              <p:cNvGrpSpPr/>
              <p:nvPr/>
            </p:nvGrpSpPr>
            <p:grpSpPr>
              <a:xfrm>
                <a:off x="1260442" y="4404686"/>
                <a:ext cx="634405" cy="509158"/>
                <a:chOff x="1260442" y="2317034"/>
                <a:chExt cx="634405" cy="509158"/>
              </a:xfrm>
              <a:solidFill>
                <a:srgbClr val="445776">
                  <a:lumMod val="20000"/>
                  <a:lumOff val="80000"/>
                </a:srgbClr>
              </a:solidFill>
            </p:grpSpPr>
            <p:sp>
              <p:nvSpPr>
                <p:cNvPr id="526" name="Freeform: Shape 14">
                  <a:extLst>
                    <a:ext uri="{FF2B5EF4-FFF2-40B4-BE49-F238E27FC236}">
                      <a16:creationId xmlns:a16="http://schemas.microsoft.com/office/drawing/2014/main" id="{3ACC9B6E-AC94-FFC2-D6C8-73E8075481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60442" y="2317034"/>
                  <a:ext cx="114620" cy="509158"/>
                </a:xfrm>
                <a:custGeom>
                  <a:avLst/>
                  <a:gdLst>
                    <a:gd name="connsiteX0" fmla="*/ 276318 w 341312"/>
                    <a:gd name="connsiteY0" fmla="*/ 1344294 h 1516168"/>
                    <a:gd name="connsiteX1" fmla="*/ 329546 w 341312"/>
                    <a:gd name="connsiteY1" fmla="*/ 1363314 h 1516168"/>
                    <a:gd name="connsiteX2" fmla="*/ 341312 w 341312"/>
                    <a:gd name="connsiteY2" fmla="*/ 1378977 h 1516168"/>
                    <a:gd name="connsiteX3" fmla="*/ 341312 w 341312"/>
                    <a:gd name="connsiteY3" fmla="*/ 1508200 h 1516168"/>
                    <a:gd name="connsiteX4" fmla="*/ 329546 w 341312"/>
                    <a:gd name="connsiteY4" fmla="*/ 1515473 h 1516168"/>
                    <a:gd name="connsiteX5" fmla="*/ 276318 w 341312"/>
                    <a:gd name="connsiteY5" fmla="*/ 1495893 h 1516168"/>
                    <a:gd name="connsiteX6" fmla="*/ 265112 w 341312"/>
                    <a:gd name="connsiteY6" fmla="*/ 1480789 h 1516168"/>
                    <a:gd name="connsiteX7" fmla="*/ 265112 w 341312"/>
                    <a:gd name="connsiteY7" fmla="*/ 1351007 h 1516168"/>
                    <a:gd name="connsiteX8" fmla="*/ 276318 w 341312"/>
                    <a:gd name="connsiteY8" fmla="*/ 1344294 h 1516168"/>
                    <a:gd name="connsiteX9" fmla="*/ 188854 w 341312"/>
                    <a:gd name="connsiteY9" fmla="*/ 1311965 h 1516168"/>
                    <a:gd name="connsiteX10" fmla="*/ 241359 w 341312"/>
                    <a:gd name="connsiteY10" fmla="*/ 1331367 h 1516168"/>
                    <a:gd name="connsiteX11" fmla="*/ 252413 w 341312"/>
                    <a:gd name="connsiteY11" fmla="*/ 1346890 h 1516168"/>
                    <a:gd name="connsiteX12" fmla="*/ 252413 w 341312"/>
                    <a:gd name="connsiteY12" fmla="*/ 1474948 h 1516168"/>
                    <a:gd name="connsiteX13" fmla="*/ 241359 w 341312"/>
                    <a:gd name="connsiteY13" fmla="*/ 1482155 h 1516168"/>
                    <a:gd name="connsiteX14" fmla="*/ 188854 w 341312"/>
                    <a:gd name="connsiteY14" fmla="*/ 1462752 h 1516168"/>
                    <a:gd name="connsiteX15" fmla="*/ 177800 w 341312"/>
                    <a:gd name="connsiteY15" fmla="*/ 1447784 h 1516168"/>
                    <a:gd name="connsiteX16" fmla="*/ 177800 w 341312"/>
                    <a:gd name="connsiteY16" fmla="*/ 1319171 h 1516168"/>
                    <a:gd name="connsiteX17" fmla="*/ 188854 w 341312"/>
                    <a:gd name="connsiteY17" fmla="*/ 1311965 h 1516168"/>
                    <a:gd name="connsiteX18" fmla="*/ 99873 w 341312"/>
                    <a:gd name="connsiteY18" fmla="*/ 1280215 h 1516168"/>
                    <a:gd name="connsiteX19" fmla="*/ 151992 w 341312"/>
                    <a:gd name="connsiteY19" fmla="*/ 1299617 h 1516168"/>
                    <a:gd name="connsiteX20" fmla="*/ 163513 w 341312"/>
                    <a:gd name="connsiteY20" fmla="*/ 1315140 h 1516168"/>
                    <a:gd name="connsiteX21" fmla="*/ 163513 w 341312"/>
                    <a:gd name="connsiteY21" fmla="*/ 1443198 h 1516168"/>
                    <a:gd name="connsiteX22" fmla="*/ 151992 w 341312"/>
                    <a:gd name="connsiteY22" fmla="*/ 1450405 h 1516168"/>
                    <a:gd name="connsiteX23" fmla="*/ 99873 w 341312"/>
                    <a:gd name="connsiteY23" fmla="*/ 1431002 h 1516168"/>
                    <a:gd name="connsiteX24" fmla="*/ 88900 w 341312"/>
                    <a:gd name="connsiteY24" fmla="*/ 1416034 h 1516168"/>
                    <a:gd name="connsiteX25" fmla="*/ 88900 w 341312"/>
                    <a:gd name="connsiteY25" fmla="*/ 1287421 h 1516168"/>
                    <a:gd name="connsiteX26" fmla="*/ 99873 w 341312"/>
                    <a:gd name="connsiteY26" fmla="*/ 1280215 h 1516168"/>
                    <a:gd name="connsiteX27" fmla="*/ 11054 w 341312"/>
                    <a:gd name="connsiteY27" fmla="*/ 1246897 h 1516168"/>
                    <a:gd name="connsiteX28" fmla="*/ 63559 w 341312"/>
                    <a:gd name="connsiteY28" fmla="*/ 1266476 h 1516168"/>
                    <a:gd name="connsiteX29" fmla="*/ 74613 w 341312"/>
                    <a:gd name="connsiteY29" fmla="*/ 1282139 h 1516168"/>
                    <a:gd name="connsiteX30" fmla="*/ 74613 w 341312"/>
                    <a:gd name="connsiteY30" fmla="*/ 1411362 h 1516168"/>
                    <a:gd name="connsiteX31" fmla="*/ 63559 w 341312"/>
                    <a:gd name="connsiteY31" fmla="*/ 1418635 h 1516168"/>
                    <a:gd name="connsiteX32" fmla="*/ 11054 w 341312"/>
                    <a:gd name="connsiteY32" fmla="*/ 1399055 h 1516168"/>
                    <a:gd name="connsiteX33" fmla="*/ 0 w 341312"/>
                    <a:gd name="connsiteY33" fmla="*/ 1383951 h 1516168"/>
                    <a:gd name="connsiteX34" fmla="*/ 0 w 341312"/>
                    <a:gd name="connsiteY34" fmla="*/ 1254169 h 1516168"/>
                    <a:gd name="connsiteX35" fmla="*/ 11054 w 341312"/>
                    <a:gd name="connsiteY35" fmla="*/ 1246897 h 1516168"/>
                    <a:gd name="connsiteX36" fmla="*/ 276318 w 341312"/>
                    <a:gd name="connsiteY36" fmla="*/ 1165914 h 1516168"/>
                    <a:gd name="connsiteX37" fmla="*/ 329546 w 341312"/>
                    <a:gd name="connsiteY37" fmla="*/ 1185317 h 1516168"/>
                    <a:gd name="connsiteX38" fmla="*/ 341312 w 341312"/>
                    <a:gd name="connsiteY38" fmla="*/ 1200839 h 1516168"/>
                    <a:gd name="connsiteX39" fmla="*/ 341312 w 341312"/>
                    <a:gd name="connsiteY39" fmla="*/ 1328898 h 1516168"/>
                    <a:gd name="connsiteX40" fmla="*/ 329546 w 341312"/>
                    <a:gd name="connsiteY40" fmla="*/ 1336105 h 1516168"/>
                    <a:gd name="connsiteX41" fmla="*/ 276318 w 341312"/>
                    <a:gd name="connsiteY41" fmla="*/ 1316702 h 1516168"/>
                    <a:gd name="connsiteX42" fmla="*/ 265112 w 341312"/>
                    <a:gd name="connsiteY42" fmla="*/ 1301734 h 1516168"/>
                    <a:gd name="connsiteX43" fmla="*/ 265112 w 341312"/>
                    <a:gd name="connsiteY43" fmla="*/ 1173121 h 1516168"/>
                    <a:gd name="connsiteX44" fmla="*/ 276318 w 341312"/>
                    <a:gd name="connsiteY44" fmla="*/ 1165914 h 1516168"/>
                    <a:gd name="connsiteX45" fmla="*/ 188854 w 341312"/>
                    <a:gd name="connsiteY45" fmla="*/ 1134164 h 1516168"/>
                    <a:gd name="connsiteX46" fmla="*/ 241359 w 341312"/>
                    <a:gd name="connsiteY46" fmla="*/ 1153567 h 1516168"/>
                    <a:gd name="connsiteX47" fmla="*/ 252413 w 341312"/>
                    <a:gd name="connsiteY47" fmla="*/ 1169089 h 1516168"/>
                    <a:gd name="connsiteX48" fmla="*/ 252413 w 341312"/>
                    <a:gd name="connsiteY48" fmla="*/ 1297148 h 1516168"/>
                    <a:gd name="connsiteX49" fmla="*/ 241359 w 341312"/>
                    <a:gd name="connsiteY49" fmla="*/ 1304355 h 1516168"/>
                    <a:gd name="connsiteX50" fmla="*/ 188854 w 341312"/>
                    <a:gd name="connsiteY50" fmla="*/ 1284952 h 1516168"/>
                    <a:gd name="connsiteX51" fmla="*/ 177800 w 341312"/>
                    <a:gd name="connsiteY51" fmla="*/ 1269984 h 1516168"/>
                    <a:gd name="connsiteX52" fmla="*/ 177800 w 341312"/>
                    <a:gd name="connsiteY52" fmla="*/ 1141371 h 1516168"/>
                    <a:gd name="connsiteX53" fmla="*/ 188854 w 341312"/>
                    <a:gd name="connsiteY53" fmla="*/ 1134164 h 1516168"/>
                    <a:gd name="connsiteX54" fmla="*/ 99873 w 341312"/>
                    <a:gd name="connsiteY54" fmla="*/ 1100847 h 1516168"/>
                    <a:gd name="connsiteX55" fmla="*/ 151992 w 341312"/>
                    <a:gd name="connsiteY55" fmla="*/ 1120426 h 1516168"/>
                    <a:gd name="connsiteX56" fmla="*/ 163513 w 341312"/>
                    <a:gd name="connsiteY56" fmla="*/ 1136089 h 1516168"/>
                    <a:gd name="connsiteX57" fmla="*/ 163513 w 341312"/>
                    <a:gd name="connsiteY57" fmla="*/ 1265312 h 1516168"/>
                    <a:gd name="connsiteX58" fmla="*/ 151992 w 341312"/>
                    <a:gd name="connsiteY58" fmla="*/ 1272585 h 1516168"/>
                    <a:gd name="connsiteX59" fmla="*/ 99873 w 341312"/>
                    <a:gd name="connsiteY59" fmla="*/ 1253005 h 1516168"/>
                    <a:gd name="connsiteX60" fmla="*/ 88900 w 341312"/>
                    <a:gd name="connsiteY60" fmla="*/ 1237342 h 1516168"/>
                    <a:gd name="connsiteX61" fmla="*/ 88900 w 341312"/>
                    <a:gd name="connsiteY61" fmla="*/ 1108119 h 1516168"/>
                    <a:gd name="connsiteX62" fmla="*/ 99873 w 341312"/>
                    <a:gd name="connsiteY62" fmla="*/ 1100847 h 1516168"/>
                    <a:gd name="connsiteX63" fmla="*/ 11054 w 341312"/>
                    <a:gd name="connsiteY63" fmla="*/ 1069076 h 1516168"/>
                    <a:gd name="connsiteX64" fmla="*/ 63559 w 341312"/>
                    <a:gd name="connsiteY64" fmla="*/ 1088479 h 1516168"/>
                    <a:gd name="connsiteX65" fmla="*/ 74613 w 341312"/>
                    <a:gd name="connsiteY65" fmla="*/ 1104001 h 1516168"/>
                    <a:gd name="connsiteX66" fmla="*/ 74613 w 341312"/>
                    <a:gd name="connsiteY66" fmla="*/ 1232060 h 1516168"/>
                    <a:gd name="connsiteX67" fmla="*/ 63559 w 341312"/>
                    <a:gd name="connsiteY67" fmla="*/ 1239266 h 1516168"/>
                    <a:gd name="connsiteX68" fmla="*/ 11054 w 341312"/>
                    <a:gd name="connsiteY68" fmla="*/ 1219864 h 1516168"/>
                    <a:gd name="connsiteX69" fmla="*/ 0 w 341312"/>
                    <a:gd name="connsiteY69" fmla="*/ 1204341 h 1516168"/>
                    <a:gd name="connsiteX70" fmla="*/ 0 w 341312"/>
                    <a:gd name="connsiteY70" fmla="*/ 1076283 h 1516168"/>
                    <a:gd name="connsiteX71" fmla="*/ 11054 w 341312"/>
                    <a:gd name="connsiteY71" fmla="*/ 1069076 h 1516168"/>
                    <a:gd name="connsiteX72" fmla="*/ 276318 w 341312"/>
                    <a:gd name="connsiteY72" fmla="*/ 988114 h 1516168"/>
                    <a:gd name="connsiteX73" fmla="*/ 329546 w 341312"/>
                    <a:gd name="connsiteY73" fmla="*/ 1007517 h 1516168"/>
                    <a:gd name="connsiteX74" fmla="*/ 341312 w 341312"/>
                    <a:gd name="connsiteY74" fmla="*/ 1023039 h 1516168"/>
                    <a:gd name="connsiteX75" fmla="*/ 341312 w 341312"/>
                    <a:gd name="connsiteY75" fmla="*/ 1151098 h 1516168"/>
                    <a:gd name="connsiteX76" fmla="*/ 329546 w 341312"/>
                    <a:gd name="connsiteY76" fmla="*/ 1158304 h 1516168"/>
                    <a:gd name="connsiteX77" fmla="*/ 276318 w 341312"/>
                    <a:gd name="connsiteY77" fmla="*/ 1138902 h 1516168"/>
                    <a:gd name="connsiteX78" fmla="*/ 265112 w 341312"/>
                    <a:gd name="connsiteY78" fmla="*/ 1123379 h 1516168"/>
                    <a:gd name="connsiteX79" fmla="*/ 265112 w 341312"/>
                    <a:gd name="connsiteY79" fmla="*/ 995321 h 1516168"/>
                    <a:gd name="connsiteX80" fmla="*/ 276318 w 341312"/>
                    <a:gd name="connsiteY80" fmla="*/ 988114 h 1516168"/>
                    <a:gd name="connsiteX81" fmla="*/ 188854 w 341312"/>
                    <a:gd name="connsiteY81" fmla="*/ 956364 h 1516168"/>
                    <a:gd name="connsiteX82" fmla="*/ 241359 w 341312"/>
                    <a:gd name="connsiteY82" fmla="*/ 975767 h 1516168"/>
                    <a:gd name="connsiteX83" fmla="*/ 252413 w 341312"/>
                    <a:gd name="connsiteY83" fmla="*/ 990735 h 1516168"/>
                    <a:gd name="connsiteX84" fmla="*/ 252413 w 341312"/>
                    <a:gd name="connsiteY84" fmla="*/ 1119348 h 1516168"/>
                    <a:gd name="connsiteX85" fmla="*/ 241359 w 341312"/>
                    <a:gd name="connsiteY85" fmla="*/ 1126554 h 1516168"/>
                    <a:gd name="connsiteX86" fmla="*/ 188854 w 341312"/>
                    <a:gd name="connsiteY86" fmla="*/ 1107152 h 1516168"/>
                    <a:gd name="connsiteX87" fmla="*/ 177800 w 341312"/>
                    <a:gd name="connsiteY87" fmla="*/ 1091629 h 1516168"/>
                    <a:gd name="connsiteX88" fmla="*/ 177800 w 341312"/>
                    <a:gd name="connsiteY88" fmla="*/ 963571 h 1516168"/>
                    <a:gd name="connsiteX89" fmla="*/ 188854 w 341312"/>
                    <a:gd name="connsiteY89" fmla="*/ 956364 h 1516168"/>
                    <a:gd name="connsiteX90" fmla="*/ 99873 w 341312"/>
                    <a:gd name="connsiteY90" fmla="*/ 923047 h 1516168"/>
                    <a:gd name="connsiteX91" fmla="*/ 151992 w 341312"/>
                    <a:gd name="connsiteY91" fmla="*/ 942626 h 1516168"/>
                    <a:gd name="connsiteX92" fmla="*/ 163513 w 341312"/>
                    <a:gd name="connsiteY92" fmla="*/ 957730 h 1516168"/>
                    <a:gd name="connsiteX93" fmla="*/ 163513 w 341312"/>
                    <a:gd name="connsiteY93" fmla="*/ 1087512 h 1516168"/>
                    <a:gd name="connsiteX94" fmla="*/ 151992 w 341312"/>
                    <a:gd name="connsiteY94" fmla="*/ 1094784 h 1516168"/>
                    <a:gd name="connsiteX95" fmla="*/ 99873 w 341312"/>
                    <a:gd name="connsiteY95" fmla="*/ 1075205 h 1516168"/>
                    <a:gd name="connsiteX96" fmla="*/ 88900 w 341312"/>
                    <a:gd name="connsiteY96" fmla="*/ 1059542 h 1516168"/>
                    <a:gd name="connsiteX97" fmla="*/ 88900 w 341312"/>
                    <a:gd name="connsiteY97" fmla="*/ 930319 h 1516168"/>
                    <a:gd name="connsiteX98" fmla="*/ 99873 w 341312"/>
                    <a:gd name="connsiteY98" fmla="*/ 923047 h 1516168"/>
                    <a:gd name="connsiteX99" fmla="*/ 11054 w 341312"/>
                    <a:gd name="connsiteY99" fmla="*/ 891276 h 1516168"/>
                    <a:gd name="connsiteX100" fmla="*/ 63559 w 341312"/>
                    <a:gd name="connsiteY100" fmla="*/ 910679 h 1516168"/>
                    <a:gd name="connsiteX101" fmla="*/ 74613 w 341312"/>
                    <a:gd name="connsiteY101" fmla="*/ 925647 h 1516168"/>
                    <a:gd name="connsiteX102" fmla="*/ 74613 w 341312"/>
                    <a:gd name="connsiteY102" fmla="*/ 1054260 h 1516168"/>
                    <a:gd name="connsiteX103" fmla="*/ 63559 w 341312"/>
                    <a:gd name="connsiteY103" fmla="*/ 1061466 h 1516168"/>
                    <a:gd name="connsiteX104" fmla="*/ 11054 w 341312"/>
                    <a:gd name="connsiteY104" fmla="*/ 1042064 h 1516168"/>
                    <a:gd name="connsiteX105" fmla="*/ 0 w 341312"/>
                    <a:gd name="connsiteY105" fmla="*/ 1026541 h 1516168"/>
                    <a:gd name="connsiteX106" fmla="*/ 0 w 341312"/>
                    <a:gd name="connsiteY106" fmla="*/ 898483 h 1516168"/>
                    <a:gd name="connsiteX107" fmla="*/ 11054 w 341312"/>
                    <a:gd name="connsiteY107" fmla="*/ 891276 h 1516168"/>
                    <a:gd name="connsiteX108" fmla="*/ 276318 w 341312"/>
                    <a:gd name="connsiteY108" fmla="*/ 810314 h 1516168"/>
                    <a:gd name="connsiteX109" fmla="*/ 329546 w 341312"/>
                    <a:gd name="connsiteY109" fmla="*/ 829717 h 1516168"/>
                    <a:gd name="connsiteX110" fmla="*/ 341312 w 341312"/>
                    <a:gd name="connsiteY110" fmla="*/ 844685 h 1516168"/>
                    <a:gd name="connsiteX111" fmla="*/ 341312 w 341312"/>
                    <a:gd name="connsiteY111" fmla="*/ 973298 h 1516168"/>
                    <a:gd name="connsiteX112" fmla="*/ 329546 w 341312"/>
                    <a:gd name="connsiteY112" fmla="*/ 980504 h 1516168"/>
                    <a:gd name="connsiteX113" fmla="*/ 276318 w 341312"/>
                    <a:gd name="connsiteY113" fmla="*/ 961102 h 1516168"/>
                    <a:gd name="connsiteX114" fmla="*/ 265112 w 341312"/>
                    <a:gd name="connsiteY114" fmla="*/ 945579 h 1516168"/>
                    <a:gd name="connsiteX115" fmla="*/ 265112 w 341312"/>
                    <a:gd name="connsiteY115" fmla="*/ 817521 h 1516168"/>
                    <a:gd name="connsiteX116" fmla="*/ 276318 w 341312"/>
                    <a:gd name="connsiteY116" fmla="*/ 810314 h 1516168"/>
                    <a:gd name="connsiteX117" fmla="*/ 188854 w 341312"/>
                    <a:gd name="connsiteY117" fmla="*/ 776997 h 1516168"/>
                    <a:gd name="connsiteX118" fmla="*/ 241359 w 341312"/>
                    <a:gd name="connsiteY118" fmla="*/ 796576 h 1516168"/>
                    <a:gd name="connsiteX119" fmla="*/ 252413 w 341312"/>
                    <a:gd name="connsiteY119" fmla="*/ 811680 h 1516168"/>
                    <a:gd name="connsiteX120" fmla="*/ 252413 w 341312"/>
                    <a:gd name="connsiteY120" fmla="*/ 941462 h 1516168"/>
                    <a:gd name="connsiteX121" fmla="*/ 241359 w 341312"/>
                    <a:gd name="connsiteY121" fmla="*/ 948175 h 1516168"/>
                    <a:gd name="connsiteX122" fmla="*/ 188854 w 341312"/>
                    <a:gd name="connsiteY122" fmla="*/ 929155 h 1516168"/>
                    <a:gd name="connsiteX123" fmla="*/ 177800 w 341312"/>
                    <a:gd name="connsiteY123" fmla="*/ 913492 h 1516168"/>
                    <a:gd name="connsiteX124" fmla="*/ 177800 w 341312"/>
                    <a:gd name="connsiteY124" fmla="*/ 784269 h 1516168"/>
                    <a:gd name="connsiteX125" fmla="*/ 188854 w 341312"/>
                    <a:gd name="connsiteY125" fmla="*/ 776997 h 1516168"/>
                    <a:gd name="connsiteX126" fmla="*/ 99873 w 341312"/>
                    <a:gd name="connsiteY126" fmla="*/ 745247 h 1516168"/>
                    <a:gd name="connsiteX127" fmla="*/ 151992 w 341312"/>
                    <a:gd name="connsiteY127" fmla="*/ 764826 h 1516168"/>
                    <a:gd name="connsiteX128" fmla="*/ 163513 w 341312"/>
                    <a:gd name="connsiteY128" fmla="*/ 779930 h 1516168"/>
                    <a:gd name="connsiteX129" fmla="*/ 163513 w 341312"/>
                    <a:gd name="connsiteY129" fmla="*/ 909712 h 1516168"/>
                    <a:gd name="connsiteX130" fmla="*/ 151992 w 341312"/>
                    <a:gd name="connsiteY130" fmla="*/ 916425 h 1516168"/>
                    <a:gd name="connsiteX131" fmla="*/ 99873 w 341312"/>
                    <a:gd name="connsiteY131" fmla="*/ 897405 h 1516168"/>
                    <a:gd name="connsiteX132" fmla="*/ 88900 w 341312"/>
                    <a:gd name="connsiteY132" fmla="*/ 881742 h 1516168"/>
                    <a:gd name="connsiteX133" fmla="*/ 88900 w 341312"/>
                    <a:gd name="connsiteY133" fmla="*/ 752519 h 1516168"/>
                    <a:gd name="connsiteX134" fmla="*/ 99873 w 341312"/>
                    <a:gd name="connsiteY134" fmla="*/ 745247 h 1516168"/>
                    <a:gd name="connsiteX135" fmla="*/ 11054 w 341312"/>
                    <a:gd name="connsiteY135" fmla="*/ 713483 h 1516168"/>
                    <a:gd name="connsiteX136" fmla="*/ 63559 w 341312"/>
                    <a:gd name="connsiteY136" fmla="*/ 732948 h 1516168"/>
                    <a:gd name="connsiteX137" fmla="*/ 74613 w 341312"/>
                    <a:gd name="connsiteY137" fmla="*/ 747963 h 1516168"/>
                    <a:gd name="connsiteX138" fmla="*/ 74613 w 341312"/>
                    <a:gd name="connsiteY138" fmla="*/ 876430 h 1516168"/>
                    <a:gd name="connsiteX139" fmla="*/ 63559 w 341312"/>
                    <a:gd name="connsiteY139" fmla="*/ 883659 h 1516168"/>
                    <a:gd name="connsiteX140" fmla="*/ 11054 w 341312"/>
                    <a:gd name="connsiteY140" fmla="*/ 864751 h 1516168"/>
                    <a:gd name="connsiteX141" fmla="*/ 0 w 341312"/>
                    <a:gd name="connsiteY141" fmla="*/ 849179 h 1516168"/>
                    <a:gd name="connsiteX142" fmla="*/ 0 w 341312"/>
                    <a:gd name="connsiteY142" fmla="*/ 720713 h 1516168"/>
                    <a:gd name="connsiteX143" fmla="*/ 11054 w 341312"/>
                    <a:gd name="connsiteY143" fmla="*/ 713483 h 1516168"/>
                    <a:gd name="connsiteX144" fmla="*/ 276318 w 341312"/>
                    <a:gd name="connsiteY144" fmla="*/ 632521 h 1516168"/>
                    <a:gd name="connsiteX145" fmla="*/ 329546 w 341312"/>
                    <a:gd name="connsiteY145" fmla="*/ 651986 h 1516168"/>
                    <a:gd name="connsiteX146" fmla="*/ 341312 w 341312"/>
                    <a:gd name="connsiteY146" fmla="*/ 667001 h 1516168"/>
                    <a:gd name="connsiteX147" fmla="*/ 341312 w 341312"/>
                    <a:gd name="connsiteY147" fmla="*/ 795468 h 1516168"/>
                    <a:gd name="connsiteX148" fmla="*/ 329546 w 341312"/>
                    <a:gd name="connsiteY148" fmla="*/ 802697 h 1516168"/>
                    <a:gd name="connsiteX149" fmla="*/ 276318 w 341312"/>
                    <a:gd name="connsiteY149" fmla="*/ 783789 h 1516168"/>
                    <a:gd name="connsiteX150" fmla="*/ 265112 w 341312"/>
                    <a:gd name="connsiteY150" fmla="*/ 768217 h 1516168"/>
                    <a:gd name="connsiteX151" fmla="*/ 265112 w 341312"/>
                    <a:gd name="connsiteY151" fmla="*/ 639751 h 1516168"/>
                    <a:gd name="connsiteX152" fmla="*/ 276318 w 341312"/>
                    <a:gd name="connsiteY152" fmla="*/ 632521 h 1516168"/>
                    <a:gd name="connsiteX153" fmla="*/ 188854 w 341312"/>
                    <a:gd name="connsiteY153" fmla="*/ 599183 h 1516168"/>
                    <a:gd name="connsiteX154" fmla="*/ 241359 w 341312"/>
                    <a:gd name="connsiteY154" fmla="*/ 618648 h 1516168"/>
                    <a:gd name="connsiteX155" fmla="*/ 252413 w 341312"/>
                    <a:gd name="connsiteY155" fmla="*/ 633663 h 1516168"/>
                    <a:gd name="connsiteX156" fmla="*/ 252413 w 341312"/>
                    <a:gd name="connsiteY156" fmla="*/ 762130 h 1516168"/>
                    <a:gd name="connsiteX157" fmla="*/ 241359 w 341312"/>
                    <a:gd name="connsiteY157" fmla="*/ 769359 h 1516168"/>
                    <a:gd name="connsiteX158" fmla="*/ 188854 w 341312"/>
                    <a:gd name="connsiteY158" fmla="*/ 750451 h 1516168"/>
                    <a:gd name="connsiteX159" fmla="*/ 177800 w 341312"/>
                    <a:gd name="connsiteY159" fmla="*/ 734879 h 1516168"/>
                    <a:gd name="connsiteX160" fmla="*/ 177800 w 341312"/>
                    <a:gd name="connsiteY160" fmla="*/ 606413 h 1516168"/>
                    <a:gd name="connsiteX161" fmla="*/ 188854 w 341312"/>
                    <a:gd name="connsiteY161" fmla="*/ 599183 h 1516168"/>
                    <a:gd name="connsiteX162" fmla="*/ 99873 w 341312"/>
                    <a:gd name="connsiteY162" fmla="*/ 567433 h 1516168"/>
                    <a:gd name="connsiteX163" fmla="*/ 151992 w 341312"/>
                    <a:gd name="connsiteY163" fmla="*/ 586342 h 1516168"/>
                    <a:gd name="connsiteX164" fmla="*/ 163513 w 341312"/>
                    <a:gd name="connsiteY164" fmla="*/ 601913 h 1516168"/>
                    <a:gd name="connsiteX165" fmla="*/ 163513 w 341312"/>
                    <a:gd name="connsiteY165" fmla="*/ 730380 h 1516168"/>
                    <a:gd name="connsiteX166" fmla="*/ 151992 w 341312"/>
                    <a:gd name="connsiteY166" fmla="*/ 737609 h 1516168"/>
                    <a:gd name="connsiteX167" fmla="*/ 99873 w 341312"/>
                    <a:gd name="connsiteY167" fmla="*/ 718701 h 1516168"/>
                    <a:gd name="connsiteX168" fmla="*/ 88900 w 341312"/>
                    <a:gd name="connsiteY168" fmla="*/ 703129 h 1516168"/>
                    <a:gd name="connsiteX169" fmla="*/ 88900 w 341312"/>
                    <a:gd name="connsiteY169" fmla="*/ 574663 h 1516168"/>
                    <a:gd name="connsiteX170" fmla="*/ 99873 w 341312"/>
                    <a:gd name="connsiteY170" fmla="*/ 567433 h 1516168"/>
                    <a:gd name="connsiteX171" fmla="*/ 11054 w 341312"/>
                    <a:gd name="connsiteY171" fmla="*/ 535683 h 1516168"/>
                    <a:gd name="connsiteX172" fmla="*/ 63559 w 341312"/>
                    <a:gd name="connsiteY172" fmla="*/ 554592 h 1516168"/>
                    <a:gd name="connsiteX173" fmla="*/ 74613 w 341312"/>
                    <a:gd name="connsiteY173" fmla="*/ 570163 h 1516168"/>
                    <a:gd name="connsiteX174" fmla="*/ 74613 w 341312"/>
                    <a:gd name="connsiteY174" fmla="*/ 698630 h 1516168"/>
                    <a:gd name="connsiteX175" fmla="*/ 63559 w 341312"/>
                    <a:gd name="connsiteY175" fmla="*/ 705859 h 1516168"/>
                    <a:gd name="connsiteX176" fmla="*/ 11054 w 341312"/>
                    <a:gd name="connsiteY176" fmla="*/ 686951 h 1516168"/>
                    <a:gd name="connsiteX177" fmla="*/ 0 w 341312"/>
                    <a:gd name="connsiteY177" fmla="*/ 671379 h 1516168"/>
                    <a:gd name="connsiteX178" fmla="*/ 0 w 341312"/>
                    <a:gd name="connsiteY178" fmla="*/ 542913 h 1516168"/>
                    <a:gd name="connsiteX179" fmla="*/ 11054 w 341312"/>
                    <a:gd name="connsiteY179" fmla="*/ 535683 h 1516168"/>
                    <a:gd name="connsiteX180" fmla="*/ 276318 w 341312"/>
                    <a:gd name="connsiteY180" fmla="*/ 453154 h 1516168"/>
                    <a:gd name="connsiteX181" fmla="*/ 329546 w 341312"/>
                    <a:gd name="connsiteY181" fmla="*/ 472234 h 1516168"/>
                    <a:gd name="connsiteX182" fmla="*/ 341312 w 341312"/>
                    <a:gd name="connsiteY182" fmla="*/ 487947 h 1516168"/>
                    <a:gd name="connsiteX183" fmla="*/ 341312 w 341312"/>
                    <a:gd name="connsiteY183" fmla="*/ 617582 h 1516168"/>
                    <a:gd name="connsiteX184" fmla="*/ 329546 w 341312"/>
                    <a:gd name="connsiteY184" fmla="*/ 624877 h 1516168"/>
                    <a:gd name="connsiteX185" fmla="*/ 276318 w 341312"/>
                    <a:gd name="connsiteY185" fmla="*/ 605797 h 1516168"/>
                    <a:gd name="connsiteX186" fmla="*/ 265112 w 341312"/>
                    <a:gd name="connsiteY186" fmla="*/ 590083 h 1516168"/>
                    <a:gd name="connsiteX187" fmla="*/ 265112 w 341312"/>
                    <a:gd name="connsiteY187" fmla="*/ 460449 h 1516168"/>
                    <a:gd name="connsiteX188" fmla="*/ 276318 w 341312"/>
                    <a:gd name="connsiteY188" fmla="*/ 453154 h 1516168"/>
                    <a:gd name="connsiteX189" fmla="*/ 188854 w 341312"/>
                    <a:gd name="connsiteY189" fmla="*/ 421383 h 1516168"/>
                    <a:gd name="connsiteX190" fmla="*/ 241359 w 341312"/>
                    <a:gd name="connsiteY190" fmla="*/ 440292 h 1516168"/>
                    <a:gd name="connsiteX191" fmla="*/ 252413 w 341312"/>
                    <a:gd name="connsiteY191" fmla="*/ 455863 h 1516168"/>
                    <a:gd name="connsiteX192" fmla="*/ 252413 w 341312"/>
                    <a:gd name="connsiteY192" fmla="*/ 584330 h 1516168"/>
                    <a:gd name="connsiteX193" fmla="*/ 241359 w 341312"/>
                    <a:gd name="connsiteY193" fmla="*/ 591559 h 1516168"/>
                    <a:gd name="connsiteX194" fmla="*/ 188854 w 341312"/>
                    <a:gd name="connsiteY194" fmla="*/ 572651 h 1516168"/>
                    <a:gd name="connsiteX195" fmla="*/ 177800 w 341312"/>
                    <a:gd name="connsiteY195" fmla="*/ 557079 h 1516168"/>
                    <a:gd name="connsiteX196" fmla="*/ 177800 w 341312"/>
                    <a:gd name="connsiteY196" fmla="*/ 428613 h 1516168"/>
                    <a:gd name="connsiteX197" fmla="*/ 188854 w 341312"/>
                    <a:gd name="connsiteY197" fmla="*/ 421383 h 1516168"/>
                    <a:gd name="connsiteX198" fmla="*/ 99873 w 341312"/>
                    <a:gd name="connsiteY198" fmla="*/ 389633 h 1516168"/>
                    <a:gd name="connsiteX199" fmla="*/ 151992 w 341312"/>
                    <a:gd name="connsiteY199" fmla="*/ 408542 h 1516168"/>
                    <a:gd name="connsiteX200" fmla="*/ 163513 w 341312"/>
                    <a:gd name="connsiteY200" fmla="*/ 424113 h 1516168"/>
                    <a:gd name="connsiteX201" fmla="*/ 163513 w 341312"/>
                    <a:gd name="connsiteY201" fmla="*/ 552580 h 1516168"/>
                    <a:gd name="connsiteX202" fmla="*/ 151992 w 341312"/>
                    <a:gd name="connsiteY202" fmla="*/ 559809 h 1516168"/>
                    <a:gd name="connsiteX203" fmla="*/ 99873 w 341312"/>
                    <a:gd name="connsiteY203" fmla="*/ 540901 h 1516168"/>
                    <a:gd name="connsiteX204" fmla="*/ 88900 w 341312"/>
                    <a:gd name="connsiteY204" fmla="*/ 525329 h 1516168"/>
                    <a:gd name="connsiteX205" fmla="*/ 88900 w 341312"/>
                    <a:gd name="connsiteY205" fmla="*/ 396863 h 1516168"/>
                    <a:gd name="connsiteX206" fmla="*/ 99873 w 341312"/>
                    <a:gd name="connsiteY206" fmla="*/ 389633 h 1516168"/>
                    <a:gd name="connsiteX207" fmla="*/ 11054 w 341312"/>
                    <a:gd name="connsiteY207" fmla="*/ 356317 h 1516168"/>
                    <a:gd name="connsiteX208" fmla="*/ 63559 w 341312"/>
                    <a:gd name="connsiteY208" fmla="*/ 375397 h 1516168"/>
                    <a:gd name="connsiteX209" fmla="*/ 74613 w 341312"/>
                    <a:gd name="connsiteY209" fmla="*/ 391110 h 1516168"/>
                    <a:gd name="connsiteX210" fmla="*/ 74613 w 341312"/>
                    <a:gd name="connsiteY210" fmla="*/ 520745 h 1516168"/>
                    <a:gd name="connsiteX211" fmla="*/ 63559 w 341312"/>
                    <a:gd name="connsiteY211" fmla="*/ 528040 h 1516168"/>
                    <a:gd name="connsiteX212" fmla="*/ 11054 w 341312"/>
                    <a:gd name="connsiteY212" fmla="*/ 508960 h 1516168"/>
                    <a:gd name="connsiteX213" fmla="*/ 0 w 341312"/>
                    <a:gd name="connsiteY213" fmla="*/ 493246 h 1516168"/>
                    <a:gd name="connsiteX214" fmla="*/ 0 w 341312"/>
                    <a:gd name="connsiteY214" fmla="*/ 363612 h 1516168"/>
                    <a:gd name="connsiteX215" fmla="*/ 11054 w 341312"/>
                    <a:gd name="connsiteY215" fmla="*/ 356317 h 1516168"/>
                    <a:gd name="connsiteX216" fmla="*/ 276318 w 341312"/>
                    <a:gd name="connsiteY216" fmla="*/ 275333 h 1516168"/>
                    <a:gd name="connsiteX217" fmla="*/ 329546 w 341312"/>
                    <a:gd name="connsiteY217" fmla="*/ 294242 h 1516168"/>
                    <a:gd name="connsiteX218" fmla="*/ 341312 w 341312"/>
                    <a:gd name="connsiteY218" fmla="*/ 309813 h 1516168"/>
                    <a:gd name="connsiteX219" fmla="*/ 341312 w 341312"/>
                    <a:gd name="connsiteY219" fmla="*/ 438280 h 1516168"/>
                    <a:gd name="connsiteX220" fmla="*/ 329546 w 341312"/>
                    <a:gd name="connsiteY220" fmla="*/ 445509 h 1516168"/>
                    <a:gd name="connsiteX221" fmla="*/ 276318 w 341312"/>
                    <a:gd name="connsiteY221" fmla="*/ 426601 h 1516168"/>
                    <a:gd name="connsiteX222" fmla="*/ 265112 w 341312"/>
                    <a:gd name="connsiteY222" fmla="*/ 411029 h 1516168"/>
                    <a:gd name="connsiteX223" fmla="*/ 265112 w 341312"/>
                    <a:gd name="connsiteY223" fmla="*/ 282563 h 1516168"/>
                    <a:gd name="connsiteX224" fmla="*/ 276318 w 341312"/>
                    <a:gd name="connsiteY224" fmla="*/ 275333 h 1516168"/>
                    <a:gd name="connsiteX225" fmla="*/ 188854 w 341312"/>
                    <a:gd name="connsiteY225" fmla="*/ 243583 h 1516168"/>
                    <a:gd name="connsiteX226" fmla="*/ 241359 w 341312"/>
                    <a:gd name="connsiteY226" fmla="*/ 262492 h 1516168"/>
                    <a:gd name="connsiteX227" fmla="*/ 252413 w 341312"/>
                    <a:gd name="connsiteY227" fmla="*/ 278063 h 1516168"/>
                    <a:gd name="connsiteX228" fmla="*/ 252413 w 341312"/>
                    <a:gd name="connsiteY228" fmla="*/ 406530 h 1516168"/>
                    <a:gd name="connsiteX229" fmla="*/ 241359 w 341312"/>
                    <a:gd name="connsiteY229" fmla="*/ 413759 h 1516168"/>
                    <a:gd name="connsiteX230" fmla="*/ 188854 w 341312"/>
                    <a:gd name="connsiteY230" fmla="*/ 394295 h 1516168"/>
                    <a:gd name="connsiteX231" fmla="*/ 177800 w 341312"/>
                    <a:gd name="connsiteY231" fmla="*/ 379279 h 1516168"/>
                    <a:gd name="connsiteX232" fmla="*/ 177800 w 341312"/>
                    <a:gd name="connsiteY232" fmla="*/ 250813 h 1516168"/>
                    <a:gd name="connsiteX233" fmla="*/ 188854 w 341312"/>
                    <a:gd name="connsiteY233" fmla="*/ 243583 h 1516168"/>
                    <a:gd name="connsiteX234" fmla="*/ 99873 w 341312"/>
                    <a:gd name="connsiteY234" fmla="*/ 211833 h 1516168"/>
                    <a:gd name="connsiteX235" fmla="*/ 151992 w 341312"/>
                    <a:gd name="connsiteY235" fmla="*/ 230742 h 1516168"/>
                    <a:gd name="connsiteX236" fmla="*/ 163513 w 341312"/>
                    <a:gd name="connsiteY236" fmla="*/ 246313 h 1516168"/>
                    <a:gd name="connsiteX237" fmla="*/ 163513 w 341312"/>
                    <a:gd name="connsiteY237" fmla="*/ 374780 h 1516168"/>
                    <a:gd name="connsiteX238" fmla="*/ 151992 w 341312"/>
                    <a:gd name="connsiteY238" fmla="*/ 382009 h 1516168"/>
                    <a:gd name="connsiteX239" fmla="*/ 99873 w 341312"/>
                    <a:gd name="connsiteY239" fmla="*/ 362545 h 1516168"/>
                    <a:gd name="connsiteX240" fmla="*/ 88900 w 341312"/>
                    <a:gd name="connsiteY240" fmla="*/ 347529 h 1516168"/>
                    <a:gd name="connsiteX241" fmla="*/ 88900 w 341312"/>
                    <a:gd name="connsiteY241" fmla="*/ 219063 h 1516168"/>
                    <a:gd name="connsiteX242" fmla="*/ 99873 w 341312"/>
                    <a:gd name="connsiteY242" fmla="*/ 211833 h 1516168"/>
                    <a:gd name="connsiteX243" fmla="*/ 11054 w 341312"/>
                    <a:gd name="connsiteY243" fmla="*/ 179044 h 1516168"/>
                    <a:gd name="connsiteX244" fmla="*/ 63559 w 341312"/>
                    <a:gd name="connsiteY244" fmla="*/ 197892 h 1516168"/>
                    <a:gd name="connsiteX245" fmla="*/ 74613 w 341312"/>
                    <a:gd name="connsiteY245" fmla="*/ 213414 h 1516168"/>
                    <a:gd name="connsiteX246" fmla="*/ 74613 w 341312"/>
                    <a:gd name="connsiteY246" fmla="*/ 341473 h 1516168"/>
                    <a:gd name="connsiteX247" fmla="*/ 63559 w 341312"/>
                    <a:gd name="connsiteY247" fmla="*/ 348679 h 1516168"/>
                    <a:gd name="connsiteX248" fmla="*/ 11054 w 341312"/>
                    <a:gd name="connsiteY248" fmla="*/ 329277 h 1516168"/>
                    <a:gd name="connsiteX249" fmla="*/ 0 w 341312"/>
                    <a:gd name="connsiteY249" fmla="*/ 314309 h 1516168"/>
                    <a:gd name="connsiteX250" fmla="*/ 0 w 341312"/>
                    <a:gd name="connsiteY250" fmla="*/ 185696 h 1516168"/>
                    <a:gd name="connsiteX251" fmla="*/ 11054 w 341312"/>
                    <a:gd name="connsiteY251" fmla="*/ 179044 h 1516168"/>
                    <a:gd name="connsiteX252" fmla="*/ 276318 w 341312"/>
                    <a:gd name="connsiteY252" fmla="*/ 98081 h 1516168"/>
                    <a:gd name="connsiteX253" fmla="*/ 329546 w 341312"/>
                    <a:gd name="connsiteY253" fmla="*/ 116929 h 1516168"/>
                    <a:gd name="connsiteX254" fmla="*/ 341312 w 341312"/>
                    <a:gd name="connsiteY254" fmla="*/ 132451 h 1516168"/>
                    <a:gd name="connsiteX255" fmla="*/ 341312 w 341312"/>
                    <a:gd name="connsiteY255" fmla="*/ 260510 h 1516168"/>
                    <a:gd name="connsiteX256" fmla="*/ 329546 w 341312"/>
                    <a:gd name="connsiteY256" fmla="*/ 267716 h 1516168"/>
                    <a:gd name="connsiteX257" fmla="*/ 276318 w 341312"/>
                    <a:gd name="connsiteY257" fmla="*/ 248314 h 1516168"/>
                    <a:gd name="connsiteX258" fmla="*/ 265112 w 341312"/>
                    <a:gd name="connsiteY258" fmla="*/ 233346 h 1516168"/>
                    <a:gd name="connsiteX259" fmla="*/ 265112 w 341312"/>
                    <a:gd name="connsiteY259" fmla="*/ 104733 h 1516168"/>
                    <a:gd name="connsiteX260" fmla="*/ 276318 w 341312"/>
                    <a:gd name="connsiteY260" fmla="*/ 98081 h 1516168"/>
                    <a:gd name="connsiteX261" fmla="*/ 188854 w 341312"/>
                    <a:gd name="connsiteY261" fmla="*/ 66331 h 1516168"/>
                    <a:gd name="connsiteX262" fmla="*/ 241359 w 341312"/>
                    <a:gd name="connsiteY262" fmla="*/ 85179 h 1516168"/>
                    <a:gd name="connsiteX263" fmla="*/ 252413 w 341312"/>
                    <a:gd name="connsiteY263" fmla="*/ 100701 h 1516168"/>
                    <a:gd name="connsiteX264" fmla="*/ 252413 w 341312"/>
                    <a:gd name="connsiteY264" fmla="*/ 228760 h 1516168"/>
                    <a:gd name="connsiteX265" fmla="*/ 241359 w 341312"/>
                    <a:gd name="connsiteY265" fmla="*/ 235966 h 1516168"/>
                    <a:gd name="connsiteX266" fmla="*/ 188854 w 341312"/>
                    <a:gd name="connsiteY266" fmla="*/ 216564 h 1516168"/>
                    <a:gd name="connsiteX267" fmla="*/ 177800 w 341312"/>
                    <a:gd name="connsiteY267" fmla="*/ 201596 h 1516168"/>
                    <a:gd name="connsiteX268" fmla="*/ 177800 w 341312"/>
                    <a:gd name="connsiteY268" fmla="*/ 72983 h 1516168"/>
                    <a:gd name="connsiteX269" fmla="*/ 188854 w 341312"/>
                    <a:gd name="connsiteY269" fmla="*/ 66331 h 1516168"/>
                    <a:gd name="connsiteX270" fmla="*/ 99873 w 341312"/>
                    <a:gd name="connsiteY270" fmla="*/ 32460 h 1516168"/>
                    <a:gd name="connsiteX271" fmla="*/ 151992 w 341312"/>
                    <a:gd name="connsiteY271" fmla="*/ 52039 h 1516168"/>
                    <a:gd name="connsiteX272" fmla="*/ 163513 w 341312"/>
                    <a:gd name="connsiteY272" fmla="*/ 67702 h 1516168"/>
                    <a:gd name="connsiteX273" fmla="*/ 163513 w 341312"/>
                    <a:gd name="connsiteY273" fmla="*/ 196925 h 1516168"/>
                    <a:gd name="connsiteX274" fmla="*/ 151992 w 341312"/>
                    <a:gd name="connsiteY274" fmla="*/ 204197 h 1516168"/>
                    <a:gd name="connsiteX275" fmla="*/ 99873 w 341312"/>
                    <a:gd name="connsiteY275" fmla="*/ 184618 h 1516168"/>
                    <a:gd name="connsiteX276" fmla="*/ 88900 w 341312"/>
                    <a:gd name="connsiteY276" fmla="*/ 169514 h 1516168"/>
                    <a:gd name="connsiteX277" fmla="*/ 88900 w 341312"/>
                    <a:gd name="connsiteY277" fmla="*/ 39732 h 1516168"/>
                    <a:gd name="connsiteX278" fmla="*/ 99873 w 341312"/>
                    <a:gd name="connsiteY278" fmla="*/ 32460 h 1516168"/>
                    <a:gd name="connsiteX279" fmla="*/ 11054 w 341312"/>
                    <a:gd name="connsiteY279" fmla="*/ 689 h 1516168"/>
                    <a:gd name="connsiteX280" fmla="*/ 63559 w 341312"/>
                    <a:gd name="connsiteY280" fmla="*/ 20092 h 1516168"/>
                    <a:gd name="connsiteX281" fmla="*/ 74613 w 341312"/>
                    <a:gd name="connsiteY281" fmla="*/ 35614 h 1516168"/>
                    <a:gd name="connsiteX282" fmla="*/ 74613 w 341312"/>
                    <a:gd name="connsiteY282" fmla="*/ 163673 h 1516168"/>
                    <a:gd name="connsiteX283" fmla="*/ 63559 w 341312"/>
                    <a:gd name="connsiteY283" fmla="*/ 170879 h 1516168"/>
                    <a:gd name="connsiteX284" fmla="*/ 11054 w 341312"/>
                    <a:gd name="connsiteY284" fmla="*/ 151477 h 1516168"/>
                    <a:gd name="connsiteX285" fmla="*/ 0 w 341312"/>
                    <a:gd name="connsiteY285" fmla="*/ 136509 h 1516168"/>
                    <a:gd name="connsiteX286" fmla="*/ 0 w 341312"/>
                    <a:gd name="connsiteY286" fmla="*/ 7896 h 1516168"/>
                    <a:gd name="connsiteX287" fmla="*/ 11054 w 341312"/>
                    <a:gd name="connsiteY287" fmla="*/ 689 h 15161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</a:cxnLst>
                  <a:rect l="l" t="t" r="r" b="b"/>
                  <a:pathLst>
                    <a:path w="341312" h="1516168">
                      <a:moveTo>
                        <a:pt x="276318" y="1344294"/>
                      </a:moveTo>
                      <a:cubicBezTo>
                        <a:pt x="276318" y="1344294"/>
                        <a:pt x="276318" y="1344294"/>
                        <a:pt x="329546" y="1363314"/>
                      </a:cubicBezTo>
                      <a:cubicBezTo>
                        <a:pt x="336270" y="1365552"/>
                        <a:pt x="341312" y="1372824"/>
                        <a:pt x="341312" y="1378977"/>
                      </a:cubicBezTo>
                      <a:cubicBezTo>
                        <a:pt x="341312" y="1378977"/>
                        <a:pt x="341312" y="1378977"/>
                        <a:pt x="341312" y="1508200"/>
                      </a:cubicBezTo>
                      <a:cubicBezTo>
                        <a:pt x="341312" y="1514354"/>
                        <a:pt x="336270" y="1517710"/>
                        <a:pt x="329546" y="1515473"/>
                      </a:cubicBezTo>
                      <a:cubicBezTo>
                        <a:pt x="329546" y="1515473"/>
                        <a:pt x="329546" y="1515473"/>
                        <a:pt x="276318" y="1495893"/>
                      </a:cubicBezTo>
                      <a:cubicBezTo>
                        <a:pt x="270155" y="1493656"/>
                        <a:pt x="265112" y="1486943"/>
                        <a:pt x="265112" y="1480789"/>
                      </a:cubicBezTo>
                      <a:cubicBezTo>
                        <a:pt x="265112" y="1480789"/>
                        <a:pt x="265112" y="1480789"/>
                        <a:pt x="265112" y="1351007"/>
                      </a:cubicBezTo>
                      <a:cubicBezTo>
                        <a:pt x="265112" y="1344854"/>
                        <a:pt x="270155" y="1341497"/>
                        <a:pt x="276318" y="1344294"/>
                      </a:cubicBezTo>
                      <a:close/>
                      <a:moveTo>
                        <a:pt x="188854" y="1311965"/>
                      </a:moveTo>
                      <a:cubicBezTo>
                        <a:pt x="188854" y="1311965"/>
                        <a:pt x="188854" y="1311965"/>
                        <a:pt x="241359" y="1331367"/>
                      </a:cubicBezTo>
                      <a:cubicBezTo>
                        <a:pt x="247439" y="1333585"/>
                        <a:pt x="252413" y="1340792"/>
                        <a:pt x="252413" y="1346890"/>
                      </a:cubicBezTo>
                      <a:cubicBezTo>
                        <a:pt x="252413" y="1346890"/>
                        <a:pt x="252413" y="1346890"/>
                        <a:pt x="252413" y="1474948"/>
                      </a:cubicBezTo>
                      <a:cubicBezTo>
                        <a:pt x="252413" y="1481046"/>
                        <a:pt x="247439" y="1484372"/>
                        <a:pt x="241359" y="1482155"/>
                      </a:cubicBezTo>
                      <a:cubicBezTo>
                        <a:pt x="241359" y="1482155"/>
                        <a:pt x="241359" y="1482155"/>
                        <a:pt x="188854" y="1462752"/>
                      </a:cubicBezTo>
                      <a:cubicBezTo>
                        <a:pt x="182774" y="1460534"/>
                        <a:pt x="177800" y="1453882"/>
                        <a:pt x="177800" y="1447784"/>
                      </a:cubicBezTo>
                      <a:cubicBezTo>
                        <a:pt x="177800" y="1447784"/>
                        <a:pt x="177800" y="1447784"/>
                        <a:pt x="177800" y="1319171"/>
                      </a:cubicBezTo>
                      <a:cubicBezTo>
                        <a:pt x="177800" y="1313073"/>
                        <a:pt x="182774" y="1309747"/>
                        <a:pt x="188854" y="1311965"/>
                      </a:cubicBezTo>
                      <a:close/>
                      <a:moveTo>
                        <a:pt x="99873" y="1280215"/>
                      </a:moveTo>
                      <a:cubicBezTo>
                        <a:pt x="99873" y="1280215"/>
                        <a:pt x="99873" y="1280215"/>
                        <a:pt x="151992" y="1299617"/>
                      </a:cubicBezTo>
                      <a:cubicBezTo>
                        <a:pt x="158576" y="1301835"/>
                        <a:pt x="163513" y="1308487"/>
                        <a:pt x="163513" y="1315140"/>
                      </a:cubicBezTo>
                      <a:cubicBezTo>
                        <a:pt x="163513" y="1315140"/>
                        <a:pt x="163513" y="1315140"/>
                        <a:pt x="163513" y="1443198"/>
                      </a:cubicBezTo>
                      <a:cubicBezTo>
                        <a:pt x="163513" y="1449296"/>
                        <a:pt x="158576" y="1452622"/>
                        <a:pt x="151992" y="1450405"/>
                      </a:cubicBezTo>
                      <a:cubicBezTo>
                        <a:pt x="151992" y="1450405"/>
                        <a:pt x="151992" y="1450405"/>
                        <a:pt x="99873" y="1431002"/>
                      </a:cubicBezTo>
                      <a:cubicBezTo>
                        <a:pt x="93838" y="1428784"/>
                        <a:pt x="88900" y="1422132"/>
                        <a:pt x="88900" y="1416034"/>
                      </a:cubicBezTo>
                      <a:cubicBezTo>
                        <a:pt x="88900" y="1416034"/>
                        <a:pt x="88900" y="1416034"/>
                        <a:pt x="88900" y="1287421"/>
                      </a:cubicBezTo>
                      <a:cubicBezTo>
                        <a:pt x="88900" y="1281323"/>
                        <a:pt x="93838" y="1277997"/>
                        <a:pt x="99873" y="1280215"/>
                      </a:cubicBezTo>
                      <a:close/>
                      <a:moveTo>
                        <a:pt x="11054" y="1246897"/>
                      </a:moveTo>
                      <a:cubicBezTo>
                        <a:pt x="11054" y="1246897"/>
                        <a:pt x="11054" y="1246897"/>
                        <a:pt x="63559" y="1266476"/>
                      </a:cubicBezTo>
                      <a:cubicBezTo>
                        <a:pt x="69639" y="1268714"/>
                        <a:pt x="74613" y="1275426"/>
                        <a:pt x="74613" y="1282139"/>
                      </a:cubicBezTo>
                      <a:cubicBezTo>
                        <a:pt x="74613" y="1282139"/>
                        <a:pt x="74613" y="1282139"/>
                        <a:pt x="74613" y="1411362"/>
                      </a:cubicBezTo>
                      <a:cubicBezTo>
                        <a:pt x="74613" y="1417516"/>
                        <a:pt x="69639" y="1420872"/>
                        <a:pt x="63559" y="1418635"/>
                      </a:cubicBezTo>
                      <a:cubicBezTo>
                        <a:pt x="63559" y="1418635"/>
                        <a:pt x="63559" y="1418635"/>
                        <a:pt x="11054" y="1399055"/>
                      </a:cubicBezTo>
                      <a:cubicBezTo>
                        <a:pt x="4974" y="1396818"/>
                        <a:pt x="0" y="1390105"/>
                        <a:pt x="0" y="1383951"/>
                      </a:cubicBezTo>
                      <a:cubicBezTo>
                        <a:pt x="0" y="1383951"/>
                        <a:pt x="0" y="1383951"/>
                        <a:pt x="0" y="1254169"/>
                      </a:cubicBezTo>
                      <a:cubicBezTo>
                        <a:pt x="0" y="1248016"/>
                        <a:pt x="4974" y="1244659"/>
                        <a:pt x="11054" y="1246897"/>
                      </a:cubicBezTo>
                      <a:close/>
                      <a:moveTo>
                        <a:pt x="276318" y="1165914"/>
                      </a:moveTo>
                      <a:cubicBezTo>
                        <a:pt x="276318" y="1165914"/>
                        <a:pt x="276318" y="1165914"/>
                        <a:pt x="329546" y="1185317"/>
                      </a:cubicBezTo>
                      <a:cubicBezTo>
                        <a:pt x="336270" y="1187535"/>
                        <a:pt x="341312" y="1194187"/>
                        <a:pt x="341312" y="1200839"/>
                      </a:cubicBezTo>
                      <a:cubicBezTo>
                        <a:pt x="341312" y="1200839"/>
                        <a:pt x="341312" y="1200839"/>
                        <a:pt x="341312" y="1328898"/>
                      </a:cubicBezTo>
                      <a:cubicBezTo>
                        <a:pt x="341312" y="1334996"/>
                        <a:pt x="336270" y="1338322"/>
                        <a:pt x="329546" y="1336105"/>
                      </a:cubicBezTo>
                      <a:cubicBezTo>
                        <a:pt x="329546" y="1336105"/>
                        <a:pt x="329546" y="1336105"/>
                        <a:pt x="276318" y="1316702"/>
                      </a:cubicBezTo>
                      <a:cubicBezTo>
                        <a:pt x="270155" y="1314484"/>
                        <a:pt x="265112" y="1307832"/>
                        <a:pt x="265112" y="1301734"/>
                      </a:cubicBezTo>
                      <a:cubicBezTo>
                        <a:pt x="265112" y="1301734"/>
                        <a:pt x="265112" y="1301734"/>
                        <a:pt x="265112" y="1173121"/>
                      </a:cubicBezTo>
                      <a:cubicBezTo>
                        <a:pt x="265112" y="1167023"/>
                        <a:pt x="270155" y="1163697"/>
                        <a:pt x="276318" y="1165914"/>
                      </a:cubicBezTo>
                      <a:close/>
                      <a:moveTo>
                        <a:pt x="188854" y="1134164"/>
                      </a:moveTo>
                      <a:cubicBezTo>
                        <a:pt x="188854" y="1134164"/>
                        <a:pt x="188854" y="1134164"/>
                        <a:pt x="241359" y="1153567"/>
                      </a:cubicBezTo>
                      <a:cubicBezTo>
                        <a:pt x="247439" y="1155785"/>
                        <a:pt x="252413" y="1162437"/>
                        <a:pt x="252413" y="1169089"/>
                      </a:cubicBezTo>
                      <a:cubicBezTo>
                        <a:pt x="252413" y="1169089"/>
                        <a:pt x="252413" y="1169089"/>
                        <a:pt x="252413" y="1297148"/>
                      </a:cubicBezTo>
                      <a:cubicBezTo>
                        <a:pt x="252413" y="1303246"/>
                        <a:pt x="247439" y="1306572"/>
                        <a:pt x="241359" y="1304355"/>
                      </a:cubicBezTo>
                      <a:cubicBezTo>
                        <a:pt x="241359" y="1304355"/>
                        <a:pt x="241359" y="1304355"/>
                        <a:pt x="188854" y="1284952"/>
                      </a:cubicBezTo>
                      <a:cubicBezTo>
                        <a:pt x="182774" y="1282734"/>
                        <a:pt x="177800" y="1276082"/>
                        <a:pt x="177800" y="1269984"/>
                      </a:cubicBezTo>
                      <a:cubicBezTo>
                        <a:pt x="177800" y="1269984"/>
                        <a:pt x="177800" y="1269984"/>
                        <a:pt x="177800" y="1141371"/>
                      </a:cubicBezTo>
                      <a:cubicBezTo>
                        <a:pt x="177800" y="1135273"/>
                        <a:pt x="182774" y="1131947"/>
                        <a:pt x="188854" y="1134164"/>
                      </a:cubicBezTo>
                      <a:close/>
                      <a:moveTo>
                        <a:pt x="99873" y="1100847"/>
                      </a:moveTo>
                      <a:cubicBezTo>
                        <a:pt x="99873" y="1100847"/>
                        <a:pt x="99873" y="1100847"/>
                        <a:pt x="151992" y="1120426"/>
                      </a:cubicBezTo>
                      <a:cubicBezTo>
                        <a:pt x="158576" y="1122663"/>
                        <a:pt x="163513" y="1129376"/>
                        <a:pt x="163513" y="1136089"/>
                      </a:cubicBezTo>
                      <a:cubicBezTo>
                        <a:pt x="163513" y="1136089"/>
                        <a:pt x="163513" y="1136089"/>
                        <a:pt x="163513" y="1265312"/>
                      </a:cubicBezTo>
                      <a:cubicBezTo>
                        <a:pt x="163513" y="1271466"/>
                        <a:pt x="158576" y="1274822"/>
                        <a:pt x="151992" y="1272585"/>
                      </a:cubicBezTo>
                      <a:cubicBezTo>
                        <a:pt x="151992" y="1272585"/>
                        <a:pt x="151992" y="1272585"/>
                        <a:pt x="99873" y="1253005"/>
                      </a:cubicBezTo>
                      <a:cubicBezTo>
                        <a:pt x="93838" y="1250768"/>
                        <a:pt x="88900" y="1244055"/>
                        <a:pt x="88900" y="1237342"/>
                      </a:cubicBezTo>
                      <a:cubicBezTo>
                        <a:pt x="88900" y="1237342"/>
                        <a:pt x="88900" y="1237342"/>
                        <a:pt x="88900" y="1108119"/>
                      </a:cubicBezTo>
                      <a:cubicBezTo>
                        <a:pt x="88900" y="1101965"/>
                        <a:pt x="93838" y="1098609"/>
                        <a:pt x="99873" y="1100847"/>
                      </a:cubicBezTo>
                      <a:close/>
                      <a:moveTo>
                        <a:pt x="11054" y="1069076"/>
                      </a:moveTo>
                      <a:cubicBezTo>
                        <a:pt x="11054" y="1069076"/>
                        <a:pt x="11054" y="1069076"/>
                        <a:pt x="63559" y="1088479"/>
                      </a:cubicBezTo>
                      <a:cubicBezTo>
                        <a:pt x="69639" y="1090697"/>
                        <a:pt x="74613" y="1097349"/>
                        <a:pt x="74613" y="1104001"/>
                      </a:cubicBezTo>
                      <a:cubicBezTo>
                        <a:pt x="74613" y="1104001"/>
                        <a:pt x="74613" y="1104001"/>
                        <a:pt x="74613" y="1232060"/>
                      </a:cubicBezTo>
                      <a:cubicBezTo>
                        <a:pt x="74613" y="1238158"/>
                        <a:pt x="69639" y="1241484"/>
                        <a:pt x="63559" y="1239266"/>
                      </a:cubicBezTo>
                      <a:cubicBezTo>
                        <a:pt x="63559" y="1239266"/>
                        <a:pt x="63559" y="1239266"/>
                        <a:pt x="11054" y="1219864"/>
                      </a:cubicBezTo>
                      <a:cubicBezTo>
                        <a:pt x="4974" y="1217646"/>
                        <a:pt x="0" y="1210994"/>
                        <a:pt x="0" y="1204341"/>
                      </a:cubicBezTo>
                      <a:cubicBezTo>
                        <a:pt x="0" y="1204341"/>
                        <a:pt x="0" y="1204341"/>
                        <a:pt x="0" y="1076283"/>
                      </a:cubicBezTo>
                      <a:cubicBezTo>
                        <a:pt x="0" y="1070185"/>
                        <a:pt x="4974" y="1066859"/>
                        <a:pt x="11054" y="1069076"/>
                      </a:cubicBezTo>
                      <a:close/>
                      <a:moveTo>
                        <a:pt x="276318" y="988114"/>
                      </a:moveTo>
                      <a:cubicBezTo>
                        <a:pt x="276318" y="988114"/>
                        <a:pt x="276318" y="988114"/>
                        <a:pt x="329546" y="1007517"/>
                      </a:cubicBezTo>
                      <a:cubicBezTo>
                        <a:pt x="336270" y="1009735"/>
                        <a:pt x="341312" y="1016387"/>
                        <a:pt x="341312" y="1023039"/>
                      </a:cubicBezTo>
                      <a:cubicBezTo>
                        <a:pt x="341312" y="1023039"/>
                        <a:pt x="341312" y="1023039"/>
                        <a:pt x="341312" y="1151098"/>
                      </a:cubicBezTo>
                      <a:cubicBezTo>
                        <a:pt x="341312" y="1157196"/>
                        <a:pt x="336270" y="1160522"/>
                        <a:pt x="329546" y="1158304"/>
                      </a:cubicBezTo>
                      <a:cubicBezTo>
                        <a:pt x="329546" y="1158304"/>
                        <a:pt x="329546" y="1158304"/>
                        <a:pt x="276318" y="1138902"/>
                      </a:cubicBezTo>
                      <a:cubicBezTo>
                        <a:pt x="270155" y="1136684"/>
                        <a:pt x="265112" y="1130032"/>
                        <a:pt x="265112" y="1123379"/>
                      </a:cubicBezTo>
                      <a:cubicBezTo>
                        <a:pt x="265112" y="1123379"/>
                        <a:pt x="265112" y="1123379"/>
                        <a:pt x="265112" y="995321"/>
                      </a:cubicBezTo>
                      <a:cubicBezTo>
                        <a:pt x="265112" y="989223"/>
                        <a:pt x="270155" y="985897"/>
                        <a:pt x="276318" y="988114"/>
                      </a:cubicBezTo>
                      <a:close/>
                      <a:moveTo>
                        <a:pt x="188854" y="956364"/>
                      </a:moveTo>
                      <a:cubicBezTo>
                        <a:pt x="188854" y="956364"/>
                        <a:pt x="188854" y="956364"/>
                        <a:pt x="241359" y="975767"/>
                      </a:cubicBezTo>
                      <a:cubicBezTo>
                        <a:pt x="247439" y="977985"/>
                        <a:pt x="252413" y="984637"/>
                        <a:pt x="252413" y="990735"/>
                      </a:cubicBezTo>
                      <a:cubicBezTo>
                        <a:pt x="252413" y="990735"/>
                        <a:pt x="252413" y="990735"/>
                        <a:pt x="252413" y="1119348"/>
                      </a:cubicBezTo>
                      <a:cubicBezTo>
                        <a:pt x="252413" y="1125446"/>
                        <a:pt x="247439" y="1128772"/>
                        <a:pt x="241359" y="1126554"/>
                      </a:cubicBezTo>
                      <a:cubicBezTo>
                        <a:pt x="241359" y="1126554"/>
                        <a:pt x="241359" y="1126554"/>
                        <a:pt x="188854" y="1107152"/>
                      </a:cubicBezTo>
                      <a:cubicBezTo>
                        <a:pt x="182774" y="1104934"/>
                        <a:pt x="177800" y="1098282"/>
                        <a:pt x="177800" y="1091629"/>
                      </a:cubicBezTo>
                      <a:cubicBezTo>
                        <a:pt x="177800" y="1091629"/>
                        <a:pt x="177800" y="1091629"/>
                        <a:pt x="177800" y="963571"/>
                      </a:cubicBezTo>
                      <a:cubicBezTo>
                        <a:pt x="177800" y="957473"/>
                        <a:pt x="182774" y="954147"/>
                        <a:pt x="188854" y="956364"/>
                      </a:cubicBezTo>
                      <a:close/>
                      <a:moveTo>
                        <a:pt x="99873" y="923047"/>
                      </a:moveTo>
                      <a:cubicBezTo>
                        <a:pt x="99873" y="923047"/>
                        <a:pt x="99873" y="923047"/>
                        <a:pt x="151992" y="942626"/>
                      </a:cubicBezTo>
                      <a:cubicBezTo>
                        <a:pt x="158576" y="944863"/>
                        <a:pt x="163513" y="951576"/>
                        <a:pt x="163513" y="957730"/>
                      </a:cubicBezTo>
                      <a:cubicBezTo>
                        <a:pt x="163513" y="957730"/>
                        <a:pt x="163513" y="957730"/>
                        <a:pt x="163513" y="1087512"/>
                      </a:cubicBezTo>
                      <a:cubicBezTo>
                        <a:pt x="163513" y="1093665"/>
                        <a:pt x="158576" y="1097022"/>
                        <a:pt x="151992" y="1094784"/>
                      </a:cubicBezTo>
                      <a:cubicBezTo>
                        <a:pt x="151992" y="1094784"/>
                        <a:pt x="151992" y="1094784"/>
                        <a:pt x="99873" y="1075205"/>
                      </a:cubicBezTo>
                      <a:cubicBezTo>
                        <a:pt x="93838" y="1072967"/>
                        <a:pt x="88900" y="1066255"/>
                        <a:pt x="88900" y="1059542"/>
                      </a:cubicBezTo>
                      <a:cubicBezTo>
                        <a:pt x="88900" y="1059542"/>
                        <a:pt x="88900" y="1059542"/>
                        <a:pt x="88900" y="930319"/>
                      </a:cubicBezTo>
                      <a:cubicBezTo>
                        <a:pt x="88900" y="924165"/>
                        <a:pt x="93838" y="920809"/>
                        <a:pt x="99873" y="923047"/>
                      </a:cubicBezTo>
                      <a:close/>
                      <a:moveTo>
                        <a:pt x="11054" y="891276"/>
                      </a:moveTo>
                      <a:cubicBezTo>
                        <a:pt x="11054" y="891276"/>
                        <a:pt x="11054" y="891276"/>
                        <a:pt x="63559" y="910679"/>
                      </a:cubicBezTo>
                      <a:cubicBezTo>
                        <a:pt x="69639" y="912897"/>
                        <a:pt x="74613" y="919549"/>
                        <a:pt x="74613" y="925647"/>
                      </a:cubicBezTo>
                      <a:cubicBezTo>
                        <a:pt x="74613" y="925647"/>
                        <a:pt x="74613" y="925647"/>
                        <a:pt x="74613" y="1054260"/>
                      </a:cubicBezTo>
                      <a:cubicBezTo>
                        <a:pt x="74613" y="1060358"/>
                        <a:pt x="69639" y="1063684"/>
                        <a:pt x="63559" y="1061466"/>
                      </a:cubicBezTo>
                      <a:cubicBezTo>
                        <a:pt x="63559" y="1061466"/>
                        <a:pt x="63559" y="1061466"/>
                        <a:pt x="11054" y="1042064"/>
                      </a:cubicBezTo>
                      <a:cubicBezTo>
                        <a:pt x="4974" y="1039846"/>
                        <a:pt x="0" y="1032639"/>
                        <a:pt x="0" y="1026541"/>
                      </a:cubicBezTo>
                      <a:cubicBezTo>
                        <a:pt x="0" y="1026541"/>
                        <a:pt x="0" y="1026541"/>
                        <a:pt x="0" y="898483"/>
                      </a:cubicBezTo>
                      <a:cubicBezTo>
                        <a:pt x="0" y="892385"/>
                        <a:pt x="4974" y="889059"/>
                        <a:pt x="11054" y="891276"/>
                      </a:cubicBezTo>
                      <a:close/>
                      <a:moveTo>
                        <a:pt x="276318" y="810314"/>
                      </a:moveTo>
                      <a:cubicBezTo>
                        <a:pt x="276318" y="810314"/>
                        <a:pt x="276318" y="810314"/>
                        <a:pt x="329546" y="829717"/>
                      </a:cubicBezTo>
                      <a:cubicBezTo>
                        <a:pt x="336270" y="831935"/>
                        <a:pt x="341312" y="838587"/>
                        <a:pt x="341312" y="844685"/>
                      </a:cubicBezTo>
                      <a:cubicBezTo>
                        <a:pt x="341312" y="844685"/>
                        <a:pt x="341312" y="844685"/>
                        <a:pt x="341312" y="973298"/>
                      </a:cubicBezTo>
                      <a:cubicBezTo>
                        <a:pt x="341312" y="979396"/>
                        <a:pt x="336270" y="982722"/>
                        <a:pt x="329546" y="980504"/>
                      </a:cubicBezTo>
                      <a:cubicBezTo>
                        <a:pt x="329546" y="980504"/>
                        <a:pt x="329546" y="980504"/>
                        <a:pt x="276318" y="961102"/>
                      </a:cubicBezTo>
                      <a:cubicBezTo>
                        <a:pt x="270155" y="958884"/>
                        <a:pt x="265112" y="951677"/>
                        <a:pt x="265112" y="945579"/>
                      </a:cubicBezTo>
                      <a:cubicBezTo>
                        <a:pt x="265112" y="945579"/>
                        <a:pt x="265112" y="945579"/>
                        <a:pt x="265112" y="817521"/>
                      </a:cubicBezTo>
                      <a:cubicBezTo>
                        <a:pt x="265112" y="811423"/>
                        <a:pt x="270155" y="808097"/>
                        <a:pt x="276318" y="810314"/>
                      </a:cubicBezTo>
                      <a:close/>
                      <a:moveTo>
                        <a:pt x="188854" y="776997"/>
                      </a:moveTo>
                      <a:cubicBezTo>
                        <a:pt x="188854" y="776997"/>
                        <a:pt x="188854" y="776997"/>
                        <a:pt x="241359" y="796576"/>
                      </a:cubicBezTo>
                      <a:cubicBezTo>
                        <a:pt x="247439" y="798813"/>
                        <a:pt x="252413" y="805526"/>
                        <a:pt x="252413" y="811680"/>
                      </a:cubicBezTo>
                      <a:cubicBezTo>
                        <a:pt x="252413" y="811680"/>
                        <a:pt x="252413" y="811680"/>
                        <a:pt x="252413" y="941462"/>
                      </a:cubicBezTo>
                      <a:cubicBezTo>
                        <a:pt x="252413" y="947615"/>
                        <a:pt x="247439" y="950972"/>
                        <a:pt x="241359" y="948175"/>
                      </a:cubicBezTo>
                      <a:cubicBezTo>
                        <a:pt x="241359" y="948175"/>
                        <a:pt x="241359" y="948175"/>
                        <a:pt x="188854" y="929155"/>
                      </a:cubicBezTo>
                      <a:cubicBezTo>
                        <a:pt x="182774" y="926917"/>
                        <a:pt x="177800" y="919645"/>
                        <a:pt x="177800" y="913492"/>
                      </a:cubicBezTo>
                      <a:cubicBezTo>
                        <a:pt x="177800" y="913492"/>
                        <a:pt x="177800" y="913492"/>
                        <a:pt x="177800" y="784269"/>
                      </a:cubicBezTo>
                      <a:cubicBezTo>
                        <a:pt x="177800" y="778115"/>
                        <a:pt x="182774" y="774759"/>
                        <a:pt x="188854" y="776997"/>
                      </a:cubicBezTo>
                      <a:close/>
                      <a:moveTo>
                        <a:pt x="99873" y="745247"/>
                      </a:moveTo>
                      <a:cubicBezTo>
                        <a:pt x="99873" y="745247"/>
                        <a:pt x="99873" y="745247"/>
                        <a:pt x="151992" y="764826"/>
                      </a:cubicBezTo>
                      <a:cubicBezTo>
                        <a:pt x="158576" y="767063"/>
                        <a:pt x="163513" y="773776"/>
                        <a:pt x="163513" y="779930"/>
                      </a:cubicBezTo>
                      <a:cubicBezTo>
                        <a:pt x="163513" y="779930"/>
                        <a:pt x="163513" y="779930"/>
                        <a:pt x="163513" y="909712"/>
                      </a:cubicBezTo>
                      <a:cubicBezTo>
                        <a:pt x="163513" y="915865"/>
                        <a:pt x="158576" y="919222"/>
                        <a:pt x="151992" y="916425"/>
                      </a:cubicBezTo>
                      <a:cubicBezTo>
                        <a:pt x="151992" y="916425"/>
                        <a:pt x="151992" y="916425"/>
                        <a:pt x="99873" y="897405"/>
                      </a:cubicBezTo>
                      <a:cubicBezTo>
                        <a:pt x="93838" y="895167"/>
                        <a:pt x="88900" y="887895"/>
                        <a:pt x="88900" y="881742"/>
                      </a:cubicBezTo>
                      <a:cubicBezTo>
                        <a:pt x="88900" y="881742"/>
                        <a:pt x="88900" y="881742"/>
                        <a:pt x="88900" y="752519"/>
                      </a:cubicBezTo>
                      <a:cubicBezTo>
                        <a:pt x="88900" y="746365"/>
                        <a:pt x="93838" y="743009"/>
                        <a:pt x="99873" y="745247"/>
                      </a:cubicBezTo>
                      <a:close/>
                      <a:moveTo>
                        <a:pt x="11054" y="713483"/>
                      </a:moveTo>
                      <a:cubicBezTo>
                        <a:pt x="11054" y="713483"/>
                        <a:pt x="11054" y="713483"/>
                        <a:pt x="63559" y="732948"/>
                      </a:cubicBezTo>
                      <a:cubicBezTo>
                        <a:pt x="69639" y="735172"/>
                        <a:pt x="74613" y="741846"/>
                        <a:pt x="74613" y="747963"/>
                      </a:cubicBezTo>
                      <a:cubicBezTo>
                        <a:pt x="74613" y="747963"/>
                        <a:pt x="74613" y="747963"/>
                        <a:pt x="74613" y="876430"/>
                      </a:cubicBezTo>
                      <a:cubicBezTo>
                        <a:pt x="74613" y="883103"/>
                        <a:pt x="69639" y="885884"/>
                        <a:pt x="63559" y="883659"/>
                      </a:cubicBezTo>
                      <a:cubicBezTo>
                        <a:pt x="63559" y="883659"/>
                        <a:pt x="63559" y="883659"/>
                        <a:pt x="11054" y="864751"/>
                      </a:cubicBezTo>
                      <a:cubicBezTo>
                        <a:pt x="4974" y="862526"/>
                        <a:pt x="0" y="855297"/>
                        <a:pt x="0" y="849179"/>
                      </a:cubicBezTo>
                      <a:cubicBezTo>
                        <a:pt x="0" y="849179"/>
                        <a:pt x="0" y="849179"/>
                        <a:pt x="0" y="720713"/>
                      </a:cubicBezTo>
                      <a:cubicBezTo>
                        <a:pt x="0" y="714596"/>
                        <a:pt x="4974" y="711259"/>
                        <a:pt x="11054" y="713483"/>
                      </a:cubicBezTo>
                      <a:close/>
                      <a:moveTo>
                        <a:pt x="276318" y="632521"/>
                      </a:moveTo>
                      <a:cubicBezTo>
                        <a:pt x="276318" y="632521"/>
                        <a:pt x="276318" y="632521"/>
                        <a:pt x="329546" y="651986"/>
                      </a:cubicBezTo>
                      <a:cubicBezTo>
                        <a:pt x="336270" y="654210"/>
                        <a:pt x="341312" y="660884"/>
                        <a:pt x="341312" y="667001"/>
                      </a:cubicBezTo>
                      <a:cubicBezTo>
                        <a:pt x="341312" y="667001"/>
                        <a:pt x="341312" y="667001"/>
                        <a:pt x="341312" y="795468"/>
                      </a:cubicBezTo>
                      <a:cubicBezTo>
                        <a:pt x="341312" y="802141"/>
                        <a:pt x="336270" y="804922"/>
                        <a:pt x="329546" y="802697"/>
                      </a:cubicBezTo>
                      <a:cubicBezTo>
                        <a:pt x="329546" y="802697"/>
                        <a:pt x="329546" y="802697"/>
                        <a:pt x="276318" y="783789"/>
                      </a:cubicBezTo>
                      <a:cubicBezTo>
                        <a:pt x="270155" y="781564"/>
                        <a:pt x="265112" y="774335"/>
                        <a:pt x="265112" y="768217"/>
                      </a:cubicBezTo>
                      <a:cubicBezTo>
                        <a:pt x="265112" y="768217"/>
                        <a:pt x="265112" y="768217"/>
                        <a:pt x="265112" y="639751"/>
                      </a:cubicBezTo>
                      <a:cubicBezTo>
                        <a:pt x="265112" y="633634"/>
                        <a:pt x="270155" y="630297"/>
                        <a:pt x="276318" y="632521"/>
                      </a:cubicBezTo>
                      <a:close/>
                      <a:moveTo>
                        <a:pt x="188854" y="599183"/>
                      </a:moveTo>
                      <a:cubicBezTo>
                        <a:pt x="188854" y="599183"/>
                        <a:pt x="188854" y="599183"/>
                        <a:pt x="241359" y="618648"/>
                      </a:cubicBezTo>
                      <a:cubicBezTo>
                        <a:pt x="247439" y="620872"/>
                        <a:pt x="252413" y="627546"/>
                        <a:pt x="252413" y="633663"/>
                      </a:cubicBezTo>
                      <a:cubicBezTo>
                        <a:pt x="252413" y="633663"/>
                        <a:pt x="252413" y="633663"/>
                        <a:pt x="252413" y="762130"/>
                      </a:cubicBezTo>
                      <a:cubicBezTo>
                        <a:pt x="252413" y="768803"/>
                        <a:pt x="247439" y="771584"/>
                        <a:pt x="241359" y="769359"/>
                      </a:cubicBezTo>
                      <a:cubicBezTo>
                        <a:pt x="241359" y="769359"/>
                        <a:pt x="241359" y="769359"/>
                        <a:pt x="188854" y="750451"/>
                      </a:cubicBezTo>
                      <a:cubicBezTo>
                        <a:pt x="182774" y="748226"/>
                        <a:pt x="177800" y="740997"/>
                        <a:pt x="177800" y="734879"/>
                      </a:cubicBezTo>
                      <a:cubicBezTo>
                        <a:pt x="177800" y="734879"/>
                        <a:pt x="177800" y="734879"/>
                        <a:pt x="177800" y="606413"/>
                      </a:cubicBezTo>
                      <a:cubicBezTo>
                        <a:pt x="177800" y="600296"/>
                        <a:pt x="182774" y="596959"/>
                        <a:pt x="188854" y="599183"/>
                      </a:cubicBezTo>
                      <a:close/>
                      <a:moveTo>
                        <a:pt x="99873" y="567433"/>
                      </a:moveTo>
                      <a:cubicBezTo>
                        <a:pt x="99873" y="567433"/>
                        <a:pt x="99873" y="567433"/>
                        <a:pt x="151992" y="586342"/>
                      </a:cubicBezTo>
                      <a:cubicBezTo>
                        <a:pt x="158576" y="589122"/>
                        <a:pt x="163513" y="595796"/>
                        <a:pt x="163513" y="601913"/>
                      </a:cubicBezTo>
                      <a:cubicBezTo>
                        <a:pt x="163513" y="601913"/>
                        <a:pt x="163513" y="601913"/>
                        <a:pt x="163513" y="730380"/>
                      </a:cubicBezTo>
                      <a:cubicBezTo>
                        <a:pt x="163513" y="737053"/>
                        <a:pt x="158576" y="739834"/>
                        <a:pt x="151992" y="737609"/>
                      </a:cubicBezTo>
                      <a:cubicBezTo>
                        <a:pt x="151992" y="737609"/>
                        <a:pt x="151992" y="737609"/>
                        <a:pt x="99873" y="718701"/>
                      </a:cubicBezTo>
                      <a:cubicBezTo>
                        <a:pt x="93838" y="716476"/>
                        <a:pt x="88900" y="709247"/>
                        <a:pt x="88900" y="703129"/>
                      </a:cubicBezTo>
                      <a:cubicBezTo>
                        <a:pt x="88900" y="703129"/>
                        <a:pt x="88900" y="703129"/>
                        <a:pt x="88900" y="574663"/>
                      </a:cubicBezTo>
                      <a:cubicBezTo>
                        <a:pt x="88900" y="568546"/>
                        <a:pt x="93838" y="565209"/>
                        <a:pt x="99873" y="567433"/>
                      </a:cubicBezTo>
                      <a:close/>
                      <a:moveTo>
                        <a:pt x="11054" y="535683"/>
                      </a:moveTo>
                      <a:cubicBezTo>
                        <a:pt x="11054" y="535683"/>
                        <a:pt x="11054" y="535683"/>
                        <a:pt x="63559" y="554592"/>
                      </a:cubicBezTo>
                      <a:cubicBezTo>
                        <a:pt x="69639" y="556816"/>
                        <a:pt x="74613" y="564046"/>
                        <a:pt x="74613" y="570163"/>
                      </a:cubicBezTo>
                      <a:cubicBezTo>
                        <a:pt x="74613" y="570163"/>
                        <a:pt x="74613" y="570163"/>
                        <a:pt x="74613" y="698630"/>
                      </a:cubicBezTo>
                      <a:cubicBezTo>
                        <a:pt x="74613" y="705303"/>
                        <a:pt x="69639" y="708084"/>
                        <a:pt x="63559" y="705859"/>
                      </a:cubicBezTo>
                      <a:cubicBezTo>
                        <a:pt x="63559" y="705859"/>
                        <a:pt x="63559" y="705859"/>
                        <a:pt x="11054" y="686951"/>
                      </a:cubicBezTo>
                      <a:cubicBezTo>
                        <a:pt x="4974" y="684726"/>
                        <a:pt x="0" y="677497"/>
                        <a:pt x="0" y="671379"/>
                      </a:cubicBezTo>
                      <a:cubicBezTo>
                        <a:pt x="0" y="671379"/>
                        <a:pt x="0" y="671379"/>
                        <a:pt x="0" y="542913"/>
                      </a:cubicBezTo>
                      <a:cubicBezTo>
                        <a:pt x="0" y="536796"/>
                        <a:pt x="4974" y="533459"/>
                        <a:pt x="11054" y="535683"/>
                      </a:cubicBezTo>
                      <a:close/>
                      <a:moveTo>
                        <a:pt x="276318" y="453154"/>
                      </a:moveTo>
                      <a:cubicBezTo>
                        <a:pt x="276318" y="453154"/>
                        <a:pt x="276318" y="453154"/>
                        <a:pt x="329546" y="472234"/>
                      </a:cubicBezTo>
                      <a:cubicBezTo>
                        <a:pt x="336270" y="474479"/>
                        <a:pt x="341312" y="481774"/>
                        <a:pt x="341312" y="487947"/>
                      </a:cubicBezTo>
                      <a:cubicBezTo>
                        <a:pt x="341312" y="487947"/>
                        <a:pt x="341312" y="487947"/>
                        <a:pt x="341312" y="617582"/>
                      </a:cubicBezTo>
                      <a:cubicBezTo>
                        <a:pt x="341312" y="624316"/>
                        <a:pt x="336270" y="627122"/>
                        <a:pt x="329546" y="624877"/>
                      </a:cubicBezTo>
                      <a:cubicBezTo>
                        <a:pt x="329546" y="624877"/>
                        <a:pt x="329546" y="624877"/>
                        <a:pt x="276318" y="605797"/>
                      </a:cubicBezTo>
                      <a:cubicBezTo>
                        <a:pt x="270155" y="603552"/>
                        <a:pt x="265112" y="596257"/>
                        <a:pt x="265112" y="590083"/>
                      </a:cubicBezTo>
                      <a:cubicBezTo>
                        <a:pt x="265112" y="590083"/>
                        <a:pt x="265112" y="590083"/>
                        <a:pt x="265112" y="460449"/>
                      </a:cubicBezTo>
                      <a:cubicBezTo>
                        <a:pt x="265112" y="454276"/>
                        <a:pt x="270155" y="450909"/>
                        <a:pt x="276318" y="453154"/>
                      </a:cubicBezTo>
                      <a:close/>
                      <a:moveTo>
                        <a:pt x="188854" y="421383"/>
                      </a:moveTo>
                      <a:cubicBezTo>
                        <a:pt x="188854" y="421383"/>
                        <a:pt x="188854" y="421383"/>
                        <a:pt x="241359" y="440292"/>
                      </a:cubicBezTo>
                      <a:cubicBezTo>
                        <a:pt x="247439" y="442516"/>
                        <a:pt x="252413" y="449746"/>
                        <a:pt x="252413" y="455863"/>
                      </a:cubicBezTo>
                      <a:cubicBezTo>
                        <a:pt x="252413" y="455863"/>
                        <a:pt x="252413" y="455863"/>
                        <a:pt x="252413" y="584330"/>
                      </a:cubicBezTo>
                      <a:cubicBezTo>
                        <a:pt x="252413" y="590447"/>
                        <a:pt x="247439" y="593784"/>
                        <a:pt x="241359" y="591559"/>
                      </a:cubicBezTo>
                      <a:cubicBezTo>
                        <a:pt x="241359" y="591559"/>
                        <a:pt x="241359" y="591559"/>
                        <a:pt x="188854" y="572651"/>
                      </a:cubicBezTo>
                      <a:cubicBezTo>
                        <a:pt x="182774" y="570426"/>
                        <a:pt x="177800" y="563197"/>
                        <a:pt x="177800" y="557079"/>
                      </a:cubicBezTo>
                      <a:cubicBezTo>
                        <a:pt x="177800" y="557079"/>
                        <a:pt x="177800" y="557079"/>
                        <a:pt x="177800" y="428613"/>
                      </a:cubicBezTo>
                      <a:cubicBezTo>
                        <a:pt x="177800" y="421940"/>
                        <a:pt x="182774" y="419159"/>
                        <a:pt x="188854" y="421383"/>
                      </a:cubicBezTo>
                      <a:close/>
                      <a:moveTo>
                        <a:pt x="99873" y="389633"/>
                      </a:moveTo>
                      <a:cubicBezTo>
                        <a:pt x="99873" y="389633"/>
                        <a:pt x="99873" y="389633"/>
                        <a:pt x="151992" y="408542"/>
                      </a:cubicBezTo>
                      <a:cubicBezTo>
                        <a:pt x="158576" y="410766"/>
                        <a:pt x="163513" y="417996"/>
                        <a:pt x="163513" y="424113"/>
                      </a:cubicBezTo>
                      <a:cubicBezTo>
                        <a:pt x="163513" y="424113"/>
                        <a:pt x="163513" y="424113"/>
                        <a:pt x="163513" y="552580"/>
                      </a:cubicBezTo>
                      <a:cubicBezTo>
                        <a:pt x="163513" y="558697"/>
                        <a:pt x="158576" y="562034"/>
                        <a:pt x="151992" y="559809"/>
                      </a:cubicBezTo>
                      <a:cubicBezTo>
                        <a:pt x="151992" y="559809"/>
                        <a:pt x="151992" y="559809"/>
                        <a:pt x="99873" y="540901"/>
                      </a:cubicBezTo>
                      <a:cubicBezTo>
                        <a:pt x="93838" y="538120"/>
                        <a:pt x="88900" y="531447"/>
                        <a:pt x="88900" y="525329"/>
                      </a:cubicBezTo>
                      <a:cubicBezTo>
                        <a:pt x="88900" y="525329"/>
                        <a:pt x="88900" y="525329"/>
                        <a:pt x="88900" y="396863"/>
                      </a:cubicBezTo>
                      <a:cubicBezTo>
                        <a:pt x="88900" y="390190"/>
                        <a:pt x="93838" y="387409"/>
                        <a:pt x="99873" y="389633"/>
                      </a:cubicBezTo>
                      <a:close/>
                      <a:moveTo>
                        <a:pt x="11054" y="356317"/>
                      </a:moveTo>
                      <a:cubicBezTo>
                        <a:pt x="11054" y="356317"/>
                        <a:pt x="11054" y="356317"/>
                        <a:pt x="63559" y="375397"/>
                      </a:cubicBezTo>
                      <a:cubicBezTo>
                        <a:pt x="69639" y="377642"/>
                        <a:pt x="74613" y="384937"/>
                        <a:pt x="74613" y="391110"/>
                      </a:cubicBezTo>
                      <a:cubicBezTo>
                        <a:pt x="74613" y="391110"/>
                        <a:pt x="74613" y="391110"/>
                        <a:pt x="74613" y="520745"/>
                      </a:cubicBezTo>
                      <a:cubicBezTo>
                        <a:pt x="74613" y="526918"/>
                        <a:pt x="69639" y="530285"/>
                        <a:pt x="63559" y="528040"/>
                      </a:cubicBezTo>
                      <a:cubicBezTo>
                        <a:pt x="63559" y="528040"/>
                        <a:pt x="63559" y="528040"/>
                        <a:pt x="11054" y="508960"/>
                      </a:cubicBezTo>
                      <a:cubicBezTo>
                        <a:pt x="4974" y="506154"/>
                        <a:pt x="0" y="499420"/>
                        <a:pt x="0" y="493246"/>
                      </a:cubicBezTo>
                      <a:cubicBezTo>
                        <a:pt x="0" y="493246"/>
                        <a:pt x="0" y="493246"/>
                        <a:pt x="0" y="363612"/>
                      </a:cubicBezTo>
                      <a:cubicBezTo>
                        <a:pt x="0" y="356878"/>
                        <a:pt x="4974" y="354072"/>
                        <a:pt x="11054" y="356317"/>
                      </a:cubicBezTo>
                      <a:close/>
                      <a:moveTo>
                        <a:pt x="276318" y="275333"/>
                      </a:moveTo>
                      <a:cubicBezTo>
                        <a:pt x="276318" y="275333"/>
                        <a:pt x="276318" y="275333"/>
                        <a:pt x="329546" y="294242"/>
                      </a:cubicBezTo>
                      <a:cubicBezTo>
                        <a:pt x="336270" y="296466"/>
                        <a:pt x="341312" y="303696"/>
                        <a:pt x="341312" y="309813"/>
                      </a:cubicBezTo>
                      <a:cubicBezTo>
                        <a:pt x="341312" y="309813"/>
                        <a:pt x="341312" y="309813"/>
                        <a:pt x="341312" y="438280"/>
                      </a:cubicBezTo>
                      <a:cubicBezTo>
                        <a:pt x="341312" y="444397"/>
                        <a:pt x="336270" y="447734"/>
                        <a:pt x="329546" y="445509"/>
                      </a:cubicBezTo>
                      <a:cubicBezTo>
                        <a:pt x="329546" y="445509"/>
                        <a:pt x="329546" y="445509"/>
                        <a:pt x="276318" y="426601"/>
                      </a:cubicBezTo>
                      <a:cubicBezTo>
                        <a:pt x="270155" y="423820"/>
                        <a:pt x="265112" y="417147"/>
                        <a:pt x="265112" y="411029"/>
                      </a:cubicBezTo>
                      <a:cubicBezTo>
                        <a:pt x="265112" y="411029"/>
                        <a:pt x="265112" y="411029"/>
                        <a:pt x="265112" y="282563"/>
                      </a:cubicBezTo>
                      <a:cubicBezTo>
                        <a:pt x="265112" y="275890"/>
                        <a:pt x="270155" y="273109"/>
                        <a:pt x="276318" y="275333"/>
                      </a:cubicBezTo>
                      <a:close/>
                      <a:moveTo>
                        <a:pt x="188854" y="243583"/>
                      </a:moveTo>
                      <a:cubicBezTo>
                        <a:pt x="188854" y="243583"/>
                        <a:pt x="188854" y="243583"/>
                        <a:pt x="241359" y="262492"/>
                      </a:cubicBezTo>
                      <a:cubicBezTo>
                        <a:pt x="247439" y="264716"/>
                        <a:pt x="252413" y="271946"/>
                        <a:pt x="252413" y="278063"/>
                      </a:cubicBezTo>
                      <a:cubicBezTo>
                        <a:pt x="252413" y="278063"/>
                        <a:pt x="252413" y="278063"/>
                        <a:pt x="252413" y="406530"/>
                      </a:cubicBezTo>
                      <a:cubicBezTo>
                        <a:pt x="252413" y="412647"/>
                        <a:pt x="247439" y="415984"/>
                        <a:pt x="241359" y="413759"/>
                      </a:cubicBezTo>
                      <a:cubicBezTo>
                        <a:pt x="241359" y="413759"/>
                        <a:pt x="241359" y="413759"/>
                        <a:pt x="188854" y="394295"/>
                      </a:cubicBezTo>
                      <a:cubicBezTo>
                        <a:pt x="182774" y="392070"/>
                        <a:pt x="177800" y="385397"/>
                        <a:pt x="177800" y="379279"/>
                      </a:cubicBezTo>
                      <a:cubicBezTo>
                        <a:pt x="177800" y="379279"/>
                        <a:pt x="177800" y="379279"/>
                        <a:pt x="177800" y="250813"/>
                      </a:cubicBezTo>
                      <a:cubicBezTo>
                        <a:pt x="177800" y="244140"/>
                        <a:pt x="182774" y="241359"/>
                        <a:pt x="188854" y="243583"/>
                      </a:cubicBezTo>
                      <a:close/>
                      <a:moveTo>
                        <a:pt x="99873" y="211833"/>
                      </a:moveTo>
                      <a:cubicBezTo>
                        <a:pt x="99873" y="211833"/>
                        <a:pt x="99873" y="211833"/>
                        <a:pt x="151992" y="230742"/>
                      </a:cubicBezTo>
                      <a:cubicBezTo>
                        <a:pt x="158576" y="232966"/>
                        <a:pt x="163513" y="240196"/>
                        <a:pt x="163513" y="246313"/>
                      </a:cubicBezTo>
                      <a:cubicBezTo>
                        <a:pt x="163513" y="246313"/>
                        <a:pt x="163513" y="246313"/>
                        <a:pt x="163513" y="374780"/>
                      </a:cubicBezTo>
                      <a:cubicBezTo>
                        <a:pt x="163513" y="380897"/>
                        <a:pt x="158576" y="384234"/>
                        <a:pt x="151992" y="382009"/>
                      </a:cubicBezTo>
                      <a:cubicBezTo>
                        <a:pt x="151992" y="382009"/>
                        <a:pt x="151992" y="382009"/>
                        <a:pt x="99873" y="362545"/>
                      </a:cubicBezTo>
                      <a:cubicBezTo>
                        <a:pt x="93838" y="360320"/>
                        <a:pt x="88900" y="353647"/>
                        <a:pt x="88900" y="347529"/>
                      </a:cubicBezTo>
                      <a:cubicBezTo>
                        <a:pt x="88900" y="347529"/>
                        <a:pt x="88900" y="347529"/>
                        <a:pt x="88900" y="219063"/>
                      </a:cubicBezTo>
                      <a:cubicBezTo>
                        <a:pt x="88900" y="212390"/>
                        <a:pt x="93838" y="209609"/>
                        <a:pt x="99873" y="211833"/>
                      </a:cubicBezTo>
                      <a:close/>
                      <a:moveTo>
                        <a:pt x="11054" y="179044"/>
                      </a:moveTo>
                      <a:cubicBezTo>
                        <a:pt x="11054" y="179044"/>
                        <a:pt x="11054" y="179044"/>
                        <a:pt x="63559" y="197892"/>
                      </a:cubicBezTo>
                      <a:cubicBezTo>
                        <a:pt x="69639" y="200110"/>
                        <a:pt x="74613" y="207316"/>
                        <a:pt x="74613" y="213414"/>
                      </a:cubicBezTo>
                      <a:cubicBezTo>
                        <a:pt x="74613" y="213414"/>
                        <a:pt x="74613" y="213414"/>
                        <a:pt x="74613" y="341473"/>
                      </a:cubicBezTo>
                      <a:cubicBezTo>
                        <a:pt x="74613" y="347571"/>
                        <a:pt x="69639" y="350897"/>
                        <a:pt x="63559" y="348679"/>
                      </a:cubicBezTo>
                      <a:cubicBezTo>
                        <a:pt x="63559" y="348679"/>
                        <a:pt x="63559" y="348679"/>
                        <a:pt x="11054" y="329277"/>
                      </a:cubicBezTo>
                      <a:cubicBezTo>
                        <a:pt x="4974" y="327059"/>
                        <a:pt x="0" y="320407"/>
                        <a:pt x="0" y="314309"/>
                      </a:cubicBezTo>
                      <a:cubicBezTo>
                        <a:pt x="0" y="314309"/>
                        <a:pt x="0" y="314309"/>
                        <a:pt x="0" y="185696"/>
                      </a:cubicBezTo>
                      <a:cubicBezTo>
                        <a:pt x="0" y="179598"/>
                        <a:pt x="4974" y="176272"/>
                        <a:pt x="11054" y="179044"/>
                      </a:cubicBezTo>
                      <a:close/>
                      <a:moveTo>
                        <a:pt x="276318" y="98081"/>
                      </a:moveTo>
                      <a:cubicBezTo>
                        <a:pt x="276318" y="98081"/>
                        <a:pt x="276318" y="98081"/>
                        <a:pt x="329546" y="116929"/>
                      </a:cubicBezTo>
                      <a:cubicBezTo>
                        <a:pt x="336270" y="119147"/>
                        <a:pt x="341312" y="126353"/>
                        <a:pt x="341312" y="132451"/>
                      </a:cubicBezTo>
                      <a:cubicBezTo>
                        <a:pt x="341312" y="132451"/>
                        <a:pt x="341312" y="132451"/>
                        <a:pt x="341312" y="260510"/>
                      </a:cubicBezTo>
                      <a:cubicBezTo>
                        <a:pt x="341312" y="266608"/>
                        <a:pt x="336270" y="269934"/>
                        <a:pt x="329546" y="267716"/>
                      </a:cubicBezTo>
                      <a:cubicBezTo>
                        <a:pt x="329546" y="267716"/>
                        <a:pt x="329546" y="267716"/>
                        <a:pt x="276318" y="248314"/>
                      </a:cubicBezTo>
                      <a:cubicBezTo>
                        <a:pt x="270155" y="246096"/>
                        <a:pt x="265112" y="239444"/>
                        <a:pt x="265112" y="233346"/>
                      </a:cubicBezTo>
                      <a:cubicBezTo>
                        <a:pt x="265112" y="233346"/>
                        <a:pt x="265112" y="233346"/>
                        <a:pt x="265112" y="104733"/>
                      </a:cubicBezTo>
                      <a:cubicBezTo>
                        <a:pt x="265112" y="98635"/>
                        <a:pt x="270155" y="95309"/>
                        <a:pt x="276318" y="98081"/>
                      </a:cubicBezTo>
                      <a:close/>
                      <a:moveTo>
                        <a:pt x="188854" y="66331"/>
                      </a:moveTo>
                      <a:cubicBezTo>
                        <a:pt x="188854" y="66331"/>
                        <a:pt x="188854" y="66331"/>
                        <a:pt x="241359" y="85179"/>
                      </a:cubicBezTo>
                      <a:cubicBezTo>
                        <a:pt x="247439" y="87397"/>
                        <a:pt x="252413" y="94603"/>
                        <a:pt x="252413" y="100701"/>
                      </a:cubicBezTo>
                      <a:cubicBezTo>
                        <a:pt x="252413" y="100701"/>
                        <a:pt x="252413" y="100701"/>
                        <a:pt x="252413" y="228760"/>
                      </a:cubicBezTo>
                      <a:cubicBezTo>
                        <a:pt x="252413" y="234858"/>
                        <a:pt x="247439" y="238184"/>
                        <a:pt x="241359" y="235966"/>
                      </a:cubicBezTo>
                      <a:cubicBezTo>
                        <a:pt x="241359" y="235966"/>
                        <a:pt x="241359" y="235966"/>
                        <a:pt x="188854" y="216564"/>
                      </a:cubicBezTo>
                      <a:cubicBezTo>
                        <a:pt x="182774" y="214346"/>
                        <a:pt x="177800" y="207694"/>
                        <a:pt x="177800" y="201596"/>
                      </a:cubicBezTo>
                      <a:cubicBezTo>
                        <a:pt x="177800" y="201596"/>
                        <a:pt x="177800" y="201596"/>
                        <a:pt x="177800" y="72983"/>
                      </a:cubicBezTo>
                      <a:cubicBezTo>
                        <a:pt x="177800" y="66885"/>
                        <a:pt x="182774" y="63559"/>
                        <a:pt x="188854" y="66331"/>
                      </a:cubicBezTo>
                      <a:close/>
                      <a:moveTo>
                        <a:pt x="99873" y="32460"/>
                      </a:moveTo>
                      <a:cubicBezTo>
                        <a:pt x="99873" y="32460"/>
                        <a:pt x="99873" y="32460"/>
                        <a:pt x="151992" y="52039"/>
                      </a:cubicBezTo>
                      <a:cubicBezTo>
                        <a:pt x="158576" y="54276"/>
                        <a:pt x="163513" y="61549"/>
                        <a:pt x="163513" y="67702"/>
                      </a:cubicBezTo>
                      <a:cubicBezTo>
                        <a:pt x="163513" y="67702"/>
                        <a:pt x="163513" y="67702"/>
                        <a:pt x="163513" y="196925"/>
                      </a:cubicBezTo>
                      <a:cubicBezTo>
                        <a:pt x="163513" y="203078"/>
                        <a:pt x="158576" y="206435"/>
                        <a:pt x="151992" y="204197"/>
                      </a:cubicBezTo>
                      <a:cubicBezTo>
                        <a:pt x="151992" y="204197"/>
                        <a:pt x="151992" y="204197"/>
                        <a:pt x="99873" y="184618"/>
                      </a:cubicBezTo>
                      <a:cubicBezTo>
                        <a:pt x="93838" y="182380"/>
                        <a:pt x="88900" y="175668"/>
                        <a:pt x="88900" y="169514"/>
                      </a:cubicBezTo>
                      <a:cubicBezTo>
                        <a:pt x="88900" y="169514"/>
                        <a:pt x="88900" y="169514"/>
                        <a:pt x="88900" y="39732"/>
                      </a:cubicBezTo>
                      <a:cubicBezTo>
                        <a:pt x="88900" y="33578"/>
                        <a:pt x="93838" y="30222"/>
                        <a:pt x="99873" y="32460"/>
                      </a:cubicBezTo>
                      <a:close/>
                      <a:moveTo>
                        <a:pt x="11054" y="689"/>
                      </a:moveTo>
                      <a:cubicBezTo>
                        <a:pt x="11054" y="689"/>
                        <a:pt x="11054" y="689"/>
                        <a:pt x="63559" y="20092"/>
                      </a:cubicBezTo>
                      <a:cubicBezTo>
                        <a:pt x="69639" y="22310"/>
                        <a:pt x="74613" y="28962"/>
                        <a:pt x="74613" y="35614"/>
                      </a:cubicBezTo>
                      <a:cubicBezTo>
                        <a:pt x="74613" y="35614"/>
                        <a:pt x="74613" y="35614"/>
                        <a:pt x="74613" y="163673"/>
                      </a:cubicBezTo>
                      <a:cubicBezTo>
                        <a:pt x="74613" y="169771"/>
                        <a:pt x="69639" y="173097"/>
                        <a:pt x="63559" y="170879"/>
                      </a:cubicBezTo>
                      <a:cubicBezTo>
                        <a:pt x="63559" y="170879"/>
                        <a:pt x="63559" y="170879"/>
                        <a:pt x="11054" y="151477"/>
                      </a:cubicBezTo>
                      <a:cubicBezTo>
                        <a:pt x="4974" y="149259"/>
                        <a:pt x="0" y="142607"/>
                        <a:pt x="0" y="136509"/>
                      </a:cubicBezTo>
                      <a:cubicBezTo>
                        <a:pt x="0" y="136509"/>
                        <a:pt x="0" y="136509"/>
                        <a:pt x="0" y="7896"/>
                      </a:cubicBezTo>
                      <a:cubicBezTo>
                        <a:pt x="0" y="1798"/>
                        <a:pt x="4974" y="-1528"/>
                        <a:pt x="11054" y="68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743407">
                    <a:defRPr/>
                  </a:pPr>
                  <a:endParaRPr lang="de-DE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  <p:sp>
              <p:nvSpPr>
                <p:cNvPr id="527" name="Freeform: Shape 9">
                  <a:extLst>
                    <a:ext uri="{FF2B5EF4-FFF2-40B4-BE49-F238E27FC236}">
                      <a16:creationId xmlns:a16="http://schemas.microsoft.com/office/drawing/2014/main" id="{AF4E878F-2DC1-D765-15A4-699A602FE0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80227" y="2317034"/>
                  <a:ext cx="114620" cy="509158"/>
                </a:xfrm>
                <a:custGeom>
                  <a:avLst/>
                  <a:gdLst>
                    <a:gd name="connsiteX0" fmla="*/ 63092 w 341313"/>
                    <a:gd name="connsiteY0" fmla="*/ 1344294 h 1516168"/>
                    <a:gd name="connsiteX1" fmla="*/ 74613 w 341313"/>
                    <a:gd name="connsiteY1" fmla="*/ 1351007 h 1516168"/>
                    <a:gd name="connsiteX2" fmla="*/ 74613 w 341313"/>
                    <a:gd name="connsiteY2" fmla="*/ 1480789 h 1516168"/>
                    <a:gd name="connsiteX3" fmla="*/ 63092 w 341313"/>
                    <a:gd name="connsiteY3" fmla="*/ 1495893 h 1516168"/>
                    <a:gd name="connsiteX4" fmla="*/ 10972 w 341313"/>
                    <a:gd name="connsiteY4" fmla="*/ 1515473 h 1516168"/>
                    <a:gd name="connsiteX5" fmla="*/ 0 w 341313"/>
                    <a:gd name="connsiteY5" fmla="*/ 1508200 h 1516168"/>
                    <a:gd name="connsiteX6" fmla="*/ 0 w 341313"/>
                    <a:gd name="connsiteY6" fmla="*/ 1378977 h 1516168"/>
                    <a:gd name="connsiteX7" fmla="*/ 10972 w 341313"/>
                    <a:gd name="connsiteY7" fmla="*/ 1363314 h 1516168"/>
                    <a:gd name="connsiteX8" fmla="*/ 63092 w 341313"/>
                    <a:gd name="connsiteY8" fmla="*/ 1344294 h 1516168"/>
                    <a:gd name="connsiteX9" fmla="*/ 152459 w 341313"/>
                    <a:gd name="connsiteY9" fmla="*/ 1311965 h 1516168"/>
                    <a:gd name="connsiteX10" fmla="*/ 163513 w 341313"/>
                    <a:gd name="connsiteY10" fmla="*/ 1319171 h 1516168"/>
                    <a:gd name="connsiteX11" fmla="*/ 163513 w 341313"/>
                    <a:gd name="connsiteY11" fmla="*/ 1447784 h 1516168"/>
                    <a:gd name="connsiteX12" fmla="*/ 152459 w 341313"/>
                    <a:gd name="connsiteY12" fmla="*/ 1462752 h 1516168"/>
                    <a:gd name="connsiteX13" fmla="*/ 99954 w 341313"/>
                    <a:gd name="connsiteY13" fmla="*/ 1482155 h 1516168"/>
                    <a:gd name="connsiteX14" fmla="*/ 88900 w 341313"/>
                    <a:gd name="connsiteY14" fmla="*/ 1474948 h 1516168"/>
                    <a:gd name="connsiteX15" fmla="*/ 88900 w 341313"/>
                    <a:gd name="connsiteY15" fmla="*/ 1346890 h 1516168"/>
                    <a:gd name="connsiteX16" fmla="*/ 99954 w 341313"/>
                    <a:gd name="connsiteY16" fmla="*/ 1331367 h 1516168"/>
                    <a:gd name="connsiteX17" fmla="*/ 152459 w 341313"/>
                    <a:gd name="connsiteY17" fmla="*/ 1311965 h 1516168"/>
                    <a:gd name="connsiteX18" fmla="*/ 240892 w 341313"/>
                    <a:gd name="connsiteY18" fmla="*/ 1280215 h 1516168"/>
                    <a:gd name="connsiteX19" fmla="*/ 252413 w 341313"/>
                    <a:gd name="connsiteY19" fmla="*/ 1287421 h 1516168"/>
                    <a:gd name="connsiteX20" fmla="*/ 252413 w 341313"/>
                    <a:gd name="connsiteY20" fmla="*/ 1416034 h 1516168"/>
                    <a:gd name="connsiteX21" fmla="*/ 240892 w 341313"/>
                    <a:gd name="connsiteY21" fmla="*/ 1431002 h 1516168"/>
                    <a:gd name="connsiteX22" fmla="*/ 188772 w 341313"/>
                    <a:gd name="connsiteY22" fmla="*/ 1450405 h 1516168"/>
                    <a:gd name="connsiteX23" fmla="*/ 177800 w 341313"/>
                    <a:gd name="connsiteY23" fmla="*/ 1443198 h 1516168"/>
                    <a:gd name="connsiteX24" fmla="*/ 177800 w 341313"/>
                    <a:gd name="connsiteY24" fmla="*/ 1315140 h 1516168"/>
                    <a:gd name="connsiteX25" fmla="*/ 188772 w 341313"/>
                    <a:gd name="connsiteY25" fmla="*/ 1299617 h 1516168"/>
                    <a:gd name="connsiteX26" fmla="*/ 240892 w 341313"/>
                    <a:gd name="connsiteY26" fmla="*/ 1280215 h 1516168"/>
                    <a:gd name="connsiteX27" fmla="*/ 330259 w 341313"/>
                    <a:gd name="connsiteY27" fmla="*/ 1246897 h 1516168"/>
                    <a:gd name="connsiteX28" fmla="*/ 341313 w 341313"/>
                    <a:gd name="connsiteY28" fmla="*/ 1254169 h 1516168"/>
                    <a:gd name="connsiteX29" fmla="*/ 341313 w 341313"/>
                    <a:gd name="connsiteY29" fmla="*/ 1383951 h 1516168"/>
                    <a:gd name="connsiteX30" fmla="*/ 330259 w 341313"/>
                    <a:gd name="connsiteY30" fmla="*/ 1399055 h 1516168"/>
                    <a:gd name="connsiteX31" fmla="*/ 277754 w 341313"/>
                    <a:gd name="connsiteY31" fmla="*/ 1418635 h 1516168"/>
                    <a:gd name="connsiteX32" fmla="*/ 266700 w 341313"/>
                    <a:gd name="connsiteY32" fmla="*/ 1411362 h 1516168"/>
                    <a:gd name="connsiteX33" fmla="*/ 266700 w 341313"/>
                    <a:gd name="connsiteY33" fmla="*/ 1282139 h 1516168"/>
                    <a:gd name="connsiteX34" fmla="*/ 277754 w 341313"/>
                    <a:gd name="connsiteY34" fmla="*/ 1266476 h 1516168"/>
                    <a:gd name="connsiteX35" fmla="*/ 330259 w 341313"/>
                    <a:gd name="connsiteY35" fmla="*/ 1246897 h 1516168"/>
                    <a:gd name="connsiteX36" fmla="*/ 63092 w 341313"/>
                    <a:gd name="connsiteY36" fmla="*/ 1165914 h 1516168"/>
                    <a:gd name="connsiteX37" fmla="*/ 74613 w 341313"/>
                    <a:gd name="connsiteY37" fmla="*/ 1173121 h 1516168"/>
                    <a:gd name="connsiteX38" fmla="*/ 74613 w 341313"/>
                    <a:gd name="connsiteY38" fmla="*/ 1301734 h 1516168"/>
                    <a:gd name="connsiteX39" fmla="*/ 63092 w 341313"/>
                    <a:gd name="connsiteY39" fmla="*/ 1316702 h 1516168"/>
                    <a:gd name="connsiteX40" fmla="*/ 10972 w 341313"/>
                    <a:gd name="connsiteY40" fmla="*/ 1336105 h 1516168"/>
                    <a:gd name="connsiteX41" fmla="*/ 0 w 341313"/>
                    <a:gd name="connsiteY41" fmla="*/ 1328898 h 1516168"/>
                    <a:gd name="connsiteX42" fmla="*/ 0 w 341313"/>
                    <a:gd name="connsiteY42" fmla="*/ 1200839 h 1516168"/>
                    <a:gd name="connsiteX43" fmla="*/ 10972 w 341313"/>
                    <a:gd name="connsiteY43" fmla="*/ 1185317 h 1516168"/>
                    <a:gd name="connsiteX44" fmla="*/ 63092 w 341313"/>
                    <a:gd name="connsiteY44" fmla="*/ 1165914 h 1516168"/>
                    <a:gd name="connsiteX45" fmla="*/ 152459 w 341313"/>
                    <a:gd name="connsiteY45" fmla="*/ 1134164 h 1516168"/>
                    <a:gd name="connsiteX46" fmla="*/ 163513 w 341313"/>
                    <a:gd name="connsiteY46" fmla="*/ 1141371 h 1516168"/>
                    <a:gd name="connsiteX47" fmla="*/ 163513 w 341313"/>
                    <a:gd name="connsiteY47" fmla="*/ 1269984 h 1516168"/>
                    <a:gd name="connsiteX48" fmla="*/ 152459 w 341313"/>
                    <a:gd name="connsiteY48" fmla="*/ 1284952 h 1516168"/>
                    <a:gd name="connsiteX49" fmla="*/ 99954 w 341313"/>
                    <a:gd name="connsiteY49" fmla="*/ 1304355 h 1516168"/>
                    <a:gd name="connsiteX50" fmla="*/ 88900 w 341313"/>
                    <a:gd name="connsiteY50" fmla="*/ 1297148 h 1516168"/>
                    <a:gd name="connsiteX51" fmla="*/ 88900 w 341313"/>
                    <a:gd name="connsiteY51" fmla="*/ 1169089 h 1516168"/>
                    <a:gd name="connsiteX52" fmla="*/ 99954 w 341313"/>
                    <a:gd name="connsiteY52" fmla="*/ 1153567 h 1516168"/>
                    <a:gd name="connsiteX53" fmla="*/ 152459 w 341313"/>
                    <a:gd name="connsiteY53" fmla="*/ 1134164 h 1516168"/>
                    <a:gd name="connsiteX54" fmla="*/ 240892 w 341313"/>
                    <a:gd name="connsiteY54" fmla="*/ 1100847 h 1516168"/>
                    <a:gd name="connsiteX55" fmla="*/ 252413 w 341313"/>
                    <a:gd name="connsiteY55" fmla="*/ 1108119 h 1516168"/>
                    <a:gd name="connsiteX56" fmla="*/ 252413 w 341313"/>
                    <a:gd name="connsiteY56" fmla="*/ 1237342 h 1516168"/>
                    <a:gd name="connsiteX57" fmla="*/ 240892 w 341313"/>
                    <a:gd name="connsiteY57" fmla="*/ 1253005 h 1516168"/>
                    <a:gd name="connsiteX58" fmla="*/ 188772 w 341313"/>
                    <a:gd name="connsiteY58" fmla="*/ 1272585 h 1516168"/>
                    <a:gd name="connsiteX59" fmla="*/ 177800 w 341313"/>
                    <a:gd name="connsiteY59" fmla="*/ 1265312 h 1516168"/>
                    <a:gd name="connsiteX60" fmla="*/ 177800 w 341313"/>
                    <a:gd name="connsiteY60" fmla="*/ 1136089 h 1516168"/>
                    <a:gd name="connsiteX61" fmla="*/ 188772 w 341313"/>
                    <a:gd name="connsiteY61" fmla="*/ 1120426 h 1516168"/>
                    <a:gd name="connsiteX62" fmla="*/ 240892 w 341313"/>
                    <a:gd name="connsiteY62" fmla="*/ 1100847 h 1516168"/>
                    <a:gd name="connsiteX63" fmla="*/ 330259 w 341313"/>
                    <a:gd name="connsiteY63" fmla="*/ 1069076 h 1516168"/>
                    <a:gd name="connsiteX64" fmla="*/ 341313 w 341313"/>
                    <a:gd name="connsiteY64" fmla="*/ 1076283 h 1516168"/>
                    <a:gd name="connsiteX65" fmla="*/ 341313 w 341313"/>
                    <a:gd name="connsiteY65" fmla="*/ 1204341 h 1516168"/>
                    <a:gd name="connsiteX66" fmla="*/ 330259 w 341313"/>
                    <a:gd name="connsiteY66" fmla="*/ 1219864 h 1516168"/>
                    <a:gd name="connsiteX67" fmla="*/ 277754 w 341313"/>
                    <a:gd name="connsiteY67" fmla="*/ 1239266 h 1516168"/>
                    <a:gd name="connsiteX68" fmla="*/ 266700 w 341313"/>
                    <a:gd name="connsiteY68" fmla="*/ 1232060 h 1516168"/>
                    <a:gd name="connsiteX69" fmla="*/ 266700 w 341313"/>
                    <a:gd name="connsiteY69" fmla="*/ 1104001 h 1516168"/>
                    <a:gd name="connsiteX70" fmla="*/ 277754 w 341313"/>
                    <a:gd name="connsiteY70" fmla="*/ 1088479 h 1516168"/>
                    <a:gd name="connsiteX71" fmla="*/ 330259 w 341313"/>
                    <a:gd name="connsiteY71" fmla="*/ 1069076 h 1516168"/>
                    <a:gd name="connsiteX72" fmla="*/ 63092 w 341313"/>
                    <a:gd name="connsiteY72" fmla="*/ 988114 h 1516168"/>
                    <a:gd name="connsiteX73" fmla="*/ 74613 w 341313"/>
                    <a:gd name="connsiteY73" fmla="*/ 995321 h 1516168"/>
                    <a:gd name="connsiteX74" fmla="*/ 74613 w 341313"/>
                    <a:gd name="connsiteY74" fmla="*/ 1123379 h 1516168"/>
                    <a:gd name="connsiteX75" fmla="*/ 63092 w 341313"/>
                    <a:gd name="connsiteY75" fmla="*/ 1138902 h 1516168"/>
                    <a:gd name="connsiteX76" fmla="*/ 10972 w 341313"/>
                    <a:gd name="connsiteY76" fmla="*/ 1158304 h 1516168"/>
                    <a:gd name="connsiteX77" fmla="*/ 0 w 341313"/>
                    <a:gd name="connsiteY77" fmla="*/ 1151098 h 1516168"/>
                    <a:gd name="connsiteX78" fmla="*/ 0 w 341313"/>
                    <a:gd name="connsiteY78" fmla="*/ 1023039 h 1516168"/>
                    <a:gd name="connsiteX79" fmla="*/ 10972 w 341313"/>
                    <a:gd name="connsiteY79" fmla="*/ 1007517 h 1516168"/>
                    <a:gd name="connsiteX80" fmla="*/ 63092 w 341313"/>
                    <a:gd name="connsiteY80" fmla="*/ 988114 h 1516168"/>
                    <a:gd name="connsiteX81" fmla="*/ 152459 w 341313"/>
                    <a:gd name="connsiteY81" fmla="*/ 956364 h 1516168"/>
                    <a:gd name="connsiteX82" fmla="*/ 163513 w 341313"/>
                    <a:gd name="connsiteY82" fmla="*/ 963571 h 1516168"/>
                    <a:gd name="connsiteX83" fmla="*/ 163513 w 341313"/>
                    <a:gd name="connsiteY83" fmla="*/ 1091629 h 1516168"/>
                    <a:gd name="connsiteX84" fmla="*/ 152459 w 341313"/>
                    <a:gd name="connsiteY84" fmla="*/ 1107152 h 1516168"/>
                    <a:gd name="connsiteX85" fmla="*/ 99954 w 341313"/>
                    <a:gd name="connsiteY85" fmla="*/ 1126554 h 1516168"/>
                    <a:gd name="connsiteX86" fmla="*/ 88900 w 341313"/>
                    <a:gd name="connsiteY86" fmla="*/ 1119348 h 1516168"/>
                    <a:gd name="connsiteX87" fmla="*/ 88900 w 341313"/>
                    <a:gd name="connsiteY87" fmla="*/ 990735 h 1516168"/>
                    <a:gd name="connsiteX88" fmla="*/ 99954 w 341313"/>
                    <a:gd name="connsiteY88" fmla="*/ 975767 h 1516168"/>
                    <a:gd name="connsiteX89" fmla="*/ 152459 w 341313"/>
                    <a:gd name="connsiteY89" fmla="*/ 956364 h 1516168"/>
                    <a:gd name="connsiteX90" fmla="*/ 240892 w 341313"/>
                    <a:gd name="connsiteY90" fmla="*/ 923047 h 1516168"/>
                    <a:gd name="connsiteX91" fmla="*/ 252413 w 341313"/>
                    <a:gd name="connsiteY91" fmla="*/ 930319 h 1516168"/>
                    <a:gd name="connsiteX92" fmla="*/ 252413 w 341313"/>
                    <a:gd name="connsiteY92" fmla="*/ 1059542 h 1516168"/>
                    <a:gd name="connsiteX93" fmla="*/ 240892 w 341313"/>
                    <a:gd name="connsiteY93" fmla="*/ 1075205 h 1516168"/>
                    <a:gd name="connsiteX94" fmla="*/ 188772 w 341313"/>
                    <a:gd name="connsiteY94" fmla="*/ 1094784 h 1516168"/>
                    <a:gd name="connsiteX95" fmla="*/ 177800 w 341313"/>
                    <a:gd name="connsiteY95" fmla="*/ 1087512 h 1516168"/>
                    <a:gd name="connsiteX96" fmla="*/ 177800 w 341313"/>
                    <a:gd name="connsiteY96" fmla="*/ 957730 h 1516168"/>
                    <a:gd name="connsiteX97" fmla="*/ 188772 w 341313"/>
                    <a:gd name="connsiteY97" fmla="*/ 942626 h 1516168"/>
                    <a:gd name="connsiteX98" fmla="*/ 240892 w 341313"/>
                    <a:gd name="connsiteY98" fmla="*/ 923047 h 1516168"/>
                    <a:gd name="connsiteX99" fmla="*/ 330259 w 341313"/>
                    <a:gd name="connsiteY99" fmla="*/ 891276 h 1516168"/>
                    <a:gd name="connsiteX100" fmla="*/ 341313 w 341313"/>
                    <a:gd name="connsiteY100" fmla="*/ 898483 h 1516168"/>
                    <a:gd name="connsiteX101" fmla="*/ 341313 w 341313"/>
                    <a:gd name="connsiteY101" fmla="*/ 1026541 h 1516168"/>
                    <a:gd name="connsiteX102" fmla="*/ 330259 w 341313"/>
                    <a:gd name="connsiteY102" fmla="*/ 1042064 h 1516168"/>
                    <a:gd name="connsiteX103" fmla="*/ 277754 w 341313"/>
                    <a:gd name="connsiteY103" fmla="*/ 1061466 h 1516168"/>
                    <a:gd name="connsiteX104" fmla="*/ 266700 w 341313"/>
                    <a:gd name="connsiteY104" fmla="*/ 1054260 h 1516168"/>
                    <a:gd name="connsiteX105" fmla="*/ 266700 w 341313"/>
                    <a:gd name="connsiteY105" fmla="*/ 925647 h 1516168"/>
                    <a:gd name="connsiteX106" fmla="*/ 277754 w 341313"/>
                    <a:gd name="connsiteY106" fmla="*/ 910679 h 1516168"/>
                    <a:gd name="connsiteX107" fmla="*/ 330259 w 341313"/>
                    <a:gd name="connsiteY107" fmla="*/ 891276 h 1516168"/>
                    <a:gd name="connsiteX108" fmla="*/ 63092 w 341313"/>
                    <a:gd name="connsiteY108" fmla="*/ 810314 h 1516168"/>
                    <a:gd name="connsiteX109" fmla="*/ 74613 w 341313"/>
                    <a:gd name="connsiteY109" fmla="*/ 817521 h 1516168"/>
                    <a:gd name="connsiteX110" fmla="*/ 74613 w 341313"/>
                    <a:gd name="connsiteY110" fmla="*/ 945579 h 1516168"/>
                    <a:gd name="connsiteX111" fmla="*/ 63092 w 341313"/>
                    <a:gd name="connsiteY111" fmla="*/ 961102 h 1516168"/>
                    <a:gd name="connsiteX112" fmla="*/ 10972 w 341313"/>
                    <a:gd name="connsiteY112" fmla="*/ 980504 h 1516168"/>
                    <a:gd name="connsiteX113" fmla="*/ 0 w 341313"/>
                    <a:gd name="connsiteY113" fmla="*/ 973298 h 1516168"/>
                    <a:gd name="connsiteX114" fmla="*/ 0 w 341313"/>
                    <a:gd name="connsiteY114" fmla="*/ 844685 h 1516168"/>
                    <a:gd name="connsiteX115" fmla="*/ 10972 w 341313"/>
                    <a:gd name="connsiteY115" fmla="*/ 829717 h 1516168"/>
                    <a:gd name="connsiteX116" fmla="*/ 63092 w 341313"/>
                    <a:gd name="connsiteY116" fmla="*/ 810314 h 1516168"/>
                    <a:gd name="connsiteX117" fmla="*/ 152459 w 341313"/>
                    <a:gd name="connsiteY117" fmla="*/ 776997 h 1516168"/>
                    <a:gd name="connsiteX118" fmla="*/ 163513 w 341313"/>
                    <a:gd name="connsiteY118" fmla="*/ 784269 h 1516168"/>
                    <a:gd name="connsiteX119" fmla="*/ 163513 w 341313"/>
                    <a:gd name="connsiteY119" fmla="*/ 913492 h 1516168"/>
                    <a:gd name="connsiteX120" fmla="*/ 152459 w 341313"/>
                    <a:gd name="connsiteY120" fmla="*/ 929155 h 1516168"/>
                    <a:gd name="connsiteX121" fmla="*/ 99954 w 341313"/>
                    <a:gd name="connsiteY121" fmla="*/ 948175 h 1516168"/>
                    <a:gd name="connsiteX122" fmla="*/ 88900 w 341313"/>
                    <a:gd name="connsiteY122" fmla="*/ 941462 h 1516168"/>
                    <a:gd name="connsiteX123" fmla="*/ 88900 w 341313"/>
                    <a:gd name="connsiteY123" fmla="*/ 811680 h 1516168"/>
                    <a:gd name="connsiteX124" fmla="*/ 99954 w 341313"/>
                    <a:gd name="connsiteY124" fmla="*/ 796576 h 1516168"/>
                    <a:gd name="connsiteX125" fmla="*/ 152459 w 341313"/>
                    <a:gd name="connsiteY125" fmla="*/ 776997 h 1516168"/>
                    <a:gd name="connsiteX126" fmla="*/ 240892 w 341313"/>
                    <a:gd name="connsiteY126" fmla="*/ 745247 h 1516168"/>
                    <a:gd name="connsiteX127" fmla="*/ 252413 w 341313"/>
                    <a:gd name="connsiteY127" fmla="*/ 752519 h 1516168"/>
                    <a:gd name="connsiteX128" fmla="*/ 252413 w 341313"/>
                    <a:gd name="connsiteY128" fmla="*/ 881742 h 1516168"/>
                    <a:gd name="connsiteX129" fmla="*/ 240892 w 341313"/>
                    <a:gd name="connsiteY129" fmla="*/ 897405 h 1516168"/>
                    <a:gd name="connsiteX130" fmla="*/ 188772 w 341313"/>
                    <a:gd name="connsiteY130" fmla="*/ 916425 h 1516168"/>
                    <a:gd name="connsiteX131" fmla="*/ 177800 w 341313"/>
                    <a:gd name="connsiteY131" fmla="*/ 909712 h 1516168"/>
                    <a:gd name="connsiteX132" fmla="*/ 177800 w 341313"/>
                    <a:gd name="connsiteY132" fmla="*/ 779930 h 1516168"/>
                    <a:gd name="connsiteX133" fmla="*/ 188772 w 341313"/>
                    <a:gd name="connsiteY133" fmla="*/ 764826 h 1516168"/>
                    <a:gd name="connsiteX134" fmla="*/ 240892 w 341313"/>
                    <a:gd name="connsiteY134" fmla="*/ 745247 h 1516168"/>
                    <a:gd name="connsiteX135" fmla="*/ 330259 w 341313"/>
                    <a:gd name="connsiteY135" fmla="*/ 713483 h 1516168"/>
                    <a:gd name="connsiteX136" fmla="*/ 341313 w 341313"/>
                    <a:gd name="connsiteY136" fmla="*/ 720713 h 1516168"/>
                    <a:gd name="connsiteX137" fmla="*/ 341313 w 341313"/>
                    <a:gd name="connsiteY137" fmla="*/ 849179 h 1516168"/>
                    <a:gd name="connsiteX138" fmla="*/ 330259 w 341313"/>
                    <a:gd name="connsiteY138" fmla="*/ 864751 h 1516168"/>
                    <a:gd name="connsiteX139" fmla="*/ 277754 w 341313"/>
                    <a:gd name="connsiteY139" fmla="*/ 883659 h 1516168"/>
                    <a:gd name="connsiteX140" fmla="*/ 266700 w 341313"/>
                    <a:gd name="connsiteY140" fmla="*/ 876430 h 1516168"/>
                    <a:gd name="connsiteX141" fmla="*/ 266700 w 341313"/>
                    <a:gd name="connsiteY141" fmla="*/ 747963 h 1516168"/>
                    <a:gd name="connsiteX142" fmla="*/ 277754 w 341313"/>
                    <a:gd name="connsiteY142" fmla="*/ 732948 h 1516168"/>
                    <a:gd name="connsiteX143" fmla="*/ 330259 w 341313"/>
                    <a:gd name="connsiteY143" fmla="*/ 713483 h 1516168"/>
                    <a:gd name="connsiteX144" fmla="*/ 63092 w 341313"/>
                    <a:gd name="connsiteY144" fmla="*/ 632521 h 1516168"/>
                    <a:gd name="connsiteX145" fmla="*/ 74613 w 341313"/>
                    <a:gd name="connsiteY145" fmla="*/ 639751 h 1516168"/>
                    <a:gd name="connsiteX146" fmla="*/ 74613 w 341313"/>
                    <a:gd name="connsiteY146" fmla="*/ 768217 h 1516168"/>
                    <a:gd name="connsiteX147" fmla="*/ 63092 w 341313"/>
                    <a:gd name="connsiteY147" fmla="*/ 783789 h 1516168"/>
                    <a:gd name="connsiteX148" fmla="*/ 10972 w 341313"/>
                    <a:gd name="connsiteY148" fmla="*/ 802697 h 1516168"/>
                    <a:gd name="connsiteX149" fmla="*/ 0 w 341313"/>
                    <a:gd name="connsiteY149" fmla="*/ 795468 h 1516168"/>
                    <a:gd name="connsiteX150" fmla="*/ 0 w 341313"/>
                    <a:gd name="connsiteY150" fmla="*/ 667001 h 1516168"/>
                    <a:gd name="connsiteX151" fmla="*/ 10972 w 341313"/>
                    <a:gd name="connsiteY151" fmla="*/ 651986 h 1516168"/>
                    <a:gd name="connsiteX152" fmla="*/ 63092 w 341313"/>
                    <a:gd name="connsiteY152" fmla="*/ 632521 h 1516168"/>
                    <a:gd name="connsiteX153" fmla="*/ 152459 w 341313"/>
                    <a:gd name="connsiteY153" fmla="*/ 599183 h 1516168"/>
                    <a:gd name="connsiteX154" fmla="*/ 163513 w 341313"/>
                    <a:gd name="connsiteY154" fmla="*/ 606413 h 1516168"/>
                    <a:gd name="connsiteX155" fmla="*/ 163513 w 341313"/>
                    <a:gd name="connsiteY155" fmla="*/ 734879 h 1516168"/>
                    <a:gd name="connsiteX156" fmla="*/ 152459 w 341313"/>
                    <a:gd name="connsiteY156" fmla="*/ 750451 h 1516168"/>
                    <a:gd name="connsiteX157" fmla="*/ 99954 w 341313"/>
                    <a:gd name="connsiteY157" fmla="*/ 769359 h 1516168"/>
                    <a:gd name="connsiteX158" fmla="*/ 88900 w 341313"/>
                    <a:gd name="connsiteY158" fmla="*/ 762130 h 1516168"/>
                    <a:gd name="connsiteX159" fmla="*/ 88900 w 341313"/>
                    <a:gd name="connsiteY159" fmla="*/ 633663 h 1516168"/>
                    <a:gd name="connsiteX160" fmla="*/ 99954 w 341313"/>
                    <a:gd name="connsiteY160" fmla="*/ 618648 h 1516168"/>
                    <a:gd name="connsiteX161" fmla="*/ 152459 w 341313"/>
                    <a:gd name="connsiteY161" fmla="*/ 599183 h 1516168"/>
                    <a:gd name="connsiteX162" fmla="*/ 240892 w 341313"/>
                    <a:gd name="connsiteY162" fmla="*/ 567433 h 1516168"/>
                    <a:gd name="connsiteX163" fmla="*/ 252413 w 341313"/>
                    <a:gd name="connsiteY163" fmla="*/ 574663 h 1516168"/>
                    <a:gd name="connsiteX164" fmla="*/ 252413 w 341313"/>
                    <a:gd name="connsiteY164" fmla="*/ 703129 h 1516168"/>
                    <a:gd name="connsiteX165" fmla="*/ 240892 w 341313"/>
                    <a:gd name="connsiteY165" fmla="*/ 718701 h 1516168"/>
                    <a:gd name="connsiteX166" fmla="*/ 188772 w 341313"/>
                    <a:gd name="connsiteY166" fmla="*/ 737609 h 1516168"/>
                    <a:gd name="connsiteX167" fmla="*/ 177800 w 341313"/>
                    <a:gd name="connsiteY167" fmla="*/ 730380 h 1516168"/>
                    <a:gd name="connsiteX168" fmla="*/ 177800 w 341313"/>
                    <a:gd name="connsiteY168" fmla="*/ 601913 h 1516168"/>
                    <a:gd name="connsiteX169" fmla="*/ 188772 w 341313"/>
                    <a:gd name="connsiteY169" fmla="*/ 586342 h 1516168"/>
                    <a:gd name="connsiteX170" fmla="*/ 240892 w 341313"/>
                    <a:gd name="connsiteY170" fmla="*/ 567433 h 1516168"/>
                    <a:gd name="connsiteX171" fmla="*/ 330259 w 341313"/>
                    <a:gd name="connsiteY171" fmla="*/ 535683 h 1516168"/>
                    <a:gd name="connsiteX172" fmla="*/ 341313 w 341313"/>
                    <a:gd name="connsiteY172" fmla="*/ 542913 h 1516168"/>
                    <a:gd name="connsiteX173" fmla="*/ 341313 w 341313"/>
                    <a:gd name="connsiteY173" fmla="*/ 671379 h 1516168"/>
                    <a:gd name="connsiteX174" fmla="*/ 330259 w 341313"/>
                    <a:gd name="connsiteY174" fmla="*/ 686951 h 1516168"/>
                    <a:gd name="connsiteX175" fmla="*/ 277754 w 341313"/>
                    <a:gd name="connsiteY175" fmla="*/ 705859 h 1516168"/>
                    <a:gd name="connsiteX176" fmla="*/ 266700 w 341313"/>
                    <a:gd name="connsiteY176" fmla="*/ 698630 h 1516168"/>
                    <a:gd name="connsiteX177" fmla="*/ 266700 w 341313"/>
                    <a:gd name="connsiteY177" fmla="*/ 570163 h 1516168"/>
                    <a:gd name="connsiteX178" fmla="*/ 277754 w 341313"/>
                    <a:gd name="connsiteY178" fmla="*/ 554592 h 1516168"/>
                    <a:gd name="connsiteX179" fmla="*/ 330259 w 341313"/>
                    <a:gd name="connsiteY179" fmla="*/ 535683 h 1516168"/>
                    <a:gd name="connsiteX180" fmla="*/ 63092 w 341313"/>
                    <a:gd name="connsiteY180" fmla="*/ 453154 h 1516168"/>
                    <a:gd name="connsiteX181" fmla="*/ 74613 w 341313"/>
                    <a:gd name="connsiteY181" fmla="*/ 460449 h 1516168"/>
                    <a:gd name="connsiteX182" fmla="*/ 74613 w 341313"/>
                    <a:gd name="connsiteY182" fmla="*/ 590083 h 1516168"/>
                    <a:gd name="connsiteX183" fmla="*/ 63092 w 341313"/>
                    <a:gd name="connsiteY183" fmla="*/ 605797 h 1516168"/>
                    <a:gd name="connsiteX184" fmla="*/ 10972 w 341313"/>
                    <a:gd name="connsiteY184" fmla="*/ 624877 h 1516168"/>
                    <a:gd name="connsiteX185" fmla="*/ 0 w 341313"/>
                    <a:gd name="connsiteY185" fmla="*/ 617582 h 1516168"/>
                    <a:gd name="connsiteX186" fmla="*/ 0 w 341313"/>
                    <a:gd name="connsiteY186" fmla="*/ 487947 h 1516168"/>
                    <a:gd name="connsiteX187" fmla="*/ 10972 w 341313"/>
                    <a:gd name="connsiteY187" fmla="*/ 472234 h 1516168"/>
                    <a:gd name="connsiteX188" fmla="*/ 63092 w 341313"/>
                    <a:gd name="connsiteY188" fmla="*/ 453154 h 1516168"/>
                    <a:gd name="connsiteX189" fmla="*/ 152459 w 341313"/>
                    <a:gd name="connsiteY189" fmla="*/ 421383 h 1516168"/>
                    <a:gd name="connsiteX190" fmla="*/ 163513 w 341313"/>
                    <a:gd name="connsiteY190" fmla="*/ 428613 h 1516168"/>
                    <a:gd name="connsiteX191" fmla="*/ 163513 w 341313"/>
                    <a:gd name="connsiteY191" fmla="*/ 557079 h 1516168"/>
                    <a:gd name="connsiteX192" fmla="*/ 152459 w 341313"/>
                    <a:gd name="connsiteY192" fmla="*/ 572651 h 1516168"/>
                    <a:gd name="connsiteX193" fmla="*/ 99954 w 341313"/>
                    <a:gd name="connsiteY193" fmla="*/ 591559 h 1516168"/>
                    <a:gd name="connsiteX194" fmla="*/ 88900 w 341313"/>
                    <a:gd name="connsiteY194" fmla="*/ 584330 h 1516168"/>
                    <a:gd name="connsiteX195" fmla="*/ 88900 w 341313"/>
                    <a:gd name="connsiteY195" fmla="*/ 455863 h 1516168"/>
                    <a:gd name="connsiteX196" fmla="*/ 99954 w 341313"/>
                    <a:gd name="connsiteY196" fmla="*/ 440292 h 1516168"/>
                    <a:gd name="connsiteX197" fmla="*/ 152459 w 341313"/>
                    <a:gd name="connsiteY197" fmla="*/ 421383 h 1516168"/>
                    <a:gd name="connsiteX198" fmla="*/ 240892 w 341313"/>
                    <a:gd name="connsiteY198" fmla="*/ 389633 h 1516168"/>
                    <a:gd name="connsiteX199" fmla="*/ 252413 w 341313"/>
                    <a:gd name="connsiteY199" fmla="*/ 396863 h 1516168"/>
                    <a:gd name="connsiteX200" fmla="*/ 252413 w 341313"/>
                    <a:gd name="connsiteY200" fmla="*/ 525329 h 1516168"/>
                    <a:gd name="connsiteX201" fmla="*/ 240892 w 341313"/>
                    <a:gd name="connsiteY201" fmla="*/ 540901 h 1516168"/>
                    <a:gd name="connsiteX202" fmla="*/ 188772 w 341313"/>
                    <a:gd name="connsiteY202" fmla="*/ 559809 h 1516168"/>
                    <a:gd name="connsiteX203" fmla="*/ 177800 w 341313"/>
                    <a:gd name="connsiteY203" fmla="*/ 552580 h 1516168"/>
                    <a:gd name="connsiteX204" fmla="*/ 177800 w 341313"/>
                    <a:gd name="connsiteY204" fmla="*/ 424113 h 1516168"/>
                    <a:gd name="connsiteX205" fmla="*/ 188772 w 341313"/>
                    <a:gd name="connsiteY205" fmla="*/ 408542 h 1516168"/>
                    <a:gd name="connsiteX206" fmla="*/ 240892 w 341313"/>
                    <a:gd name="connsiteY206" fmla="*/ 389633 h 1516168"/>
                    <a:gd name="connsiteX207" fmla="*/ 330259 w 341313"/>
                    <a:gd name="connsiteY207" fmla="*/ 356317 h 1516168"/>
                    <a:gd name="connsiteX208" fmla="*/ 341313 w 341313"/>
                    <a:gd name="connsiteY208" fmla="*/ 363612 h 1516168"/>
                    <a:gd name="connsiteX209" fmla="*/ 341313 w 341313"/>
                    <a:gd name="connsiteY209" fmla="*/ 493246 h 1516168"/>
                    <a:gd name="connsiteX210" fmla="*/ 330259 w 341313"/>
                    <a:gd name="connsiteY210" fmla="*/ 508960 h 1516168"/>
                    <a:gd name="connsiteX211" fmla="*/ 277754 w 341313"/>
                    <a:gd name="connsiteY211" fmla="*/ 528040 h 1516168"/>
                    <a:gd name="connsiteX212" fmla="*/ 266700 w 341313"/>
                    <a:gd name="connsiteY212" fmla="*/ 520745 h 1516168"/>
                    <a:gd name="connsiteX213" fmla="*/ 266700 w 341313"/>
                    <a:gd name="connsiteY213" fmla="*/ 391110 h 1516168"/>
                    <a:gd name="connsiteX214" fmla="*/ 277754 w 341313"/>
                    <a:gd name="connsiteY214" fmla="*/ 375397 h 1516168"/>
                    <a:gd name="connsiteX215" fmla="*/ 330259 w 341313"/>
                    <a:gd name="connsiteY215" fmla="*/ 356317 h 1516168"/>
                    <a:gd name="connsiteX216" fmla="*/ 63092 w 341313"/>
                    <a:gd name="connsiteY216" fmla="*/ 275333 h 1516168"/>
                    <a:gd name="connsiteX217" fmla="*/ 74613 w 341313"/>
                    <a:gd name="connsiteY217" fmla="*/ 282563 h 1516168"/>
                    <a:gd name="connsiteX218" fmla="*/ 74613 w 341313"/>
                    <a:gd name="connsiteY218" fmla="*/ 411029 h 1516168"/>
                    <a:gd name="connsiteX219" fmla="*/ 63092 w 341313"/>
                    <a:gd name="connsiteY219" fmla="*/ 426601 h 1516168"/>
                    <a:gd name="connsiteX220" fmla="*/ 10972 w 341313"/>
                    <a:gd name="connsiteY220" fmla="*/ 445509 h 1516168"/>
                    <a:gd name="connsiteX221" fmla="*/ 0 w 341313"/>
                    <a:gd name="connsiteY221" fmla="*/ 438280 h 1516168"/>
                    <a:gd name="connsiteX222" fmla="*/ 0 w 341313"/>
                    <a:gd name="connsiteY222" fmla="*/ 309813 h 1516168"/>
                    <a:gd name="connsiteX223" fmla="*/ 10972 w 341313"/>
                    <a:gd name="connsiteY223" fmla="*/ 294242 h 1516168"/>
                    <a:gd name="connsiteX224" fmla="*/ 63092 w 341313"/>
                    <a:gd name="connsiteY224" fmla="*/ 275333 h 1516168"/>
                    <a:gd name="connsiteX225" fmla="*/ 152459 w 341313"/>
                    <a:gd name="connsiteY225" fmla="*/ 243583 h 1516168"/>
                    <a:gd name="connsiteX226" fmla="*/ 163513 w 341313"/>
                    <a:gd name="connsiteY226" fmla="*/ 250813 h 1516168"/>
                    <a:gd name="connsiteX227" fmla="*/ 163513 w 341313"/>
                    <a:gd name="connsiteY227" fmla="*/ 379279 h 1516168"/>
                    <a:gd name="connsiteX228" fmla="*/ 152459 w 341313"/>
                    <a:gd name="connsiteY228" fmla="*/ 394295 h 1516168"/>
                    <a:gd name="connsiteX229" fmla="*/ 99954 w 341313"/>
                    <a:gd name="connsiteY229" fmla="*/ 413759 h 1516168"/>
                    <a:gd name="connsiteX230" fmla="*/ 88900 w 341313"/>
                    <a:gd name="connsiteY230" fmla="*/ 406530 h 1516168"/>
                    <a:gd name="connsiteX231" fmla="*/ 88900 w 341313"/>
                    <a:gd name="connsiteY231" fmla="*/ 278063 h 1516168"/>
                    <a:gd name="connsiteX232" fmla="*/ 99954 w 341313"/>
                    <a:gd name="connsiteY232" fmla="*/ 262492 h 1516168"/>
                    <a:gd name="connsiteX233" fmla="*/ 152459 w 341313"/>
                    <a:gd name="connsiteY233" fmla="*/ 243583 h 1516168"/>
                    <a:gd name="connsiteX234" fmla="*/ 240892 w 341313"/>
                    <a:gd name="connsiteY234" fmla="*/ 211833 h 1516168"/>
                    <a:gd name="connsiteX235" fmla="*/ 252413 w 341313"/>
                    <a:gd name="connsiteY235" fmla="*/ 219063 h 1516168"/>
                    <a:gd name="connsiteX236" fmla="*/ 252413 w 341313"/>
                    <a:gd name="connsiteY236" fmla="*/ 347529 h 1516168"/>
                    <a:gd name="connsiteX237" fmla="*/ 240892 w 341313"/>
                    <a:gd name="connsiteY237" fmla="*/ 362545 h 1516168"/>
                    <a:gd name="connsiteX238" fmla="*/ 188772 w 341313"/>
                    <a:gd name="connsiteY238" fmla="*/ 382009 h 1516168"/>
                    <a:gd name="connsiteX239" fmla="*/ 177800 w 341313"/>
                    <a:gd name="connsiteY239" fmla="*/ 374780 h 1516168"/>
                    <a:gd name="connsiteX240" fmla="*/ 177800 w 341313"/>
                    <a:gd name="connsiteY240" fmla="*/ 246313 h 1516168"/>
                    <a:gd name="connsiteX241" fmla="*/ 188772 w 341313"/>
                    <a:gd name="connsiteY241" fmla="*/ 230742 h 1516168"/>
                    <a:gd name="connsiteX242" fmla="*/ 240892 w 341313"/>
                    <a:gd name="connsiteY242" fmla="*/ 211833 h 1516168"/>
                    <a:gd name="connsiteX243" fmla="*/ 330259 w 341313"/>
                    <a:gd name="connsiteY243" fmla="*/ 179044 h 1516168"/>
                    <a:gd name="connsiteX244" fmla="*/ 341313 w 341313"/>
                    <a:gd name="connsiteY244" fmla="*/ 185696 h 1516168"/>
                    <a:gd name="connsiteX245" fmla="*/ 341313 w 341313"/>
                    <a:gd name="connsiteY245" fmla="*/ 314309 h 1516168"/>
                    <a:gd name="connsiteX246" fmla="*/ 330259 w 341313"/>
                    <a:gd name="connsiteY246" fmla="*/ 329277 h 1516168"/>
                    <a:gd name="connsiteX247" fmla="*/ 277754 w 341313"/>
                    <a:gd name="connsiteY247" fmla="*/ 348679 h 1516168"/>
                    <a:gd name="connsiteX248" fmla="*/ 266700 w 341313"/>
                    <a:gd name="connsiteY248" fmla="*/ 341473 h 1516168"/>
                    <a:gd name="connsiteX249" fmla="*/ 266700 w 341313"/>
                    <a:gd name="connsiteY249" fmla="*/ 213414 h 1516168"/>
                    <a:gd name="connsiteX250" fmla="*/ 277754 w 341313"/>
                    <a:gd name="connsiteY250" fmla="*/ 197892 h 1516168"/>
                    <a:gd name="connsiteX251" fmla="*/ 330259 w 341313"/>
                    <a:gd name="connsiteY251" fmla="*/ 179044 h 1516168"/>
                    <a:gd name="connsiteX252" fmla="*/ 63092 w 341313"/>
                    <a:gd name="connsiteY252" fmla="*/ 98081 h 1516168"/>
                    <a:gd name="connsiteX253" fmla="*/ 74613 w 341313"/>
                    <a:gd name="connsiteY253" fmla="*/ 104733 h 1516168"/>
                    <a:gd name="connsiteX254" fmla="*/ 74613 w 341313"/>
                    <a:gd name="connsiteY254" fmla="*/ 233346 h 1516168"/>
                    <a:gd name="connsiteX255" fmla="*/ 63092 w 341313"/>
                    <a:gd name="connsiteY255" fmla="*/ 248314 h 1516168"/>
                    <a:gd name="connsiteX256" fmla="*/ 10972 w 341313"/>
                    <a:gd name="connsiteY256" fmla="*/ 267716 h 1516168"/>
                    <a:gd name="connsiteX257" fmla="*/ 0 w 341313"/>
                    <a:gd name="connsiteY257" fmla="*/ 260510 h 1516168"/>
                    <a:gd name="connsiteX258" fmla="*/ 0 w 341313"/>
                    <a:gd name="connsiteY258" fmla="*/ 132451 h 1516168"/>
                    <a:gd name="connsiteX259" fmla="*/ 10972 w 341313"/>
                    <a:gd name="connsiteY259" fmla="*/ 116929 h 1516168"/>
                    <a:gd name="connsiteX260" fmla="*/ 63092 w 341313"/>
                    <a:gd name="connsiteY260" fmla="*/ 98081 h 1516168"/>
                    <a:gd name="connsiteX261" fmla="*/ 152459 w 341313"/>
                    <a:gd name="connsiteY261" fmla="*/ 66331 h 1516168"/>
                    <a:gd name="connsiteX262" fmla="*/ 163513 w 341313"/>
                    <a:gd name="connsiteY262" fmla="*/ 72983 h 1516168"/>
                    <a:gd name="connsiteX263" fmla="*/ 163513 w 341313"/>
                    <a:gd name="connsiteY263" fmla="*/ 201596 h 1516168"/>
                    <a:gd name="connsiteX264" fmla="*/ 152459 w 341313"/>
                    <a:gd name="connsiteY264" fmla="*/ 216564 h 1516168"/>
                    <a:gd name="connsiteX265" fmla="*/ 99954 w 341313"/>
                    <a:gd name="connsiteY265" fmla="*/ 235966 h 1516168"/>
                    <a:gd name="connsiteX266" fmla="*/ 88900 w 341313"/>
                    <a:gd name="connsiteY266" fmla="*/ 228760 h 1516168"/>
                    <a:gd name="connsiteX267" fmla="*/ 88900 w 341313"/>
                    <a:gd name="connsiteY267" fmla="*/ 100701 h 1516168"/>
                    <a:gd name="connsiteX268" fmla="*/ 99954 w 341313"/>
                    <a:gd name="connsiteY268" fmla="*/ 85179 h 1516168"/>
                    <a:gd name="connsiteX269" fmla="*/ 152459 w 341313"/>
                    <a:gd name="connsiteY269" fmla="*/ 66331 h 1516168"/>
                    <a:gd name="connsiteX270" fmla="*/ 240892 w 341313"/>
                    <a:gd name="connsiteY270" fmla="*/ 32460 h 1516168"/>
                    <a:gd name="connsiteX271" fmla="*/ 252413 w 341313"/>
                    <a:gd name="connsiteY271" fmla="*/ 39732 h 1516168"/>
                    <a:gd name="connsiteX272" fmla="*/ 252413 w 341313"/>
                    <a:gd name="connsiteY272" fmla="*/ 169514 h 1516168"/>
                    <a:gd name="connsiteX273" fmla="*/ 240892 w 341313"/>
                    <a:gd name="connsiteY273" fmla="*/ 184618 h 1516168"/>
                    <a:gd name="connsiteX274" fmla="*/ 188772 w 341313"/>
                    <a:gd name="connsiteY274" fmla="*/ 204197 h 1516168"/>
                    <a:gd name="connsiteX275" fmla="*/ 177800 w 341313"/>
                    <a:gd name="connsiteY275" fmla="*/ 196925 h 1516168"/>
                    <a:gd name="connsiteX276" fmla="*/ 177800 w 341313"/>
                    <a:gd name="connsiteY276" fmla="*/ 67702 h 1516168"/>
                    <a:gd name="connsiteX277" fmla="*/ 188772 w 341313"/>
                    <a:gd name="connsiteY277" fmla="*/ 52039 h 1516168"/>
                    <a:gd name="connsiteX278" fmla="*/ 240892 w 341313"/>
                    <a:gd name="connsiteY278" fmla="*/ 32460 h 1516168"/>
                    <a:gd name="connsiteX279" fmla="*/ 330259 w 341313"/>
                    <a:gd name="connsiteY279" fmla="*/ 689 h 1516168"/>
                    <a:gd name="connsiteX280" fmla="*/ 341313 w 341313"/>
                    <a:gd name="connsiteY280" fmla="*/ 7896 h 1516168"/>
                    <a:gd name="connsiteX281" fmla="*/ 341313 w 341313"/>
                    <a:gd name="connsiteY281" fmla="*/ 136509 h 1516168"/>
                    <a:gd name="connsiteX282" fmla="*/ 330259 w 341313"/>
                    <a:gd name="connsiteY282" fmla="*/ 151477 h 1516168"/>
                    <a:gd name="connsiteX283" fmla="*/ 277754 w 341313"/>
                    <a:gd name="connsiteY283" fmla="*/ 170879 h 1516168"/>
                    <a:gd name="connsiteX284" fmla="*/ 266700 w 341313"/>
                    <a:gd name="connsiteY284" fmla="*/ 163673 h 1516168"/>
                    <a:gd name="connsiteX285" fmla="*/ 266700 w 341313"/>
                    <a:gd name="connsiteY285" fmla="*/ 35614 h 1516168"/>
                    <a:gd name="connsiteX286" fmla="*/ 277754 w 341313"/>
                    <a:gd name="connsiteY286" fmla="*/ 20092 h 1516168"/>
                    <a:gd name="connsiteX287" fmla="*/ 330259 w 341313"/>
                    <a:gd name="connsiteY287" fmla="*/ 689 h 15161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</a:cxnLst>
                  <a:rect l="l" t="t" r="r" b="b"/>
                  <a:pathLst>
                    <a:path w="341313" h="1516168">
                      <a:moveTo>
                        <a:pt x="63092" y="1344294"/>
                      </a:moveTo>
                      <a:cubicBezTo>
                        <a:pt x="69675" y="1341497"/>
                        <a:pt x="74613" y="1344854"/>
                        <a:pt x="74613" y="1351007"/>
                      </a:cubicBezTo>
                      <a:cubicBezTo>
                        <a:pt x="74613" y="1480789"/>
                        <a:pt x="74613" y="1480789"/>
                        <a:pt x="74613" y="1480789"/>
                      </a:cubicBezTo>
                      <a:cubicBezTo>
                        <a:pt x="74613" y="1486943"/>
                        <a:pt x="69675" y="1493656"/>
                        <a:pt x="63092" y="1495893"/>
                      </a:cubicBezTo>
                      <a:cubicBezTo>
                        <a:pt x="10972" y="1515473"/>
                        <a:pt x="10972" y="1515473"/>
                        <a:pt x="10972" y="1515473"/>
                      </a:cubicBezTo>
                      <a:cubicBezTo>
                        <a:pt x="4937" y="1517710"/>
                        <a:pt x="0" y="1514354"/>
                        <a:pt x="0" y="1508200"/>
                      </a:cubicBezTo>
                      <a:cubicBezTo>
                        <a:pt x="0" y="1378977"/>
                        <a:pt x="0" y="1378977"/>
                        <a:pt x="0" y="1378977"/>
                      </a:cubicBezTo>
                      <a:cubicBezTo>
                        <a:pt x="0" y="1372824"/>
                        <a:pt x="4937" y="1365552"/>
                        <a:pt x="10972" y="1363314"/>
                      </a:cubicBezTo>
                      <a:cubicBezTo>
                        <a:pt x="63092" y="1344294"/>
                        <a:pt x="63092" y="1344294"/>
                        <a:pt x="63092" y="1344294"/>
                      </a:cubicBezTo>
                      <a:close/>
                      <a:moveTo>
                        <a:pt x="152459" y="1311965"/>
                      </a:moveTo>
                      <a:cubicBezTo>
                        <a:pt x="158539" y="1309747"/>
                        <a:pt x="163513" y="1313073"/>
                        <a:pt x="163513" y="1319171"/>
                      </a:cubicBezTo>
                      <a:cubicBezTo>
                        <a:pt x="163513" y="1447784"/>
                        <a:pt x="163513" y="1447784"/>
                        <a:pt x="163513" y="1447784"/>
                      </a:cubicBezTo>
                      <a:cubicBezTo>
                        <a:pt x="163513" y="1453882"/>
                        <a:pt x="158539" y="1460534"/>
                        <a:pt x="152459" y="1462752"/>
                      </a:cubicBezTo>
                      <a:cubicBezTo>
                        <a:pt x="99954" y="1482155"/>
                        <a:pt x="99954" y="1482155"/>
                        <a:pt x="99954" y="1482155"/>
                      </a:cubicBezTo>
                      <a:cubicBezTo>
                        <a:pt x="93874" y="1484372"/>
                        <a:pt x="88900" y="1481046"/>
                        <a:pt x="88900" y="1474948"/>
                      </a:cubicBezTo>
                      <a:cubicBezTo>
                        <a:pt x="88900" y="1346890"/>
                        <a:pt x="88900" y="1346890"/>
                        <a:pt x="88900" y="1346890"/>
                      </a:cubicBezTo>
                      <a:cubicBezTo>
                        <a:pt x="88900" y="1340792"/>
                        <a:pt x="93874" y="1333585"/>
                        <a:pt x="99954" y="1331367"/>
                      </a:cubicBezTo>
                      <a:cubicBezTo>
                        <a:pt x="152459" y="1311965"/>
                        <a:pt x="152459" y="1311965"/>
                        <a:pt x="152459" y="1311965"/>
                      </a:cubicBezTo>
                      <a:close/>
                      <a:moveTo>
                        <a:pt x="240892" y="1280215"/>
                      </a:moveTo>
                      <a:cubicBezTo>
                        <a:pt x="247475" y="1277997"/>
                        <a:pt x="252413" y="1281323"/>
                        <a:pt x="252413" y="1287421"/>
                      </a:cubicBezTo>
                      <a:cubicBezTo>
                        <a:pt x="252413" y="1416034"/>
                        <a:pt x="252413" y="1416034"/>
                        <a:pt x="252413" y="1416034"/>
                      </a:cubicBezTo>
                      <a:cubicBezTo>
                        <a:pt x="252413" y="1422132"/>
                        <a:pt x="247475" y="1428784"/>
                        <a:pt x="240892" y="1431002"/>
                      </a:cubicBezTo>
                      <a:cubicBezTo>
                        <a:pt x="188772" y="1450405"/>
                        <a:pt x="188772" y="1450405"/>
                        <a:pt x="188772" y="1450405"/>
                      </a:cubicBezTo>
                      <a:cubicBezTo>
                        <a:pt x="182737" y="1452622"/>
                        <a:pt x="177800" y="1449296"/>
                        <a:pt x="177800" y="1443198"/>
                      </a:cubicBezTo>
                      <a:cubicBezTo>
                        <a:pt x="177800" y="1315140"/>
                        <a:pt x="177800" y="1315140"/>
                        <a:pt x="177800" y="1315140"/>
                      </a:cubicBezTo>
                      <a:cubicBezTo>
                        <a:pt x="177800" y="1308487"/>
                        <a:pt x="182737" y="1301835"/>
                        <a:pt x="188772" y="1299617"/>
                      </a:cubicBezTo>
                      <a:cubicBezTo>
                        <a:pt x="240892" y="1280215"/>
                        <a:pt x="240892" y="1280215"/>
                        <a:pt x="240892" y="1280215"/>
                      </a:cubicBezTo>
                      <a:close/>
                      <a:moveTo>
                        <a:pt x="330259" y="1246897"/>
                      </a:moveTo>
                      <a:cubicBezTo>
                        <a:pt x="336339" y="1244659"/>
                        <a:pt x="341313" y="1248016"/>
                        <a:pt x="341313" y="1254169"/>
                      </a:cubicBezTo>
                      <a:cubicBezTo>
                        <a:pt x="341313" y="1383951"/>
                        <a:pt x="341313" y="1383951"/>
                        <a:pt x="341313" y="1383951"/>
                      </a:cubicBezTo>
                      <a:cubicBezTo>
                        <a:pt x="341313" y="1390105"/>
                        <a:pt x="336339" y="1396818"/>
                        <a:pt x="330259" y="1399055"/>
                      </a:cubicBezTo>
                      <a:cubicBezTo>
                        <a:pt x="277754" y="1418635"/>
                        <a:pt x="277754" y="1418635"/>
                        <a:pt x="277754" y="1418635"/>
                      </a:cubicBezTo>
                      <a:cubicBezTo>
                        <a:pt x="271674" y="1420872"/>
                        <a:pt x="266700" y="1417516"/>
                        <a:pt x="266700" y="1411362"/>
                      </a:cubicBezTo>
                      <a:cubicBezTo>
                        <a:pt x="266700" y="1282139"/>
                        <a:pt x="266700" y="1282139"/>
                        <a:pt x="266700" y="1282139"/>
                      </a:cubicBezTo>
                      <a:cubicBezTo>
                        <a:pt x="266700" y="1275426"/>
                        <a:pt x="271674" y="1268714"/>
                        <a:pt x="277754" y="1266476"/>
                      </a:cubicBezTo>
                      <a:cubicBezTo>
                        <a:pt x="330259" y="1246897"/>
                        <a:pt x="330259" y="1246897"/>
                        <a:pt x="330259" y="1246897"/>
                      </a:cubicBezTo>
                      <a:close/>
                      <a:moveTo>
                        <a:pt x="63092" y="1165914"/>
                      </a:moveTo>
                      <a:cubicBezTo>
                        <a:pt x="69675" y="1163697"/>
                        <a:pt x="74613" y="1167023"/>
                        <a:pt x="74613" y="1173121"/>
                      </a:cubicBezTo>
                      <a:cubicBezTo>
                        <a:pt x="74613" y="1301734"/>
                        <a:pt x="74613" y="1301734"/>
                        <a:pt x="74613" y="1301734"/>
                      </a:cubicBezTo>
                      <a:cubicBezTo>
                        <a:pt x="74613" y="1307832"/>
                        <a:pt x="69675" y="1314484"/>
                        <a:pt x="63092" y="1316702"/>
                      </a:cubicBezTo>
                      <a:cubicBezTo>
                        <a:pt x="10972" y="1336105"/>
                        <a:pt x="10972" y="1336105"/>
                        <a:pt x="10972" y="1336105"/>
                      </a:cubicBezTo>
                      <a:cubicBezTo>
                        <a:pt x="4937" y="1338322"/>
                        <a:pt x="0" y="1334996"/>
                        <a:pt x="0" y="1328898"/>
                      </a:cubicBezTo>
                      <a:cubicBezTo>
                        <a:pt x="0" y="1200839"/>
                        <a:pt x="0" y="1200839"/>
                        <a:pt x="0" y="1200839"/>
                      </a:cubicBezTo>
                      <a:cubicBezTo>
                        <a:pt x="0" y="1194187"/>
                        <a:pt x="4937" y="1187535"/>
                        <a:pt x="10972" y="1185317"/>
                      </a:cubicBezTo>
                      <a:cubicBezTo>
                        <a:pt x="63092" y="1165914"/>
                        <a:pt x="63092" y="1165914"/>
                        <a:pt x="63092" y="1165914"/>
                      </a:cubicBezTo>
                      <a:close/>
                      <a:moveTo>
                        <a:pt x="152459" y="1134164"/>
                      </a:moveTo>
                      <a:cubicBezTo>
                        <a:pt x="158539" y="1131947"/>
                        <a:pt x="163513" y="1135273"/>
                        <a:pt x="163513" y="1141371"/>
                      </a:cubicBezTo>
                      <a:cubicBezTo>
                        <a:pt x="163513" y="1269984"/>
                        <a:pt x="163513" y="1269984"/>
                        <a:pt x="163513" y="1269984"/>
                      </a:cubicBezTo>
                      <a:cubicBezTo>
                        <a:pt x="163513" y="1276082"/>
                        <a:pt x="158539" y="1282734"/>
                        <a:pt x="152459" y="1284952"/>
                      </a:cubicBezTo>
                      <a:cubicBezTo>
                        <a:pt x="99954" y="1304355"/>
                        <a:pt x="99954" y="1304355"/>
                        <a:pt x="99954" y="1304355"/>
                      </a:cubicBezTo>
                      <a:cubicBezTo>
                        <a:pt x="93874" y="1306572"/>
                        <a:pt x="88900" y="1303246"/>
                        <a:pt x="88900" y="1297148"/>
                      </a:cubicBezTo>
                      <a:cubicBezTo>
                        <a:pt x="88900" y="1169089"/>
                        <a:pt x="88900" y="1169089"/>
                        <a:pt x="88900" y="1169089"/>
                      </a:cubicBezTo>
                      <a:cubicBezTo>
                        <a:pt x="88900" y="1162437"/>
                        <a:pt x="93874" y="1155785"/>
                        <a:pt x="99954" y="1153567"/>
                      </a:cubicBezTo>
                      <a:cubicBezTo>
                        <a:pt x="152459" y="1134164"/>
                        <a:pt x="152459" y="1134164"/>
                        <a:pt x="152459" y="1134164"/>
                      </a:cubicBezTo>
                      <a:close/>
                      <a:moveTo>
                        <a:pt x="240892" y="1100847"/>
                      </a:moveTo>
                      <a:cubicBezTo>
                        <a:pt x="247475" y="1098609"/>
                        <a:pt x="252413" y="1101965"/>
                        <a:pt x="252413" y="1108119"/>
                      </a:cubicBezTo>
                      <a:cubicBezTo>
                        <a:pt x="252413" y="1237342"/>
                        <a:pt x="252413" y="1237342"/>
                        <a:pt x="252413" y="1237342"/>
                      </a:cubicBezTo>
                      <a:cubicBezTo>
                        <a:pt x="252413" y="1244055"/>
                        <a:pt x="247475" y="1250768"/>
                        <a:pt x="240892" y="1253005"/>
                      </a:cubicBezTo>
                      <a:cubicBezTo>
                        <a:pt x="188772" y="1272585"/>
                        <a:pt x="188772" y="1272585"/>
                        <a:pt x="188772" y="1272585"/>
                      </a:cubicBezTo>
                      <a:cubicBezTo>
                        <a:pt x="182737" y="1274822"/>
                        <a:pt x="177800" y="1271466"/>
                        <a:pt x="177800" y="1265312"/>
                      </a:cubicBezTo>
                      <a:cubicBezTo>
                        <a:pt x="177800" y="1136089"/>
                        <a:pt x="177800" y="1136089"/>
                        <a:pt x="177800" y="1136089"/>
                      </a:cubicBezTo>
                      <a:cubicBezTo>
                        <a:pt x="177800" y="1129376"/>
                        <a:pt x="182737" y="1122663"/>
                        <a:pt x="188772" y="1120426"/>
                      </a:cubicBezTo>
                      <a:cubicBezTo>
                        <a:pt x="240892" y="1100847"/>
                        <a:pt x="240892" y="1100847"/>
                        <a:pt x="240892" y="1100847"/>
                      </a:cubicBezTo>
                      <a:close/>
                      <a:moveTo>
                        <a:pt x="330259" y="1069076"/>
                      </a:moveTo>
                      <a:cubicBezTo>
                        <a:pt x="336339" y="1066859"/>
                        <a:pt x="341313" y="1070185"/>
                        <a:pt x="341313" y="1076283"/>
                      </a:cubicBezTo>
                      <a:cubicBezTo>
                        <a:pt x="341313" y="1204341"/>
                        <a:pt x="341313" y="1204341"/>
                        <a:pt x="341313" y="1204341"/>
                      </a:cubicBezTo>
                      <a:cubicBezTo>
                        <a:pt x="341313" y="1210994"/>
                        <a:pt x="336339" y="1217646"/>
                        <a:pt x="330259" y="1219864"/>
                      </a:cubicBezTo>
                      <a:cubicBezTo>
                        <a:pt x="277754" y="1239266"/>
                        <a:pt x="277754" y="1239266"/>
                        <a:pt x="277754" y="1239266"/>
                      </a:cubicBezTo>
                      <a:cubicBezTo>
                        <a:pt x="271674" y="1241484"/>
                        <a:pt x="266700" y="1238158"/>
                        <a:pt x="266700" y="1232060"/>
                      </a:cubicBezTo>
                      <a:cubicBezTo>
                        <a:pt x="266700" y="1104001"/>
                        <a:pt x="266700" y="1104001"/>
                        <a:pt x="266700" y="1104001"/>
                      </a:cubicBezTo>
                      <a:cubicBezTo>
                        <a:pt x="266700" y="1097349"/>
                        <a:pt x="271674" y="1090697"/>
                        <a:pt x="277754" y="1088479"/>
                      </a:cubicBezTo>
                      <a:cubicBezTo>
                        <a:pt x="330259" y="1069076"/>
                        <a:pt x="330259" y="1069076"/>
                        <a:pt x="330259" y="1069076"/>
                      </a:cubicBezTo>
                      <a:close/>
                      <a:moveTo>
                        <a:pt x="63092" y="988114"/>
                      </a:moveTo>
                      <a:cubicBezTo>
                        <a:pt x="69675" y="985897"/>
                        <a:pt x="74613" y="989223"/>
                        <a:pt x="74613" y="995321"/>
                      </a:cubicBezTo>
                      <a:cubicBezTo>
                        <a:pt x="74613" y="1123379"/>
                        <a:pt x="74613" y="1123379"/>
                        <a:pt x="74613" y="1123379"/>
                      </a:cubicBezTo>
                      <a:cubicBezTo>
                        <a:pt x="74613" y="1130032"/>
                        <a:pt x="69675" y="1136684"/>
                        <a:pt x="63092" y="1138902"/>
                      </a:cubicBezTo>
                      <a:cubicBezTo>
                        <a:pt x="10972" y="1158304"/>
                        <a:pt x="10972" y="1158304"/>
                        <a:pt x="10972" y="1158304"/>
                      </a:cubicBezTo>
                      <a:cubicBezTo>
                        <a:pt x="4937" y="1160522"/>
                        <a:pt x="0" y="1157196"/>
                        <a:pt x="0" y="1151098"/>
                      </a:cubicBezTo>
                      <a:cubicBezTo>
                        <a:pt x="0" y="1023039"/>
                        <a:pt x="0" y="1023039"/>
                        <a:pt x="0" y="1023039"/>
                      </a:cubicBezTo>
                      <a:cubicBezTo>
                        <a:pt x="0" y="1016387"/>
                        <a:pt x="4937" y="1009735"/>
                        <a:pt x="10972" y="1007517"/>
                      </a:cubicBezTo>
                      <a:cubicBezTo>
                        <a:pt x="63092" y="988114"/>
                        <a:pt x="63092" y="988114"/>
                        <a:pt x="63092" y="988114"/>
                      </a:cubicBezTo>
                      <a:close/>
                      <a:moveTo>
                        <a:pt x="152459" y="956364"/>
                      </a:moveTo>
                      <a:cubicBezTo>
                        <a:pt x="158539" y="954147"/>
                        <a:pt x="163513" y="957473"/>
                        <a:pt x="163513" y="963571"/>
                      </a:cubicBezTo>
                      <a:cubicBezTo>
                        <a:pt x="163513" y="1091629"/>
                        <a:pt x="163513" y="1091629"/>
                        <a:pt x="163513" y="1091629"/>
                      </a:cubicBezTo>
                      <a:cubicBezTo>
                        <a:pt x="163513" y="1098282"/>
                        <a:pt x="158539" y="1104934"/>
                        <a:pt x="152459" y="1107152"/>
                      </a:cubicBezTo>
                      <a:cubicBezTo>
                        <a:pt x="99954" y="1126554"/>
                        <a:pt x="99954" y="1126554"/>
                        <a:pt x="99954" y="1126554"/>
                      </a:cubicBezTo>
                      <a:cubicBezTo>
                        <a:pt x="93874" y="1128772"/>
                        <a:pt x="88900" y="1125446"/>
                        <a:pt x="88900" y="1119348"/>
                      </a:cubicBezTo>
                      <a:cubicBezTo>
                        <a:pt x="88900" y="990735"/>
                        <a:pt x="88900" y="990735"/>
                        <a:pt x="88900" y="990735"/>
                      </a:cubicBezTo>
                      <a:cubicBezTo>
                        <a:pt x="88900" y="984637"/>
                        <a:pt x="93874" y="977985"/>
                        <a:pt x="99954" y="975767"/>
                      </a:cubicBezTo>
                      <a:cubicBezTo>
                        <a:pt x="152459" y="956364"/>
                        <a:pt x="152459" y="956364"/>
                        <a:pt x="152459" y="956364"/>
                      </a:cubicBezTo>
                      <a:close/>
                      <a:moveTo>
                        <a:pt x="240892" y="923047"/>
                      </a:moveTo>
                      <a:cubicBezTo>
                        <a:pt x="247475" y="920809"/>
                        <a:pt x="252413" y="924165"/>
                        <a:pt x="252413" y="930319"/>
                      </a:cubicBezTo>
                      <a:cubicBezTo>
                        <a:pt x="252413" y="1059542"/>
                        <a:pt x="252413" y="1059542"/>
                        <a:pt x="252413" y="1059542"/>
                      </a:cubicBezTo>
                      <a:cubicBezTo>
                        <a:pt x="252413" y="1066255"/>
                        <a:pt x="247475" y="1072967"/>
                        <a:pt x="240892" y="1075205"/>
                      </a:cubicBezTo>
                      <a:cubicBezTo>
                        <a:pt x="188772" y="1094784"/>
                        <a:pt x="188772" y="1094784"/>
                        <a:pt x="188772" y="1094784"/>
                      </a:cubicBezTo>
                      <a:cubicBezTo>
                        <a:pt x="182737" y="1097022"/>
                        <a:pt x="177800" y="1093665"/>
                        <a:pt x="177800" y="1087512"/>
                      </a:cubicBezTo>
                      <a:cubicBezTo>
                        <a:pt x="177800" y="957730"/>
                        <a:pt x="177800" y="957730"/>
                        <a:pt x="177800" y="957730"/>
                      </a:cubicBezTo>
                      <a:cubicBezTo>
                        <a:pt x="177800" y="951576"/>
                        <a:pt x="182737" y="944863"/>
                        <a:pt x="188772" y="942626"/>
                      </a:cubicBezTo>
                      <a:cubicBezTo>
                        <a:pt x="240892" y="923047"/>
                        <a:pt x="240892" y="923047"/>
                        <a:pt x="240892" y="923047"/>
                      </a:cubicBezTo>
                      <a:close/>
                      <a:moveTo>
                        <a:pt x="330259" y="891276"/>
                      </a:moveTo>
                      <a:cubicBezTo>
                        <a:pt x="336339" y="889059"/>
                        <a:pt x="341313" y="892385"/>
                        <a:pt x="341313" y="898483"/>
                      </a:cubicBezTo>
                      <a:cubicBezTo>
                        <a:pt x="341313" y="1026541"/>
                        <a:pt x="341313" y="1026541"/>
                        <a:pt x="341313" y="1026541"/>
                      </a:cubicBezTo>
                      <a:cubicBezTo>
                        <a:pt x="341313" y="1032639"/>
                        <a:pt x="336339" y="1039846"/>
                        <a:pt x="330259" y="1042064"/>
                      </a:cubicBezTo>
                      <a:cubicBezTo>
                        <a:pt x="277754" y="1061466"/>
                        <a:pt x="277754" y="1061466"/>
                        <a:pt x="277754" y="1061466"/>
                      </a:cubicBezTo>
                      <a:cubicBezTo>
                        <a:pt x="271674" y="1063684"/>
                        <a:pt x="266700" y="1060358"/>
                        <a:pt x="266700" y="1054260"/>
                      </a:cubicBezTo>
                      <a:cubicBezTo>
                        <a:pt x="266700" y="925647"/>
                        <a:pt x="266700" y="925647"/>
                        <a:pt x="266700" y="925647"/>
                      </a:cubicBezTo>
                      <a:cubicBezTo>
                        <a:pt x="266700" y="919549"/>
                        <a:pt x="271674" y="912897"/>
                        <a:pt x="277754" y="910679"/>
                      </a:cubicBezTo>
                      <a:cubicBezTo>
                        <a:pt x="330259" y="891276"/>
                        <a:pt x="330259" y="891276"/>
                        <a:pt x="330259" y="891276"/>
                      </a:cubicBezTo>
                      <a:close/>
                      <a:moveTo>
                        <a:pt x="63092" y="810314"/>
                      </a:moveTo>
                      <a:cubicBezTo>
                        <a:pt x="69675" y="808097"/>
                        <a:pt x="74613" y="811423"/>
                        <a:pt x="74613" y="817521"/>
                      </a:cubicBezTo>
                      <a:cubicBezTo>
                        <a:pt x="74613" y="945579"/>
                        <a:pt x="74613" y="945579"/>
                        <a:pt x="74613" y="945579"/>
                      </a:cubicBezTo>
                      <a:cubicBezTo>
                        <a:pt x="74613" y="951677"/>
                        <a:pt x="69675" y="958884"/>
                        <a:pt x="63092" y="961102"/>
                      </a:cubicBezTo>
                      <a:cubicBezTo>
                        <a:pt x="10972" y="980504"/>
                        <a:pt x="10972" y="980504"/>
                        <a:pt x="10972" y="980504"/>
                      </a:cubicBezTo>
                      <a:cubicBezTo>
                        <a:pt x="4937" y="982722"/>
                        <a:pt x="0" y="979396"/>
                        <a:pt x="0" y="973298"/>
                      </a:cubicBezTo>
                      <a:cubicBezTo>
                        <a:pt x="0" y="844685"/>
                        <a:pt x="0" y="844685"/>
                        <a:pt x="0" y="844685"/>
                      </a:cubicBezTo>
                      <a:cubicBezTo>
                        <a:pt x="0" y="838587"/>
                        <a:pt x="4937" y="831935"/>
                        <a:pt x="10972" y="829717"/>
                      </a:cubicBezTo>
                      <a:cubicBezTo>
                        <a:pt x="63092" y="810314"/>
                        <a:pt x="63092" y="810314"/>
                        <a:pt x="63092" y="810314"/>
                      </a:cubicBezTo>
                      <a:close/>
                      <a:moveTo>
                        <a:pt x="152459" y="776997"/>
                      </a:moveTo>
                      <a:cubicBezTo>
                        <a:pt x="158539" y="774759"/>
                        <a:pt x="163513" y="778115"/>
                        <a:pt x="163513" y="784269"/>
                      </a:cubicBezTo>
                      <a:cubicBezTo>
                        <a:pt x="163513" y="913492"/>
                        <a:pt x="163513" y="913492"/>
                        <a:pt x="163513" y="913492"/>
                      </a:cubicBezTo>
                      <a:cubicBezTo>
                        <a:pt x="163513" y="919645"/>
                        <a:pt x="158539" y="926917"/>
                        <a:pt x="152459" y="929155"/>
                      </a:cubicBezTo>
                      <a:cubicBezTo>
                        <a:pt x="99954" y="948175"/>
                        <a:pt x="99954" y="948175"/>
                        <a:pt x="99954" y="948175"/>
                      </a:cubicBezTo>
                      <a:cubicBezTo>
                        <a:pt x="93874" y="950972"/>
                        <a:pt x="88900" y="947615"/>
                        <a:pt x="88900" y="941462"/>
                      </a:cubicBezTo>
                      <a:cubicBezTo>
                        <a:pt x="88900" y="811680"/>
                        <a:pt x="88900" y="811680"/>
                        <a:pt x="88900" y="811680"/>
                      </a:cubicBezTo>
                      <a:cubicBezTo>
                        <a:pt x="88900" y="805526"/>
                        <a:pt x="93874" y="798813"/>
                        <a:pt x="99954" y="796576"/>
                      </a:cubicBezTo>
                      <a:cubicBezTo>
                        <a:pt x="152459" y="776997"/>
                        <a:pt x="152459" y="776997"/>
                        <a:pt x="152459" y="776997"/>
                      </a:cubicBezTo>
                      <a:close/>
                      <a:moveTo>
                        <a:pt x="240892" y="745247"/>
                      </a:moveTo>
                      <a:cubicBezTo>
                        <a:pt x="247475" y="743009"/>
                        <a:pt x="252413" y="746365"/>
                        <a:pt x="252413" y="752519"/>
                      </a:cubicBezTo>
                      <a:cubicBezTo>
                        <a:pt x="252413" y="881742"/>
                        <a:pt x="252413" y="881742"/>
                        <a:pt x="252413" y="881742"/>
                      </a:cubicBezTo>
                      <a:cubicBezTo>
                        <a:pt x="252413" y="887895"/>
                        <a:pt x="247475" y="895167"/>
                        <a:pt x="240892" y="897405"/>
                      </a:cubicBezTo>
                      <a:cubicBezTo>
                        <a:pt x="188772" y="916425"/>
                        <a:pt x="188772" y="916425"/>
                        <a:pt x="188772" y="916425"/>
                      </a:cubicBezTo>
                      <a:cubicBezTo>
                        <a:pt x="182737" y="919222"/>
                        <a:pt x="177800" y="915865"/>
                        <a:pt x="177800" y="909712"/>
                      </a:cubicBezTo>
                      <a:cubicBezTo>
                        <a:pt x="177800" y="779930"/>
                        <a:pt x="177800" y="779930"/>
                        <a:pt x="177800" y="779930"/>
                      </a:cubicBezTo>
                      <a:cubicBezTo>
                        <a:pt x="177800" y="773776"/>
                        <a:pt x="182737" y="767063"/>
                        <a:pt x="188772" y="764826"/>
                      </a:cubicBezTo>
                      <a:cubicBezTo>
                        <a:pt x="240892" y="745247"/>
                        <a:pt x="240892" y="745247"/>
                        <a:pt x="240892" y="745247"/>
                      </a:cubicBezTo>
                      <a:close/>
                      <a:moveTo>
                        <a:pt x="330259" y="713483"/>
                      </a:moveTo>
                      <a:cubicBezTo>
                        <a:pt x="336339" y="711259"/>
                        <a:pt x="341313" y="714596"/>
                        <a:pt x="341313" y="720713"/>
                      </a:cubicBezTo>
                      <a:cubicBezTo>
                        <a:pt x="341313" y="849179"/>
                        <a:pt x="341313" y="849179"/>
                        <a:pt x="341313" y="849179"/>
                      </a:cubicBezTo>
                      <a:cubicBezTo>
                        <a:pt x="341313" y="855297"/>
                        <a:pt x="336339" y="862526"/>
                        <a:pt x="330259" y="864751"/>
                      </a:cubicBezTo>
                      <a:cubicBezTo>
                        <a:pt x="277754" y="883659"/>
                        <a:pt x="277754" y="883659"/>
                        <a:pt x="277754" y="883659"/>
                      </a:cubicBezTo>
                      <a:cubicBezTo>
                        <a:pt x="271674" y="885884"/>
                        <a:pt x="266700" y="883103"/>
                        <a:pt x="266700" y="876430"/>
                      </a:cubicBezTo>
                      <a:cubicBezTo>
                        <a:pt x="266700" y="747963"/>
                        <a:pt x="266700" y="747963"/>
                        <a:pt x="266700" y="747963"/>
                      </a:cubicBezTo>
                      <a:cubicBezTo>
                        <a:pt x="266700" y="741846"/>
                        <a:pt x="271674" y="735172"/>
                        <a:pt x="277754" y="732948"/>
                      </a:cubicBezTo>
                      <a:cubicBezTo>
                        <a:pt x="330259" y="713483"/>
                        <a:pt x="330259" y="713483"/>
                        <a:pt x="330259" y="713483"/>
                      </a:cubicBezTo>
                      <a:close/>
                      <a:moveTo>
                        <a:pt x="63092" y="632521"/>
                      </a:moveTo>
                      <a:cubicBezTo>
                        <a:pt x="69675" y="630297"/>
                        <a:pt x="74613" y="633634"/>
                        <a:pt x="74613" y="639751"/>
                      </a:cubicBezTo>
                      <a:cubicBezTo>
                        <a:pt x="74613" y="768217"/>
                        <a:pt x="74613" y="768217"/>
                        <a:pt x="74613" y="768217"/>
                      </a:cubicBezTo>
                      <a:cubicBezTo>
                        <a:pt x="74613" y="774335"/>
                        <a:pt x="69675" y="781564"/>
                        <a:pt x="63092" y="783789"/>
                      </a:cubicBezTo>
                      <a:cubicBezTo>
                        <a:pt x="10972" y="802697"/>
                        <a:pt x="10972" y="802697"/>
                        <a:pt x="10972" y="802697"/>
                      </a:cubicBezTo>
                      <a:cubicBezTo>
                        <a:pt x="4937" y="804922"/>
                        <a:pt x="0" y="802141"/>
                        <a:pt x="0" y="795468"/>
                      </a:cubicBezTo>
                      <a:cubicBezTo>
                        <a:pt x="0" y="667001"/>
                        <a:pt x="0" y="667001"/>
                        <a:pt x="0" y="667001"/>
                      </a:cubicBezTo>
                      <a:cubicBezTo>
                        <a:pt x="0" y="660884"/>
                        <a:pt x="4937" y="654210"/>
                        <a:pt x="10972" y="651986"/>
                      </a:cubicBezTo>
                      <a:cubicBezTo>
                        <a:pt x="63092" y="632521"/>
                        <a:pt x="63092" y="632521"/>
                        <a:pt x="63092" y="632521"/>
                      </a:cubicBezTo>
                      <a:close/>
                      <a:moveTo>
                        <a:pt x="152459" y="599183"/>
                      </a:moveTo>
                      <a:cubicBezTo>
                        <a:pt x="158539" y="596959"/>
                        <a:pt x="163513" y="600296"/>
                        <a:pt x="163513" y="606413"/>
                      </a:cubicBezTo>
                      <a:cubicBezTo>
                        <a:pt x="163513" y="734879"/>
                        <a:pt x="163513" y="734879"/>
                        <a:pt x="163513" y="734879"/>
                      </a:cubicBezTo>
                      <a:cubicBezTo>
                        <a:pt x="163513" y="740997"/>
                        <a:pt x="158539" y="748226"/>
                        <a:pt x="152459" y="750451"/>
                      </a:cubicBezTo>
                      <a:cubicBezTo>
                        <a:pt x="99954" y="769359"/>
                        <a:pt x="99954" y="769359"/>
                        <a:pt x="99954" y="769359"/>
                      </a:cubicBezTo>
                      <a:cubicBezTo>
                        <a:pt x="93874" y="771584"/>
                        <a:pt x="88900" y="768803"/>
                        <a:pt x="88900" y="762130"/>
                      </a:cubicBezTo>
                      <a:cubicBezTo>
                        <a:pt x="88900" y="633663"/>
                        <a:pt x="88900" y="633663"/>
                        <a:pt x="88900" y="633663"/>
                      </a:cubicBezTo>
                      <a:cubicBezTo>
                        <a:pt x="88900" y="627546"/>
                        <a:pt x="93874" y="620872"/>
                        <a:pt x="99954" y="618648"/>
                      </a:cubicBezTo>
                      <a:cubicBezTo>
                        <a:pt x="152459" y="599183"/>
                        <a:pt x="152459" y="599183"/>
                        <a:pt x="152459" y="599183"/>
                      </a:cubicBezTo>
                      <a:close/>
                      <a:moveTo>
                        <a:pt x="240892" y="567433"/>
                      </a:moveTo>
                      <a:cubicBezTo>
                        <a:pt x="247475" y="565209"/>
                        <a:pt x="252413" y="568546"/>
                        <a:pt x="252413" y="574663"/>
                      </a:cubicBezTo>
                      <a:cubicBezTo>
                        <a:pt x="252413" y="703129"/>
                        <a:pt x="252413" y="703129"/>
                        <a:pt x="252413" y="703129"/>
                      </a:cubicBezTo>
                      <a:cubicBezTo>
                        <a:pt x="252413" y="709247"/>
                        <a:pt x="247475" y="716476"/>
                        <a:pt x="240892" y="718701"/>
                      </a:cubicBezTo>
                      <a:cubicBezTo>
                        <a:pt x="188772" y="737609"/>
                        <a:pt x="188772" y="737609"/>
                        <a:pt x="188772" y="737609"/>
                      </a:cubicBezTo>
                      <a:cubicBezTo>
                        <a:pt x="182737" y="739834"/>
                        <a:pt x="177800" y="737053"/>
                        <a:pt x="177800" y="730380"/>
                      </a:cubicBezTo>
                      <a:cubicBezTo>
                        <a:pt x="177800" y="601913"/>
                        <a:pt x="177800" y="601913"/>
                        <a:pt x="177800" y="601913"/>
                      </a:cubicBezTo>
                      <a:cubicBezTo>
                        <a:pt x="177800" y="595796"/>
                        <a:pt x="182737" y="589122"/>
                        <a:pt x="188772" y="586342"/>
                      </a:cubicBezTo>
                      <a:cubicBezTo>
                        <a:pt x="240892" y="567433"/>
                        <a:pt x="240892" y="567433"/>
                        <a:pt x="240892" y="567433"/>
                      </a:cubicBezTo>
                      <a:close/>
                      <a:moveTo>
                        <a:pt x="330259" y="535683"/>
                      </a:moveTo>
                      <a:cubicBezTo>
                        <a:pt x="336339" y="533459"/>
                        <a:pt x="341313" y="536796"/>
                        <a:pt x="341313" y="542913"/>
                      </a:cubicBezTo>
                      <a:cubicBezTo>
                        <a:pt x="341313" y="671379"/>
                        <a:pt x="341313" y="671379"/>
                        <a:pt x="341313" y="671379"/>
                      </a:cubicBezTo>
                      <a:cubicBezTo>
                        <a:pt x="341313" y="677497"/>
                        <a:pt x="336339" y="684726"/>
                        <a:pt x="330259" y="686951"/>
                      </a:cubicBezTo>
                      <a:cubicBezTo>
                        <a:pt x="277754" y="705859"/>
                        <a:pt x="277754" y="705859"/>
                        <a:pt x="277754" y="705859"/>
                      </a:cubicBezTo>
                      <a:cubicBezTo>
                        <a:pt x="271674" y="708084"/>
                        <a:pt x="266700" y="705303"/>
                        <a:pt x="266700" y="698630"/>
                      </a:cubicBezTo>
                      <a:cubicBezTo>
                        <a:pt x="266700" y="570163"/>
                        <a:pt x="266700" y="570163"/>
                        <a:pt x="266700" y="570163"/>
                      </a:cubicBezTo>
                      <a:cubicBezTo>
                        <a:pt x="266700" y="564046"/>
                        <a:pt x="271674" y="556816"/>
                        <a:pt x="277754" y="554592"/>
                      </a:cubicBezTo>
                      <a:cubicBezTo>
                        <a:pt x="330259" y="535683"/>
                        <a:pt x="330259" y="535683"/>
                        <a:pt x="330259" y="535683"/>
                      </a:cubicBezTo>
                      <a:close/>
                      <a:moveTo>
                        <a:pt x="63092" y="453154"/>
                      </a:moveTo>
                      <a:cubicBezTo>
                        <a:pt x="69675" y="450909"/>
                        <a:pt x="74613" y="454276"/>
                        <a:pt x="74613" y="460449"/>
                      </a:cubicBezTo>
                      <a:cubicBezTo>
                        <a:pt x="74613" y="590083"/>
                        <a:pt x="74613" y="590083"/>
                        <a:pt x="74613" y="590083"/>
                      </a:cubicBezTo>
                      <a:cubicBezTo>
                        <a:pt x="74613" y="596257"/>
                        <a:pt x="69675" y="603552"/>
                        <a:pt x="63092" y="605797"/>
                      </a:cubicBezTo>
                      <a:cubicBezTo>
                        <a:pt x="10972" y="624877"/>
                        <a:pt x="10972" y="624877"/>
                        <a:pt x="10972" y="624877"/>
                      </a:cubicBezTo>
                      <a:cubicBezTo>
                        <a:pt x="4937" y="627122"/>
                        <a:pt x="0" y="624316"/>
                        <a:pt x="0" y="617582"/>
                      </a:cubicBezTo>
                      <a:cubicBezTo>
                        <a:pt x="0" y="487947"/>
                        <a:pt x="0" y="487947"/>
                        <a:pt x="0" y="487947"/>
                      </a:cubicBezTo>
                      <a:cubicBezTo>
                        <a:pt x="0" y="481774"/>
                        <a:pt x="4937" y="474479"/>
                        <a:pt x="10972" y="472234"/>
                      </a:cubicBezTo>
                      <a:cubicBezTo>
                        <a:pt x="63092" y="453154"/>
                        <a:pt x="63092" y="453154"/>
                        <a:pt x="63092" y="453154"/>
                      </a:cubicBezTo>
                      <a:close/>
                      <a:moveTo>
                        <a:pt x="152459" y="421383"/>
                      </a:moveTo>
                      <a:cubicBezTo>
                        <a:pt x="158539" y="419159"/>
                        <a:pt x="163513" y="421940"/>
                        <a:pt x="163513" y="428613"/>
                      </a:cubicBezTo>
                      <a:cubicBezTo>
                        <a:pt x="163513" y="557079"/>
                        <a:pt x="163513" y="557079"/>
                        <a:pt x="163513" y="557079"/>
                      </a:cubicBezTo>
                      <a:cubicBezTo>
                        <a:pt x="163513" y="563197"/>
                        <a:pt x="158539" y="570426"/>
                        <a:pt x="152459" y="572651"/>
                      </a:cubicBezTo>
                      <a:cubicBezTo>
                        <a:pt x="99954" y="591559"/>
                        <a:pt x="99954" y="591559"/>
                        <a:pt x="99954" y="591559"/>
                      </a:cubicBezTo>
                      <a:cubicBezTo>
                        <a:pt x="93874" y="593784"/>
                        <a:pt x="88900" y="590447"/>
                        <a:pt x="88900" y="584330"/>
                      </a:cubicBezTo>
                      <a:cubicBezTo>
                        <a:pt x="88900" y="455863"/>
                        <a:pt x="88900" y="455863"/>
                        <a:pt x="88900" y="455863"/>
                      </a:cubicBezTo>
                      <a:cubicBezTo>
                        <a:pt x="88900" y="449746"/>
                        <a:pt x="93874" y="442516"/>
                        <a:pt x="99954" y="440292"/>
                      </a:cubicBezTo>
                      <a:cubicBezTo>
                        <a:pt x="152459" y="421383"/>
                        <a:pt x="152459" y="421383"/>
                        <a:pt x="152459" y="421383"/>
                      </a:cubicBezTo>
                      <a:close/>
                      <a:moveTo>
                        <a:pt x="240892" y="389633"/>
                      </a:moveTo>
                      <a:cubicBezTo>
                        <a:pt x="247475" y="387409"/>
                        <a:pt x="252413" y="390190"/>
                        <a:pt x="252413" y="396863"/>
                      </a:cubicBezTo>
                      <a:cubicBezTo>
                        <a:pt x="252413" y="525329"/>
                        <a:pt x="252413" y="525329"/>
                        <a:pt x="252413" y="525329"/>
                      </a:cubicBezTo>
                      <a:cubicBezTo>
                        <a:pt x="252413" y="531447"/>
                        <a:pt x="247475" y="538120"/>
                        <a:pt x="240892" y="540901"/>
                      </a:cubicBezTo>
                      <a:cubicBezTo>
                        <a:pt x="188772" y="559809"/>
                        <a:pt x="188772" y="559809"/>
                        <a:pt x="188772" y="559809"/>
                      </a:cubicBezTo>
                      <a:cubicBezTo>
                        <a:pt x="182737" y="562034"/>
                        <a:pt x="177800" y="558697"/>
                        <a:pt x="177800" y="552580"/>
                      </a:cubicBezTo>
                      <a:cubicBezTo>
                        <a:pt x="177800" y="424113"/>
                        <a:pt x="177800" y="424113"/>
                        <a:pt x="177800" y="424113"/>
                      </a:cubicBezTo>
                      <a:cubicBezTo>
                        <a:pt x="177800" y="417996"/>
                        <a:pt x="182737" y="410766"/>
                        <a:pt x="188772" y="408542"/>
                      </a:cubicBezTo>
                      <a:cubicBezTo>
                        <a:pt x="240892" y="389633"/>
                        <a:pt x="240892" y="389633"/>
                        <a:pt x="240892" y="389633"/>
                      </a:cubicBezTo>
                      <a:close/>
                      <a:moveTo>
                        <a:pt x="330259" y="356317"/>
                      </a:moveTo>
                      <a:cubicBezTo>
                        <a:pt x="336339" y="354072"/>
                        <a:pt x="341313" y="356878"/>
                        <a:pt x="341313" y="363612"/>
                      </a:cubicBezTo>
                      <a:cubicBezTo>
                        <a:pt x="341313" y="493246"/>
                        <a:pt x="341313" y="493246"/>
                        <a:pt x="341313" y="493246"/>
                      </a:cubicBezTo>
                      <a:cubicBezTo>
                        <a:pt x="341313" y="499420"/>
                        <a:pt x="336339" y="506154"/>
                        <a:pt x="330259" y="508960"/>
                      </a:cubicBezTo>
                      <a:cubicBezTo>
                        <a:pt x="277754" y="528040"/>
                        <a:pt x="277754" y="528040"/>
                        <a:pt x="277754" y="528040"/>
                      </a:cubicBezTo>
                      <a:cubicBezTo>
                        <a:pt x="271674" y="530285"/>
                        <a:pt x="266700" y="526918"/>
                        <a:pt x="266700" y="520745"/>
                      </a:cubicBezTo>
                      <a:cubicBezTo>
                        <a:pt x="266700" y="391110"/>
                        <a:pt x="266700" y="391110"/>
                        <a:pt x="266700" y="391110"/>
                      </a:cubicBezTo>
                      <a:cubicBezTo>
                        <a:pt x="266700" y="384937"/>
                        <a:pt x="271674" y="377642"/>
                        <a:pt x="277754" y="375397"/>
                      </a:cubicBezTo>
                      <a:cubicBezTo>
                        <a:pt x="330259" y="356317"/>
                        <a:pt x="330259" y="356317"/>
                        <a:pt x="330259" y="356317"/>
                      </a:cubicBezTo>
                      <a:close/>
                      <a:moveTo>
                        <a:pt x="63092" y="275333"/>
                      </a:moveTo>
                      <a:cubicBezTo>
                        <a:pt x="69675" y="273109"/>
                        <a:pt x="74613" y="275890"/>
                        <a:pt x="74613" y="282563"/>
                      </a:cubicBezTo>
                      <a:cubicBezTo>
                        <a:pt x="74613" y="411029"/>
                        <a:pt x="74613" y="411029"/>
                        <a:pt x="74613" y="411029"/>
                      </a:cubicBezTo>
                      <a:cubicBezTo>
                        <a:pt x="74613" y="417147"/>
                        <a:pt x="69675" y="423820"/>
                        <a:pt x="63092" y="426601"/>
                      </a:cubicBezTo>
                      <a:cubicBezTo>
                        <a:pt x="10972" y="445509"/>
                        <a:pt x="10972" y="445509"/>
                        <a:pt x="10972" y="445509"/>
                      </a:cubicBezTo>
                      <a:cubicBezTo>
                        <a:pt x="4937" y="447734"/>
                        <a:pt x="0" y="444397"/>
                        <a:pt x="0" y="438280"/>
                      </a:cubicBezTo>
                      <a:cubicBezTo>
                        <a:pt x="0" y="309813"/>
                        <a:pt x="0" y="309813"/>
                        <a:pt x="0" y="309813"/>
                      </a:cubicBezTo>
                      <a:cubicBezTo>
                        <a:pt x="0" y="303696"/>
                        <a:pt x="4937" y="296466"/>
                        <a:pt x="10972" y="294242"/>
                      </a:cubicBezTo>
                      <a:cubicBezTo>
                        <a:pt x="63092" y="275333"/>
                        <a:pt x="63092" y="275333"/>
                        <a:pt x="63092" y="275333"/>
                      </a:cubicBezTo>
                      <a:close/>
                      <a:moveTo>
                        <a:pt x="152459" y="243583"/>
                      </a:moveTo>
                      <a:cubicBezTo>
                        <a:pt x="158539" y="241359"/>
                        <a:pt x="163513" y="244140"/>
                        <a:pt x="163513" y="250813"/>
                      </a:cubicBezTo>
                      <a:cubicBezTo>
                        <a:pt x="163513" y="379279"/>
                        <a:pt x="163513" y="379279"/>
                        <a:pt x="163513" y="379279"/>
                      </a:cubicBezTo>
                      <a:cubicBezTo>
                        <a:pt x="163513" y="385397"/>
                        <a:pt x="158539" y="392070"/>
                        <a:pt x="152459" y="394295"/>
                      </a:cubicBezTo>
                      <a:cubicBezTo>
                        <a:pt x="99954" y="413759"/>
                        <a:pt x="99954" y="413759"/>
                        <a:pt x="99954" y="413759"/>
                      </a:cubicBezTo>
                      <a:cubicBezTo>
                        <a:pt x="93874" y="415984"/>
                        <a:pt x="88900" y="412647"/>
                        <a:pt x="88900" y="406530"/>
                      </a:cubicBezTo>
                      <a:cubicBezTo>
                        <a:pt x="88900" y="278063"/>
                        <a:pt x="88900" y="278063"/>
                        <a:pt x="88900" y="278063"/>
                      </a:cubicBezTo>
                      <a:cubicBezTo>
                        <a:pt x="88900" y="271946"/>
                        <a:pt x="93874" y="264716"/>
                        <a:pt x="99954" y="262492"/>
                      </a:cubicBezTo>
                      <a:cubicBezTo>
                        <a:pt x="152459" y="243583"/>
                        <a:pt x="152459" y="243583"/>
                        <a:pt x="152459" y="243583"/>
                      </a:cubicBezTo>
                      <a:close/>
                      <a:moveTo>
                        <a:pt x="240892" y="211833"/>
                      </a:moveTo>
                      <a:cubicBezTo>
                        <a:pt x="247475" y="209609"/>
                        <a:pt x="252413" y="212390"/>
                        <a:pt x="252413" y="219063"/>
                      </a:cubicBezTo>
                      <a:cubicBezTo>
                        <a:pt x="252413" y="347529"/>
                        <a:pt x="252413" y="347529"/>
                        <a:pt x="252413" y="347529"/>
                      </a:cubicBezTo>
                      <a:cubicBezTo>
                        <a:pt x="252413" y="353647"/>
                        <a:pt x="247475" y="360320"/>
                        <a:pt x="240892" y="362545"/>
                      </a:cubicBezTo>
                      <a:cubicBezTo>
                        <a:pt x="188772" y="382009"/>
                        <a:pt x="188772" y="382009"/>
                        <a:pt x="188772" y="382009"/>
                      </a:cubicBezTo>
                      <a:cubicBezTo>
                        <a:pt x="182737" y="384234"/>
                        <a:pt x="177800" y="380897"/>
                        <a:pt x="177800" y="374780"/>
                      </a:cubicBezTo>
                      <a:cubicBezTo>
                        <a:pt x="177800" y="246313"/>
                        <a:pt x="177800" y="246313"/>
                        <a:pt x="177800" y="246313"/>
                      </a:cubicBezTo>
                      <a:cubicBezTo>
                        <a:pt x="177800" y="240196"/>
                        <a:pt x="182737" y="232966"/>
                        <a:pt x="188772" y="230742"/>
                      </a:cubicBezTo>
                      <a:cubicBezTo>
                        <a:pt x="240892" y="211833"/>
                        <a:pt x="240892" y="211833"/>
                        <a:pt x="240892" y="211833"/>
                      </a:cubicBezTo>
                      <a:close/>
                      <a:moveTo>
                        <a:pt x="330259" y="179044"/>
                      </a:moveTo>
                      <a:cubicBezTo>
                        <a:pt x="336339" y="176272"/>
                        <a:pt x="341313" y="179598"/>
                        <a:pt x="341313" y="185696"/>
                      </a:cubicBezTo>
                      <a:cubicBezTo>
                        <a:pt x="341313" y="314309"/>
                        <a:pt x="341313" y="314309"/>
                        <a:pt x="341313" y="314309"/>
                      </a:cubicBezTo>
                      <a:cubicBezTo>
                        <a:pt x="341313" y="320407"/>
                        <a:pt x="336339" y="327059"/>
                        <a:pt x="330259" y="329277"/>
                      </a:cubicBezTo>
                      <a:cubicBezTo>
                        <a:pt x="277754" y="348679"/>
                        <a:pt x="277754" y="348679"/>
                        <a:pt x="277754" y="348679"/>
                      </a:cubicBezTo>
                      <a:cubicBezTo>
                        <a:pt x="271674" y="350897"/>
                        <a:pt x="266700" y="347571"/>
                        <a:pt x="266700" y="341473"/>
                      </a:cubicBezTo>
                      <a:cubicBezTo>
                        <a:pt x="266700" y="213414"/>
                        <a:pt x="266700" y="213414"/>
                        <a:pt x="266700" y="213414"/>
                      </a:cubicBezTo>
                      <a:cubicBezTo>
                        <a:pt x="266700" y="207316"/>
                        <a:pt x="271674" y="200110"/>
                        <a:pt x="277754" y="197892"/>
                      </a:cubicBezTo>
                      <a:cubicBezTo>
                        <a:pt x="330259" y="179044"/>
                        <a:pt x="330259" y="179044"/>
                        <a:pt x="330259" y="179044"/>
                      </a:cubicBezTo>
                      <a:close/>
                      <a:moveTo>
                        <a:pt x="63092" y="98081"/>
                      </a:moveTo>
                      <a:cubicBezTo>
                        <a:pt x="69675" y="95309"/>
                        <a:pt x="74613" y="98635"/>
                        <a:pt x="74613" y="104733"/>
                      </a:cubicBezTo>
                      <a:cubicBezTo>
                        <a:pt x="74613" y="233346"/>
                        <a:pt x="74613" y="233346"/>
                        <a:pt x="74613" y="233346"/>
                      </a:cubicBezTo>
                      <a:cubicBezTo>
                        <a:pt x="74613" y="239444"/>
                        <a:pt x="69675" y="246096"/>
                        <a:pt x="63092" y="248314"/>
                      </a:cubicBezTo>
                      <a:cubicBezTo>
                        <a:pt x="10972" y="267716"/>
                        <a:pt x="10972" y="267716"/>
                        <a:pt x="10972" y="267716"/>
                      </a:cubicBezTo>
                      <a:cubicBezTo>
                        <a:pt x="4937" y="269934"/>
                        <a:pt x="0" y="266608"/>
                        <a:pt x="0" y="260510"/>
                      </a:cubicBezTo>
                      <a:cubicBezTo>
                        <a:pt x="0" y="132451"/>
                        <a:pt x="0" y="132451"/>
                        <a:pt x="0" y="132451"/>
                      </a:cubicBezTo>
                      <a:cubicBezTo>
                        <a:pt x="0" y="126353"/>
                        <a:pt x="4937" y="119147"/>
                        <a:pt x="10972" y="116929"/>
                      </a:cubicBezTo>
                      <a:cubicBezTo>
                        <a:pt x="63092" y="98081"/>
                        <a:pt x="63092" y="98081"/>
                        <a:pt x="63092" y="98081"/>
                      </a:cubicBezTo>
                      <a:close/>
                      <a:moveTo>
                        <a:pt x="152459" y="66331"/>
                      </a:moveTo>
                      <a:cubicBezTo>
                        <a:pt x="158539" y="63559"/>
                        <a:pt x="163513" y="66885"/>
                        <a:pt x="163513" y="72983"/>
                      </a:cubicBezTo>
                      <a:cubicBezTo>
                        <a:pt x="163513" y="201596"/>
                        <a:pt x="163513" y="201596"/>
                        <a:pt x="163513" y="201596"/>
                      </a:cubicBezTo>
                      <a:cubicBezTo>
                        <a:pt x="163513" y="207694"/>
                        <a:pt x="158539" y="214346"/>
                        <a:pt x="152459" y="216564"/>
                      </a:cubicBezTo>
                      <a:cubicBezTo>
                        <a:pt x="99954" y="235966"/>
                        <a:pt x="99954" y="235966"/>
                        <a:pt x="99954" y="235966"/>
                      </a:cubicBezTo>
                      <a:cubicBezTo>
                        <a:pt x="93874" y="238184"/>
                        <a:pt x="88900" y="234858"/>
                        <a:pt x="88900" y="228760"/>
                      </a:cubicBezTo>
                      <a:cubicBezTo>
                        <a:pt x="88900" y="100701"/>
                        <a:pt x="88900" y="100701"/>
                        <a:pt x="88900" y="100701"/>
                      </a:cubicBezTo>
                      <a:cubicBezTo>
                        <a:pt x="88900" y="94603"/>
                        <a:pt x="93874" y="87397"/>
                        <a:pt x="99954" y="85179"/>
                      </a:cubicBezTo>
                      <a:cubicBezTo>
                        <a:pt x="152459" y="66331"/>
                        <a:pt x="152459" y="66331"/>
                        <a:pt x="152459" y="66331"/>
                      </a:cubicBezTo>
                      <a:close/>
                      <a:moveTo>
                        <a:pt x="240892" y="32460"/>
                      </a:moveTo>
                      <a:cubicBezTo>
                        <a:pt x="247475" y="30222"/>
                        <a:pt x="252413" y="33578"/>
                        <a:pt x="252413" y="39732"/>
                      </a:cubicBezTo>
                      <a:cubicBezTo>
                        <a:pt x="252413" y="169514"/>
                        <a:pt x="252413" y="169514"/>
                        <a:pt x="252413" y="169514"/>
                      </a:cubicBezTo>
                      <a:cubicBezTo>
                        <a:pt x="252413" y="175668"/>
                        <a:pt x="247475" y="182380"/>
                        <a:pt x="240892" y="184618"/>
                      </a:cubicBezTo>
                      <a:cubicBezTo>
                        <a:pt x="188772" y="204197"/>
                        <a:pt x="188772" y="204197"/>
                        <a:pt x="188772" y="204197"/>
                      </a:cubicBezTo>
                      <a:cubicBezTo>
                        <a:pt x="182737" y="206435"/>
                        <a:pt x="177800" y="203078"/>
                        <a:pt x="177800" y="196925"/>
                      </a:cubicBezTo>
                      <a:cubicBezTo>
                        <a:pt x="177800" y="67702"/>
                        <a:pt x="177800" y="67702"/>
                        <a:pt x="177800" y="67702"/>
                      </a:cubicBezTo>
                      <a:cubicBezTo>
                        <a:pt x="177800" y="61549"/>
                        <a:pt x="182737" y="54276"/>
                        <a:pt x="188772" y="52039"/>
                      </a:cubicBezTo>
                      <a:cubicBezTo>
                        <a:pt x="240892" y="32460"/>
                        <a:pt x="240892" y="32460"/>
                        <a:pt x="240892" y="32460"/>
                      </a:cubicBezTo>
                      <a:close/>
                      <a:moveTo>
                        <a:pt x="330259" y="689"/>
                      </a:moveTo>
                      <a:cubicBezTo>
                        <a:pt x="336339" y="-1528"/>
                        <a:pt x="341313" y="1798"/>
                        <a:pt x="341313" y="7896"/>
                      </a:cubicBezTo>
                      <a:cubicBezTo>
                        <a:pt x="341313" y="136509"/>
                        <a:pt x="341313" y="136509"/>
                        <a:pt x="341313" y="136509"/>
                      </a:cubicBezTo>
                      <a:cubicBezTo>
                        <a:pt x="341313" y="142607"/>
                        <a:pt x="336339" y="149259"/>
                        <a:pt x="330259" y="151477"/>
                      </a:cubicBezTo>
                      <a:cubicBezTo>
                        <a:pt x="277754" y="170879"/>
                        <a:pt x="277754" y="170879"/>
                        <a:pt x="277754" y="170879"/>
                      </a:cubicBezTo>
                      <a:cubicBezTo>
                        <a:pt x="271674" y="173097"/>
                        <a:pt x="266700" y="169771"/>
                        <a:pt x="266700" y="163673"/>
                      </a:cubicBezTo>
                      <a:cubicBezTo>
                        <a:pt x="266700" y="35614"/>
                        <a:pt x="266700" y="35614"/>
                        <a:pt x="266700" y="35614"/>
                      </a:cubicBezTo>
                      <a:cubicBezTo>
                        <a:pt x="266700" y="28962"/>
                        <a:pt x="271674" y="22310"/>
                        <a:pt x="277754" y="20092"/>
                      </a:cubicBezTo>
                      <a:cubicBezTo>
                        <a:pt x="330259" y="689"/>
                        <a:pt x="330259" y="689"/>
                        <a:pt x="330259" y="68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743407">
                    <a:defRPr/>
                  </a:pPr>
                  <a:endParaRPr lang="de-DE" sz="1463" kern="0">
                    <a:solidFill>
                      <a:srgbClr val="000000"/>
                    </a:solidFill>
                    <a:latin typeface="Microsoft Sans Serif"/>
                  </a:endParaRPr>
                </a:p>
              </p:txBody>
            </p:sp>
          </p:grpSp>
        </p:grpSp>
        <p:grpSp>
          <p:nvGrpSpPr>
            <p:cNvPr id="511" name="Group 510">
              <a:extLst>
                <a:ext uri="{FF2B5EF4-FFF2-40B4-BE49-F238E27FC236}">
                  <a16:creationId xmlns:a16="http://schemas.microsoft.com/office/drawing/2014/main" id="{EF15D70C-D2D3-4813-283F-538AC4361C0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839437" y="3331286"/>
              <a:ext cx="242521" cy="449567"/>
              <a:chOff x="5434013" y="2201863"/>
              <a:chExt cx="1323975" cy="2454275"/>
            </a:xfrm>
          </p:grpSpPr>
          <p:sp>
            <p:nvSpPr>
              <p:cNvPr id="520" name="Freeform 5">
                <a:extLst>
                  <a:ext uri="{FF2B5EF4-FFF2-40B4-BE49-F238E27FC236}">
                    <a16:creationId xmlns:a16="http://schemas.microsoft.com/office/drawing/2014/main" id="{3B7B0D00-6095-61CA-4ED5-6FACC1B3F2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4013" y="2201863"/>
                <a:ext cx="1323975" cy="2454275"/>
              </a:xfrm>
              <a:custGeom>
                <a:avLst/>
                <a:gdLst>
                  <a:gd name="T0" fmla="*/ 7527 w 8000"/>
                  <a:gd name="T1" fmla="*/ 14889 h 14889"/>
                  <a:gd name="T2" fmla="*/ 485 w 8000"/>
                  <a:gd name="T3" fmla="*/ 14889 h 14889"/>
                  <a:gd name="T4" fmla="*/ 0 w 8000"/>
                  <a:gd name="T5" fmla="*/ 14419 h 14889"/>
                  <a:gd name="T6" fmla="*/ 0 w 8000"/>
                  <a:gd name="T7" fmla="*/ 470 h 14889"/>
                  <a:gd name="T8" fmla="*/ 485 w 8000"/>
                  <a:gd name="T9" fmla="*/ 0 h 14889"/>
                  <a:gd name="T10" fmla="*/ 7527 w 8000"/>
                  <a:gd name="T11" fmla="*/ 0 h 14889"/>
                  <a:gd name="T12" fmla="*/ 8000 w 8000"/>
                  <a:gd name="T13" fmla="*/ 470 h 14889"/>
                  <a:gd name="T14" fmla="*/ 8000 w 8000"/>
                  <a:gd name="T15" fmla="*/ 14419 h 14889"/>
                  <a:gd name="T16" fmla="*/ 7527 w 8000"/>
                  <a:gd name="T17" fmla="*/ 14889 h 148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00" h="14889">
                    <a:moveTo>
                      <a:pt x="7527" y="14889"/>
                    </a:moveTo>
                    <a:cubicBezTo>
                      <a:pt x="485" y="14889"/>
                      <a:pt x="485" y="14889"/>
                      <a:pt x="485" y="14889"/>
                    </a:cubicBezTo>
                    <a:cubicBezTo>
                      <a:pt x="224" y="14889"/>
                      <a:pt x="0" y="14679"/>
                      <a:pt x="0" y="14419"/>
                    </a:cubicBezTo>
                    <a:cubicBezTo>
                      <a:pt x="0" y="470"/>
                      <a:pt x="0" y="470"/>
                      <a:pt x="0" y="470"/>
                    </a:cubicBezTo>
                    <a:cubicBezTo>
                      <a:pt x="0" y="210"/>
                      <a:pt x="224" y="0"/>
                      <a:pt x="485" y="0"/>
                    </a:cubicBezTo>
                    <a:cubicBezTo>
                      <a:pt x="7527" y="0"/>
                      <a:pt x="7527" y="0"/>
                      <a:pt x="7527" y="0"/>
                    </a:cubicBezTo>
                    <a:cubicBezTo>
                      <a:pt x="7788" y="0"/>
                      <a:pt x="8000" y="210"/>
                      <a:pt x="8000" y="470"/>
                    </a:cubicBezTo>
                    <a:cubicBezTo>
                      <a:pt x="8000" y="14419"/>
                      <a:pt x="8000" y="14419"/>
                      <a:pt x="8000" y="14419"/>
                    </a:cubicBezTo>
                    <a:cubicBezTo>
                      <a:pt x="8000" y="14679"/>
                      <a:pt x="7788" y="14889"/>
                      <a:pt x="7527" y="14889"/>
                    </a:cubicBezTo>
                    <a:close/>
                  </a:path>
                </a:pathLst>
              </a:custGeom>
              <a:solidFill>
                <a:srgbClr val="445776">
                  <a:lumMod val="100000"/>
                </a:srgbClr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</a:bodyPr>
              <a:lstStyle/>
              <a:p>
                <a:pPr defTabSz="743407">
                  <a:defRPr/>
                </a:pPr>
                <a:endParaRPr lang="en-US" sz="1463" kern="0">
                  <a:solidFill>
                    <a:srgbClr val="000000"/>
                  </a:solidFill>
                  <a:latin typeface="Microsoft Sans Serif"/>
                </a:endParaRPr>
              </a:p>
            </p:txBody>
          </p:sp>
          <p:sp>
            <p:nvSpPr>
              <p:cNvPr id="521" name="Freeform: Shape 35">
                <a:extLst>
                  <a:ext uri="{FF2B5EF4-FFF2-40B4-BE49-F238E27FC236}">
                    <a16:creationId xmlns:a16="http://schemas.microsoft.com/office/drawing/2014/main" id="{57AD01CF-3550-403F-59AF-559DBC61B9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8151" y="2286001"/>
                <a:ext cx="1155700" cy="2239963"/>
              </a:xfrm>
              <a:custGeom>
                <a:avLst/>
                <a:gdLst>
                  <a:gd name="connsiteX0" fmla="*/ 453942 w 1155700"/>
                  <a:gd name="connsiteY0" fmla="*/ 2159000 h 2239963"/>
                  <a:gd name="connsiteX1" fmla="*/ 701592 w 1155700"/>
                  <a:gd name="connsiteY1" fmla="*/ 2159000 h 2239963"/>
                  <a:gd name="connsiteX2" fmla="*/ 742950 w 1155700"/>
                  <a:gd name="connsiteY2" fmla="*/ 2199482 h 2239963"/>
                  <a:gd name="connsiteX3" fmla="*/ 701592 w 1155700"/>
                  <a:gd name="connsiteY3" fmla="*/ 2239963 h 2239963"/>
                  <a:gd name="connsiteX4" fmla="*/ 453942 w 1155700"/>
                  <a:gd name="connsiteY4" fmla="*/ 2239963 h 2239963"/>
                  <a:gd name="connsiteX5" fmla="*/ 412750 w 1155700"/>
                  <a:gd name="connsiteY5" fmla="*/ 2199482 h 2239963"/>
                  <a:gd name="connsiteX6" fmla="*/ 453942 w 1155700"/>
                  <a:gd name="connsiteY6" fmla="*/ 2159000 h 2239963"/>
                  <a:gd name="connsiteX7" fmla="*/ 39059 w 1155700"/>
                  <a:gd name="connsiteY7" fmla="*/ 0 h 2239963"/>
                  <a:gd name="connsiteX8" fmla="*/ 1116642 w 1155700"/>
                  <a:gd name="connsiteY8" fmla="*/ 0 h 2239963"/>
                  <a:gd name="connsiteX9" fmla="*/ 1155700 w 1155700"/>
                  <a:gd name="connsiteY9" fmla="*/ 38549 h 2239963"/>
                  <a:gd name="connsiteX10" fmla="*/ 1155700 w 1155700"/>
                  <a:gd name="connsiteY10" fmla="*/ 1996626 h 2239963"/>
                  <a:gd name="connsiteX11" fmla="*/ 1116642 w 1155700"/>
                  <a:gd name="connsiteY11" fmla="*/ 2035175 h 2239963"/>
                  <a:gd name="connsiteX12" fmla="*/ 39059 w 1155700"/>
                  <a:gd name="connsiteY12" fmla="*/ 2035175 h 2239963"/>
                  <a:gd name="connsiteX13" fmla="*/ 0 w 1155700"/>
                  <a:gd name="connsiteY13" fmla="*/ 1996626 h 2239963"/>
                  <a:gd name="connsiteX14" fmla="*/ 0 w 1155700"/>
                  <a:gd name="connsiteY14" fmla="*/ 38549 h 2239963"/>
                  <a:gd name="connsiteX15" fmla="*/ 39059 w 1155700"/>
                  <a:gd name="connsiteY15" fmla="*/ 0 h 2239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55700" h="2239963">
                    <a:moveTo>
                      <a:pt x="453942" y="2159000"/>
                    </a:moveTo>
                    <a:cubicBezTo>
                      <a:pt x="701592" y="2159000"/>
                      <a:pt x="701592" y="2159000"/>
                      <a:pt x="701592" y="2159000"/>
                    </a:cubicBezTo>
                    <a:cubicBezTo>
                      <a:pt x="724347" y="2159000"/>
                      <a:pt x="742950" y="2177102"/>
                      <a:pt x="742950" y="2199482"/>
                    </a:cubicBezTo>
                    <a:cubicBezTo>
                      <a:pt x="742950" y="2221697"/>
                      <a:pt x="724347" y="2239963"/>
                      <a:pt x="701592" y="2239963"/>
                    </a:cubicBezTo>
                    <a:cubicBezTo>
                      <a:pt x="453942" y="2239963"/>
                      <a:pt x="453942" y="2239963"/>
                      <a:pt x="453942" y="2239963"/>
                    </a:cubicBezTo>
                    <a:cubicBezTo>
                      <a:pt x="431187" y="2239963"/>
                      <a:pt x="412750" y="2221697"/>
                      <a:pt x="412750" y="2199482"/>
                    </a:cubicBezTo>
                    <a:cubicBezTo>
                      <a:pt x="412750" y="2177102"/>
                      <a:pt x="431187" y="2159000"/>
                      <a:pt x="453942" y="2159000"/>
                    </a:cubicBezTo>
                    <a:close/>
                    <a:moveTo>
                      <a:pt x="39059" y="0"/>
                    </a:moveTo>
                    <a:cubicBezTo>
                      <a:pt x="39059" y="0"/>
                      <a:pt x="39059" y="0"/>
                      <a:pt x="1116642" y="0"/>
                    </a:cubicBezTo>
                    <a:cubicBezTo>
                      <a:pt x="1139315" y="0"/>
                      <a:pt x="1155700" y="18286"/>
                      <a:pt x="1155700" y="38549"/>
                    </a:cubicBezTo>
                    <a:cubicBezTo>
                      <a:pt x="1155700" y="38549"/>
                      <a:pt x="1155700" y="38549"/>
                      <a:pt x="1155700" y="1996626"/>
                    </a:cubicBezTo>
                    <a:cubicBezTo>
                      <a:pt x="1155700" y="2016889"/>
                      <a:pt x="1139315" y="2035175"/>
                      <a:pt x="1116642" y="2035175"/>
                    </a:cubicBezTo>
                    <a:cubicBezTo>
                      <a:pt x="1116642" y="2035175"/>
                      <a:pt x="1116642" y="2035175"/>
                      <a:pt x="39059" y="2035175"/>
                    </a:cubicBezTo>
                    <a:cubicBezTo>
                      <a:pt x="16550" y="2035175"/>
                      <a:pt x="0" y="2016889"/>
                      <a:pt x="0" y="1996626"/>
                    </a:cubicBezTo>
                    <a:cubicBezTo>
                      <a:pt x="0" y="1996626"/>
                      <a:pt x="0" y="1996626"/>
                      <a:pt x="0" y="38549"/>
                    </a:cubicBezTo>
                    <a:cubicBezTo>
                      <a:pt x="0" y="18286"/>
                      <a:pt x="16550" y="0"/>
                      <a:pt x="39059" y="0"/>
                    </a:cubicBezTo>
                    <a:close/>
                  </a:path>
                </a:pathLst>
              </a:custGeom>
              <a:solidFill>
                <a:srgbClr val="ACBACF">
                  <a:lumMod val="100000"/>
                </a:srgbClr>
              </a:solidFill>
              <a:ln>
                <a:noFill/>
              </a:ln>
            </p:spPr>
            <p:txBody>
              <a:bodyPr vert="horz" wrap="square" lIns="74345" tIns="37172" rIns="74345" bIns="37172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743407">
                  <a:defRPr/>
                </a:pPr>
                <a:endParaRPr lang="en-US" sz="1463" kern="0">
                  <a:solidFill>
                    <a:srgbClr val="000000"/>
                  </a:solidFill>
                  <a:latin typeface="Microsoft Sans Serif"/>
                </a:endParaRPr>
              </a:p>
            </p:txBody>
          </p:sp>
        </p:grpSp>
        <p:grpSp>
          <p:nvGrpSpPr>
            <p:cNvPr id="512" name="Group 511">
              <a:extLst>
                <a:ext uri="{FF2B5EF4-FFF2-40B4-BE49-F238E27FC236}">
                  <a16:creationId xmlns:a16="http://schemas.microsoft.com/office/drawing/2014/main" id="{7565A509-D2F0-8765-7BF5-E7BDBCCC375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533804" y="3252084"/>
              <a:ext cx="548193" cy="526161"/>
              <a:chOff x="879510" y="2849109"/>
              <a:chExt cx="1879449" cy="1803914"/>
            </a:xfrm>
          </p:grpSpPr>
          <p:sp>
            <p:nvSpPr>
              <p:cNvPr id="515" name="Freeform 24">
                <a:extLst>
                  <a:ext uri="{FF2B5EF4-FFF2-40B4-BE49-F238E27FC236}">
                    <a16:creationId xmlns:a16="http://schemas.microsoft.com/office/drawing/2014/main" id="{60420D9B-3028-A021-D831-578DE0CC28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9510" y="2849109"/>
                <a:ext cx="1879449" cy="1180457"/>
              </a:xfrm>
              <a:custGeom>
                <a:avLst/>
                <a:gdLst>
                  <a:gd name="T0" fmla="*/ 989 w 1212"/>
                  <a:gd name="T1" fmla="*/ 280 h 761"/>
                  <a:gd name="T2" fmla="*/ 994 w 1212"/>
                  <a:gd name="T3" fmla="*/ 231 h 761"/>
                  <a:gd name="T4" fmla="*/ 763 w 1212"/>
                  <a:gd name="T5" fmla="*/ 0 h 761"/>
                  <a:gd name="T6" fmla="*/ 551 w 1212"/>
                  <a:gd name="T7" fmla="*/ 137 h 761"/>
                  <a:gd name="T8" fmla="*/ 478 w 1212"/>
                  <a:gd name="T9" fmla="*/ 120 h 761"/>
                  <a:gd name="T10" fmla="*/ 308 w 1212"/>
                  <a:gd name="T11" fmla="*/ 279 h 761"/>
                  <a:gd name="T12" fmla="*/ 241 w 1212"/>
                  <a:gd name="T13" fmla="*/ 279 h 761"/>
                  <a:gd name="T14" fmla="*/ 0 w 1212"/>
                  <a:gd name="T15" fmla="*/ 520 h 761"/>
                  <a:gd name="T16" fmla="*/ 241 w 1212"/>
                  <a:gd name="T17" fmla="*/ 761 h 761"/>
                  <a:gd name="T18" fmla="*/ 971 w 1212"/>
                  <a:gd name="T19" fmla="*/ 761 h 761"/>
                  <a:gd name="T20" fmla="*/ 1212 w 1212"/>
                  <a:gd name="T21" fmla="*/ 520 h 761"/>
                  <a:gd name="T22" fmla="*/ 989 w 1212"/>
                  <a:gd name="T23" fmla="*/ 280 h 7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12" h="761">
                    <a:moveTo>
                      <a:pt x="989" y="280"/>
                    </a:moveTo>
                    <a:cubicBezTo>
                      <a:pt x="992" y="264"/>
                      <a:pt x="994" y="248"/>
                      <a:pt x="994" y="231"/>
                    </a:cubicBezTo>
                    <a:cubicBezTo>
                      <a:pt x="994" y="104"/>
                      <a:pt x="890" y="0"/>
                      <a:pt x="763" y="0"/>
                    </a:cubicBezTo>
                    <a:cubicBezTo>
                      <a:pt x="668" y="0"/>
                      <a:pt x="587" y="56"/>
                      <a:pt x="551" y="137"/>
                    </a:cubicBezTo>
                    <a:cubicBezTo>
                      <a:pt x="529" y="126"/>
                      <a:pt x="504" y="120"/>
                      <a:pt x="478" y="120"/>
                    </a:cubicBezTo>
                    <a:cubicBezTo>
                      <a:pt x="388" y="120"/>
                      <a:pt x="314" y="191"/>
                      <a:pt x="308" y="279"/>
                    </a:cubicBezTo>
                    <a:cubicBezTo>
                      <a:pt x="241" y="279"/>
                      <a:pt x="241" y="279"/>
                      <a:pt x="241" y="279"/>
                    </a:cubicBezTo>
                    <a:cubicBezTo>
                      <a:pt x="107" y="279"/>
                      <a:pt x="0" y="387"/>
                      <a:pt x="0" y="520"/>
                    </a:cubicBezTo>
                    <a:cubicBezTo>
                      <a:pt x="0" y="653"/>
                      <a:pt x="107" y="761"/>
                      <a:pt x="241" y="761"/>
                    </a:cubicBezTo>
                    <a:cubicBezTo>
                      <a:pt x="971" y="761"/>
                      <a:pt x="971" y="761"/>
                      <a:pt x="971" y="761"/>
                    </a:cubicBezTo>
                    <a:cubicBezTo>
                      <a:pt x="1105" y="761"/>
                      <a:pt x="1212" y="653"/>
                      <a:pt x="1212" y="520"/>
                    </a:cubicBezTo>
                    <a:cubicBezTo>
                      <a:pt x="1212" y="393"/>
                      <a:pt x="1114" y="289"/>
                      <a:pt x="989" y="280"/>
                    </a:cubicBezTo>
                    <a:close/>
                  </a:path>
                </a:pathLst>
              </a:custGeom>
              <a:solidFill>
                <a:srgbClr val="ACBACF">
                  <a:lumMod val="40000"/>
                  <a:lumOff val="60000"/>
                </a:srgbClr>
              </a:solidFill>
              <a:ln w="1079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743407">
                  <a:defRPr/>
                </a:pPr>
                <a:endParaRPr lang="en-US" sz="1463" kern="0">
                  <a:solidFill>
                    <a:prstClr val="white"/>
                  </a:solidFill>
                  <a:latin typeface="Microsoft Sans Serif"/>
                </a:endParaRPr>
              </a:p>
            </p:txBody>
          </p:sp>
          <p:grpSp>
            <p:nvGrpSpPr>
              <p:cNvPr id="516" name="Group 515">
                <a:extLst>
                  <a:ext uri="{FF2B5EF4-FFF2-40B4-BE49-F238E27FC236}">
                    <a16:creationId xmlns:a16="http://schemas.microsoft.com/office/drawing/2014/main" id="{8EC39EB4-4D52-B3CA-74FA-76EF550EB4A7}"/>
                  </a:ext>
                </a:extLst>
              </p:cNvPr>
              <p:cNvGrpSpPr/>
              <p:nvPr/>
            </p:nvGrpSpPr>
            <p:grpSpPr>
              <a:xfrm>
                <a:off x="1261322" y="3570504"/>
                <a:ext cx="1115825" cy="1082519"/>
                <a:chOff x="1261322" y="3570504"/>
                <a:chExt cx="1115825" cy="1082519"/>
              </a:xfrm>
            </p:grpSpPr>
            <p:sp>
              <p:nvSpPr>
                <p:cNvPr id="517" name="Rectangle: Rounded Corners 27">
                  <a:extLst>
                    <a:ext uri="{FF2B5EF4-FFF2-40B4-BE49-F238E27FC236}">
                      <a16:creationId xmlns:a16="http://schemas.microsoft.com/office/drawing/2014/main" id="{4925F20F-2008-0CC2-DA37-EC14FF8C9A3F}"/>
                    </a:ext>
                  </a:extLst>
                </p:cNvPr>
                <p:cNvSpPr/>
                <p:nvPr/>
              </p:nvSpPr>
              <p:spPr>
                <a:xfrm>
                  <a:off x="1261322" y="3570504"/>
                  <a:ext cx="1115825" cy="1082519"/>
                </a:xfrm>
                <a:prstGeom prst="roundRect">
                  <a:avLst>
                    <a:gd name="adj" fmla="val 5597"/>
                  </a:avLst>
                </a:prstGeom>
                <a:solidFill>
                  <a:srgbClr val="ACBACF">
                    <a:lumMod val="100000"/>
                  </a:srgbClr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743407">
                    <a:defRPr/>
                  </a:pPr>
                  <a:endParaRPr lang="en-US" sz="1463" kern="0">
                    <a:solidFill>
                      <a:prstClr val="white"/>
                    </a:solidFill>
                    <a:latin typeface="Microsoft Sans Serif"/>
                  </a:endParaRPr>
                </a:p>
              </p:txBody>
            </p:sp>
            <p:sp>
              <p:nvSpPr>
                <p:cNvPr id="518" name="Freeform: Shape 28">
                  <a:extLst>
                    <a:ext uri="{FF2B5EF4-FFF2-40B4-BE49-F238E27FC236}">
                      <a16:creationId xmlns:a16="http://schemas.microsoft.com/office/drawing/2014/main" id="{B2DE926C-2A92-7E27-4EB5-E91D485130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8837" y="3636963"/>
                  <a:ext cx="1000794" cy="949602"/>
                </a:xfrm>
                <a:custGeom>
                  <a:avLst/>
                  <a:gdLst>
                    <a:gd name="connsiteX0" fmla="*/ 63820 w 1295542"/>
                    <a:gd name="connsiteY0" fmla="*/ 968970 h 1229273"/>
                    <a:gd name="connsiteX1" fmla="*/ 1231722 w 1295542"/>
                    <a:gd name="connsiteY1" fmla="*/ 968970 h 1229273"/>
                    <a:gd name="connsiteX2" fmla="*/ 1295542 w 1295542"/>
                    <a:gd name="connsiteY2" fmla="*/ 1032848 h 1229273"/>
                    <a:gd name="connsiteX3" fmla="*/ 1295542 w 1295542"/>
                    <a:gd name="connsiteY3" fmla="*/ 1165395 h 1229273"/>
                    <a:gd name="connsiteX4" fmla="*/ 1231722 w 1295542"/>
                    <a:gd name="connsiteY4" fmla="*/ 1229273 h 1229273"/>
                    <a:gd name="connsiteX5" fmla="*/ 63820 w 1295542"/>
                    <a:gd name="connsiteY5" fmla="*/ 1229273 h 1229273"/>
                    <a:gd name="connsiteX6" fmla="*/ 0 w 1295542"/>
                    <a:gd name="connsiteY6" fmla="*/ 1165395 h 1229273"/>
                    <a:gd name="connsiteX7" fmla="*/ 0 w 1295542"/>
                    <a:gd name="connsiteY7" fmla="*/ 1032848 h 1229273"/>
                    <a:gd name="connsiteX8" fmla="*/ 63820 w 1295542"/>
                    <a:gd name="connsiteY8" fmla="*/ 968970 h 1229273"/>
                    <a:gd name="connsiteX9" fmla="*/ 63820 w 1295542"/>
                    <a:gd name="connsiteY9" fmla="*/ 646577 h 1229273"/>
                    <a:gd name="connsiteX10" fmla="*/ 1231722 w 1295542"/>
                    <a:gd name="connsiteY10" fmla="*/ 646577 h 1229273"/>
                    <a:gd name="connsiteX11" fmla="*/ 1295542 w 1295542"/>
                    <a:gd name="connsiteY11" fmla="*/ 710455 h 1229273"/>
                    <a:gd name="connsiteX12" fmla="*/ 1295542 w 1295542"/>
                    <a:gd name="connsiteY12" fmla="*/ 843002 h 1229273"/>
                    <a:gd name="connsiteX13" fmla="*/ 1231722 w 1295542"/>
                    <a:gd name="connsiteY13" fmla="*/ 906880 h 1229273"/>
                    <a:gd name="connsiteX14" fmla="*/ 63820 w 1295542"/>
                    <a:gd name="connsiteY14" fmla="*/ 906880 h 1229273"/>
                    <a:gd name="connsiteX15" fmla="*/ 0 w 1295542"/>
                    <a:gd name="connsiteY15" fmla="*/ 843002 h 1229273"/>
                    <a:gd name="connsiteX16" fmla="*/ 0 w 1295542"/>
                    <a:gd name="connsiteY16" fmla="*/ 710455 h 1229273"/>
                    <a:gd name="connsiteX17" fmla="*/ 63820 w 1295542"/>
                    <a:gd name="connsiteY17" fmla="*/ 646577 h 1229273"/>
                    <a:gd name="connsiteX18" fmla="*/ 63820 w 1295542"/>
                    <a:gd name="connsiteY18" fmla="*/ 325378 h 1229273"/>
                    <a:gd name="connsiteX19" fmla="*/ 1231722 w 1295542"/>
                    <a:gd name="connsiteY19" fmla="*/ 325378 h 1229273"/>
                    <a:gd name="connsiteX20" fmla="*/ 1295542 w 1295542"/>
                    <a:gd name="connsiteY20" fmla="*/ 389256 h 1229273"/>
                    <a:gd name="connsiteX21" fmla="*/ 1295542 w 1295542"/>
                    <a:gd name="connsiteY21" fmla="*/ 521803 h 1229273"/>
                    <a:gd name="connsiteX22" fmla="*/ 1231722 w 1295542"/>
                    <a:gd name="connsiteY22" fmla="*/ 585681 h 1229273"/>
                    <a:gd name="connsiteX23" fmla="*/ 63820 w 1295542"/>
                    <a:gd name="connsiteY23" fmla="*/ 585681 h 1229273"/>
                    <a:gd name="connsiteX24" fmla="*/ 0 w 1295542"/>
                    <a:gd name="connsiteY24" fmla="*/ 521803 h 1229273"/>
                    <a:gd name="connsiteX25" fmla="*/ 0 w 1295542"/>
                    <a:gd name="connsiteY25" fmla="*/ 389256 h 1229273"/>
                    <a:gd name="connsiteX26" fmla="*/ 63820 w 1295542"/>
                    <a:gd name="connsiteY26" fmla="*/ 325378 h 1229273"/>
                    <a:gd name="connsiteX27" fmla="*/ 63820 w 1295542"/>
                    <a:gd name="connsiteY27" fmla="*/ 0 h 1229273"/>
                    <a:gd name="connsiteX28" fmla="*/ 1231722 w 1295542"/>
                    <a:gd name="connsiteY28" fmla="*/ 0 h 1229273"/>
                    <a:gd name="connsiteX29" fmla="*/ 1295542 w 1295542"/>
                    <a:gd name="connsiteY29" fmla="*/ 63878 h 1229273"/>
                    <a:gd name="connsiteX30" fmla="*/ 1295542 w 1295542"/>
                    <a:gd name="connsiteY30" fmla="*/ 196425 h 1229273"/>
                    <a:gd name="connsiteX31" fmla="*/ 1231722 w 1295542"/>
                    <a:gd name="connsiteY31" fmla="*/ 260303 h 1229273"/>
                    <a:gd name="connsiteX32" fmla="*/ 63820 w 1295542"/>
                    <a:gd name="connsiteY32" fmla="*/ 260303 h 1229273"/>
                    <a:gd name="connsiteX33" fmla="*/ 0 w 1295542"/>
                    <a:gd name="connsiteY33" fmla="*/ 196425 h 1229273"/>
                    <a:gd name="connsiteX34" fmla="*/ 0 w 1295542"/>
                    <a:gd name="connsiteY34" fmla="*/ 63878 h 1229273"/>
                    <a:gd name="connsiteX35" fmla="*/ 63820 w 1295542"/>
                    <a:gd name="connsiteY35" fmla="*/ 0 h 12292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1295542" h="1229273">
                      <a:moveTo>
                        <a:pt x="63820" y="968970"/>
                      </a:moveTo>
                      <a:cubicBezTo>
                        <a:pt x="1231722" y="968970"/>
                        <a:pt x="1231722" y="968970"/>
                        <a:pt x="1231722" y="968970"/>
                      </a:cubicBezTo>
                      <a:cubicBezTo>
                        <a:pt x="1266823" y="968970"/>
                        <a:pt x="1295542" y="997715"/>
                        <a:pt x="1295542" y="1032848"/>
                      </a:cubicBezTo>
                      <a:lnTo>
                        <a:pt x="1295542" y="1165395"/>
                      </a:lnTo>
                      <a:cubicBezTo>
                        <a:pt x="1295542" y="1200528"/>
                        <a:pt x="1266823" y="1229273"/>
                        <a:pt x="1231722" y="1229273"/>
                      </a:cubicBezTo>
                      <a:cubicBezTo>
                        <a:pt x="63820" y="1229273"/>
                        <a:pt x="63820" y="1229273"/>
                        <a:pt x="63820" y="1229273"/>
                      </a:cubicBezTo>
                      <a:cubicBezTo>
                        <a:pt x="28719" y="1229273"/>
                        <a:pt x="0" y="1200528"/>
                        <a:pt x="0" y="1165395"/>
                      </a:cubicBezTo>
                      <a:cubicBezTo>
                        <a:pt x="0" y="1032848"/>
                        <a:pt x="0" y="1032848"/>
                        <a:pt x="0" y="1032848"/>
                      </a:cubicBezTo>
                      <a:cubicBezTo>
                        <a:pt x="0" y="997715"/>
                        <a:pt x="28719" y="968970"/>
                        <a:pt x="63820" y="968970"/>
                      </a:cubicBezTo>
                      <a:close/>
                      <a:moveTo>
                        <a:pt x="63820" y="646577"/>
                      </a:moveTo>
                      <a:cubicBezTo>
                        <a:pt x="1231722" y="646577"/>
                        <a:pt x="1231722" y="646577"/>
                        <a:pt x="1231722" y="646577"/>
                      </a:cubicBezTo>
                      <a:cubicBezTo>
                        <a:pt x="1266823" y="646577"/>
                        <a:pt x="1295542" y="675322"/>
                        <a:pt x="1295542" y="710455"/>
                      </a:cubicBezTo>
                      <a:lnTo>
                        <a:pt x="1295542" y="843002"/>
                      </a:lnTo>
                      <a:cubicBezTo>
                        <a:pt x="1295542" y="878135"/>
                        <a:pt x="1266823" y="906880"/>
                        <a:pt x="1231722" y="906880"/>
                      </a:cubicBezTo>
                      <a:cubicBezTo>
                        <a:pt x="63820" y="906880"/>
                        <a:pt x="63820" y="906880"/>
                        <a:pt x="63820" y="906880"/>
                      </a:cubicBezTo>
                      <a:cubicBezTo>
                        <a:pt x="28719" y="906880"/>
                        <a:pt x="0" y="878135"/>
                        <a:pt x="0" y="843002"/>
                      </a:cubicBezTo>
                      <a:cubicBezTo>
                        <a:pt x="0" y="710455"/>
                        <a:pt x="0" y="710455"/>
                        <a:pt x="0" y="710455"/>
                      </a:cubicBezTo>
                      <a:cubicBezTo>
                        <a:pt x="0" y="675322"/>
                        <a:pt x="28719" y="646577"/>
                        <a:pt x="63820" y="646577"/>
                      </a:cubicBezTo>
                      <a:close/>
                      <a:moveTo>
                        <a:pt x="63820" y="325378"/>
                      </a:moveTo>
                      <a:cubicBezTo>
                        <a:pt x="1231722" y="325378"/>
                        <a:pt x="1231722" y="325378"/>
                        <a:pt x="1231722" y="325378"/>
                      </a:cubicBezTo>
                      <a:cubicBezTo>
                        <a:pt x="1266823" y="325378"/>
                        <a:pt x="1295542" y="354123"/>
                        <a:pt x="1295542" y="389256"/>
                      </a:cubicBezTo>
                      <a:lnTo>
                        <a:pt x="1295542" y="521803"/>
                      </a:lnTo>
                      <a:cubicBezTo>
                        <a:pt x="1295542" y="556936"/>
                        <a:pt x="1266823" y="585681"/>
                        <a:pt x="1231722" y="585681"/>
                      </a:cubicBezTo>
                      <a:cubicBezTo>
                        <a:pt x="63820" y="585681"/>
                        <a:pt x="63820" y="585681"/>
                        <a:pt x="63820" y="585681"/>
                      </a:cubicBezTo>
                      <a:cubicBezTo>
                        <a:pt x="28719" y="585681"/>
                        <a:pt x="0" y="556936"/>
                        <a:pt x="0" y="521803"/>
                      </a:cubicBezTo>
                      <a:cubicBezTo>
                        <a:pt x="0" y="389256"/>
                        <a:pt x="0" y="389256"/>
                        <a:pt x="0" y="389256"/>
                      </a:cubicBezTo>
                      <a:cubicBezTo>
                        <a:pt x="0" y="354123"/>
                        <a:pt x="28719" y="325378"/>
                        <a:pt x="63820" y="325378"/>
                      </a:cubicBezTo>
                      <a:close/>
                      <a:moveTo>
                        <a:pt x="63820" y="0"/>
                      </a:moveTo>
                      <a:cubicBezTo>
                        <a:pt x="1231722" y="0"/>
                        <a:pt x="1231722" y="0"/>
                        <a:pt x="1231722" y="0"/>
                      </a:cubicBezTo>
                      <a:cubicBezTo>
                        <a:pt x="1266823" y="0"/>
                        <a:pt x="1295542" y="27148"/>
                        <a:pt x="1295542" y="63878"/>
                      </a:cubicBezTo>
                      <a:lnTo>
                        <a:pt x="1295542" y="196425"/>
                      </a:lnTo>
                      <a:cubicBezTo>
                        <a:pt x="1295542" y="231558"/>
                        <a:pt x="1266823" y="260303"/>
                        <a:pt x="1231722" y="260303"/>
                      </a:cubicBezTo>
                      <a:cubicBezTo>
                        <a:pt x="63820" y="260303"/>
                        <a:pt x="63820" y="260303"/>
                        <a:pt x="63820" y="260303"/>
                      </a:cubicBezTo>
                      <a:cubicBezTo>
                        <a:pt x="28719" y="260303"/>
                        <a:pt x="0" y="231558"/>
                        <a:pt x="0" y="196425"/>
                      </a:cubicBezTo>
                      <a:cubicBezTo>
                        <a:pt x="0" y="63878"/>
                        <a:pt x="0" y="63878"/>
                        <a:pt x="0" y="63878"/>
                      </a:cubicBezTo>
                      <a:cubicBezTo>
                        <a:pt x="0" y="27148"/>
                        <a:pt x="28719" y="0"/>
                        <a:pt x="63820" y="0"/>
                      </a:cubicBezTo>
                      <a:close/>
                    </a:path>
                  </a:pathLst>
                </a:custGeom>
                <a:solidFill>
                  <a:srgbClr val="445776">
                    <a:lumMod val="100000"/>
                  </a:srgbClr>
                </a:solidFill>
                <a:ln>
                  <a:noFill/>
                </a:ln>
              </p:spPr>
              <p:txBody>
                <a:bodyPr vert="horz" wrap="square" lIns="74345" tIns="37172" rIns="74345" bIns="3717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743407">
                    <a:defRPr/>
                  </a:pPr>
                  <a:endParaRPr lang="en-US" sz="1463" kern="0">
                    <a:solidFill>
                      <a:prstClr val="black"/>
                    </a:solidFill>
                    <a:latin typeface="Microsoft Sans Serif"/>
                  </a:endParaRPr>
                </a:p>
              </p:txBody>
            </p:sp>
            <p:sp>
              <p:nvSpPr>
                <p:cNvPr id="519" name="Freeform: Shape 29">
                  <a:extLst>
                    <a:ext uri="{FF2B5EF4-FFF2-40B4-BE49-F238E27FC236}">
                      <a16:creationId xmlns:a16="http://schemas.microsoft.com/office/drawing/2014/main" id="{1ED408CC-5FC7-C56A-0C05-62EA9D0D633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1243" y="3707525"/>
                  <a:ext cx="257809" cy="806171"/>
                </a:xfrm>
                <a:custGeom>
                  <a:avLst/>
                  <a:gdLst>
                    <a:gd name="connsiteX0" fmla="*/ 296125 w 333738"/>
                    <a:gd name="connsiteY0" fmla="*/ 968373 h 1043599"/>
                    <a:gd name="connsiteX1" fmla="*/ 333738 w 333738"/>
                    <a:gd name="connsiteY1" fmla="*/ 1005986 h 1043599"/>
                    <a:gd name="connsiteX2" fmla="*/ 296125 w 333738"/>
                    <a:gd name="connsiteY2" fmla="*/ 1043599 h 1043599"/>
                    <a:gd name="connsiteX3" fmla="*/ 258512 w 333738"/>
                    <a:gd name="connsiteY3" fmla="*/ 1005986 h 1043599"/>
                    <a:gd name="connsiteX4" fmla="*/ 296125 w 333738"/>
                    <a:gd name="connsiteY4" fmla="*/ 968373 h 1043599"/>
                    <a:gd name="connsiteX5" fmla="*/ 167466 w 333738"/>
                    <a:gd name="connsiteY5" fmla="*/ 968373 h 1043599"/>
                    <a:gd name="connsiteX6" fmla="*/ 204183 w 333738"/>
                    <a:gd name="connsiteY6" fmla="*/ 1005986 h 1043599"/>
                    <a:gd name="connsiteX7" fmla="*/ 167466 w 333738"/>
                    <a:gd name="connsiteY7" fmla="*/ 1043599 h 1043599"/>
                    <a:gd name="connsiteX8" fmla="*/ 130749 w 333738"/>
                    <a:gd name="connsiteY8" fmla="*/ 1005986 h 1043599"/>
                    <a:gd name="connsiteX9" fmla="*/ 167466 w 333738"/>
                    <a:gd name="connsiteY9" fmla="*/ 968373 h 1043599"/>
                    <a:gd name="connsiteX10" fmla="*/ 37613 w 333738"/>
                    <a:gd name="connsiteY10" fmla="*/ 968373 h 1043599"/>
                    <a:gd name="connsiteX11" fmla="*/ 75226 w 333738"/>
                    <a:gd name="connsiteY11" fmla="*/ 1005986 h 1043599"/>
                    <a:gd name="connsiteX12" fmla="*/ 37613 w 333738"/>
                    <a:gd name="connsiteY12" fmla="*/ 1043599 h 1043599"/>
                    <a:gd name="connsiteX13" fmla="*/ 0 w 333738"/>
                    <a:gd name="connsiteY13" fmla="*/ 1005986 h 1043599"/>
                    <a:gd name="connsiteX14" fmla="*/ 37613 w 333738"/>
                    <a:gd name="connsiteY14" fmla="*/ 968373 h 1043599"/>
                    <a:gd name="connsiteX15" fmla="*/ 296125 w 333738"/>
                    <a:gd name="connsiteY15" fmla="*/ 645980 h 1043599"/>
                    <a:gd name="connsiteX16" fmla="*/ 333738 w 333738"/>
                    <a:gd name="connsiteY16" fmla="*/ 683593 h 1043599"/>
                    <a:gd name="connsiteX17" fmla="*/ 296125 w 333738"/>
                    <a:gd name="connsiteY17" fmla="*/ 721206 h 1043599"/>
                    <a:gd name="connsiteX18" fmla="*/ 258512 w 333738"/>
                    <a:gd name="connsiteY18" fmla="*/ 683593 h 1043599"/>
                    <a:gd name="connsiteX19" fmla="*/ 296125 w 333738"/>
                    <a:gd name="connsiteY19" fmla="*/ 645980 h 1043599"/>
                    <a:gd name="connsiteX20" fmla="*/ 167466 w 333738"/>
                    <a:gd name="connsiteY20" fmla="*/ 645980 h 1043599"/>
                    <a:gd name="connsiteX21" fmla="*/ 204183 w 333738"/>
                    <a:gd name="connsiteY21" fmla="*/ 683593 h 1043599"/>
                    <a:gd name="connsiteX22" fmla="*/ 167466 w 333738"/>
                    <a:gd name="connsiteY22" fmla="*/ 721206 h 1043599"/>
                    <a:gd name="connsiteX23" fmla="*/ 130749 w 333738"/>
                    <a:gd name="connsiteY23" fmla="*/ 683593 h 1043599"/>
                    <a:gd name="connsiteX24" fmla="*/ 167466 w 333738"/>
                    <a:gd name="connsiteY24" fmla="*/ 645980 h 1043599"/>
                    <a:gd name="connsiteX25" fmla="*/ 37613 w 333738"/>
                    <a:gd name="connsiteY25" fmla="*/ 645980 h 1043599"/>
                    <a:gd name="connsiteX26" fmla="*/ 75226 w 333738"/>
                    <a:gd name="connsiteY26" fmla="*/ 683593 h 1043599"/>
                    <a:gd name="connsiteX27" fmla="*/ 37613 w 333738"/>
                    <a:gd name="connsiteY27" fmla="*/ 721206 h 1043599"/>
                    <a:gd name="connsiteX28" fmla="*/ 0 w 333738"/>
                    <a:gd name="connsiteY28" fmla="*/ 683593 h 1043599"/>
                    <a:gd name="connsiteX29" fmla="*/ 37613 w 333738"/>
                    <a:gd name="connsiteY29" fmla="*/ 645980 h 1043599"/>
                    <a:gd name="connsiteX30" fmla="*/ 296125 w 333738"/>
                    <a:gd name="connsiteY30" fmla="*/ 325380 h 1043599"/>
                    <a:gd name="connsiteX31" fmla="*/ 333738 w 333738"/>
                    <a:gd name="connsiteY31" fmla="*/ 362694 h 1043599"/>
                    <a:gd name="connsiteX32" fmla="*/ 296125 w 333738"/>
                    <a:gd name="connsiteY32" fmla="*/ 400008 h 1043599"/>
                    <a:gd name="connsiteX33" fmla="*/ 258512 w 333738"/>
                    <a:gd name="connsiteY33" fmla="*/ 362694 h 1043599"/>
                    <a:gd name="connsiteX34" fmla="*/ 296125 w 333738"/>
                    <a:gd name="connsiteY34" fmla="*/ 325380 h 1043599"/>
                    <a:gd name="connsiteX35" fmla="*/ 167466 w 333738"/>
                    <a:gd name="connsiteY35" fmla="*/ 325380 h 1043599"/>
                    <a:gd name="connsiteX36" fmla="*/ 204183 w 333738"/>
                    <a:gd name="connsiteY36" fmla="*/ 362694 h 1043599"/>
                    <a:gd name="connsiteX37" fmla="*/ 167466 w 333738"/>
                    <a:gd name="connsiteY37" fmla="*/ 400008 h 1043599"/>
                    <a:gd name="connsiteX38" fmla="*/ 130749 w 333738"/>
                    <a:gd name="connsiteY38" fmla="*/ 362694 h 1043599"/>
                    <a:gd name="connsiteX39" fmla="*/ 167466 w 333738"/>
                    <a:gd name="connsiteY39" fmla="*/ 325380 h 1043599"/>
                    <a:gd name="connsiteX40" fmla="*/ 37613 w 333738"/>
                    <a:gd name="connsiteY40" fmla="*/ 325380 h 1043599"/>
                    <a:gd name="connsiteX41" fmla="*/ 75226 w 333738"/>
                    <a:gd name="connsiteY41" fmla="*/ 362694 h 1043599"/>
                    <a:gd name="connsiteX42" fmla="*/ 37613 w 333738"/>
                    <a:gd name="connsiteY42" fmla="*/ 400008 h 1043599"/>
                    <a:gd name="connsiteX43" fmla="*/ 0 w 333738"/>
                    <a:gd name="connsiteY43" fmla="*/ 362694 h 1043599"/>
                    <a:gd name="connsiteX44" fmla="*/ 37613 w 333738"/>
                    <a:gd name="connsiteY44" fmla="*/ 325380 h 1043599"/>
                    <a:gd name="connsiteX45" fmla="*/ 296125 w 333738"/>
                    <a:gd name="connsiteY45" fmla="*/ 0 h 1043599"/>
                    <a:gd name="connsiteX46" fmla="*/ 333738 w 333738"/>
                    <a:gd name="connsiteY46" fmla="*/ 37314 h 1043599"/>
                    <a:gd name="connsiteX47" fmla="*/ 296125 w 333738"/>
                    <a:gd name="connsiteY47" fmla="*/ 74628 h 1043599"/>
                    <a:gd name="connsiteX48" fmla="*/ 258512 w 333738"/>
                    <a:gd name="connsiteY48" fmla="*/ 37314 h 1043599"/>
                    <a:gd name="connsiteX49" fmla="*/ 296125 w 333738"/>
                    <a:gd name="connsiteY49" fmla="*/ 0 h 1043599"/>
                    <a:gd name="connsiteX50" fmla="*/ 167466 w 333738"/>
                    <a:gd name="connsiteY50" fmla="*/ 0 h 1043599"/>
                    <a:gd name="connsiteX51" fmla="*/ 204183 w 333738"/>
                    <a:gd name="connsiteY51" fmla="*/ 37314 h 1043599"/>
                    <a:gd name="connsiteX52" fmla="*/ 167466 w 333738"/>
                    <a:gd name="connsiteY52" fmla="*/ 74628 h 1043599"/>
                    <a:gd name="connsiteX53" fmla="*/ 130749 w 333738"/>
                    <a:gd name="connsiteY53" fmla="*/ 37314 h 1043599"/>
                    <a:gd name="connsiteX54" fmla="*/ 167466 w 333738"/>
                    <a:gd name="connsiteY54" fmla="*/ 0 h 1043599"/>
                    <a:gd name="connsiteX55" fmla="*/ 37613 w 333738"/>
                    <a:gd name="connsiteY55" fmla="*/ 0 h 1043599"/>
                    <a:gd name="connsiteX56" fmla="*/ 75226 w 333738"/>
                    <a:gd name="connsiteY56" fmla="*/ 37314 h 1043599"/>
                    <a:gd name="connsiteX57" fmla="*/ 37613 w 333738"/>
                    <a:gd name="connsiteY57" fmla="*/ 74628 h 1043599"/>
                    <a:gd name="connsiteX58" fmla="*/ 0 w 333738"/>
                    <a:gd name="connsiteY58" fmla="*/ 37314 h 1043599"/>
                    <a:gd name="connsiteX59" fmla="*/ 37613 w 333738"/>
                    <a:gd name="connsiteY59" fmla="*/ 0 h 10435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</a:cxnLst>
                  <a:rect l="l" t="t" r="r" b="b"/>
                  <a:pathLst>
                    <a:path w="333738" h="1043599">
                      <a:moveTo>
                        <a:pt x="296125" y="968373"/>
                      </a:moveTo>
                      <a:cubicBezTo>
                        <a:pt x="316898" y="968373"/>
                        <a:pt x="333738" y="985213"/>
                        <a:pt x="333738" y="1005986"/>
                      </a:cubicBezTo>
                      <a:cubicBezTo>
                        <a:pt x="333738" y="1026759"/>
                        <a:pt x="316898" y="1043599"/>
                        <a:pt x="296125" y="1043599"/>
                      </a:cubicBezTo>
                      <a:cubicBezTo>
                        <a:pt x="275352" y="1043599"/>
                        <a:pt x="258512" y="1026759"/>
                        <a:pt x="258512" y="1005986"/>
                      </a:cubicBezTo>
                      <a:cubicBezTo>
                        <a:pt x="258512" y="985213"/>
                        <a:pt x="275352" y="968373"/>
                        <a:pt x="296125" y="968373"/>
                      </a:cubicBezTo>
                      <a:close/>
                      <a:moveTo>
                        <a:pt x="167466" y="968373"/>
                      </a:moveTo>
                      <a:cubicBezTo>
                        <a:pt x="187744" y="968373"/>
                        <a:pt x="204183" y="985213"/>
                        <a:pt x="204183" y="1005986"/>
                      </a:cubicBezTo>
                      <a:cubicBezTo>
                        <a:pt x="204183" y="1026759"/>
                        <a:pt x="187744" y="1043599"/>
                        <a:pt x="167466" y="1043599"/>
                      </a:cubicBezTo>
                      <a:cubicBezTo>
                        <a:pt x="147188" y="1043599"/>
                        <a:pt x="130749" y="1026759"/>
                        <a:pt x="130749" y="1005986"/>
                      </a:cubicBezTo>
                      <a:cubicBezTo>
                        <a:pt x="130749" y="985213"/>
                        <a:pt x="147188" y="968373"/>
                        <a:pt x="167466" y="968373"/>
                      </a:cubicBezTo>
                      <a:close/>
                      <a:moveTo>
                        <a:pt x="37613" y="968373"/>
                      </a:moveTo>
                      <a:cubicBezTo>
                        <a:pt x="58386" y="968373"/>
                        <a:pt x="75226" y="985213"/>
                        <a:pt x="75226" y="1005986"/>
                      </a:cubicBezTo>
                      <a:cubicBezTo>
                        <a:pt x="75226" y="1026759"/>
                        <a:pt x="58386" y="1043599"/>
                        <a:pt x="37613" y="1043599"/>
                      </a:cubicBezTo>
                      <a:cubicBezTo>
                        <a:pt x="16840" y="1043599"/>
                        <a:pt x="0" y="1026759"/>
                        <a:pt x="0" y="1005986"/>
                      </a:cubicBezTo>
                      <a:cubicBezTo>
                        <a:pt x="0" y="985213"/>
                        <a:pt x="16840" y="968373"/>
                        <a:pt x="37613" y="968373"/>
                      </a:cubicBezTo>
                      <a:close/>
                      <a:moveTo>
                        <a:pt x="296125" y="645980"/>
                      </a:moveTo>
                      <a:cubicBezTo>
                        <a:pt x="316898" y="645980"/>
                        <a:pt x="333738" y="662820"/>
                        <a:pt x="333738" y="683593"/>
                      </a:cubicBezTo>
                      <a:cubicBezTo>
                        <a:pt x="333738" y="704366"/>
                        <a:pt x="316898" y="721206"/>
                        <a:pt x="296125" y="721206"/>
                      </a:cubicBezTo>
                      <a:cubicBezTo>
                        <a:pt x="275352" y="721206"/>
                        <a:pt x="258512" y="704366"/>
                        <a:pt x="258512" y="683593"/>
                      </a:cubicBezTo>
                      <a:cubicBezTo>
                        <a:pt x="258512" y="662820"/>
                        <a:pt x="275352" y="645980"/>
                        <a:pt x="296125" y="645980"/>
                      </a:cubicBezTo>
                      <a:close/>
                      <a:moveTo>
                        <a:pt x="167466" y="645980"/>
                      </a:moveTo>
                      <a:cubicBezTo>
                        <a:pt x="187744" y="645980"/>
                        <a:pt x="204183" y="662820"/>
                        <a:pt x="204183" y="683593"/>
                      </a:cubicBezTo>
                      <a:cubicBezTo>
                        <a:pt x="204183" y="704366"/>
                        <a:pt x="187744" y="721206"/>
                        <a:pt x="167466" y="721206"/>
                      </a:cubicBezTo>
                      <a:cubicBezTo>
                        <a:pt x="147188" y="721206"/>
                        <a:pt x="130749" y="704366"/>
                        <a:pt x="130749" y="683593"/>
                      </a:cubicBezTo>
                      <a:cubicBezTo>
                        <a:pt x="130749" y="662820"/>
                        <a:pt x="147188" y="645980"/>
                        <a:pt x="167466" y="645980"/>
                      </a:cubicBezTo>
                      <a:close/>
                      <a:moveTo>
                        <a:pt x="37613" y="645980"/>
                      </a:moveTo>
                      <a:cubicBezTo>
                        <a:pt x="58386" y="645980"/>
                        <a:pt x="75226" y="662820"/>
                        <a:pt x="75226" y="683593"/>
                      </a:cubicBezTo>
                      <a:cubicBezTo>
                        <a:pt x="75226" y="704366"/>
                        <a:pt x="58386" y="721206"/>
                        <a:pt x="37613" y="721206"/>
                      </a:cubicBezTo>
                      <a:cubicBezTo>
                        <a:pt x="16840" y="721206"/>
                        <a:pt x="0" y="704366"/>
                        <a:pt x="0" y="683593"/>
                      </a:cubicBezTo>
                      <a:cubicBezTo>
                        <a:pt x="0" y="662820"/>
                        <a:pt x="16840" y="645980"/>
                        <a:pt x="37613" y="645980"/>
                      </a:cubicBezTo>
                      <a:close/>
                      <a:moveTo>
                        <a:pt x="296125" y="325380"/>
                      </a:moveTo>
                      <a:cubicBezTo>
                        <a:pt x="316898" y="325380"/>
                        <a:pt x="333738" y="342086"/>
                        <a:pt x="333738" y="362694"/>
                      </a:cubicBezTo>
                      <a:cubicBezTo>
                        <a:pt x="333738" y="383302"/>
                        <a:pt x="316898" y="400008"/>
                        <a:pt x="296125" y="400008"/>
                      </a:cubicBezTo>
                      <a:cubicBezTo>
                        <a:pt x="275352" y="400008"/>
                        <a:pt x="258512" y="383302"/>
                        <a:pt x="258512" y="362694"/>
                      </a:cubicBezTo>
                      <a:cubicBezTo>
                        <a:pt x="258512" y="342086"/>
                        <a:pt x="275352" y="325380"/>
                        <a:pt x="296125" y="325380"/>
                      </a:cubicBezTo>
                      <a:close/>
                      <a:moveTo>
                        <a:pt x="167466" y="325380"/>
                      </a:moveTo>
                      <a:cubicBezTo>
                        <a:pt x="187744" y="325380"/>
                        <a:pt x="204183" y="342086"/>
                        <a:pt x="204183" y="362694"/>
                      </a:cubicBezTo>
                      <a:cubicBezTo>
                        <a:pt x="204183" y="383302"/>
                        <a:pt x="187744" y="400008"/>
                        <a:pt x="167466" y="400008"/>
                      </a:cubicBezTo>
                      <a:cubicBezTo>
                        <a:pt x="147188" y="400008"/>
                        <a:pt x="130749" y="383302"/>
                        <a:pt x="130749" y="362694"/>
                      </a:cubicBezTo>
                      <a:cubicBezTo>
                        <a:pt x="130749" y="342086"/>
                        <a:pt x="147188" y="325380"/>
                        <a:pt x="167466" y="325380"/>
                      </a:cubicBezTo>
                      <a:close/>
                      <a:moveTo>
                        <a:pt x="37613" y="325380"/>
                      </a:moveTo>
                      <a:cubicBezTo>
                        <a:pt x="58386" y="325380"/>
                        <a:pt x="75226" y="342086"/>
                        <a:pt x="75226" y="362694"/>
                      </a:cubicBezTo>
                      <a:cubicBezTo>
                        <a:pt x="75226" y="383302"/>
                        <a:pt x="58386" y="400008"/>
                        <a:pt x="37613" y="400008"/>
                      </a:cubicBezTo>
                      <a:cubicBezTo>
                        <a:pt x="16840" y="400008"/>
                        <a:pt x="0" y="383302"/>
                        <a:pt x="0" y="362694"/>
                      </a:cubicBezTo>
                      <a:cubicBezTo>
                        <a:pt x="0" y="342086"/>
                        <a:pt x="16840" y="325380"/>
                        <a:pt x="37613" y="325380"/>
                      </a:cubicBezTo>
                      <a:close/>
                      <a:moveTo>
                        <a:pt x="296125" y="0"/>
                      </a:moveTo>
                      <a:cubicBezTo>
                        <a:pt x="316898" y="0"/>
                        <a:pt x="333738" y="16706"/>
                        <a:pt x="333738" y="37314"/>
                      </a:cubicBezTo>
                      <a:cubicBezTo>
                        <a:pt x="333738" y="57922"/>
                        <a:pt x="316898" y="74628"/>
                        <a:pt x="296125" y="74628"/>
                      </a:cubicBezTo>
                      <a:cubicBezTo>
                        <a:pt x="275352" y="74628"/>
                        <a:pt x="258512" y="57922"/>
                        <a:pt x="258512" y="37314"/>
                      </a:cubicBezTo>
                      <a:cubicBezTo>
                        <a:pt x="258512" y="16706"/>
                        <a:pt x="275352" y="0"/>
                        <a:pt x="296125" y="0"/>
                      </a:cubicBezTo>
                      <a:close/>
                      <a:moveTo>
                        <a:pt x="167466" y="0"/>
                      </a:moveTo>
                      <a:cubicBezTo>
                        <a:pt x="187744" y="0"/>
                        <a:pt x="204183" y="16706"/>
                        <a:pt x="204183" y="37314"/>
                      </a:cubicBezTo>
                      <a:cubicBezTo>
                        <a:pt x="204183" y="57922"/>
                        <a:pt x="187744" y="74628"/>
                        <a:pt x="167466" y="74628"/>
                      </a:cubicBezTo>
                      <a:cubicBezTo>
                        <a:pt x="147188" y="74628"/>
                        <a:pt x="130749" y="57922"/>
                        <a:pt x="130749" y="37314"/>
                      </a:cubicBezTo>
                      <a:cubicBezTo>
                        <a:pt x="130749" y="16706"/>
                        <a:pt x="147188" y="0"/>
                        <a:pt x="167466" y="0"/>
                      </a:cubicBezTo>
                      <a:close/>
                      <a:moveTo>
                        <a:pt x="37613" y="0"/>
                      </a:moveTo>
                      <a:cubicBezTo>
                        <a:pt x="58386" y="0"/>
                        <a:pt x="75226" y="16706"/>
                        <a:pt x="75226" y="37314"/>
                      </a:cubicBezTo>
                      <a:cubicBezTo>
                        <a:pt x="75226" y="57922"/>
                        <a:pt x="58386" y="74628"/>
                        <a:pt x="37613" y="74628"/>
                      </a:cubicBezTo>
                      <a:cubicBezTo>
                        <a:pt x="16840" y="74628"/>
                        <a:pt x="0" y="57922"/>
                        <a:pt x="0" y="37314"/>
                      </a:cubicBezTo>
                      <a:cubicBezTo>
                        <a:pt x="0" y="16706"/>
                        <a:pt x="16840" y="0"/>
                        <a:pt x="37613" y="0"/>
                      </a:cubicBezTo>
                      <a:close/>
                    </a:path>
                  </a:pathLst>
                </a:custGeom>
                <a:solidFill>
                  <a:srgbClr val="ACBACF">
                    <a:lumMod val="60000"/>
                    <a:lumOff val="40000"/>
                  </a:srgbClr>
                </a:solidFill>
                <a:ln w="10795" cap="flat" cmpd="sng" algn="ctr">
                  <a:noFill/>
                  <a:prstDash val="solid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algn="ctr" defTabSz="743407">
                    <a:defRPr/>
                  </a:pPr>
                  <a:endParaRPr lang="en-US" sz="1463" kern="0">
                    <a:solidFill>
                      <a:prstClr val="white"/>
                    </a:solidFill>
                    <a:latin typeface="Microsoft Sans Serif"/>
                  </a:endParaRPr>
                </a:p>
              </p:txBody>
            </p:sp>
          </p:grpSp>
        </p:grpSp>
        <p:cxnSp>
          <p:nvCxnSpPr>
            <p:cNvPr id="513" name="Straight Arrow Connector 512">
              <a:extLst>
                <a:ext uri="{FF2B5EF4-FFF2-40B4-BE49-F238E27FC236}">
                  <a16:creationId xmlns:a16="http://schemas.microsoft.com/office/drawing/2014/main" id="{43D0CD6A-C674-4D86-7323-E929C65D2D7A}"/>
                </a:ext>
              </a:extLst>
            </p:cNvPr>
            <p:cNvCxnSpPr/>
            <p:nvPr/>
          </p:nvCxnSpPr>
          <p:spPr>
            <a:xfrm>
              <a:off x="9175805" y="3567141"/>
              <a:ext cx="512859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445776">
                  <a:lumMod val="60000"/>
                  <a:lumOff val="40000"/>
                </a:srgbClr>
              </a:solidFill>
              <a:prstDash val="solid"/>
              <a:round/>
              <a:headEnd type="triangle"/>
              <a:tailEnd type="triangle"/>
            </a:ln>
            <a:effectLst/>
          </p:spPr>
        </p:cxnSp>
        <p:cxnSp>
          <p:nvCxnSpPr>
            <p:cNvPr id="514" name="Straight Arrow Connector 513">
              <a:extLst>
                <a:ext uri="{FF2B5EF4-FFF2-40B4-BE49-F238E27FC236}">
                  <a16:creationId xmlns:a16="http://schemas.microsoft.com/office/drawing/2014/main" id="{83574766-41FE-94AD-63AF-B06FA130425C}"/>
                </a:ext>
              </a:extLst>
            </p:cNvPr>
            <p:cNvCxnSpPr/>
            <p:nvPr/>
          </p:nvCxnSpPr>
          <p:spPr>
            <a:xfrm>
              <a:off x="10257183" y="3567141"/>
              <a:ext cx="512859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445776">
                  <a:lumMod val="60000"/>
                  <a:lumOff val="40000"/>
                </a:srgbClr>
              </a:solidFill>
              <a:prstDash val="solid"/>
              <a:round/>
              <a:headEnd type="triangle"/>
              <a:tailEnd type="triangle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2610781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812D30F7-415F-DA43-BD08-A77057FBC7E9}" vid="{04682A99-9E69-6A4F-ADB6-BE19CFCCCCE9}"/>
    </a:ext>
  </a:extLst>
</a:theme>
</file>

<file path=ppt/theme/theme2.xml><?xml version="1.0" encoding="utf-8"?>
<a:theme xmlns:a="http://schemas.openxmlformats.org/drawingml/2006/main" name="ATIS Template (Dark)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1_BasicWhite">
  <a:themeElements>
    <a:clrScheme name="Intel2020">
      <a:dk1>
        <a:srgbClr val="000000"/>
      </a:dk1>
      <a:lt1>
        <a:srgbClr val="FFFFFF"/>
      </a:lt1>
      <a:dk2>
        <a:srgbClr val="004A86"/>
      </a:dk2>
      <a:lt2>
        <a:srgbClr val="525252"/>
      </a:lt2>
      <a:accent1>
        <a:srgbClr val="0068B5"/>
      </a:accent1>
      <a:accent2>
        <a:srgbClr val="00C7FD"/>
      </a:accent2>
      <a:accent3>
        <a:srgbClr val="F6CB4B"/>
      </a:accent3>
      <a:accent4>
        <a:srgbClr val="D96930"/>
      </a:accent4>
      <a:accent5>
        <a:srgbClr val="8F5DA2"/>
      </a:accent5>
      <a:accent6>
        <a:srgbClr val="8BAE46"/>
      </a:accent6>
      <a:hlink>
        <a:srgbClr val="0068B5"/>
      </a:hlink>
      <a:folHlink>
        <a:srgbClr val="0068B5"/>
      </a:folHlink>
    </a:clrScheme>
    <a:fontScheme name="Custom 11">
      <a:majorFont>
        <a:latin typeface="Intel Clear Light"/>
        <a:ea typeface="Helvetica Neue"/>
        <a:cs typeface="Helvetica Neue"/>
      </a:majorFont>
      <a:minorFont>
        <a:latin typeface="Intel Clear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none" lIns="0" tIns="0" rIns="0" bIns="0" numCol="1" spcCol="38100" rtlCol="0" anchor="t" anchorCtr="0">
        <a:spAutoFit/>
      </a:bodyPr>
      <a:lstStyle>
        <a:defPPr marL="0" marR="0" indent="0" algn="l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b="0" i="0" u="none" strike="noStrike" cap="none" spc="0" normalizeH="0" baseline="0" dirty="0" err="1" smtClean="0">
            <a:ln>
              <a:noFill/>
            </a:ln>
            <a:solidFill>
              <a:schemeClr val="tx2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Intel_Internal_PPT_Template_White_Intel_Internal _PPT_Template_Final" id="{C3456016-2AA3-D34E-86BF-A1D609CAAC0C}" vid="{9A918FA0-80F6-F84A-9634-3248CA2F271A}"/>
    </a:ext>
  </a:extLst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bc8ab99-10ba-417f-ba97-b8d9d42f191b">
      <UserInfo>
        <DisplayName>Iain Sharp</DisplayName>
        <AccountId>41</AccountId>
        <AccountType/>
      </UserInfo>
      <UserInfo>
        <DisplayName>Allie Lailas</DisplayName>
        <AccountId>3323</AccountId>
        <AccountType/>
      </UserInfo>
    </SharedWithUsers>
    <MediaLengthInSeconds xmlns="fdfba2c9-0271-4427-af80-f8bed3722a0a" xsi:nil="true"/>
    <TaxCatchAll xmlns="7bc8ab99-10ba-417f-ba97-b8d9d42f191b" xsi:nil="true"/>
    <lcf76f155ced4ddcb4097134ff3c332f xmlns="fdfba2c9-0271-4427-af80-f8bed3722a0a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22EB3E70E283418C9EA32A89AB8292" ma:contentTypeVersion="18" ma:contentTypeDescription="Create a new document." ma:contentTypeScope="" ma:versionID="4468e2f999822bbc7e8cb1a3fe1a8a44">
  <xsd:schema xmlns:xsd="http://www.w3.org/2001/XMLSchema" xmlns:xs="http://www.w3.org/2001/XMLSchema" xmlns:p="http://schemas.microsoft.com/office/2006/metadata/properties" xmlns:ns2="fdfba2c9-0271-4427-af80-f8bed3722a0a" xmlns:ns3="7bc8ab99-10ba-417f-ba97-b8d9d42f191b" targetNamespace="http://schemas.microsoft.com/office/2006/metadata/properties" ma:root="true" ma:fieldsID="2a192bfaa4949cb7fed53e2a82e8da9d" ns2:_="" ns3:_="">
    <xsd:import namespace="fdfba2c9-0271-4427-af80-f8bed3722a0a"/>
    <xsd:import namespace="7bc8ab99-10ba-417f-ba97-b8d9d42f191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fba2c9-0271-4427-af80-f8bed3722a0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8453ee4a-7f1a-4dcc-b033-f5adea83125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c8ab99-10ba-417f-ba97-b8d9d42f191b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8dec414b-e7db-4706-99cc-b97f634337e5}" ma:internalName="TaxCatchAll" ma:showField="CatchAllData" ma:web="7bc8ab99-10ba-417f-ba97-b8d9d42f191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D82728D-DE7E-4727-9465-C38F577487DB}">
  <ds:schemaRefs>
    <ds:schemaRef ds:uri="4041a2fb-964b-48e7-87f6-f2e9cf9f4b9a"/>
    <ds:schemaRef ds:uri="7bc8ab99-10ba-417f-ba97-b8d9d42f191b"/>
    <ds:schemaRef ds:uri="9edd0546-7ed9-4f56-9e74-568c7d632418"/>
    <ds:schemaRef ds:uri="fdfba2c9-0271-4427-af80-f8bed3722a0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4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F739AE5-BE13-497C-B1B2-0483E40151F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30A9D2B-1EBC-4BB2-9E21-50D393A3ED05}">
  <ds:schemaRefs>
    <ds:schemaRef ds:uri="7bc8ab99-10ba-417f-ba97-b8d9d42f191b"/>
    <ds:schemaRef ds:uri="fdfba2c9-0271-4427-af80-f8bed3722a0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45</Slides>
  <Notes>18</Notes>
  <HiddenSlides>0</HiddenSlide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45</vt:i4>
      </vt:variant>
    </vt:vector>
  </HeadingPairs>
  <TitlesOfParts>
    <vt:vector size="49" baseType="lpstr">
      <vt:lpstr>Custom Design</vt:lpstr>
      <vt:lpstr>ATIS Template (Dark)</vt:lpstr>
      <vt:lpstr>21_BasicWhite</vt:lpstr>
      <vt:lpstr>2_Office Theme</vt:lpstr>
      <vt:lpstr>Introduction to 3GPP Release 19 and 6G Planning </vt:lpstr>
      <vt:lpstr>Agenda</vt:lpstr>
      <vt:lpstr>3GPP RAN: Current Status and Beyond</vt:lpstr>
      <vt:lpstr>Outline</vt:lpstr>
      <vt:lpstr>Overview</vt:lpstr>
      <vt:lpstr>5G and 5G-Advanced in 3GPP</vt:lpstr>
      <vt:lpstr>3GPP RAN Rel-18 and Rel-19 Timeline</vt:lpstr>
      <vt:lpstr>RAN Rel-18</vt:lpstr>
      <vt:lpstr>RAN Rel-18 Driving a balanced 5G evolution</vt:lpstr>
      <vt:lpstr>PowerPoint Presentation</vt:lpstr>
      <vt:lpstr>RAN Rel-19</vt:lpstr>
      <vt:lpstr>PowerPoint Presentation</vt:lpstr>
      <vt:lpstr>PowerPoint Presentation</vt:lpstr>
      <vt:lpstr>RAN1-Led Rel-19 Projects: More Details</vt:lpstr>
      <vt:lpstr>RAN2-Led Rel-19 Projects: More Details</vt:lpstr>
      <vt:lpstr>RAN3-Led Rel-19 Projects: More Details</vt:lpstr>
      <vt:lpstr>RAN4-led Rel-19 Projects: More Details</vt:lpstr>
      <vt:lpstr>PowerPoint Presentation</vt:lpstr>
      <vt:lpstr>PowerPoint Presentation</vt:lpstr>
      <vt:lpstr>6G Discussion in 3GPP</vt:lpstr>
      <vt:lpstr>6G Timeline Considerations: RAN-Specifics 1/2  (As in RP-233985 and RP-240823) </vt:lpstr>
      <vt:lpstr>6G Timeline Considerations: RAN-Specifics 2/2  (As in RP-233985 and RP-240823) </vt:lpstr>
      <vt:lpstr>PowerPoint Presentation</vt:lpstr>
      <vt:lpstr>3GPP SA Rel-19 status Update and 6G Planning</vt:lpstr>
      <vt:lpstr>3GPP Rel-18 and Rel-19 Timeline</vt:lpstr>
      <vt:lpstr>Rel-19 Target Dates (Unchanged)</vt:lpstr>
      <vt:lpstr>SA Rel-19 Content Definition Process</vt:lpstr>
      <vt:lpstr>SA Rel-19 Content Planning (Step 1)</vt:lpstr>
      <vt:lpstr>PowerPoint Presentation</vt:lpstr>
      <vt:lpstr>SA1 Release 19 SIDs/WIDs</vt:lpstr>
      <vt:lpstr>SA2 Release 19 SIDs</vt:lpstr>
      <vt:lpstr>SA2 Release 19 Normative TEI19 miniWIDs</vt:lpstr>
      <vt:lpstr>SA3 Release 19 SIDs/WIDs</vt:lpstr>
      <vt:lpstr>SA4 Release 19 SIDs/WIDs</vt:lpstr>
      <vt:lpstr>SA5 Release 19 SIDs/WIDs</vt:lpstr>
      <vt:lpstr>SA6 Release 19 SIDS/WIDs</vt:lpstr>
      <vt:lpstr>6G Timeline – Summary </vt:lpstr>
      <vt:lpstr>PowerPoint Presentation</vt:lpstr>
      <vt:lpstr>PowerPoint Presentation</vt:lpstr>
      <vt:lpstr>PowerPoint Presentation</vt:lpstr>
      <vt:lpstr>3GPP Stage 1 Workshop on IMT 2030 Use Cases</vt:lpstr>
      <vt:lpstr>Draft Agenda: 3GPP Stage 1 Workshop on IMT 2030 use cases</vt:lpstr>
      <vt:lpstr>Questions and Answer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cott Mahr</dc:creator>
  <cp:revision>1</cp:revision>
  <cp:lastPrinted>2022-06-21T15:40:54Z</cp:lastPrinted>
  <dcterms:created xsi:type="dcterms:W3CDTF">2022-11-07T20:34:28Z</dcterms:created>
  <dcterms:modified xsi:type="dcterms:W3CDTF">2024-04-03T16:22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F22EB3E70E283418C9EA32A89AB8292</vt:lpwstr>
  </property>
  <property fmtid="{D5CDD505-2E9C-101B-9397-08002B2CF9AE}" pid="3" name="xd_Signature">
    <vt:bool>false</vt:bool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MediaServiceImageTags">
    <vt:lpwstr/>
  </property>
  <property fmtid="{D5CDD505-2E9C-101B-9397-08002B2CF9AE}" pid="10" name="Order">
    <vt:r8>73244200</vt:r8>
  </property>
</Properties>
</file>